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3.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4.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bookmarkIdSeed="2">
  <p:sldMasterIdLst>
    <p:sldMasterId id="2147483972" r:id="rId6"/>
    <p:sldMasterId id="2147484393" r:id="rId7"/>
    <p:sldMasterId id="2147484472" r:id="rId8"/>
    <p:sldMasterId id="2147484503" r:id="rId9"/>
    <p:sldMasterId id="2147484530" r:id="rId10"/>
  </p:sldMasterIdLst>
  <p:notesMasterIdLst>
    <p:notesMasterId r:id="rId28"/>
  </p:notesMasterIdLst>
  <p:handoutMasterIdLst>
    <p:handoutMasterId r:id="rId29"/>
  </p:handoutMasterIdLst>
  <p:sldIdLst>
    <p:sldId id="1921" r:id="rId11"/>
    <p:sldId id="1920" r:id="rId12"/>
    <p:sldId id="2280" r:id="rId13"/>
    <p:sldId id="1424" r:id="rId14"/>
    <p:sldId id="1601" r:id="rId15"/>
    <p:sldId id="1602" r:id="rId16"/>
    <p:sldId id="1427" r:id="rId17"/>
    <p:sldId id="1603" r:id="rId18"/>
    <p:sldId id="1604" r:id="rId19"/>
    <p:sldId id="1605" r:id="rId20"/>
    <p:sldId id="1429" r:id="rId21"/>
    <p:sldId id="1430" r:id="rId22"/>
    <p:sldId id="1431" r:id="rId23"/>
    <p:sldId id="1432" r:id="rId24"/>
    <p:sldId id="1607" r:id="rId25"/>
    <p:sldId id="2283" r:id="rId26"/>
    <p:sldId id="2282" r:id="rId27"/>
  </p:sldIdLst>
  <p:sldSz cx="12436475" cy="6994525"/>
  <p:notesSz cx="9296400" cy="7010400"/>
  <p:defaultTex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p:defaultTextStyle>
  <p:extLst>
    <p:ext uri="{521415D9-36F7-43E2-AB2F-B90AF26B5E84}">
      <p14:sectionLst xmlns:p14="http://schemas.microsoft.com/office/powerpoint/2010/main">
        <p14:section name="Introduction" id="{74A111EF-CB46-4D28-80BC-F7E66D2869CE}">
          <p14:sldIdLst>
            <p14:sldId id="1921"/>
            <p14:sldId id="1920"/>
            <p14:sldId id="2280"/>
          </p14:sldIdLst>
        </p14:section>
        <p14:section name="Query Store" id="{AFC7D529-AB46-4E7D-B524-128DC1C93493}">
          <p14:sldIdLst>
            <p14:sldId id="1424"/>
            <p14:sldId id="1601"/>
            <p14:sldId id="1602"/>
            <p14:sldId id="1427"/>
            <p14:sldId id="1603"/>
            <p14:sldId id="1604"/>
            <p14:sldId id="1605"/>
            <p14:sldId id="1429"/>
            <p14:sldId id="1430"/>
            <p14:sldId id="1431"/>
            <p14:sldId id="1432"/>
            <p14:sldId id="1607"/>
            <p14:sldId id="2283"/>
            <p14:sldId id="2282"/>
          </p14:sldIdLst>
        </p14:section>
      </p14:sectionLst>
    </p:ext>
    <p:ext uri="{EFAFB233-063F-42B5-8137-9DF3F51BA10A}">
      <p15:sldGuideLst xmlns:p15="http://schemas.microsoft.com/office/powerpoint/2012/main">
        <p15:guide id="46" orient="horz" pos="187" userDrawn="1">
          <p15:clr>
            <a:srgbClr val="A4A3A4"/>
          </p15:clr>
        </p15:guide>
        <p15:guide id="49" pos="749" userDrawn="1">
          <p15:clr>
            <a:srgbClr val="A4A3A4"/>
          </p15:clr>
        </p15:guide>
        <p15:guide id="50" pos="173" userDrawn="1">
          <p15:clr>
            <a:srgbClr val="A4A3A4"/>
          </p15:clr>
        </p15:guide>
        <p15:guide id="51" pos="1325" userDrawn="1">
          <p15:clr>
            <a:srgbClr val="A4A3A4"/>
          </p15:clr>
        </p15:guide>
        <p15:guide id="52" pos="1901" userDrawn="1">
          <p15:clr>
            <a:srgbClr val="A4A3A4"/>
          </p15:clr>
        </p15:guide>
        <p15:guide id="53" pos="2477" userDrawn="1">
          <p15:clr>
            <a:srgbClr val="A4A3A4"/>
          </p15:clr>
        </p15:guide>
        <p15:guide id="54" pos="3053" userDrawn="1">
          <p15:clr>
            <a:srgbClr val="A4A3A4"/>
          </p15:clr>
        </p15:guide>
        <p15:guide id="55" pos="3629" userDrawn="1">
          <p15:clr>
            <a:srgbClr val="A4A3A4"/>
          </p15:clr>
        </p15:guide>
        <p15:guide id="56" pos="4205" userDrawn="1">
          <p15:clr>
            <a:srgbClr val="A4A3A4"/>
          </p15:clr>
        </p15:guide>
        <p15:guide id="57" pos="4781" userDrawn="1">
          <p15:clr>
            <a:srgbClr val="A4A3A4"/>
          </p15:clr>
        </p15:guide>
        <p15:guide id="58" pos="5357" userDrawn="1">
          <p15:clr>
            <a:srgbClr val="A4A3A4"/>
          </p15:clr>
        </p15:guide>
        <p15:guide id="59" pos="5933" userDrawn="1">
          <p15:clr>
            <a:srgbClr val="A4A3A4"/>
          </p15:clr>
        </p15:guide>
        <p15:guide id="60" pos="6533" userDrawn="1">
          <p15:clr>
            <a:srgbClr val="A4A3A4"/>
          </p15:clr>
        </p15:guide>
        <p15:guide id="61" pos="7085" userDrawn="1">
          <p15:clr>
            <a:srgbClr val="A4A3A4"/>
          </p15:clr>
        </p15:guide>
        <p15:guide id="62" pos="7661" userDrawn="1">
          <p15:clr>
            <a:srgbClr val="A4A3A4"/>
          </p15:clr>
        </p15:guide>
        <p15:guide id="63" orient="horz" pos="1339" userDrawn="1">
          <p15:clr>
            <a:srgbClr val="A4A3A4"/>
          </p15:clr>
        </p15:guide>
        <p15:guide id="64" orient="horz" pos="1915" userDrawn="1">
          <p15:clr>
            <a:srgbClr val="A4A3A4"/>
          </p15:clr>
        </p15:guide>
        <p15:guide id="65" orient="horz" pos="2491" userDrawn="1">
          <p15:clr>
            <a:srgbClr val="A4A3A4"/>
          </p15:clr>
        </p15:guide>
        <p15:guide id="66" orient="horz" pos="3067" userDrawn="1">
          <p15:clr>
            <a:srgbClr val="A4A3A4"/>
          </p15:clr>
        </p15:guide>
        <p15:guide id="67" orient="horz" pos="3643" userDrawn="1">
          <p15:clr>
            <a:srgbClr val="A4A3A4"/>
          </p15:clr>
        </p15:guide>
        <p15:guide id="68" orient="horz" pos="4195" userDrawn="1">
          <p15:clr>
            <a:srgbClr val="A4A3A4"/>
          </p15:clr>
        </p15:guide>
        <p15:guide id="69" orient="horz" pos="1435" userDrawn="1">
          <p15:clr>
            <a:srgbClr val="A4A3A4"/>
          </p15:clr>
        </p15:guide>
        <p15:guide id="70" orient="horz" pos="3963">
          <p15:clr>
            <a:srgbClr val="A4A3A4"/>
          </p15:clr>
        </p15:guide>
        <p15:guide id="71" pos="293" userDrawn="1">
          <p15:clr>
            <a:srgbClr val="A4A3A4"/>
          </p15:clr>
        </p15:guide>
        <p15:guide id="72" orient="horz" pos="715" userDrawn="1">
          <p15:clr>
            <a:srgbClr val="A4A3A4"/>
          </p15:clr>
        </p15:guide>
        <p15:guide id="73" orient="horz" pos="2035" userDrawn="1">
          <p15:clr>
            <a:srgbClr val="A4A3A4"/>
          </p15:clr>
        </p15:guide>
        <p15:guide id="74" orient="horz" pos="931" userDrawn="1">
          <p15:clr>
            <a:srgbClr val="A4A3A4"/>
          </p15:clr>
        </p15:guide>
        <p15:guide id="75" orient="horz" pos="59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55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99FF33"/>
    <a:srgbClr val="616161"/>
    <a:srgbClr val="CACACA"/>
    <a:srgbClr val="00208F"/>
    <a:srgbClr val="FF8C00"/>
    <a:srgbClr val="505050"/>
    <a:srgbClr val="0072C6"/>
    <a:srgbClr val="2C2C2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840" autoAdjust="0"/>
    <p:restoredTop sz="54086" autoAdjust="0"/>
  </p:normalViewPr>
  <p:slideViewPr>
    <p:cSldViewPr snapToGrid="0">
      <p:cViewPr varScale="1">
        <p:scale>
          <a:sx n="62" d="100"/>
          <a:sy n="62" d="100"/>
        </p:scale>
        <p:origin x="2133" y="21"/>
      </p:cViewPr>
      <p:guideLst>
        <p:guide orient="horz" pos="187"/>
        <p:guide pos="749"/>
        <p:guide pos="173"/>
        <p:guide pos="1325"/>
        <p:guide pos="1901"/>
        <p:guide pos="2477"/>
        <p:guide pos="3053"/>
        <p:guide pos="3629"/>
        <p:guide pos="4205"/>
        <p:guide pos="4781"/>
        <p:guide pos="5357"/>
        <p:guide pos="5933"/>
        <p:guide pos="6533"/>
        <p:guide pos="7085"/>
        <p:guide pos="7661"/>
        <p:guide orient="horz" pos="1339"/>
        <p:guide orient="horz" pos="1915"/>
        <p:guide orient="horz" pos="2491"/>
        <p:guide orient="horz" pos="3067"/>
        <p:guide orient="horz" pos="3643"/>
        <p:guide orient="horz" pos="4195"/>
        <p:guide orient="horz" pos="1435"/>
        <p:guide orient="horz" pos="3963"/>
        <p:guide pos="293"/>
        <p:guide orient="horz" pos="715"/>
        <p:guide orient="horz" pos="2035"/>
        <p:guide orient="horz" pos="931"/>
        <p:guide orient="horz" pos="595"/>
      </p:guideLst>
    </p:cSldViewPr>
  </p:slideViewPr>
  <p:outlineViewPr>
    <p:cViewPr>
      <p:scale>
        <a:sx n="33" d="100"/>
        <a:sy n="33" d="100"/>
      </p:scale>
      <p:origin x="0" y="-28316"/>
    </p:cViewPr>
  </p:outlineViewPr>
  <p:notesTextViewPr>
    <p:cViewPr>
      <p:scale>
        <a:sx n="125" d="100"/>
        <a:sy n="125" d="100"/>
      </p:scale>
      <p:origin x="0" y="0"/>
    </p:cViewPr>
  </p:notesTextViewPr>
  <p:sorterViewPr>
    <p:cViewPr varScale="1">
      <p:scale>
        <a:sx n="100" d="100"/>
        <a:sy n="100" d="100"/>
      </p:scale>
      <p:origin x="0" y="0"/>
    </p:cViewPr>
  </p:sorterViewPr>
  <p:notesViewPr>
    <p:cSldViewPr snapToGrid="0">
      <p:cViewPr>
        <p:scale>
          <a:sx n="100" d="100"/>
          <a:sy n="100" d="100"/>
        </p:scale>
        <p:origin x="860" y="-76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tableStyles" Target="tableStyles.xml"/><Relationship Id="rId7" Type="http://schemas.openxmlformats.org/officeDocument/2006/relationships/slideMaster" Target="slideMasters/slideMaster2.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notesMaster" Target="notesMasters/notesMaster1.xml"/><Relationship Id="rId10" Type="http://schemas.openxmlformats.org/officeDocument/2006/relationships/slideMaster" Target="slideMasters/slideMaster5.xml"/><Relationship Id="rId19" Type="http://schemas.openxmlformats.org/officeDocument/2006/relationships/slide" Target="slides/slide9.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F680320-8BDF-423A-9CA6-74DF7A469126}"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67313F6C-C8BB-428E-8793-DB01241B8DAD}">
      <dgm:prSet phldrT="[Text]" custT="1"/>
      <dgm:spPr/>
      <dgm:t>
        <a:bodyPr/>
        <a:lstStyle/>
        <a:p>
          <a:pPr algn="ctr"/>
          <a:r>
            <a:rPr lang="en-US" sz="2400" dirty="0"/>
            <a:t>Install bits</a:t>
          </a:r>
          <a:br>
            <a:rPr lang="en-US" sz="2400" dirty="0"/>
          </a:br>
          <a:r>
            <a:rPr lang="en-US" sz="2400" dirty="0"/>
            <a:t>Keep </a:t>
          </a:r>
          <a:r>
            <a:rPr lang="en-US" sz="2400" b="0" i="1" dirty="0"/>
            <a:t>existing</a:t>
          </a:r>
          <a:r>
            <a:rPr lang="en-US" sz="2400" dirty="0"/>
            <a:t> </a:t>
          </a:r>
          <a:r>
            <a:rPr lang="en-US" sz="2400" dirty="0" err="1"/>
            <a:t>compat</a:t>
          </a:r>
          <a:r>
            <a:rPr lang="en-US" sz="2400" dirty="0"/>
            <a:t>. level</a:t>
          </a:r>
        </a:p>
      </dgm:t>
    </dgm:pt>
    <dgm:pt modelId="{A70454F1-48DB-4370-B4A4-DBFA732257CE}" type="parTrans" cxnId="{15658683-A7CA-42B3-8979-B0282AF82FF5}">
      <dgm:prSet/>
      <dgm:spPr/>
      <dgm:t>
        <a:bodyPr/>
        <a:lstStyle/>
        <a:p>
          <a:pPr algn="ctr"/>
          <a:endParaRPr lang="en-US" sz="2400"/>
        </a:p>
      </dgm:t>
    </dgm:pt>
    <dgm:pt modelId="{DF58CFE4-2757-4395-8DE3-1549F12A98DC}" type="sibTrans" cxnId="{15658683-A7CA-42B3-8979-B0282AF82FF5}">
      <dgm:prSet custT="1"/>
      <dgm:spPr/>
      <dgm:t>
        <a:bodyPr/>
        <a:lstStyle/>
        <a:p>
          <a:pPr algn="ctr"/>
          <a:endParaRPr lang="en-US" sz="2400" dirty="0"/>
        </a:p>
      </dgm:t>
    </dgm:pt>
    <dgm:pt modelId="{46DF7FD1-4AF7-404F-89E4-588A431E2CB4}">
      <dgm:prSet phldrT="[Text]" custT="1"/>
      <dgm:spPr/>
      <dgm:t>
        <a:bodyPr/>
        <a:lstStyle/>
        <a:p>
          <a:pPr algn="ctr"/>
          <a:r>
            <a:rPr lang="en-US" sz="2400" dirty="0"/>
            <a:t>Run Query Store </a:t>
          </a:r>
        </a:p>
        <a:p>
          <a:pPr algn="ctr"/>
          <a:r>
            <a:rPr lang="en-US" sz="2400" dirty="0"/>
            <a:t>(create a baseline)</a:t>
          </a:r>
        </a:p>
      </dgm:t>
    </dgm:pt>
    <dgm:pt modelId="{2A9F685B-A9C4-4777-8BC3-7597295CA516}" type="parTrans" cxnId="{A9AEABDC-B35F-4B62-A6C3-8C27612171C2}">
      <dgm:prSet/>
      <dgm:spPr/>
      <dgm:t>
        <a:bodyPr/>
        <a:lstStyle/>
        <a:p>
          <a:pPr algn="ctr"/>
          <a:endParaRPr lang="en-US" sz="2400"/>
        </a:p>
      </dgm:t>
    </dgm:pt>
    <dgm:pt modelId="{C49AC424-1B02-498A-BD2D-159E56696B2A}" type="sibTrans" cxnId="{A9AEABDC-B35F-4B62-A6C3-8C27612171C2}">
      <dgm:prSet custT="1"/>
      <dgm:spPr/>
      <dgm:t>
        <a:bodyPr/>
        <a:lstStyle/>
        <a:p>
          <a:pPr algn="ctr"/>
          <a:endParaRPr lang="en-US" sz="2400" dirty="0"/>
        </a:p>
      </dgm:t>
    </dgm:pt>
    <dgm:pt modelId="{22356148-5597-4628-822B-CFB19275B8ED}">
      <dgm:prSet phldrT="[Text]" custT="1"/>
      <dgm:spPr/>
      <dgm:t>
        <a:bodyPr anchor="t"/>
        <a:lstStyle/>
        <a:p>
          <a:pPr algn="ctr"/>
          <a:r>
            <a:rPr lang="en-US" sz="2400" dirty="0"/>
            <a:t>Move to </a:t>
          </a:r>
          <a:r>
            <a:rPr lang="en-US" sz="2400" b="1" dirty="0"/>
            <a:t>vNext CompatLevel</a:t>
          </a:r>
        </a:p>
      </dgm:t>
    </dgm:pt>
    <dgm:pt modelId="{832080FB-9558-4CDF-9A58-13009F000C15}" type="parTrans" cxnId="{99C763FA-A796-45D8-BA14-0C564D9ADB8B}">
      <dgm:prSet/>
      <dgm:spPr/>
      <dgm:t>
        <a:bodyPr/>
        <a:lstStyle/>
        <a:p>
          <a:pPr algn="ctr"/>
          <a:endParaRPr lang="en-US" sz="2400"/>
        </a:p>
      </dgm:t>
    </dgm:pt>
    <dgm:pt modelId="{9DB0D4EA-3E39-49DB-8AE3-3A68971CB12C}" type="sibTrans" cxnId="{99C763FA-A796-45D8-BA14-0C564D9ADB8B}">
      <dgm:prSet custT="1"/>
      <dgm:spPr/>
      <dgm:t>
        <a:bodyPr/>
        <a:lstStyle/>
        <a:p>
          <a:pPr algn="ctr"/>
          <a:endParaRPr lang="en-US" sz="2400" dirty="0"/>
        </a:p>
      </dgm:t>
    </dgm:pt>
    <dgm:pt modelId="{609DA787-C984-41B4-9307-70C7259FC11A}">
      <dgm:prSet phldrT="[Text]" custT="1"/>
      <dgm:spPr/>
      <dgm:t>
        <a:bodyPr/>
        <a:lstStyle/>
        <a:p>
          <a:pPr algn="ctr"/>
          <a:r>
            <a:rPr lang="en-US" sz="2400" dirty="0"/>
            <a:t>Fix regressions with plan forcing</a:t>
          </a:r>
        </a:p>
      </dgm:t>
    </dgm:pt>
    <dgm:pt modelId="{5B5F9D78-FE6B-403B-9F6D-8E00BECA6EBC}" type="parTrans" cxnId="{5F5F5584-8F08-4E5B-B693-B801B55999E5}">
      <dgm:prSet/>
      <dgm:spPr/>
      <dgm:t>
        <a:bodyPr/>
        <a:lstStyle/>
        <a:p>
          <a:pPr algn="ctr"/>
          <a:endParaRPr lang="en-US" sz="2400"/>
        </a:p>
      </dgm:t>
    </dgm:pt>
    <dgm:pt modelId="{9CF2032C-4B80-4A76-9B05-0EEFCED87663}" type="sibTrans" cxnId="{5F5F5584-8F08-4E5B-B693-B801B55999E5}">
      <dgm:prSet custT="1"/>
      <dgm:spPr/>
      <dgm:t>
        <a:bodyPr/>
        <a:lstStyle/>
        <a:p>
          <a:pPr algn="ctr"/>
          <a:endParaRPr lang="en-US" sz="2400"/>
        </a:p>
      </dgm:t>
    </dgm:pt>
    <dgm:pt modelId="{64A348D5-A6ED-43FC-B2D8-BBE1FBDCC5D2}" type="pres">
      <dgm:prSet presAssocID="{AF680320-8BDF-423A-9CA6-74DF7A469126}" presName="Name0" presStyleCnt="0">
        <dgm:presLayoutVars>
          <dgm:dir/>
          <dgm:resizeHandles val="exact"/>
        </dgm:presLayoutVars>
      </dgm:prSet>
      <dgm:spPr/>
    </dgm:pt>
    <dgm:pt modelId="{204BAF15-9FF7-4840-A8E0-CE3416679EB8}" type="pres">
      <dgm:prSet presAssocID="{67313F6C-C8BB-428E-8793-DB01241B8DAD}" presName="node" presStyleLbl="node1" presStyleIdx="0" presStyleCnt="4">
        <dgm:presLayoutVars>
          <dgm:bulletEnabled val="1"/>
        </dgm:presLayoutVars>
      </dgm:prSet>
      <dgm:spPr/>
    </dgm:pt>
    <dgm:pt modelId="{598BF8B9-08E8-4424-B95C-53B068D7F0AF}" type="pres">
      <dgm:prSet presAssocID="{DF58CFE4-2757-4395-8DE3-1549F12A98DC}" presName="sibTrans" presStyleLbl="sibTrans2D1" presStyleIdx="0" presStyleCnt="3"/>
      <dgm:spPr/>
    </dgm:pt>
    <dgm:pt modelId="{589281DB-F661-4226-9655-32D776B0AFC5}" type="pres">
      <dgm:prSet presAssocID="{DF58CFE4-2757-4395-8DE3-1549F12A98DC}" presName="connectorText" presStyleLbl="sibTrans2D1" presStyleIdx="0" presStyleCnt="3"/>
      <dgm:spPr/>
    </dgm:pt>
    <dgm:pt modelId="{467D08D1-E6AF-4306-8899-6ADC9A040D7C}" type="pres">
      <dgm:prSet presAssocID="{46DF7FD1-4AF7-404F-89E4-588A431E2CB4}" presName="node" presStyleLbl="node1" presStyleIdx="1" presStyleCnt="4" custScaleX="118523">
        <dgm:presLayoutVars>
          <dgm:bulletEnabled val="1"/>
        </dgm:presLayoutVars>
      </dgm:prSet>
      <dgm:spPr/>
    </dgm:pt>
    <dgm:pt modelId="{27F02758-B967-43F2-9D7B-985FE2D6A0B5}" type="pres">
      <dgm:prSet presAssocID="{C49AC424-1B02-498A-BD2D-159E56696B2A}" presName="sibTrans" presStyleLbl="sibTrans2D1" presStyleIdx="1" presStyleCnt="3"/>
      <dgm:spPr/>
    </dgm:pt>
    <dgm:pt modelId="{3F5D8827-FFB2-4E57-944B-B507A7F75DED}" type="pres">
      <dgm:prSet presAssocID="{C49AC424-1B02-498A-BD2D-159E56696B2A}" presName="connectorText" presStyleLbl="sibTrans2D1" presStyleIdx="1" presStyleCnt="3"/>
      <dgm:spPr/>
    </dgm:pt>
    <dgm:pt modelId="{50BF3604-76C1-408A-B0F4-144FDCECF437}" type="pres">
      <dgm:prSet presAssocID="{22356148-5597-4628-822B-CFB19275B8ED}" presName="node" presStyleLbl="node1" presStyleIdx="2" presStyleCnt="4" custScaleX="113826">
        <dgm:presLayoutVars>
          <dgm:bulletEnabled val="1"/>
        </dgm:presLayoutVars>
      </dgm:prSet>
      <dgm:spPr/>
    </dgm:pt>
    <dgm:pt modelId="{9B80596A-D1B0-4941-A6A2-6E7BC86A7B16}" type="pres">
      <dgm:prSet presAssocID="{9DB0D4EA-3E39-49DB-8AE3-3A68971CB12C}" presName="sibTrans" presStyleLbl="sibTrans2D1" presStyleIdx="2" presStyleCnt="3"/>
      <dgm:spPr/>
    </dgm:pt>
    <dgm:pt modelId="{DFBE80C7-E989-4156-B9C8-B358B72B6FA2}" type="pres">
      <dgm:prSet presAssocID="{9DB0D4EA-3E39-49DB-8AE3-3A68971CB12C}" presName="connectorText" presStyleLbl="sibTrans2D1" presStyleIdx="2" presStyleCnt="3"/>
      <dgm:spPr/>
    </dgm:pt>
    <dgm:pt modelId="{FFC93E7D-227A-4624-A4FD-3278CD83DA3A}" type="pres">
      <dgm:prSet presAssocID="{609DA787-C984-41B4-9307-70C7259FC11A}" presName="node" presStyleLbl="node1" presStyleIdx="3" presStyleCnt="4">
        <dgm:presLayoutVars>
          <dgm:bulletEnabled val="1"/>
        </dgm:presLayoutVars>
      </dgm:prSet>
      <dgm:spPr/>
    </dgm:pt>
  </dgm:ptLst>
  <dgm:cxnLst>
    <dgm:cxn modelId="{CA0A820A-518D-4A67-A92E-8CC0EFC0259C}" type="presOf" srcId="{609DA787-C984-41B4-9307-70C7259FC11A}" destId="{FFC93E7D-227A-4624-A4FD-3278CD83DA3A}" srcOrd="0" destOrd="0" presId="urn:microsoft.com/office/officeart/2005/8/layout/process1"/>
    <dgm:cxn modelId="{F0BE5E13-1736-4258-A31F-6924E51BAA24}" type="presOf" srcId="{9DB0D4EA-3E39-49DB-8AE3-3A68971CB12C}" destId="{DFBE80C7-E989-4156-B9C8-B358B72B6FA2}" srcOrd="1" destOrd="0" presId="urn:microsoft.com/office/officeart/2005/8/layout/process1"/>
    <dgm:cxn modelId="{7508BF1A-EF85-4F4E-BA02-FA8DFB28E480}" type="presOf" srcId="{C49AC424-1B02-498A-BD2D-159E56696B2A}" destId="{27F02758-B967-43F2-9D7B-985FE2D6A0B5}" srcOrd="0" destOrd="0" presId="urn:microsoft.com/office/officeart/2005/8/layout/process1"/>
    <dgm:cxn modelId="{09612850-B266-4589-935A-64BE1E269959}" type="presOf" srcId="{C49AC424-1B02-498A-BD2D-159E56696B2A}" destId="{3F5D8827-FFB2-4E57-944B-B507A7F75DED}" srcOrd="1" destOrd="0" presId="urn:microsoft.com/office/officeart/2005/8/layout/process1"/>
    <dgm:cxn modelId="{15658683-A7CA-42B3-8979-B0282AF82FF5}" srcId="{AF680320-8BDF-423A-9CA6-74DF7A469126}" destId="{67313F6C-C8BB-428E-8793-DB01241B8DAD}" srcOrd="0" destOrd="0" parTransId="{A70454F1-48DB-4370-B4A4-DBFA732257CE}" sibTransId="{DF58CFE4-2757-4395-8DE3-1549F12A98DC}"/>
    <dgm:cxn modelId="{5F5F5584-8F08-4E5B-B693-B801B55999E5}" srcId="{AF680320-8BDF-423A-9CA6-74DF7A469126}" destId="{609DA787-C984-41B4-9307-70C7259FC11A}" srcOrd="3" destOrd="0" parTransId="{5B5F9D78-FE6B-403B-9F6D-8E00BECA6EBC}" sibTransId="{9CF2032C-4B80-4A76-9B05-0EEFCED87663}"/>
    <dgm:cxn modelId="{F6308F8F-CEDD-47CC-A4A8-6BF5AC0E6FF7}" type="presOf" srcId="{67313F6C-C8BB-428E-8793-DB01241B8DAD}" destId="{204BAF15-9FF7-4840-A8E0-CE3416679EB8}" srcOrd="0" destOrd="0" presId="urn:microsoft.com/office/officeart/2005/8/layout/process1"/>
    <dgm:cxn modelId="{6E8195A0-839E-42C2-9A63-4C458C06CA1B}" type="presOf" srcId="{22356148-5597-4628-822B-CFB19275B8ED}" destId="{50BF3604-76C1-408A-B0F4-144FDCECF437}" srcOrd="0" destOrd="0" presId="urn:microsoft.com/office/officeart/2005/8/layout/process1"/>
    <dgm:cxn modelId="{52AB96A8-F1D2-44B7-9A9F-4A687D8AFCB4}" type="presOf" srcId="{46DF7FD1-4AF7-404F-89E4-588A431E2CB4}" destId="{467D08D1-E6AF-4306-8899-6ADC9A040D7C}" srcOrd="0" destOrd="0" presId="urn:microsoft.com/office/officeart/2005/8/layout/process1"/>
    <dgm:cxn modelId="{04E11AC8-9742-4807-BCC4-6712BDB6CE02}" type="presOf" srcId="{9DB0D4EA-3E39-49DB-8AE3-3A68971CB12C}" destId="{9B80596A-D1B0-4941-A6A2-6E7BC86A7B16}" srcOrd="0" destOrd="0" presId="urn:microsoft.com/office/officeart/2005/8/layout/process1"/>
    <dgm:cxn modelId="{A9AEABDC-B35F-4B62-A6C3-8C27612171C2}" srcId="{AF680320-8BDF-423A-9CA6-74DF7A469126}" destId="{46DF7FD1-4AF7-404F-89E4-588A431E2CB4}" srcOrd="1" destOrd="0" parTransId="{2A9F685B-A9C4-4777-8BC3-7597295CA516}" sibTransId="{C49AC424-1B02-498A-BD2D-159E56696B2A}"/>
    <dgm:cxn modelId="{263852DF-BB0E-4B73-8663-47B18ED4634D}" type="presOf" srcId="{DF58CFE4-2757-4395-8DE3-1549F12A98DC}" destId="{598BF8B9-08E8-4424-B95C-53B068D7F0AF}" srcOrd="0" destOrd="0" presId="urn:microsoft.com/office/officeart/2005/8/layout/process1"/>
    <dgm:cxn modelId="{54D774EE-31D6-4C82-B228-EAA6568C459D}" type="presOf" srcId="{AF680320-8BDF-423A-9CA6-74DF7A469126}" destId="{64A348D5-A6ED-43FC-B2D8-BBE1FBDCC5D2}" srcOrd="0" destOrd="0" presId="urn:microsoft.com/office/officeart/2005/8/layout/process1"/>
    <dgm:cxn modelId="{2D9EF3F9-8067-450E-A74D-1C9D1B84729E}" type="presOf" srcId="{DF58CFE4-2757-4395-8DE3-1549F12A98DC}" destId="{589281DB-F661-4226-9655-32D776B0AFC5}" srcOrd="1" destOrd="0" presId="urn:microsoft.com/office/officeart/2005/8/layout/process1"/>
    <dgm:cxn modelId="{99C763FA-A796-45D8-BA14-0C564D9ADB8B}" srcId="{AF680320-8BDF-423A-9CA6-74DF7A469126}" destId="{22356148-5597-4628-822B-CFB19275B8ED}" srcOrd="2" destOrd="0" parTransId="{832080FB-9558-4CDF-9A58-13009F000C15}" sibTransId="{9DB0D4EA-3E39-49DB-8AE3-3A68971CB12C}"/>
    <dgm:cxn modelId="{6C3C3495-E44B-435E-9F93-905C1D4C00BA}" type="presParOf" srcId="{64A348D5-A6ED-43FC-B2D8-BBE1FBDCC5D2}" destId="{204BAF15-9FF7-4840-A8E0-CE3416679EB8}" srcOrd="0" destOrd="0" presId="urn:microsoft.com/office/officeart/2005/8/layout/process1"/>
    <dgm:cxn modelId="{9E19BBA2-D384-4067-A888-1D63FA07E8CD}" type="presParOf" srcId="{64A348D5-A6ED-43FC-B2D8-BBE1FBDCC5D2}" destId="{598BF8B9-08E8-4424-B95C-53B068D7F0AF}" srcOrd="1" destOrd="0" presId="urn:microsoft.com/office/officeart/2005/8/layout/process1"/>
    <dgm:cxn modelId="{EBE970BD-0586-4FA6-8BD0-93D42D93CC52}" type="presParOf" srcId="{598BF8B9-08E8-4424-B95C-53B068D7F0AF}" destId="{589281DB-F661-4226-9655-32D776B0AFC5}" srcOrd="0" destOrd="0" presId="urn:microsoft.com/office/officeart/2005/8/layout/process1"/>
    <dgm:cxn modelId="{524B0433-E615-4EAE-AED6-A7534A407AE0}" type="presParOf" srcId="{64A348D5-A6ED-43FC-B2D8-BBE1FBDCC5D2}" destId="{467D08D1-E6AF-4306-8899-6ADC9A040D7C}" srcOrd="2" destOrd="0" presId="urn:microsoft.com/office/officeart/2005/8/layout/process1"/>
    <dgm:cxn modelId="{21902C23-D3E7-4A27-BB79-A782E030590C}" type="presParOf" srcId="{64A348D5-A6ED-43FC-B2D8-BBE1FBDCC5D2}" destId="{27F02758-B967-43F2-9D7B-985FE2D6A0B5}" srcOrd="3" destOrd="0" presId="urn:microsoft.com/office/officeart/2005/8/layout/process1"/>
    <dgm:cxn modelId="{B4CC8FC1-F1C6-47CB-9AD5-5F19AC2AA4AC}" type="presParOf" srcId="{27F02758-B967-43F2-9D7B-985FE2D6A0B5}" destId="{3F5D8827-FFB2-4E57-944B-B507A7F75DED}" srcOrd="0" destOrd="0" presId="urn:microsoft.com/office/officeart/2005/8/layout/process1"/>
    <dgm:cxn modelId="{1952FB18-FD61-47F0-8AC1-B67E42548C4D}" type="presParOf" srcId="{64A348D5-A6ED-43FC-B2D8-BBE1FBDCC5D2}" destId="{50BF3604-76C1-408A-B0F4-144FDCECF437}" srcOrd="4" destOrd="0" presId="urn:microsoft.com/office/officeart/2005/8/layout/process1"/>
    <dgm:cxn modelId="{1ADA1D11-E656-40B3-83EE-D66CE46DFBA7}" type="presParOf" srcId="{64A348D5-A6ED-43FC-B2D8-BBE1FBDCC5D2}" destId="{9B80596A-D1B0-4941-A6A2-6E7BC86A7B16}" srcOrd="5" destOrd="0" presId="urn:microsoft.com/office/officeart/2005/8/layout/process1"/>
    <dgm:cxn modelId="{FC15BE14-A813-4855-99EF-B0B44D23021B}" type="presParOf" srcId="{9B80596A-D1B0-4941-A6A2-6E7BC86A7B16}" destId="{DFBE80C7-E989-4156-B9C8-B358B72B6FA2}" srcOrd="0" destOrd="0" presId="urn:microsoft.com/office/officeart/2005/8/layout/process1"/>
    <dgm:cxn modelId="{5538B6DF-B116-480B-B778-34480AFFEF71}" type="presParOf" srcId="{64A348D5-A6ED-43FC-B2D8-BBE1FBDCC5D2}" destId="{FFC93E7D-227A-4624-A4FD-3278CD83DA3A}" srcOrd="6"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4BAF15-9FF7-4840-A8E0-CE3416679EB8}">
      <dsp:nvSpPr>
        <dsp:cNvPr id="0" name=""/>
        <dsp:cNvSpPr/>
      </dsp:nvSpPr>
      <dsp:spPr>
        <a:xfrm>
          <a:off x="9749" y="953983"/>
          <a:ext cx="2035706" cy="213749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stall bits</a:t>
          </a:r>
          <a:br>
            <a:rPr lang="en-US" sz="2400" kern="1200" dirty="0"/>
          </a:br>
          <a:r>
            <a:rPr lang="en-US" sz="2400" kern="1200" dirty="0"/>
            <a:t>Keep </a:t>
          </a:r>
          <a:r>
            <a:rPr lang="en-US" sz="2400" b="0" i="1" kern="1200" dirty="0"/>
            <a:t>existing</a:t>
          </a:r>
          <a:r>
            <a:rPr lang="en-US" sz="2400" kern="1200" dirty="0"/>
            <a:t> </a:t>
          </a:r>
          <a:r>
            <a:rPr lang="en-US" sz="2400" kern="1200" dirty="0" err="1"/>
            <a:t>compat</a:t>
          </a:r>
          <a:r>
            <a:rPr lang="en-US" sz="2400" kern="1200" dirty="0"/>
            <a:t>. level</a:t>
          </a:r>
        </a:p>
      </dsp:txBody>
      <dsp:txXfrm>
        <a:off x="69373" y="1013607"/>
        <a:ext cx="1916458" cy="2018244"/>
      </dsp:txXfrm>
    </dsp:sp>
    <dsp:sp modelId="{598BF8B9-08E8-4424-B95C-53B068D7F0AF}">
      <dsp:nvSpPr>
        <dsp:cNvPr id="0" name=""/>
        <dsp:cNvSpPr/>
      </dsp:nvSpPr>
      <dsp:spPr>
        <a:xfrm>
          <a:off x="2249027" y="1770301"/>
          <a:ext cx="431569" cy="50485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a:off x="2249027" y="1871272"/>
        <a:ext cx="302098" cy="302913"/>
      </dsp:txXfrm>
    </dsp:sp>
    <dsp:sp modelId="{467D08D1-E6AF-4306-8899-6ADC9A040D7C}">
      <dsp:nvSpPr>
        <dsp:cNvPr id="0" name=""/>
        <dsp:cNvSpPr/>
      </dsp:nvSpPr>
      <dsp:spPr>
        <a:xfrm>
          <a:off x="2859739" y="953983"/>
          <a:ext cx="2412780" cy="213749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Run Query Store </a:t>
          </a:r>
        </a:p>
        <a:p>
          <a:pPr marL="0" lvl="0" indent="0" algn="ctr" defTabSz="1066800">
            <a:lnSpc>
              <a:spcPct val="90000"/>
            </a:lnSpc>
            <a:spcBef>
              <a:spcPct val="0"/>
            </a:spcBef>
            <a:spcAft>
              <a:spcPct val="35000"/>
            </a:spcAft>
            <a:buNone/>
          </a:pPr>
          <a:r>
            <a:rPr lang="en-US" sz="2400" kern="1200" dirty="0"/>
            <a:t>(create a baseline)</a:t>
          </a:r>
        </a:p>
      </dsp:txBody>
      <dsp:txXfrm>
        <a:off x="2922344" y="1016588"/>
        <a:ext cx="2287570" cy="2012282"/>
      </dsp:txXfrm>
    </dsp:sp>
    <dsp:sp modelId="{27F02758-B967-43F2-9D7B-985FE2D6A0B5}">
      <dsp:nvSpPr>
        <dsp:cNvPr id="0" name=""/>
        <dsp:cNvSpPr/>
      </dsp:nvSpPr>
      <dsp:spPr>
        <a:xfrm>
          <a:off x="5476090" y="1770301"/>
          <a:ext cx="431569" cy="50485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a:off x="5476090" y="1871272"/>
        <a:ext cx="302098" cy="302913"/>
      </dsp:txXfrm>
    </dsp:sp>
    <dsp:sp modelId="{50BF3604-76C1-408A-B0F4-144FDCECF437}">
      <dsp:nvSpPr>
        <dsp:cNvPr id="0" name=""/>
        <dsp:cNvSpPr/>
      </dsp:nvSpPr>
      <dsp:spPr>
        <a:xfrm>
          <a:off x="6086802" y="953983"/>
          <a:ext cx="2317163" cy="213749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ctr" defTabSz="1066800">
            <a:lnSpc>
              <a:spcPct val="90000"/>
            </a:lnSpc>
            <a:spcBef>
              <a:spcPct val="0"/>
            </a:spcBef>
            <a:spcAft>
              <a:spcPct val="35000"/>
            </a:spcAft>
            <a:buNone/>
          </a:pPr>
          <a:r>
            <a:rPr lang="en-US" sz="2400" kern="1200" dirty="0"/>
            <a:t>Move to </a:t>
          </a:r>
          <a:r>
            <a:rPr lang="en-US" sz="2400" b="1" kern="1200" dirty="0"/>
            <a:t>vNext CompatLevel</a:t>
          </a:r>
        </a:p>
      </dsp:txBody>
      <dsp:txXfrm>
        <a:off x="6149407" y="1016588"/>
        <a:ext cx="2191953" cy="2012282"/>
      </dsp:txXfrm>
    </dsp:sp>
    <dsp:sp modelId="{9B80596A-D1B0-4941-A6A2-6E7BC86A7B16}">
      <dsp:nvSpPr>
        <dsp:cNvPr id="0" name=""/>
        <dsp:cNvSpPr/>
      </dsp:nvSpPr>
      <dsp:spPr>
        <a:xfrm>
          <a:off x="8607536" y="1770301"/>
          <a:ext cx="431569" cy="50485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a:off x="8607536" y="1871272"/>
        <a:ext cx="302098" cy="302913"/>
      </dsp:txXfrm>
    </dsp:sp>
    <dsp:sp modelId="{FFC93E7D-227A-4624-A4FD-3278CD83DA3A}">
      <dsp:nvSpPr>
        <dsp:cNvPr id="0" name=""/>
        <dsp:cNvSpPr/>
      </dsp:nvSpPr>
      <dsp:spPr>
        <a:xfrm>
          <a:off x="9218248" y="953983"/>
          <a:ext cx="2035706" cy="2137492"/>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Fix regressions with plan forcing</a:t>
          </a:r>
        </a:p>
      </dsp:txBody>
      <dsp:txXfrm>
        <a:off x="9277872" y="1013607"/>
        <a:ext cx="1916458" cy="2018244"/>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4029282" cy="351957"/>
          </a:xfrm>
          <a:prstGeom prst="rect">
            <a:avLst/>
          </a:prstGeom>
        </p:spPr>
        <p:txBody>
          <a:bodyPr vert="horz" lIns="91440" tIns="45720" rIns="91440" bIns="45720" rtlCol="0"/>
          <a:lstStyle>
            <a:lvl1pPr algn="l" defTabSz="932688"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5265014" y="0"/>
            <a:ext cx="4029282" cy="351957"/>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656B97E7-3517-BA49-9C61-BB0AA69F1F05}" type="datetimeFigureOut">
              <a:rPr lang="en-US"/>
              <a:pPr>
                <a:defRPr/>
              </a:pPr>
              <a:t>5/2/2017</a:t>
            </a:fld>
            <a:endParaRPr lang="en-US"/>
          </a:p>
        </p:txBody>
      </p:sp>
      <p:sp>
        <p:nvSpPr>
          <p:cNvPr id="4" name="Footer Placeholder 3"/>
          <p:cNvSpPr>
            <a:spLocks noGrp="1"/>
          </p:cNvSpPr>
          <p:nvPr>
            <p:ph type="ftr" sz="quarter" idx="2"/>
          </p:nvPr>
        </p:nvSpPr>
        <p:spPr>
          <a:xfrm>
            <a:off x="2" y="6658444"/>
            <a:ext cx="4029282" cy="351957"/>
          </a:xfrm>
          <a:prstGeom prst="rect">
            <a:avLst/>
          </a:prstGeom>
        </p:spPr>
        <p:txBody>
          <a:bodyPr vert="horz" lIns="91440" tIns="45720" rIns="91440" bIns="45720" rtlCol="0" anchor="b"/>
          <a:lstStyle>
            <a:lvl1pPr algn="l" defTabSz="932688"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5265014" y="6658444"/>
            <a:ext cx="4029282" cy="351957"/>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959BDC71-D924-834D-B117-7FF15E680F4D}" type="slidenum">
              <a:rPr lang="en-US"/>
              <a:pPr>
                <a:defRPr/>
              </a:pPr>
              <a:t>‹#›</a:t>
            </a:fld>
            <a:endParaRPr lang="en-US"/>
          </a:p>
        </p:txBody>
      </p:sp>
    </p:spTree>
    <p:extLst>
      <p:ext uri="{BB962C8B-B14F-4D97-AF65-F5344CB8AC3E}">
        <p14:creationId xmlns:p14="http://schemas.microsoft.com/office/powerpoint/2010/main" val="15067114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4029282" cy="351957"/>
          </a:xfrm>
          <a:prstGeom prst="rect">
            <a:avLst/>
          </a:prstGeom>
        </p:spPr>
        <p:txBody>
          <a:bodyPr vert="horz" lIns="93177" tIns="46589" rIns="93177" bIns="46589" rtlCol="0"/>
          <a:lstStyle>
            <a:lvl1pPr algn="l" defTabSz="932688"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5265014" y="0"/>
            <a:ext cx="4029282" cy="351957"/>
          </a:xfrm>
          <a:prstGeom prst="rect">
            <a:avLst/>
          </a:prstGeom>
        </p:spPr>
        <p:txBody>
          <a:bodyPr vert="horz" wrap="square" lIns="93177" tIns="46589" rIns="93177" bIns="46589" numCol="1" anchor="t"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144C36B2-748D-0D47-8AD2-1DD2B2E12A6E}" type="datetimeFigureOut">
              <a:rPr lang="en-US"/>
              <a:pPr>
                <a:defRPr/>
              </a:pPr>
              <a:t>5/2/2017</a:t>
            </a:fld>
            <a:endParaRPr lang="en-US"/>
          </a:p>
        </p:txBody>
      </p:sp>
      <p:sp>
        <p:nvSpPr>
          <p:cNvPr id="4" name="Slide Image Placeholder 3"/>
          <p:cNvSpPr>
            <a:spLocks noGrp="1" noRot="1" noChangeAspect="1"/>
          </p:cNvSpPr>
          <p:nvPr>
            <p:ph type="sldImg" idx="2"/>
          </p:nvPr>
        </p:nvSpPr>
        <p:spPr>
          <a:xfrm>
            <a:off x="2544763" y="876300"/>
            <a:ext cx="4206875" cy="2365375"/>
          </a:xfrm>
          <a:prstGeom prst="rect">
            <a:avLst/>
          </a:prstGeom>
          <a:noFill/>
          <a:ln w="12700">
            <a:solidFill>
              <a:prstClr val="black"/>
            </a:solidFill>
          </a:ln>
        </p:spPr>
        <p:txBody>
          <a:bodyPr vert="horz" lIns="93177" tIns="46589" rIns="93177" bIns="46589" rtlCol="0" anchor="ctr"/>
          <a:lstStyle/>
          <a:p>
            <a:pPr lvl="0"/>
            <a:endParaRPr lang="en-US" noProof="0"/>
          </a:p>
        </p:txBody>
      </p:sp>
      <p:sp>
        <p:nvSpPr>
          <p:cNvPr id="5" name="Notes Placeholder 4"/>
          <p:cNvSpPr>
            <a:spLocks noGrp="1"/>
          </p:cNvSpPr>
          <p:nvPr>
            <p:ph type="body" sz="quarter" idx="3"/>
          </p:nvPr>
        </p:nvSpPr>
        <p:spPr>
          <a:xfrm>
            <a:off x="930482" y="3373516"/>
            <a:ext cx="7435436" cy="2760584"/>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2" y="6658444"/>
            <a:ext cx="4029282" cy="351957"/>
          </a:xfrm>
          <a:prstGeom prst="rect">
            <a:avLst/>
          </a:prstGeom>
        </p:spPr>
        <p:txBody>
          <a:bodyPr vert="horz" lIns="93177" tIns="46589" rIns="93177" bIns="46589" rtlCol="0" anchor="b"/>
          <a:lstStyle>
            <a:lvl1pPr algn="l" defTabSz="932688"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5265014" y="6658444"/>
            <a:ext cx="4029282" cy="351957"/>
          </a:xfrm>
          <a:prstGeom prst="rect">
            <a:avLst/>
          </a:prstGeom>
        </p:spPr>
        <p:txBody>
          <a:bodyPr vert="horz" wrap="square" lIns="93177" tIns="46589" rIns="93177" bIns="46589" numCol="1" anchor="b"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7088D5E3-B0C4-244E-905F-C9848084E0A1}" type="slidenum">
              <a:rPr lang="en-US"/>
              <a:pPr>
                <a:defRPr/>
              </a:pPr>
              <a:t>‹#›</a:t>
            </a:fld>
            <a:endParaRPr lang="en-US"/>
          </a:p>
        </p:txBody>
      </p:sp>
    </p:spTree>
    <p:extLst>
      <p:ext uri="{BB962C8B-B14F-4D97-AF65-F5344CB8AC3E}">
        <p14:creationId xmlns:p14="http://schemas.microsoft.com/office/powerpoint/2010/main" val="1657721836"/>
      </p:ext>
    </p:extLst>
  </p:cSld>
  <p:clrMap bg1="lt1" tx1="dk1" bg2="lt2" tx2="dk2" accent1="accent1" accent2="accent2" accent3="accent3" accent4="accent4" accent5="accent5" accent6="accent6" hlink="hlink" folHlink="folHlink"/>
  <p:notesStyle>
    <a:lvl1pPr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charset="0"/>
      </a:defRPr>
    </a:lvl1pPr>
    <a:lvl2pPr marL="465138"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2pPr>
    <a:lvl3pPr marL="931863"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3pPr>
    <a:lvl4pPr marL="1398588"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4pPr>
    <a:lvl5pPr marL="1865313"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msdn.microsoft.com/en-us/library/bb522682(v=sql.130).aspx"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sdn.microsoft.com/en-us/library/bb630319(v=sql.130).aspx"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msdn.microsoft.com/en-us/library/dn817826(v=sql.130).aspx"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1</a:t>
            </a:fld>
            <a:endParaRPr lang="en-US">
              <a:solidFill>
                <a:prstClr val="black"/>
              </a:solidFill>
            </a:endParaRPr>
          </a:p>
        </p:txBody>
      </p:sp>
    </p:spTree>
    <p:extLst>
      <p:ext uri="{BB962C8B-B14F-4D97-AF65-F5344CB8AC3E}">
        <p14:creationId xmlns:p14="http://schemas.microsoft.com/office/powerpoint/2010/main" val="21256180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msdn.microsoft.com/en-us/library/dn817826(v=sql.130).aspx#Stability</a:t>
            </a:r>
          </a:p>
          <a:p>
            <a:endParaRPr lang="en-US" b="1" dirty="0">
              <a:effectLst/>
            </a:endParaRPr>
          </a:p>
          <a:p>
            <a:r>
              <a:rPr lang="en-US" b="1" dirty="0">
                <a:effectLst/>
              </a:rPr>
              <a:t>Maintaining Query Performance Stability</a:t>
            </a:r>
          </a:p>
          <a:p>
            <a:r>
              <a:rPr lang="en-US" dirty="0">
                <a:effectLst/>
              </a:rPr>
              <a:t>For queries that are executed multiple times you may notice that SQL Server used different plans which resulted in different resource utilization and duration. With Query Store you can easily detect when the query performance regressed and determine the optimal plan within a period of interest. Then you can force that optimal plan for future query execution.</a:t>
            </a:r>
          </a:p>
          <a:p>
            <a:endParaRPr lang="en-US" dirty="0">
              <a:effectLst/>
            </a:endParaRPr>
          </a:p>
          <a:p>
            <a:r>
              <a:rPr lang="en-US" dirty="0">
                <a:effectLst/>
              </a:rPr>
              <a:t>You can also identify inconsistent query performance for a query with parameters (either auto- parameterized or manually parameterized). Among different plans you can identify plan which is fast and optimal enough for all or most of the parameter values and force that plan; keeping predictable performance for the wider set of user scenarios.</a:t>
            </a:r>
          </a:p>
          <a:p>
            <a:endParaRPr lang="en-US" b="1" dirty="0">
              <a:effectLst/>
            </a:endParaRPr>
          </a:p>
          <a:p>
            <a:r>
              <a:rPr lang="en-US" b="1" dirty="0">
                <a:effectLst/>
              </a:rPr>
              <a:t>Force or a plan for a query (apply forcing policy).</a:t>
            </a:r>
            <a:r>
              <a:rPr lang="en-US" dirty="0">
                <a:effectLst/>
              </a:rPr>
              <a:t> When a plan is forced for a certain query, every time a query comes to execution it will be executed with the plan that is forced.</a:t>
            </a:r>
          </a:p>
          <a:p>
            <a:endParaRPr lang="en-US" dirty="0">
              <a:effectLst/>
            </a:endParaRPr>
          </a:p>
          <a:p>
            <a:pPr rtl="0"/>
            <a:r>
              <a:rPr lang="en-US" sz="1200" kern="1200" dirty="0">
                <a:solidFill>
                  <a:schemeClr val="tx1"/>
                </a:solidFill>
                <a:effectLst/>
                <a:latin typeface="+mn-lt"/>
                <a:ea typeface="MS PGothic" panose="020B0600070205080204" pitchFamily="34" charset="-128"/>
                <a:cs typeface="ＭＳ Ｐゴシック" charset="0"/>
              </a:rPr>
              <a:t>EXEC </a:t>
            </a:r>
            <a:r>
              <a:rPr lang="en-US" sz="1200" kern="1200" dirty="0" err="1">
                <a:solidFill>
                  <a:schemeClr val="tx1"/>
                </a:solidFill>
                <a:effectLst/>
                <a:latin typeface="+mn-lt"/>
                <a:ea typeface="MS PGothic" panose="020B0600070205080204" pitchFamily="34" charset="-128"/>
                <a:cs typeface="ＭＳ Ｐゴシック" charset="0"/>
              </a:rPr>
              <a:t>sp_query_store_force_plan</a:t>
            </a:r>
            <a:r>
              <a:rPr lang="en-US" sz="1200" kern="1200" dirty="0">
                <a:solidFill>
                  <a:schemeClr val="tx1"/>
                </a:solidFill>
                <a:effectLst/>
                <a:latin typeface="+mn-lt"/>
                <a:ea typeface="MS PGothic" panose="020B0600070205080204" pitchFamily="34" charset="-128"/>
                <a:cs typeface="ＭＳ Ｐゴシック" charset="0"/>
              </a:rPr>
              <a:t> @</a:t>
            </a:r>
            <a:r>
              <a:rPr lang="en-US" sz="1200" kern="1200" dirty="0" err="1">
                <a:solidFill>
                  <a:schemeClr val="tx1"/>
                </a:solidFill>
                <a:effectLst/>
                <a:latin typeface="+mn-lt"/>
                <a:ea typeface="MS PGothic" panose="020B0600070205080204" pitchFamily="34" charset="-128"/>
                <a:cs typeface="ＭＳ Ｐゴシック" charset="0"/>
              </a:rPr>
              <a:t>query_id</a:t>
            </a:r>
            <a:r>
              <a:rPr lang="en-US" sz="1200" kern="1200" dirty="0">
                <a:solidFill>
                  <a:schemeClr val="tx1"/>
                </a:solidFill>
                <a:effectLst/>
                <a:latin typeface="+mn-lt"/>
                <a:ea typeface="MS PGothic" panose="020B0600070205080204" pitchFamily="34" charset="-128"/>
                <a:cs typeface="ＭＳ Ｐゴシック" charset="0"/>
              </a:rPr>
              <a:t> = 48, @</a:t>
            </a:r>
            <a:r>
              <a:rPr lang="en-US" sz="1200" kern="1200" dirty="0" err="1">
                <a:solidFill>
                  <a:schemeClr val="tx1"/>
                </a:solidFill>
                <a:effectLst/>
                <a:latin typeface="+mn-lt"/>
                <a:ea typeface="MS PGothic" panose="020B0600070205080204" pitchFamily="34" charset="-128"/>
                <a:cs typeface="ＭＳ Ｐゴシック" charset="0"/>
              </a:rPr>
              <a:t>plan_id</a:t>
            </a:r>
            <a:r>
              <a:rPr lang="en-US" sz="1200" kern="1200" dirty="0">
                <a:solidFill>
                  <a:schemeClr val="tx1"/>
                </a:solidFill>
                <a:effectLst/>
                <a:latin typeface="+mn-lt"/>
                <a:ea typeface="MS PGothic" panose="020B0600070205080204" pitchFamily="34" charset="-128"/>
                <a:cs typeface="ＭＳ Ｐゴシック" charset="0"/>
              </a:rPr>
              <a:t> = 49; </a:t>
            </a:r>
          </a:p>
          <a:p>
            <a:endParaRPr lang="en-US" dirty="0">
              <a:effectLst/>
            </a:endParaRPr>
          </a:p>
          <a:p>
            <a:r>
              <a:rPr lang="en-US" dirty="0">
                <a:effectLst/>
              </a:rPr>
              <a:t>When using </a:t>
            </a:r>
            <a:r>
              <a:rPr lang="en-US" dirty="0" err="1">
                <a:effectLst/>
              </a:rPr>
              <a:t>sp_query_store_force_plan</a:t>
            </a:r>
            <a:r>
              <a:rPr lang="en-US" dirty="0">
                <a:effectLst/>
              </a:rPr>
              <a:t> you can only force plans that were recorded by Query Store as a plan for that query. In other words, the only plans available for a query are those that were already used to execute Q1 while Query Store was active.</a:t>
            </a:r>
          </a:p>
          <a:p>
            <a:endParaRPr lang="en-US" dirty="0">
              <a:effectLst/>
            </a:endParaRPr>
          </a:p>
          <a:p>
            <a:r>
              <a:rPr lang="en-US" b="1" dirty="0">
                <a:effectLst/>
              </a:rPr>
              <a:t>Remove plan forcing for a query.</a:t>
            </a:r>
            <a:r>
              <a:rPr lang="en-US" dirty="0">
                <a:effectLst/>
              </a:rPr>
              <a:t> To rely again on the SQL Server query optimizer to calculate the optimal query plan, use </a:t>
            </a:r>
            <a:r>
              <a:rPr lang="en-US" dirty="0" err="1">
                <a:effectLst/>
              </a:rPr>
              <a:t>sp_query_store_unforce_plan</a:t>
            </a:r>
            <a:r>
              <a:rPr lang="en-US" dirty="0">
                <a:effectLst/>
              </a:rPr>
              <a:t> to </a:t>
            </a:r>
            <a:r>
              <a:rPr lang="en-US" dirty="0" err="1">
                <a:effectLst/>
              </a:rPr>
              <a:t>unforce</a:t>
            </a:r>
            <a:r>
              <a:rPr lang="en-US" dirty="0">
                <a:effectLst/>
              </a:rPr>
              <a:t> the plan that was selected for the query.</a:t>
            </a:r>
          </a:p>
          <a:p>
            <a:endParaRPr lang="en-US" dirty="0">
              <a:effectLst/>
            </a:endParaRPr>
          </a:p>
          <a:p>
            <a:pPr rtl="0"/>
            <a:r>
              <a:rPr lang="en-US" sz="1200" kern="1200" dirty="0">
                <a:solidFill>
                  <a:schemeClr val="tx1"/>
                </a:solidFill>
                <a:effectLst/>
                <a:latin typeface="Consolas" panose="020B0609020204030204" pitchFamily="49" charset="0"/>
                <a:ea typeface="MS PGothic" panose="020B0600070205080204" pitchFamily="34" charset="-128"/>
                <a:cs typeface="Consolas" panose="020B0609020204030204" pitchFamily="49" charset="0"/>
              </a:rPr>
              <a:t>EXEC </a:t>
            </a:r>
            <a:r>
              <a:rPr lang="en-US" sz="1200" kern="1200" dirty="0" err="1">
                <a:solidFill>
                  <a:schemeClr val="tx1"/>
                </a:solidFill>
                <a:effectLst/>
                <a:latin typeface="Consolas" panose="020B0609020204030204" pitchFamily="49" charset="0"/>
                <a:ea typeface="MS PGothic" panose="020B0600070205080204" pitchFamily="34" charset="-128"/>
                <a:cs typeface="Consolas" panose="020B0609020204030204" pitchFamily="49" charset="0"/>
              </a:rPr>
              <a:t>sp_query_store_unforce_plan</a:t>
            </a:r>
            <a:r>
              <a:rPr lang="en-US" sz="1200" kern="1200" dirty="0">
                <a:solidFill>
                  <a:schemeClr val="tx1"/>
                </a:solidFill>
                <a:effectLst/>
                <a:latin typeface="Consolas" panose="020B0609020204030204" pitchFamily="49" charset="0"/>
                <a:ea typeface="MS PGothic" panose="020B0600070205080204" pitchFamily="34" charset="-128"/>
                <a:cs typeface="Consolas" panose="020B0609020204030204" pitchFamily="49" charset="0"/>
              </a:rPr>
              <a:t> @</a:t>
            </a:r>
            <a:r>
              <a:rPr lang="en-US" sz="1200" kern="1200" dirty="0" err="1">
                <a:solidFill>
                  <a:schemeClr val="tx1"/>
                </a:solidFill>
                <a:effectLst/>
                <a:latin typeface="Consolas" panose="020B0609020204030204" pitchFamily="49" charset="0"/>
                <a:ea typeface="MS PGothic" panose="020B0600070205080204" pitchFamily="34" charset="-128"/>
                <a:cs typeface="Consolas" panose="020B0609020204030204" pitchFamily="49" charset="0"/>
              </a:rPr>
              <a:t>query_id</a:t>
            </a:r>
            <a:r>
              <a:rPr lang="en-US" sz="1200" kern="1200" dirty="0">
                <a:solidFill>
                  <a:schemeClr val="tx1"/>
                </a:solidFill>
                <a:effectLst/>
                <a:latin typeface="Consolas" panose="020B0609020204030204" pitchFamily="49" charset="0"/>
                <a:ea typeface="MS PGothic" panose="020B0600070205080204" pitchFamily="34" charset="-128"/>
                <a:cs typeface="Consolas" panose="020B0609020204030204" pitchFamily="49" charset="0"/>
              </a:rPr>
              <a:t> = 48, @</a:t>
            </a:r>
            <a:r>
              <a:rPr lang="en-US" sz="1200" kern="1200" dirty="0" err="1">
                <a:solidFill>
                  <a:schemeClr val="tx1"/>
                </a:solidFill>
                <a:effectLst/>
                <a:latin typeface="Consolas" panose="020B0609020204030204" pitchFamily="49" charset="0"/>
                <a:ea typeface="MS PGothic" panose="020B0600070205080204" pitchFamily="34" charset="-128"/>
                <a:cs typeface="Consolas" panose="020B0609020204030204" pitchFamily="49" charset="0"/>
              </a:rPr>
              <a:t>plan_id</a:t>
            </a:r>
            <a:r>
              <a:rPr lang="en-US" sz="1200" kern="1200" dirty="0">
                <a:solidFill>
                  <a:schemeClr val="tx1"/>
                </a:solidFill>
                <a:effectLst/>
                <a:latin typeface="Consolas" panose="020B0609020204030204" pitchFamily="49" charset="0"/>
                <a:ea typeface="MS PGothic" panose="020B0600070205080204" pitchFamily="34" charset="-128"/>
                <a:cs typeface="Consolas" panose="020B0609020204030204" pitchFamily="49" charset="0"/>
              </a:rPr>
              <a:t> = 49;</a:t>
            </a:r>
          </a:p>
          <a:p>
            <a:endParaRPr lang="en-US" dirty="0"/>
          </a:p>
          <a:p>
            <a:endParaRPr lang="en-US" dirty="0"/>
          </a:p>
          <a:p>
            <a:r>
              <a:rPr lang="en-US" dirty="0"/>
              <a:t>Other notes:</a:t>
            </a:r>
          </a:p>
          <a:p>
            <a:r>
              <a:rPr lang="en-US" dirty="0"/>
              <a:t>De-risk upgrades: QDS PF and COMPAT LEVEL</a:t>
            </a:r>
          </a:p>
          <a:p>
            <a:pPr marL="171450" indent="-171450">
              <a:buFontTx/>
              <a:buChar char="-"/>
            </a:pPr>
            <a:r>
              <a:rPr lang="en-US" dirty="0"/>
              <a:t>All plans are </a:t>
            </a:r>
            <a:r>
              <a:rPr lang="en-US" dirty="0" err="1"/>
              <a:t>freezed</a:t>
            </a:r>
            <a:r>
              <a:rPr lang="en-US" dirty="0"/>
              <a:t> in pre-upgrade state</a:t>
            </a:r>
          </a:p>
          <a:p>
            <a:pPr marL="171450" indent="-171450">
              <a:buFontTx/>
              <a:buChar char="-"/>
            </a:pPr>
            <a:r>
              <a:rPr lang="en-US" dirty="0"/>
              <a:t>We changed QP to keep CE changes under </a:t>
            </a:r>
            <a:r>
              <a:rPr lang="en-US" dirty="0" err="1"/>
              <a:t>compat</a:t>
            </a:r>
            <a:r>
              <a:rPr lang="en-US" dirty="0"/>
              <a:t> level</a:t>
            </a:r>
          </a:p>
          <a:p>
            <a:endParaRPr lang="en-US" dirty="0"/>
          </a:p>
          <a:p>
            <a:r>
              <a:rPr lang="en-US" dirty="0"/>
              <a:t>Questions:</a:t>
            </a:r>
          </a:p>
          <a:p>
            <a:pPr marL="228600" indent="-228600">
              <a:buAutoNum type="arabicParenR"/>
            </a:pPr>
            <a:r>
              <a:rPr lang="en-US" dirty="0"/>
              <a:t>Would described scenario work in</a:t>
            </a:r>
            <a:r>
              <a:rPr lang="en-US" baseline="0" dirty="0"/>
              <a:t> your environment? </a:t>
            </a:r>
            <a:endParaRPr lang="en-US" dirty="0"/>
          </a:p>
          <a:p>
            <a:pPr marL="228600" indent="-228600">
              <a:buAutoNum type="arabicParenR"/>
            </a:pPr>
            <a:r>
              <a:rPr lang="en-US" dirty="0"/>
              <a:t>plan</a:t>
            </a:r>
            <a:r>
              <a:rPr lang="en-US" baseline="0" dirty="0"/>
              <a:t> freezing will keep your current forcing decisions and apply the LAST plan for other queries. Is that what you would expect?</a:t>
            </a:r>
          </a:p>
          <a:p>
            <a:pPr marL="228600" indent="-228600">
              <a:buAutoNum type="arabicParenR"/>
            </a:pPr>
            <a:endParaRPr lang="en-US" baseline="0" dirty="0"/>
          </a:p>
          <a:p>
            <a:pPr marL="228600" indent="-228600">
              <a:buAutoNum type="arabicParenR"/>
            </a:pPr>
            <a:endParaRPr lang="en-US" dirty="0"/>
          </a:p>
        </p:txBody>
      </p:sp>
      <p:sp>
        <p:nvSpPr>
          <p:cNvPr id="4" name="Slide Number Placeholder 3"/>
          <p:cNvSpPr>
            <a:spLocks noGrp="1"/>
          </p:cNvSpPr>
          <p:nvPr>
            <p:ph type="sldNum" sz="quarter" idx="10"/>
          </p:nvPr>
        </p:nvSpPr>
        <p:spPr/>
        <p:txBody>
          <a:bodyPr/>
          <a:lstStyle/>
          <a:p>
            <a:fld id="{74772EAE-EF09-4CFC-9513-4CA89B040EC9}"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2204398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msdn.microsoft.com/en-us/library/dn817826(v=sql.130).aspx</a:t>
            </a:r>
          </a:p>
          <a:p>
            <a:endParaRPr lang="en-US" dirty="0"/>
          </a:p>
          <a:p>
            <a:r>
              <a:rPr lang="en-US" dirty="0"/>
              <a:t>The point</a:t>
            </a:r>
            <a:r>
              <a:rPr lang="en-US" baseline="0" dirty="0"/>
              <a:t> of this slide is to emphasize that Query Store comes with extraordinary UI that will help broader set of users to benefit from collected perf data immediately.</a:t>
            </a:r>
          </a:p>
          <a:p>
            <a:r>
              <a:rPr lang="en-US" baseline="0" dirty="0"/>
              <a:t>SSMS is focused around handful really the most important scenarios making feature instantly useful in everyday activities of typical DBA.</a:t>
            </a:r>
          </a:p>
          <a:p>
            <a:r>
              <a:rPr lang="en-US" baseline="0" dirty="0"/>
              <a:t>We want to encourage people to try out new UI and learn from it: it is a great knowledge source because people can easily learn first steps of using Query Store DMVs by analyzing queries generated by SSMS.  </a:t>
            </a:r>
            <a:endParaRPr lang="en-US" dirty="0"/>
          </a:p>
        </p:txBody>
      </p:sp>
      <p:sp>
        <p:nvSpPr>
          <p:cNvPr id="4" name="Slide Number Placeholder 3"/>
          <p:cNvSpPr>
            <a:spLocks noGrp="1"/>
          </p:cNvSpPr>
          <p:nvPr>
            <p:ph type="sldNum" sz="quarter" idx="10"/>
          </p:nvPr>
        </p:nvSpPr>
        <p:spPr/>
        <p:txBody>
          <a:bodyPr/>
          <a:lstStyle/>
          <a:p>
            <a:fld id="{74772EAE-EF09-4CFC-9513-4CA89B040EC9}"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10865457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msdn.microsoft.com/en-us/library/dn817826(v=sql.130).aspx#Enabling</a:t>
            </a:r>
          </a:p>
          <a:p>
            <a:endParaRPr lang="en-US" dirty="0"/>
          </a:p>
          <a:p>
            <a:r>
              <a:rPr lang="en-US" b="1" dirty="0">
                <a:effectLst/>
              </a:rPr>
              <a:t>Enabling the Query Store </a:t>
            </a:r>
          </a:p>
          <a:p>
            <a:r>
              <a:rPr lang="en-US" dirty="0">
                <a:effectLst/>
              </a:rPr>
              <a:t>Query Store is not active for new databases by default.</a:t>
            </a:r>
          </a:p>
          <a:p>
            <a:endParaRPr lang="en-US" b="1" dirty="0">
              <a:effectLst/>
            </a:endParaRPr>
          </a:p>
          <a:p>
            <a:r>
              <a:rPr lang="en-US" b="1" dirty="0">
                <a:effectLst/>
              </a:rPr>
              <a:t>By Using the Query Store Page in Management Studio</a:t>
            </a:r>
          </a:p>
          <a:p>
            <a:pPr marL="228600" indent="-228600">
              <a:buFont typeface="+mj-lt"/>
              <a:buAutoNum type="arabicPeriod"/>
            </a:pPr>
            <a:r>
              <a:rPr lang="en-US" dirty="0">
                <a:effectLst/>
              </a:rPr>
              <a:t>In Object Explorer, right-click a database, and then click Properties.</a:t>
            </a:r>
            <a:br>
              <a:rPr lang="en-US" dirty="0">
                <a:effectLst/>
              </a:rPr>
            </a:br>
            <a:r>
              <a:rPr lang="en-US" b="1" dirty="0">
                <a:effectLst/>
              </a:rPr>
              <a:t>Note</a:t>
            </a:r>
            <a:r>
              <a:rPr lang="en-US" dirty="0">
                <a:effectLst/>
              </a:rPr>
              <a:t> Requires at least SQL Server 2016 Community Technology Preview 2  (CTP2) version of Management Studio.</a:t>
            </a:r>
          </a:p>
          <a:p>
            <a:pPr marL="228600" indent="-228600">
              <a:buFont typeface="+mj-lt"/>
              <a:buAutoNum type="arabicPeriod"/>
            </a:pPr>
            <a:r>
              <a:rPr lang="en-US" dirty="0">
                <a:effectLst/>
              </a:rPr>
              <a:t>In the Database Properties dialog box, select the Query Store page.</a:t>
            </a:r>
          </a:p>
          <a:p>
            <a:pPr marL="228600" indent="-228600">
              <a:buFont typeface="+mj-lt"/>
              <a:buAutoNum type="arabicPeriod"/>
            </a:pPr>
            <a:r>
              <a:rPr lang="en-US" dirty="0">
                <a:effectLst/>
              </a:rPr>
              <a:t>In the Enable box, select True.</a:t>
            </a:r>
          </a:p>
          <a:p>
            <a:endParaRPr lang="en-US" b="1" dirty="0">
              <a:effectLst/>
            </a:endParaRPr>
          </a:p>
          <a:p>
            <a:r>
              <a:rPr lang="en-US" b="1" dirty="0">
                <a:effectLst/>
              </a:rPr>
              <a:t>By Using Transact-SQL Statements</a:t>
            </a:r>
          </a:p>
          <a:p>
            <a:r>
              <a:rPr lang="en-US" dirty="0">
                <a:effectLst/>
              </a:rPr>
              <a:t>Use the ALTER DATABASE statement to enable the query store. For example:</a:t>
            </a:r>
          </a:p>
          <a:p>
            <a:pPr rtl="0"/>
            <a:endParaRPr lang="en-US" sz="1200" kern="1200" dirty="0">
              <a:solidFill>
                <a:schemeClr val="tx1"/>
              </a:solidFill>
              <a:effectLst/>
              <a:latin typeface="+mn-lt"/>
              <a:ea typeface="MS PGothic" panose="020B0600070205080204" pitchFamily="34" charset="-128"/>
              <a:cs typeface="ＭＳ Ｐゴシック" charset="0"/>
            </a:endParaRPr>
          </a:p>
          <a:p>
            <a:pPr rtl="0"/>
            <a:r>
              <a:rPr lang="en-US" sz="1200" kern="1200" dirty="0">
                <a:solidFill>
                  <a:schemeClr val="tx1"/>
                </a:solidFill>
                <a:effectLst/>
                <a:latin typeface="+mn-lt"/>
                <a:ea typeface="MS PGothic" panose="020B0600070205080204" pitchFamily="34" charset="-128"/>
                <a:cs typeface="ＭＳ Ｐゴシック" charset="0"/>
              </a:rPr>
              <a:t>ALTER DATABASE AdventureWorks2012 SET QUERY_STORE = ON; </a:t>
            </a:r>
          </a:p>
          <a:p>
            <a:endParaRPr lang="en-US" dirty="0">
              <a:effectLst/>
            </a:endParaRPr>
          </a:p>
          <a:p>
            <a:r>
              <a:rPr lang="en-US" dirty="0">
                <a:effectLst/>
              </a:rPr>
              <a:t>For more syntax options related to the query store, see </a:t>
            </a:r>
            <a:r>
              <a:rPr lang="en-US" dirty="0">
                <a:effectLst/>
                <a:hlinkClick r:id="rId3"/>
              </a:rPr>
              <a:t>ALTER DATABASE SET Options (Transact-SQL)</a:t>
            </a:r>
            <a:r>
              <a:rPr lang="en-US" dirty="0">
                <a:effectLst/>
              </a:rPr>
              <a:t>.</a:t>
            </a:r>
          </a:p>
          <a:p>
            <a:endParaRPr lang="en-US" dirty="0"/>
          </a:p>
          <a:p>
            <a:r>
              <a:rPr lang="en-US" dirty="0"/>
              <a:t>See Key Usage Scenarios topic</a:t>
            </a:r>
            <a:r>
              <a:rPr lang="en-US" baseline="0" dirty="0"/>
              <a:t> - https://msdn.microsoft.com/en-us/library/dn817826(v=sql.130).aspx#Scenarios</a:t>
            </a:r>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13</a:t>
            </a:fld>
            <a:endParaRPr lang="en-US"/>
          </a:p>
        </p:txBody>
      </p:sp>
    </p:spTree>
    <p:extLst>
      <p:ext uri="{BB962C8B-B14F-4D97-AF65-F5344CB8AC3E}">
        <p14:creationId xmlns:p14="http://schemas.microsoft.com/office/powerpoint/2010/main" val="3419601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msdn.microsoft.com/en-us/library/dn831878(v=sql.130).aspx</a:t>
            </a:r>
          </a:p>
          <a:p>
            <a:endParaRPr lang="en-US" dirty="0"/>
          </a:p>
          <a:p>
            <a:r>
              <a:rPr lang="en-US" dirty="0">
                <a:effectLst/>
              </a:rPr>
              <a:t>SQL Server Management Studio provides the ability to view the live execution plan of an active query. This live query plan provides real-time insights into the query execution process as the controls flow from one query plan operator to another. The live query plan displays the overall query progress and operator-level run-time execution statistics such as the number of rows produced, elapsed time, operator progress, etc. Because this data is available in real time without needing to wait for the query to complete, these execution statistics are extremely useful for debugging query performance issues.</a:t>
            </a:r>
          </a:p>
          <a:p>
            <a:endParaRPr lang="en-US" dirty="0">
              <a:effectLst/>
            </a:endParaRPr>
          </a:p>
          <a:p>
            <a:r>
              <a:rPr lang="en-US" b="1" dirty="0">
                <a:effectLst/>
              </a:rPr>
              <a:t>Remarks </a:t>
            </a:r>
          </a:p>
          <a:p>
            <a:r>
              <a:rPr lang="en-US" dirty="0">
                <a:effectLst/>
              </a:rPr>
              <a:t>The statistics profile infrastructure must be enabled before live query statistics can capture information about the progress of queries. Specifying Include Live Query Statistics in Management Studio enables the statistics infrastructure for the current query session. There are two other ways to enable the statistics infrastructure which can be used to view the live query statistics from other sessions (such as from Activity Monitor).</a:t>
            </a:r>
          </a:p>
          <a:p>
            <a:pPr marL="171450" indent="-171450">
              <a:buFont typeface="Arial" panose="020B0604020202020204" pitchFamily="34" charset="0"/>
              <a:buChar char="•"/>
            </a:pPr>
            <a:r>
              <a:rPr lang="en-US" dirty="0">
                <a:effectLst/>
              </a:rPr>
              <a:t>Execute SET STATISTICS XML ON; or SET STATISTICS PROFILE ON; in the target session.</a:t>
            </a:r>
          </a:p>
          <a:p>
            <a:pPr marL="171450" indent="-171450">
              <a:buFont typeface="Arial" panose="020B0604020202020204" pitchFamily="34" charset="0"/>
              <a:buChar char="•"/>
            </a:pPr>
            <a:r>
              <a:rPr lang="en-US" dirty="0">
                <a:effectLst/>
              </a:rPr>
              <a:t>Enable the </a:t>
            </a:r>
            <a:r>
              <a:rPr lang="en-US" dirty="0" err="1">
                <a:effectLst/>
              </a:rPr>
              <a:t>query_post_execution_showplan</a:t>
            </a:r>
            <a:r>
              <a:rPr lang="en-US" dirty="0">
                <a:effectLst/>
              </a:rPr>
              <a:t> extended event. This is a server wide setting that enable live query statistics on all sessions. To enable extended events, see </a:t>
            </a:r>
            <a:r>
              <a:rPr lang="en-US" dirty="0">
                <a:effectLst/>
                <a:hlinkClick r:id="rId3"/>
              </a:rPr>
              <a:t>Monitor System Activity Using Extended Events</a:t>
            </a:r>
            <a:r>
              <a:rPr lang="en-US" dirty="0">
                <a:effectLst/>
              </a:rPr>
              <a:t>.</a:t>
            </a:r>
          </a:p>
          <a:p>
            <a:endParaRPr lang="en-US" dirty="0">
              <a:effectLst/>
            </a:endParaRPr>
          </a:p>
          <a:p>
            <a:r>
              <a:rPr lang="en-US" dirty="0">
                <a:effectLst/>
              </a:rPr>
              <a:t>Limitations </a:t>
            </a:r>
          </a:p>
          <a:p>
            <a:pPr marL="171450" indent="-171450">
              <a:buFont typeface="Arial" panose="020B0604020202020204" pitchFamily="34" charset="0"/>
              <a:buChar char="•"/>
            </a:pPr>
            <a:r>
              <a:rPr lang="en-US" dirty="0">
                <a:effectLst/>
              </a:rPr>
              <a:t>Queries using </a:t>
            </a:r>
            <a:r>
              <a:rPr lang="en-US" dirty="0" err="1">
                <a:effectLst/>
              </a:rPr>
              <a:t>columnstore</a:t>
            </a:r>
            <a:r>
              <a:rPr lang="en-US" dirty="0">
                <a:effectLst/>
              </a:rPr>
              <a:t> indexes are not supported.</a:t>
            </a:r>
          </a:p>
          <a:p>
            <a:pPr marL="171450" indent="-171450">
              <a:buFont typeface="Arial" panose="020B0604020202020204" pitchFamily="34" charset="0"/>
              <a:buChar char="•"/>
            </a:pPr>
            <a:r>
              <a:rPr lang="en-US" dirty="0">
                <a:effectLst/>
              </a:rPr>
              <a:t>Queries with memory optimized tables are not supported.</a:t>
            </a:r>
          </a:p>
          <a:p>
            <a:pPr marL="171450" indent="-171450">
              <a:buFont typeface="Arial" panose="020B0604020202020204" pitchFamily="34" charset="0"/>
              <a:buChar char="•"/>
            </a:pPr>
            <a:r>
              <a:rPr lang="en-US" dirty="0">
                <a:effectLst/>
              </a:rPr>
              <a:t>Natively compiled stored procedures are not supported.</a:t>
            </a:r>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14</a:t>
            </a:fld>
            <a:endParaRPr lang="en-US"/>
          </a:p>
        </p:txBody>
      </p:sp>
    </p:spTree>
    <p:extLst>
      <p:ext uri="{BB962C8B-B14F-4D97-AF65-F5344CB8AC3E}">
        <p14:creationId xmlns:p14="http://schemas.microsoft.com/office/powerpoint/2010/main" val="42657528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msdn.microsoft.com/en-us/library/dn817827(v=sql.130).aspx</a:t>
            </a:r>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15</a:t>
            </a:fld>
            <a:endParaRPr lang="en-US"/>
          </a:p>
        </p:txBody>
      </p:sp>
    </p:spTree>
    <p:extLst>
      <p:ext uri="{BB962C8B-B14F-4D97-AF65-F5344CB8AC3E}">
        <p14:creationId xmlns:p14="http://schemas.microsoft.com/office/powerpoint/2010/main" val="25268806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msdn.microsoft.com/en-us/library/dn817827(v=sql.130).aspx</a:t>
            </a:r>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16</a:t>
            </a:fld>
            <a:endParaRPr lang="en-US"/>
          </a:p>
        </p:txBody>
      </p:sp>
    </p:spTree>
    <p:extLst>
      <p:ext uri="{BB962C8B-B14F-4D97-AF65-F5344CB8AC3E}">
        <p14:creationId xmlns:p14="http://schemas.microsoft.com/office/powerpoint/2010/main" val="14899787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910632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er notes:</a:t>
            </a:r>
          </a:p>
          <a:p>
            <a:endParaRPr lang="en-US" dirty="0"/>
          </a:p>
          <a:p>
            <a:r>
              <a:rPr lang="en-US" dirty="0"/>
              <a:t>Query</a:t>
            </a:r>
            <a:r>
              <a:rPr lang="en-US" baseline="0" dirty="0"/>
              <a:t> store was introduced in SQL Server 2016.</a:t>
            </a:r>
            <a:endParaRPr lang="en-US" dirty="0"/>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2</a:t>
            </a:fld>
            <a:endParaRPr lang="en-US" dirty="0"/>
          </a:p>
        </p:txBody>
      </p:sp>
    </p:spTree>
    <p:extLst>
      <p:ext uri="{BB962C8B-B14F-4D97-AF65-F5344CB8AC3E}">
        <p14:creationId xmlns:p14="http://schemas.microsoft.com/office/powerpoint/2010/main" val="1081234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0229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772EAE-EF09-4CFC-9513-4CA89B040EC9}"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8053749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Monitoring Performance By Using the Query Store</a:t>
            </a:r>
            <a:r>
              <a:rPr lang="en-US" dirty="0"/>
              <a:t>, August 14, 2015, https://msdn.microsoft.com/en-US/library/dn817826.aspx</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5/2/2017 5:0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19917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Query store is a new feature that provides DBAs with insight on query plan choice and performance. It simplifies performance troubleshooting by enabling you to quickly find performance differences caused by changes in query plans. The feature automatically captures a history of queries, plans, and runtime statistics, and retains these for your review. It separates data by time windows, allowing you to see database usage patterns and understand when query plan changes happened on the server. The query store presents information by using a Management Studio dialog box, and lets you force the query to one of the selected query plans. For more information, see </a:t>
            </a:r>
            <a:r>
              <a:rPr lang="en-US" dirty="0">
                <a:effectLst/>
                <a:hlinkClick r:id="rId3"/>
              </a:rPr>
              <a:t>Monitoring Performance By Using the Query Store</a:t>
            </a:r>
            <a:r>
              <a:rPr lang="en-US" dirty="0">
                <a:effectLst/>
              </a:rPr>
              <a:t>.</a:t>
            </a:r>
          </a:p>
          <a:p>
            <a:endParaRPr lang="en-US" dirty="0">
              <a:effectLst/>
            </a:endParaRPr>
          </a:p>
          <a:p>
            <a:r>
              <a:rPr lang="en-US" dirty="0"/>
              <a:t>   </a:t>
            </a:r>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7</a:t>
            </a:fld>
            <a:endParaRPr lang="en-US"/>
          </a:p>
        </p:txBody>
      </p:sp>
    </p:spTree>
    <p:extLst>
      <p:ext uri="{BB962C8B-B14F-4D97-AF65-F5344CB8AC3E}">
        <p14:creationId xmlns:p14="http://schemas.microsoft.com/office/powerpoint/2010/main" val="39590183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7859609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3773935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772EAE-EF09-4CFC-9513-4CA89B040EC9}" type="slidenum">
              <a:rPr lang="en-US">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9736348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accent4"/>
        </a:solidFill>
        <a:effectLst/>
      </p:bgPr>
    </p:bg>
    <p:spTree>
      <p:nvGrpSpPr>
        <p:cNvPr id="1" name=""/>
        <p:cNvGrpSpPr/>
        <p:nvPr/>
      </p:nvGrpSpPr>
      <p:grpSpPr>
        <a:xfrm>
          <a:off x="0" y="0"/>
          <a:ext cx="0" cy="0"/>
          <a:chOff x="0" y="0"/>
          <a:chExt cx="0" cy="0"/>
        </a:xfrm>
      </p:grpSpPr>
      <p:sp>
        <p:nvSpPr>
          <p:cNvPr id="1392" name="Rectangle 1391"/>
          <p:cNvSpPr/>
          <p:nvPr userDrawn="1"/>
        </p:nvSpPr>
        <p:spPr bwMode="auto">
          <a:xfrm>
            <a:off x="117230" y="77469"/>
            <a:ext cx="13037703" cy="6861465"/>
          </a:xfrm>
          <a:prstGeom prst="rect">
            <a:avLst/>
          </a:prstGeom>
          <a:blipFill>
            <a:blip r:embed="rId2">
              <a:alphaModFix amt="80000"/>
            </a:blip>
            <a:srcRect/>
            <a:stretch>
              <a:fillRect l="-89347" r="-1"/>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err="1">
              <a:solidFill>
                <a:schemeClr val="bg1"/>
              </a:solidFill>
              <a:latin typeface="+mj-lt"/>
              <a:ea typeface="Segoe UI" pitchFamily="34" charset="0"/>
              <a:cs typeface="Segoe UI" pitchFamily="34" charset="0"/>
            </a:endParaRPr>
          </a:p>
        </p:txBody>
      </p:sp>
      <p:pic>
        <p:nvPicPr>
          <p:cNvPr id="19" name="Picture 18"/>
          <p:cNvPicPr>
            <a:picLocks noChangeAspect="1"/>
          </p:cNvPicPr>
          <p:nvPr userDrawn="1"/>
        </p:nvPicPr>
        <p:blipFill rotWithShape="1">
          <a:blip r:embed="rId3"/>
          <a:srcRect l="3690" t="27657" r="2751" b="17378"/>
          <a:stretch/>
        </p:blipFill>
        <p:spPr>
          <a:xfrm>
            <a:off x="117231" y="0"/>
            <a:ext cx="12437234" cy="6993924"/>
          </a:xfrm>
          <a:prstGeom prst="rect">
            <a:avLst/>
          </a:prstGeom>
        </p:spPr>
      </p:pic>
      <p:pic>
        <p:nvPicPr>
          <p:cNvPr id="23" name="Picture 22"/>
          <p:cNvPicPr>
            <a:picLocks noChangeAspect="1"/>
          </p:cNvPicPr>
          <p:nvPr userDrawn="1"/>
        </p:nvPicPr>
        <p:blipFill rotWithShape="1">
          <a:blip r:embed="rId4"/>
          <a:srcRect l="5796" t="5241" b="19866"/>
          <a:stretch/>
        </p:blipFill>
        <p:spPr>
          <a:xfrm>
            <a:off x="0" y="-49427"/>
            <a:ext cx="9292434" cy="7068065"/>
          </a:xfrm>
          <a:prstGeom prst="rect">
            <a:avLst/>
          </a:prstGeom>
        </p:spPr>
      </p:pic>
      <p:sp>
        <p:nvSpPr>
          <p:cNvPr id="1381" name="Title 1"/>
          <p:cNvSpPr txBox="1">
            <a:spLocks/>
          </p:cNvSpPr>
          <p:nvPr userDrawn="1"/>
        </p:nvSpPr>
        <p:spPr>
          <a:xfrm>
            <a:off x="309896" y="340565"/>
            <a:ext cx="5244464" cy="3474545"/>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endParaRPr lang="en-US" sz="5399" dirty="0">
              <a:solidFill>
                <a:srgbClr val="0072C6"/>
              </a:solidFill>
            </a:endParaRPr>
          </a:p>
        </p:txBody>
      </p:sp>
      <p:sp>
        <p:nvSpPr>
          <p:cNvPr id="1382" name="Title 1"/>
          <p:cNvSpPr>
            <a:spLocks noGrp="1"/>
          </p:cNvSpPr>
          <p:nvPr>
            <p:ph type="title"/>
          </p:nvPr>
        </p:nvSpPr>
        <p:spPr>
          <a:xfrm>
            <a:off x="274639" y="295276"/>
            <a:ext cx="5364246" cy="2433673"/>
          </a:xfrm>
        </p:spPr>
        <p:txBody>
          <a:bodyPr/>
          <a:lstStyle>
            <a:lvl1pPr>
              <a:defRPr sz="5400">
                <a:solidFill>
                  <a:schemeClr val="accent4"/>
                </a:solidFill>
              </a:defRPr>
            </a:lvl1pPr>
          </a:lstStyle>
          <a:p>
            <a:r>
              <a:rPr lang="en-US" dirty="0"/>
              <a:t>Click to edit Master title style</a:t>
            </a:r>
          </a:p>
        </p:txBody>
      </p:sp>
      <p:grpSp>
        <p:nvGrpSpPr>
          <p:cNvPr id="1383" name="Group 1382"/>
          <p:cNvGrpSpPr/>
          <p:nvPr userDrawn="1"/>
        </p:nvGrpSpPr>
        <p:grpSpPr>
          <a:xfrm>
            <a:off x="1257868" y="3037751"/>
            <a:ext cx="1775425" cy="1775425"/>
            <a:chOff x="1257868" y="2914778"/>
            <a:chExt cx="1775425" cy="1775425"/>
          </a:xfrm>
        </p:grpSpPr>
        <p:grpSp>
          <p:nvGrpSpPr>
            <p:cNvPr id="1384" name="Group 1383"/>
            <p:cNvGrpSpPr/>
            <p:nvPr userDrawn="1"/>
          </p:nvGrpSpPr>
          <p:grpSpPr>
            <a:xfrm>
              <a:off x="1257868" y="2914778"/>
              <a:ext cx="1775425" cy="1775425"/>
              <a:chOff x="1068968" y="3223626"/>
              <a:chExt cx="1775425" cy="1775425"/>
            </a:xfrm>
            <a:solidFill>
              <a:srgbClr val="BA141A"/>
            </a:solidFill>
          </p:grpSpPr>
          <p:sp>
            <p:nvSpPr>
              <p:cNvPr id="1387" name="Donut 1386"/>
              <p:cNvSpPr/>
              <p:nvPr/>
            </p:nvSpPr>
            <p:spPr bwMode="auto">
              <a:xfrm>
                <a:off x="1068968" y="3223626"/>
                <a:ext cx="1775425" cy="1775425"/>
              </a:xfrm>
              <a:prstGeom prst="donut">
                <a:avLst>
                  <a:gd name="adj" fmla="val 7423"/>
                </a:avLst>
              </a:prstGeom>
              <a:solidFill>
                <a:srgbClr val="BA141A">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marR="0" lvl="0" indent="-342834" algn="ctr" defTabSz="932293"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IN"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88" name="Freeform 5"/>
              <p:cNvSpPr>
                <a:spLocks/>
              </p:cNvSpPr>
              <p:nvPr/>
            </p:nvSpPr>
            <p:spPr bwMode="auto">
              <a:xfrm rot="18900000">
                <a:off x="1616206" y="3474252"/>
                <a:ext cx="376606" cy="352694"/>
              </a:xfrm>
              <a:custGeom>
                <a:avLst/>
                <a:gdLst>
                  <a:gd name="T0" fmla="*/ 53 w 53"/>
                  <a:gd name="T1" fmla="*/ 22 h 49"/>
                  <a:gd name="T2" fmla="*/ 2 w 53"/>
                  <a:gd name="T3" fmla="*/ 0 h 49"/>
                  <a:gd name="T4" fmla="*/ 0 w 53"/>
                  <a:gd name="T5" fmla="*/ 37 h 49"/>
                  <a:gd name="T6" fmla="*/ 28 w 53"/>
                  <a:gd name="T7" fmla="*/ 49 h 49"/>
                  <a:gd name="T8" fmla="*/ 53 w 53"/>
                  <a:gd name="T9" fmla="*/ 22 h 49"/>
                </a:gdLst>
                <a:ahLst/>
                <a:cxnLst>
                  <a:cxn ang="0">
                    <a:pos x="T0" y="T1"/>
                  </a:cxn>
                  <a:cxn ang="0">
                    <a:pos x="T2" y="T3"/>
                  </a:cxn>
                  <a:cxn ang="0">
                    <a:pos x="T4" y="T5"/>
                  </a:cxn>
                  <a:cxn ang="0">
                    <a:pos x="T6" y="T7"/>
                  </a:cxn>
                  <a:cxn ang="0">
                    <a:pos x="T8" y="T9"/>
                  </a:cxn>
                </a:cxnLst>
                <a:rect l="0" t="0" r="r" b="b"/>
                <a:pathLst>
                  <a:path w="53" h="49">
                    <a:moveTo>
                      <a:pt x="53" y="22"/>
                    </a:moveTo>
                    <a:cubicBezTo>
                      <a:pt x="39" y="9"/>
                      <a:pt x="21" y="2"/>
                      <a:pt x="2" y="0"/>
                    </a:cubicBezTo>
                    <a:cubicBezTo>
                      <a:pt x="0" y="37"/>
                      <a:pt x="0" y="37"/>
                      <a:pt x="0" y="37"/>
                    </a:cubicBezTo>
                    <a:cubicBezTo>
                      <a:pt x="10" y="38"/>
                      <a:pt x="20" y="42"/>
                      <a:pt x="28" y="49"/>
                    </a:cubicBezTo>
                    <a:lnTo>
                      <a:pt x="53" y="22"/>
                    </a:ln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sp>
            <p:nvSpPr>
              <p:cNvPr id="1389" name="Freeform 6"/>
              <p:cNvSpPr>
                <a:spLocks/>
              </p:cNvSpPr>
              <p:nvPr/>
            </p:nvSpPr>
            <p:spPr bwMode="auto">
              <a:xfrm rot="18900000">
                <a:off x="1942016" y="3461858"/>
                <a:ext cx="352695" cy="379596"/>
              </a:xfrm>
              <a:custGeom>
                <a:avLst/>
                <a:gdLst>
                  <a:gd name="T0" fmla="*/ 12 w 49"/>
                  <a:gd name="T1" fmla="*/ 53 h 53"/>
                  <a:gd name="T2" fmla="*/ 49 w 49"/>
                  <a:gd name="T3" fmla="*/ 51 h 53"/>
                  <a:gd name="T4" fmla="*/ 27 w 49"/>
                  <a:gd name="T5" fmla="*/ 0 h 53"/>
                  <a:gd name="T6" fmla="*/ 0 w 49"/>
                  <a:gd name="T7" fmla="*/ 24 h 53"/>
                  <a:gd name="T8" fmla="*/ 12 w 49"/>
                  <a:gd name="T9" fmla="*/ 53 h 53"/>
                </a:gdLst>
                <a:ahLst/>
                <a:cxnLst>
                  <a:cxn ang="0">
                    <a:pos x="T0" y="T1"/>
                  </a:cxn>
                  <a:cxn ang="0">
                    <a:pos x="T2" y="T3"/>
                  </a:cxn>
                  <a:cxn ang="0">
                    <a:pos x="T4" y="T5"/>
                  </a:cxn>
                  <a:cxn ang="0">
                    <a:pos x="T6" y="T7"/>
                  </a:cxn>
                  <a:cxn ang="0">
                    <a:pos x="T8" y="T9"/>
                  </a:cxn>
                </a:cxnLst>
                <a:rect l="0" t="0" r="r" b="b"/>
                <a:pathLst>
                  <a:path w="49" h="53">
                    <a:moveTo>
                      <a:pt x="12" y="53"/>
                    </a:moveTo>
                    <a:cubicBezTo>
                      <a:pt x="49" y="51"/>
                      <a:pt x="49" y="51"/>
                      <a:pt x="49" y="51"/>
                    </a:cubicBezTo>
                    <a:cubicBezTo>
                      <a:pt x="47" y="32"/>
                      <a:pt x="40" y="14"/>
                      <a:pt x="27" y="0"/>
                    </a:cubicBezTo>
                    <a:cubicBezTo>
                      <a:pt x="0" y="24"/>
                      <a:pt x="0" y="24"/>
                      <a:pt x="0" y="24"/>
                    </a:cubicBezTo>
                    <a:cubicBezTo>
                      <a:pt x="7" y="32"/>
                      <a:pt x="11" y="43"/>
                      <a:pt x="12" y="53"/>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sp>
            <p:nvSpPr>
              <p:cNvPr id="1390" name="Freeform 7"/>
              <p:cNvSpPr>
                <a:spLocks/>
              </p:cNvSpPr>
              <p:nvPr/>
            </p:nvSpPr>
            <p:spPr bwMode="auto">
              <a:xfrm rot="18900000">
                <a:off x="1311425" y="3777538"/>
                <a:ext cx="379596" cy="352694"/>
              </a:xfrm>
              <a:custGeom>
                <a:avLst/>
                <a:gdLst>
                  <a:gd name="T0" fmla="*/ 53 w 53"/>
                  <a:gd name="T1" fmla="*/ 37 h 49"/>
                  <a:gd name="T2" fmla="*/ 51 w 53"/>
                  <a:gd name="T3" fmla="*/ 0 h 49"/>
                  <a:gd name="T4" fmla="*/ 0 w 53"/>
                  <a:gd name="T5" fmla="*/ 21 h 49"/>
                  <a:gd name="T6" fmla="*/ 24 w 53"/>
                  <a:gd name="T7" fmla="*/ 49 h 49"/>
                  <a:gd name="T8" fmla="*/ 53 w 53"/>
                  <a:gd name="T9" fmla="*/ 37 h 49"/>
                </a:gdLst>
                <a:ahLst/>
                <a:cxnLst>
                  <a:cxn ang="0">
                    <a:pos x="T0" y="T1"/>
                  </a:cxn>
                  <a:cxn ang="0">
                    <a:pos x="T2" y="T3"/>
                  </a:cxn>
                  <a:cxn ang="0">
                    <a:pos x="T4" y="T5"/>
                  </a:cxn>
                  <a:cxn ang="0">
                    <a:pos x="T6" y="T7"/>
                  </a:cxn>
                  <a:cxn ang="0">
                    <a:pos x="T8" y="T9"/>
                  </a:cxn>
                </a:cxnLst>
                <a:rect l="0" t="0" r="r" b="b"/>
                <a:pathLst>
                  <a:path w="53" h="49">
                    <a:moveTo>
                      <a:pt x="53" y="37"/>
                    </a:moveTo>
                    <a:cubicBezTo>
                      <a:pt x="51" y="0"/>
                      <a:pt x="51" y="0"/>
                      <a:pt x="51" y="0"/>
                    </a:cubicBezTo>
                    <a:cubicBezTo>
                      <a:pt x="32" y="1"/>
                      <a:pt x="14" y="9"/>
                      <a:pt x="0" y="21"/>
                    </a:cubicBezTo>
                    <a:cubicBezTo>
                      <a:pt x="24" y="49"/>
                      <a:pt x="24" y="49"/>
                      <a:pt x="24" y="49"/>
                    </a:cubicBezTo>
                    <a:cubicBezTo>
                      <a:pt x="32" y="42"/>
                      <a:pt x="43" y="38"/>
                      <a:pt x="53" y="37"/>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sp>
            <p:nvSpPr>
              <p:cNvPr id="1391" name="Freeform 8"/>
              <p:cNvSpPr>
                <a:spLocks/>
              </p:cNvSpPr>
              <p:nvPr/>
            </p:nvSpPr>
            <p:spPr bwMode="auto">
              <a:xfrm rot="18900000">
                <a:off x="1331654" y="4082167"/>
                <a:ext cx="349706" cy="379596"/>
              </a:xfrm>
              <a:custGeom>
                <a:avLst/>
                <a:gdLst>
                  <a:gd name="T0" fmla="*/ 48 w 49"/>
                  <a:gd name="T1" fmla="*/ 23 h 53"/>
                  <a:gd name="T2" fmla="*/ 21 w 49"/>
                  <a:gd name="T3" fmla="*/ 0 h 53"/>
                  <a:gd name="T4" fmla="*/ 0 w 49"/>
                  <a:gd name="T5" fmla="*/ 51 h 53"/>
                  <a:gd name="T6" fmla="*/ 37 w 49"/>
                  <a:gd name="T7" fmla="*/ 53 h 53"/>
                  <a:gd name="T8" fmla="*/ 49 w 49"/>
                  <a:gd name="T9" fmla="*/ 24 h 53"/>
                  <a:gd name="T10" fmla="*/ 48 w 49"/>
                  <a:gd name="T11" fmla="*/ 23 h 53"/>
                </a:gdLst>
                <a:ahLst/>
                <a:cxnLst>
                  <a:cxn ang="0">
                    <a:pos x="T0" y="T1"/>
                  </a:cxn>
                  <a:cxn ang="0">
                    <a:pos x="T2" y="T3"/>
                  </a:cxn>
                  <a:cxn ang="0">
                    <a:pos x="T4" y="T5"/>
                  </a:cxn>
                  <a:cxn ang="0">
                    <a:pos x="T6" y="T7"/>
                  </a:cxn>
                  <a:cxn ang="0">
                    <a:pos x="T8" y="T9"/>
                  </a:cxn>
                  <a:cxn ang="0">
                    <a:pos x="T10" y="T11"/>
                  </a:cxn>
                </a:cxnLst>
                <a:rect l="0" t="0" r="r" b="b"/>
                <a:pathLst>
                  <a:path w="49" h="53">
                    <a:moveTo>
                      <a:pt x="48" y="23"/>
                    </a:moveTo>
                    <a:cubicBezTo>
                      <a:pt x="21" y="0"/>
                      <a:pt x="21" y="0"/>
                      <a:pt x="21" y="0"/>
                    </a:cubicBezTo>
                    <a:cubicBezTo>
                      <a:pt x="8" y="14"/>
                      <a:pt x="1" y="32"/>
                      <a:pt x="0" y="51"/>
                    </a:cubicBezTo>
                    <a:cubicBezTo>
                      <a:pt x="37" y="53"/>
                      <a:pt x="37" y="53"/>
                      <a:pt x="37" y="53"/>
                    </a:cubicBezTo>
                    <a:cubicBezTo>
                      <a:pt x="38" y="42"/>
                      <a:pt x="42" y="32"/>
                      <a:pt x="49" y="24"/>
                    </a:cubicBezTo>
                    <a:cubicBezTo>
                      <a:pt x="48" y="23"/>
                      <a:pt x="48" y="23"/>
                      <a:pt x="48" y="23"/>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grpSp>
        <p:sp>
          <p:nvSpPr>
            <p:cNvPr id="1385" name="Freeform 1384"/>
            <p:cNvSpPr>
              <a:spLocks/>
            </p:cNvSpPr>
            <p:nvPr userDrawn="1"/>
          </p:nvSpPr>
          <p:spPr bwMode="auto">
            <a:xfrm rot="18900000">
              <a:off x="2170096" y="3434382"/>
              <a:ext cx="593840" cy="477384"/>
            </a:xfrm>
            <a:custGeom>
              <a:avLst/>
              <a:gdLst>
                <a:gd name="connsiteX0" fmla="*/ 42335 w 473106"/>
                <a:gd name="connsiteY0" fmla="*/ 21859 h 380327"/>
                <a:gd name="connsiteX1" fmla="*/ 61057 w 473106"/>
                <a:gd name="connsiteY1" fmla="*/ 49049 h 380327"/>
                <a:gd name="connsiteX2" fmla="*/ 64322 w 473106"/>
                <a:gd name="connsiteY2" fmla="*/ 64322 h 380327"/>
                <a:gd name="connsiteX3" fmla="*/ 0 w 473106"/>
                <a:gd name="connsiteY3" fmla="*/ 0 h 380327"/>
                <a:gd name="connsiteX4" fmla="*/ 15056 w 473106"/>
                <a:gd name="connsiteY4" fmla="*/ 3198 h 380327"/>
                <a:gd name="connsiteX5" fmla="*/ 42335 w 473106"/>
                <a:gd name="connsiteY5" fmla="*/ 21859 h 380327"/>
                <a:gd name="connsiteX6" fmla="*/ 473106 w 473106"/>
                <a:gd name="connsiteY6" fmla="*/ 104320 h 380327"/>
                <a:gd name="connsiteX7" fmla="*/ 376111 w 473106"/>
                <a:gd name="connsiteY7" fmla="*/ 371609 h 380327"/>
                <a:gd name="connsiteX8" fmla="*/ 380327 w 473106"/>
                <a:gd name="connsiteY8" fmla="*/ 380327 h 380327"/>
                <a:gd name="connsiteX9" fmla="*/ 222557 w 473106"/>
                <a:gd name="connsiteY9" fmla="*/ 222557 h 380327"/>
                <a:gd name="connsiteX10" fmla="*/ 248449 w 473106"/>
                <a:gd name="connsiteY10" fmla="*/ 160479 h 380327"/>
                <a:gd name="connsiteX11" fmla="*/ 262000 w 473106"/>
                <a:gd name="connsiteY11" fmla="*/ 92946 h 380327"/>
                <a:gd name="connsiteX12" fmla="*/ 473106 w 473106"/>
                <a:gd name="connsiteY12" fmla="*/ 104320 h 3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106" h="380327">
                  <a:moveTo>
                    <a:pt x="42335" y="21859"/>
                  </a:moveTo>
                  <a:cubicBezTo>
                    <a:pt x="50181" y="29678"/>
                    <a:pt x="56599" y="38919"/>
                    <a:pt x="61057" y="49049"/>
                  </a:cubicBezTo>
                  <a:lnTo>
                    <a:pt x="64322" y="64322"/>
                  </a:lnTo>
                  <a:lnTo>
                    <a:pt x="0" y="0"/>
                  </a:lnTo>
                  <a:lnTo>
                    <a:pt x="15056" y="3198"/>
                  </a:lnTo>
                  <a:cubicBezTo>
                    <a:pt x="25218" y="7641"/>
                    <a:pt x="34490" y="14039"/>
                    <a:pt x="42335" y="21859"/>
                  </a:cubicBezTo>
                  <a:close/>
                  <a:moveTo>
                    <a:pt x="473106" y="104320"/>
                  </a:moveTo>
                  <a:cubicBezTo>
                    <a:pt x="467401" y="200999"/>
                    <a:pt x="433167" y="297678"/>
                    <a:pt x="376111" y="371609"/>
                  </a:cubicBezTo>
                  <a:lnTo>
                    <a:pt x="380327" y="380327"/>
                  </a:lnTo>
                  <a:lnTo>
                    <a:pt x="222557" y="222557"/>
                  </a:lnTo>
                  <a:lnTo>
                    <a:pt x="248449" y="160479"/>
                  </a:lnTo>
                  <a:cubicBezTo>
                    <a:pt x="254868" y="138442"/>
                    <a:pt x="259147" y="115694"/>
                    <a:pt x="262000" y="92946"/>
                  </a:cubicBezTo>
                  <a:cubicBezTo>
                    <a:pt x="262000" y="92946"/>
                    <a:pt x="262000" y="92946"/>
                    <a:pt x="473106" y="104320"/>
                  </a:cubicBezTo>
                  <a:close/>
                </a:path>
              </a:pathLst>
            </a:custGeom>
            <a:solidFill>
              <a:srgbClr val="BA141A"/>
            </a:solidFill>
            <a:ln>
              <a:noFill/>
            </a:ln>
            <a:extLst/>
          </p:spPr>
          <p:txBody>
            <a:bodyPr vert="horz" wrap="square" lIns="91427" tIns="45713" rIns="91427" bIns="45713" numCol="1" anchor="t" anchorCtr="0" compatLnSpc="1">
              <a:prstTxWarp prst="textNoShape">
                <a:avLst/>
              </a:prstTxWarp>
              <a:noAutofit/>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sp>
          <p:nvSpPr>
            <p:cNvPr id="1386" name="Freeform 1385"/>
            <p:cNvSpPr>
              <a:spLocks/>
            </p:cNvSpPr>
            <p:nvPr userDrawn="1"/>
          </p:nvSpPr>
          <p:spPr bwMode="auto">
            <a:xfrm rot="19005034">
              <a:off x="2115065" y="3501231"/>
              <a:ext cx="616889" cy="599616"/>
            </a:xfrm>
            <a:custGeom>
              <a:avLst/>
              <a:gdLst>
                <a:gd name="connsiteX0" fmla="*/ 145492 w 491469"/>
                <a:gd name="connsiteY0" fmla="*/ 25592 h 477708"/>
                <a:gd name="connsiteX1" fmla="*/ 171167 w 491469"/>
                <a:gd name="connsiteY1" fmla="*/ 85305 h 477708"/>
                <a:gd name="connsiteX2" fmla="*/ 325218 w 491469"/>
                <a:gd name="connsiteY2" fmla="*/ 227480 h 477708"/>
                <a:gd name="connsiteX3" fmla="*/ 325539 w 491469"/>
                <a:gd name="connsiteY3" fmla="*/ 226709 h 477708"/>
                <a:gd name="connsiteX4" fmla="*/ 484040 w 491469"/>
                <a:gd name="connsiteY4" fmla="*/ 385210 h 477708"/>
                <a:gd name="connsiteX5" fmla="*/ 488807 w 491469"/>
                <a:gd name="connsiteY5" fmla="*/ 395069 h 477708"/>
                <a:gd name="connsiteX6" fmla="*/ 473563 w 491469"/>
                <a:gd name="connsiteY6" fmla="*/ 460647 h 477708"/>
                <a:gd name="connsiteX7" fmla="*/ 387979 w 491469"/>
                <a:gd name="connsiteY7" fmla="*/ 460647 h 477708"/>
                <a:gd name="connsiteX8" fmla="*/ 85584 w 491469"/>
                <a:gd name="connsiteY8" fmla="*/ 170610 h 477708"/>
                <a:gd name="connsiteX9" fmla="*/ 0 w 491469"/>
                <a:gd name="connsiteY9" fmla="*/ 85305 h 477708"/>
                <a:gd name="connsiteX10" fmla="*/ 85584 w 491469"/>
                <a:gd name="connsiteY10" fmla="*/ 0 h 477708"/>
                <a:gd name="connsiteX11" fmla="*/ 145492 w 491469"/>
                <a:gd name="connsiteY11" fmla="*/ 25592 h 477708"/>
                <a:gd name="connsiteX0" fmla="*/ 145492 w 491469"/>
                <a:gd name="connsiteY0" fmla="*/ 25592 h 477708"/>
                <a:gd name="connsiteX1" fmla="*/ 171167 w 491469"/>
                <a:gd name="connsiteY1" fmla="*/ 85305 h 477708"/>
                <a:gd name="connsiteX2" fmla="*/ 325218 w 491469"/>
                <a:gd name="connsiteY2" fmla="*/ 227480 h 477708"/>
                <a:gd name="connsiteX3" fmla="*/ 484040 w 491469"/>
                <a:gd name="connsiteY3" fmla="*/ 385210 h 477708"/>
                <a:gd name="connsiteX4" fmla="*/ 488807 w 491469"/>
                <a:gd name="connsiteY4" fmla="*/ 395069 h 477708"/>
                <a:gd name="connsiteX5" fmla="*/ 473563 w 491469"/>
                <a:gd name="connsiteY5" fmla="*/ 460647 h 477708"/>
                <a:gd name="connsiteX6" fmla="*/ 387979 w 491469"/>
                <a:gd name="connsiteY6" fmla="*/ 460647 h 477708"/>
                <a:gd name="connsiteX7" fmla="*/ 85584 w 491469"/>
                <a:gd name="connsiteY7" fmla="*/ 170610 h 477708"/>
                <a:gd name="connsiteX8" fmla="*/ 0 w 491469"/>
                <a:gd name="connsiteY8" fmla="*/ 85305 h 477708"/>
                <a:gd name="connsiteX9" fmla="*/ 85584 w 491469"/>
                <a:gd name="connsiteY9" fmla="*/ 0 h 477708"/>
                <a:gd name="connsiteX10" fmla="*/ 145492 w 491469"/>
                <a:gd name="connsiteY10" fmla="*/ 25592 h 477708"/>
                <a:gd name="connsiteX0" fmla="*/ 145492 w 491469"/>
                <a:gd name="connsiteY0" fmla="*/ 25592 h 477708"/>
                <a:gd name="connsiteX1" fmla="*/ 171167 w 491469"/>
                <a:gd name="connsiteY1" fmla="*/ 85305 h 477708"/>
                <a:gd name="connsiteX2" fmla="*/ 484040 w 491469"/>
                <a:gd name="connsiteY2" fmla="*/ 385210 h 477708"/>
                <a:gd name="connsiteX3" fmla="*/ 488807 w 491469"/>
                <a:gd name="connsiteY3" fmla="*/ 395069 h 477708"/>
                <a:gd name="connsiteX4" fmla="*/ 473563 w 491469"/>
                <a:gd name="connsiteY4" fmla="*/ 460647 h 477708"/>
                <a:gd name="connsiteX5" fmla="*/ 387979 w 491469"/>
                <a:gd name="connsiteY5" fmla="*/ 460647 h 477708"/>
                <a:gd name="connsiteX6" fmla="*/ 85584 w 491469"/>
                <a:gd name="connsiteY6" fmla="*/ 170610 h 477708"/>
                <a:gd name="connsiteX7" fmla="*/ 0 w 491469"/>
                <a:gd name="connsiteY7" fmla="*/ 85305 h 477708"/>
                <a:gd name="connsiteX8" fmla="*/ 85584 w 491469"/>
                <a:gd name="connsiteY8" fmla="*/ 0 h 477708"/>
                <a:gd name="connsiteX9" fmla="*/ 145492 w 491469"/>
                <a:gd name="connsiteY9" fmla="*/ 25592 h 477708"/>
                <a:gd name="connsiteX0" fmla="*/ 145492 w 491469"/>
                <a:gd name="connsiteY0" fmla="*/ 25592 h 477708"/>
                <a:gd name="connsiteX1" fmla="*/ 171167 w 491469"/>
                <a:gd name="connsiteY1" fmla="*/ 85305 h 477708"/>
                <a:gd name="connsiteX2" fmla="*/ 488807 w 491469"/>
                <a:gd name="connsiteY2" fmla="*/ 395069 h 477708"/>
                <a:gd name="connsiteX3" fmla="*/ 473563 w 491469"/>
                <a:gd name="connsiteY3" fmla="*/ 460647 h 477708"/>
                <a:gd name="connsiteX4" fmla="*/ 387979 w 491469"/>
                <a:gd name="connsiteY4" fmla="*/ 460647 h 477708"/>
                <a:gd name="connsiteX5" fmla="*/ 85584 w 491469"/>
                <a:gd name="connsiteY5" fmla="*/ 170610 h 477708"/>
                <a:gd name="connsiteX6" fmla="*/ 0 w 491469"/>
                <a:gd name="connsiteY6" fmla="*/ 85305 h 477708"/>
                <a:gd name="connsiteX7" fmla="*/ 85584 w 491469"/>
                <a:gd name="connsiteY7" fmla="*/ 0 h 477708"/>
                <a:gd name="connsiteX8" fmla="*/ 145492 w 491469"/>
                <a:gd name="connsiteY8" fmla="*/ 25592 h 47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69" h="477708">
                  <a:moveTo>
                    <a:pt x="145492" y="25592"/>
                  </a:moveTo>
                  <a:cubicBezTo>
                    <a:pt x="161183" y="41231"/>
                    <a:pt x="171167" y="62557"/>
                    <a:pt x="171167" y="85305"/>
                  </a:cubicBezTo>
                  <a:lnTo>
                    <a:pt x="488807" y="395069"/>
                  </a:lnTo>
                  <a:cubicBezTo>
                    <a:pt x="494959" y="416928"/>
                    <a:pt x="490679" y="443586"/>
                    <a:pt x="473563" y="460647"/>
                  </a:cubicBezTo>
                  <a:cubicBezTo>
                    <a:pt x="450740" y="483395"/>
                    <a:pt x="410801" y="483395"/>
                    <a:pt x="387979" y="460647"/>
                  </a:cubicBezTo>
                  <a:lnTo>
                    <a:pt x="85584" y="170610"/>
                  </a:lnTo>
                  <a:cubicBezTo>
                    <a:pt x="39939" y="170610"/>
                    <a:pt x="0" y="136488"/>
                    <a:pt x="0" y="85305"/>
                  </a:cubicBezTo>
                  <a:cubicBezTo>
                    <a:pt x="0" y="39809"/>
                    <a:pt x="39939" y="0"/>
                    <a:pt x="85584" y="0"/>
                  </a:cubicBezTo>
                  <a:cubicBezTo>
                    <a:pt x="108406" y="0"/>
                    <a:pt x="129802" y="9952"/>
                    <a:pt x="145492" y="25592"/>
                  </a:cubicBezTo>
                  <a:close/>
                </a:path>
              </a:pathLst>
            </a:custGeom>
            <a:solidFill>
              <a:srgbClr val="BA141A">
                <a:lumMod val="50000"/>
              </a:srgbClr>
            </a:solidFill>
            <a:ln>
              <a:noFill/>
            </a:ln>
            <a:extLst/>
          </p:spPr>
          <p:txBody>
            <a:bodyPr vert="horz" wrap="square" lIns="91427" tIns="45713" rIns="91427" bIns="45713" numCol="1" anchor="t" anchorCtr="0" compatLnSpc="1">
              <a:prstTxWarp prst="textNoShape">
                <a:avLst/>
              </a:prstTxWarp>
              <a:noAutofit/>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grpSp>
    </p:spTree>
    <p:extLst>
      <p:ext uri="{BB962C8B-B14F-4D97-AF65-F5344CB8AC3E}">
        <p14:creationId xmlns:p14="http://schemas.microsoft.com/office/powerpoint/2010/main" val="198325990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Insights 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08331" y="2125663"/>
            <a:ext cx="8219813" cy="1828800"/>
          </a:xfrm>
        </p:spPr>
        <p:txBody>
          <a:bodyPr/>
          <a:lstStyle>
            <a:lvl1pPr>
              <a:defRPr sz="6001" baseline="0"/>
            </a:lvl1pPr>
          </a:lstStyle>
          <a:p>
            <a:r>
              <a:rPr lang="en-US" dirty="0"/>
              <a:t>Click to edit Master title style</a:t>
            </a:r>
          </a:p>
        </p:txBody>
      </p:sp>
    </p:spTree>
    <p:extLst>
      <p:ext uri="{BB962C8B-B14F-4D97-AF65-F5344CB8AC3E}">
        <p14:creationId xmlns:p14="http://schemas.microsoft.com/office/powerpoint/2010/main" val="167973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649842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994618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008822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332107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729788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194766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151423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775054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21253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513101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a:srcRect l="46638" t="28313" r="2844" b="17827"/>
          <a:stretch/>
        </p:blipFill>
        <p:spPr>
          <a:xfrm>
            <a:off x="-23447" y="-23447"/>
            <a:ext cx="12473355" cy="7010401"/>
          </a:xfrm>
          <a:prstGeom prst="rect">
            <a:avLst/>
          </a:prstGeom>
        </p:spPr>
      </p:pic>
      <p:sp>
        <p:nvSpPr>
          <p:cNvPr id="90" name="Title 1"/>
          <p:cNvSpPr txBox="1">
            <a:spLocks/>
          </p:cNvSpPr>
          <p:nvPr userDrawn="1"/>
        </p:nvSpPr>
        <p:spPr>
          <a:xfrm>
            <a:off x="309896" y="340565"/>
            <a:ext cx="5244464" cy="3474545"/>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endParaRPr lang="en-US" sz="5399" dirty="0">
              <a:solidFill>
                <a:srgbClr val="0072C6"/>
              </a:solidFill>
            </a:endParaRPr>
          </a:p>
        </p:txBody>
      </p:sp>
      <p:grpSp>
        <p:nvGrpSpPr>
          <p:cNvPr id="3" name="Group 2"/>
          <p:cNvGrpSpPr/>
          <p:nvPr userDrawn="1"/>
        </p:nvGrpSpPr>
        <p:grpSpPr>
          <a:xfrm>
            <a:off x="642483" y="3138298"/>
            <a:ext cx="2560465" cy="1606300"/>
            <a:chOff x="517790" y="2775167"/>
            <a:chExt cx="2862475" cy="1795765"/>
          </a:xfrm>
        </p:grpSpPr>
        <p:sp>
          <p:nvSpPr>
            <p:cNvPr id="91" name="Freeform 90"/>
            <p:cNvSpPr/>
            <p:nvPr userDrawn="1"/>
          </p:nvSpPr>
          <p:spPr bwMode="auto">
            <a:xfrm>
              <a:off x="517790" y="2775167"/>
              <a:ext cx="2862475" cy="179576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92" name="Freeform 91"/>
            <p:cNvSpPr>
              <a:spLocks noChangeAspect="1"/>
            </p:cNvSpPr>
            <p:nvPr userDrawn="1"/>
          </p:nvSpPr>
          <p:spPr bwMode="auto">
            <a:xfrm>
              <a:off x="940381" y="3107853"/>
              <a:ext cx="2013729" cy="127502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93" name="Freeform 92"/>
            <p:cNvSpPr>
              <a:spLocks noChangeAspect="1"/>
            </p:cNvSpPr>
            <p:nvPr userDrawn="1"/>
          </p:nvSpPr>
          <p:spPr bwMode="auto">
            <a:xfrm>
              <a:off x="1312097" y="3379499"/>
              <a:ext cx="1273865" cy="80657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94" name="Freeform 93"/>
            <p:cNvSpPr>
              <a:spLocks noChangeAspect="1"/>
            </p:cNvSpPr>
            <p:nvPr userDrawn="1"/>
          </p:nvSpPr>
          <p:spPr bwMode="auto">
            <a:xfrm>
              <a:off x="1584147" y="3587566"/>
              <a:ext cx="729764" cy="4620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grpSp>
      <p:sp>
        <p:nvSpPr>
          <p:cNvPr id="10" name="Content Placeholder 3"/>
          <p:cNvSpPr>
            <a:spLocks noGrp="1"/>
          </p:cNvSpPr>
          <p:nvPr>
            <p:ph sz="quarter" idx="10"/>
          </p:nvPr>
        </p:nvSpPr>
        <p:spPr>
          <a:xfrm>
            <a:off x="309896" y="290691"/>
            <a:ext cx="5364246" cy="2478962"/>
          </a:xfrm>
        </p:spPr>
        <p:txBody>
          <a:bodyPr lIns="146304" tIns="91440" rIns="146304" bIns="91440"/>
          <a:lstStyle>
            <a:lvl1pPr marL="0" indent="0" algn="l">
              <a:buNone/>
              <a:defRPr sz="5400">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333583285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4580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9230" y="3145040"/>
            <a:ext cx="3291840" cy="705834"/>
          </a:xfrm>
          <a:prstGeom prst="rect">
            <a:avLst/>
          </a:prstGeom>
        </p:spPr>
      </p:pic>
    </p:spTree>
    <p:extLst>
      <p:ext uri="{BB962C8B-B14F-4D97-AF65-F5344CB8AC3E}">
        <p14:creationId xmlns:p14="http://schemas.microsoft.com/office/powerpoint/2010/main" val="112525661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05024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367864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74320" y="292082"/>
            <a:ext cx="11887200" cy="946413"/>
          </a:xfrm>
          <a:prstGeom prst="rect">
            <a:avLst/>
          </a:prstGeom>
        </p:spPr>
        <p:txBody>
          <a:bodyPr/>
          <a:lstStyle>
            <a:lvl1pPr algn="l">
              <a:defRPr sz="5200">
                <a:solidFill>
                  <a:schemeClr val="tx2"/>
                </a:solidFill>
              </a:defRPr>
            </a:lvl1pPr>
          </a:lstStyle>
          <a:p>
            <a:r>
              <a:rPr lang="en-US" dirty="0"/>
              <a:t>Click to edit Master title style</a:t>
            </a:r>
          </a:p>
        </p:txBody>
      </p:sp>
      <p:sp>
        <p:nvSpPr>
          <p:cNvPr id="3" name="Footer Placeholder 2"/>
          <p:cNvSpPr>
            <a:spLocks noGrp="1"/>
          </p:cNvSpPr>
          <p:nvPr>
            <p:ph type="ftr" sz="quarter" idx="10"/>
          </p:nvPr>
        </p:nvSpPr>
        <p:spPr>
          <a:xfrm>
            <a:off x="457200" y="6565900"/>
            <a:ext cx="3937000" cy="136525"/>
          </a:xfrm>
          <a:prstGeom prst="rect">
            <a:avLst/>
          </a:prstGeom>
        </p:spPr>
        <p:txBody>
          <a:bodyPr/>
          <a:lstStyle>
            <a:lvl1pPr fontAlgn="base">
              <a:spcBef>
                <a:spcPct val="0"/>
              </a:spcBef>
              <a:spcAft>
                <a:spcPct val="0"/>
              </a:spcAft>
              <a:defRPr>
                <a:solidFill>
                  <a:srgbClr val="002050"/>
                </a:solidFill>
              </a:defRPr>
            </a:lvl1pPr>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2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a:xfrm>
            <a:off x="11595100" y="6565900"/>
            <a:ext cx="566738" cy="136525"/>
          </a:xfrm>
          <a:prstGeom prst="rect">
            <a:avLst/>
          </a:prstGeom>
        </p:spPr>
        <p:txBody>
          <a:bodyPr/>
          <a:lstStyle>
            <a:lvl1pPr defTabSz="931863" fontAlgn="base">
              <a:spcBef>
                <a:spcPct val="0"/>
              </a:spcBef>
              <a:spcAft>
                <a:spcPct val="0"/>
              </a:spcAft>
              <a:defRPr>
                <a:solidFill>
                  <a:srgbClr val="002050"/>
                </a:solidFill>
              </a:defRPr>
            </a:lvl1pPr>
          </a:lstStyle>
          <a:p>
            <a:pPr marL="0" marR="0" lvl="0" indent="0" algn="r" defTabSz="931863" rtl="0" eaLnBrk="1" fontAlgn="base" latinLnBrk="0" hangingPunct="1">
              <a:lnSpc>
                <a:spcPct val="100000"/>
              </a:lnSpc>
              <a:spcBef>
                <a:spcPct val="0"/>
              </a:spcBef>
              <a:spcAft>
                <a:spcPct val="0"/>
              </a:spcAft>
              <a:buClrTx/>
              <a:buSzTx/>
              <a:buFontTx/>
              <a:buNone/>
              <a:tabLst/>
              <a:defRPr/>
            </a:pPr>
            <a:fld id="{EC136591-509A-F246-B30E-5ECE4A4A5F5E}" type="slidenum">
              <a:rPr kumimoji="0" lang="en-US" sz="900" b="0" i="0" u="none" strike="noStrike" kern="1200" cap="none" spc="0" normalizeH="0" baseline="0" noProof="0">
                <a:ln>
                  <a:noFill/>
                </a:ln>
                <a:solidFill>
                  <a:srgbClr val="002050"/>
                </a:solidFill>
                <a:effectLst/>
                <a:uLnTx/>
                <a:uFillTx/>
                <a:latin typeface="Segoe UI"/>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002050"/>
              </a:solidFill>
              <a:effectLst/>
              <a:uLnTx/>
              <a:uFillTx/>
              <a:latin typeface="Segoe UI"/>
              <a:ea typeface="+mn-ea"/>
              <a:cs typeface="+mn-cs"/>
            </a:endParaRPr>
          </a:p>
        </p:txBody>
      </p:sp>
    </p:spTree>
    <p:extLst>
      <p:ext uri="{BB962C8B-B14F-4D97-AF65-F5344CB8AC3E}">
        <p14:creationId xmlns:p14="http://schemas.microsoft.com/office/powerpoint/2010/main" val="223033538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8"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200">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0"/>
            <a:ext cx="3937000" cy="136525"/>
          </a:xfrm>
          <a:prstGeom prst="rect">
            <a:avLst/>
          </a:prstGeom>
        </p:spPr>
        <p:txBody>
          <a:bodyPr/>
          <a:lstStyle>
            <a:lvl1pPr fontAlgn="base">
              <a:spcBef>
                <a:spcPct val="0"/>
              </a:spcBef>
              <a:spcAft>
                <a:spcPct val="0"/>
              </a:spcAft>
              <a:defRPr dirty="0" smtClean="0">
                <a:solidFill>
                  <a:srgbClr val="505050"/>
                </a:solidFill>
              </a:defRPr>
            </a:lvl1pPr>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3"/>
          <p:cNvSpPr>
            <a:spLocks noGrp="1"/>
          </p:cNvSpPr>
          <p:nvPr>
            <p:ph type="sldNum" sz="quarter" idx="15"/>
          </p:nvPr>
        </p:nvSpPr>
        <p:spPr>
          <a:xfrm>
            <a:off x="11595100" y="6565900"/>
            <a:ext cx="566738" cy="136525"/>
          </a:xfrm>
          <a:prstGeom prst="rect">
            <a:avLst/>
          </a:prstGeom>
        </p:spPr>
        <p:txBody>
          <a:bodyPr/>
          <a:lstStyle>
            <a:lvl1pPr defTabSz="931863" fontAlgn="base">
              <a:spcBef>
                <a:spcPct val="0"/>
              </a:spcBef>
              <a:spcAft>
                <a:spcPct val="0"/>
              </a:spcAft>
              <a:defRPr smtClean="0">
                <a:solidFill>
                  <a:srgbClr val="505050"/>
                </a:solidFill>
              </a:defRPr>
            </a:lvl1pPr>
          </a:lstStyle>
          <a:p>
            <a:pPr marL="0" marR="0" lvl="0" indent="0" algn="r" defTabSz="931863" rtl="0" eaLnBrk="1" fontAlgn="base" latinLnBrk="0" hangingPunct="1">
              <a:lnSpc>
                <a:spcPct val="100000"/>
              </a:lnSpc>
              <a:spcBef>
                <a:spcPct val="0"/>
              </a:spcBef>
              <a:spcAft>
                <a:spcPct val="0"/>
              </a:spcAft>
              <a:buClrTx/>
              <a:buSzTx/>
              <a:buFontTx/>
              <a:buNone/>
              <a:tabLst/>
              <a:defRPr/>
            </a:pPr>
            <a:fld id="{56442AAA-6A77-5942-BCC4-0CCA4B0626F8}"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90732465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0"/>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a:xfrm>
            <a:off x="11595100" y="6565900"/>
            <a:ext cx="566738" cy="136525"/>
          </a:xfrm>
          <a:prstGeom prst="rect">
            <a:avLst/>
          </a:prstGeom>
        </p:spPr>
        <p:txBody>
          <a:bodyPr/>
          <a:lstStyle>
            <a:lvl1pPr defTabSz="931863" fontAlgn="base">
              <a:spcBef>
                <a:spcPct val="0"/>
              </a:spcBef>
              <a:spcAft>
                <a:spcPct val="0"/>
              </a:spcAft>
              <a:defRPr smtClean="0">
                <a:solidFill>
                  <a:srgbClr val="000000"/>
                </a:solidFill>
              </a:defRPr>
            </a:lvl1pPr>
          </a:lstStyle>
          <a:p>
            <a:pPr marL="0" marR="0" lvl="0" indent="0" algn="r" defTabSz="931863" rtl="0" eaLnBrk="1" fontAlgn="base" latinLnBrk="0" hangingPunct="1">
              <a:lnSpc>
                <a:spcPct val="100000"/>
              </a:lnSpc>
              <a:spcBef>
                <a:spcPct val="0"/>
              </a:spcBef>
              <a:spcAft>
                <a:spcPct val="0"/>
              </a:spcAft>
              <a:buClrTx/>
              <a:buSzTx/>
              <a:buFontTx/>
              <a:buNone/>
              <a:tabLst/>
              <a:defRPr/>
            </a:pPr>
            <a:fld id="{F8A0AC42-AA1D-4944-8D96-660DE70C7E1B}" type="slidenum">
              <a:rPr kumimoji="0" lang="en-US" sz="900" b="0" i="0" u="none" strike="noStrike" kern="1200" cap="none" spc="0" normalizeH="0" baseline="0" noProof="0">
                <a:ln>
                  <a:noFill/>
                </a:ln>
                <a:solidFill>
                  <a:srgbClr val="000000"/>
                </a:solidFill>
                <a:effectLst/>
                <a:uLnTx/>
                <a:uFillTx/>
                <a:latin typeface="Segoe UI"/>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2225275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2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5720267"/>
      </p:ext>
    </p:extLst>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04092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968742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122432154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035049" y="295275"/>
            <a:ext cx="9290691" cy="1533526"/>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3034501" y="1935481"/>
            <a:ext cx="5069267" cy="4724626"/>
          </a:xfrm>
        </p:spPr>
        <p:txBody>
          <a:bodyPr/>
          <a:lstStyle>
            <a:lvl1pPr marL="186484" indent="-186484">
              <a:buFont typeface="Arial" panose="020B0604020202020204" pitchFamily="34" charset="0"/>
              <a:buChar char="•"/>
              <a:defRPr>
                <a:gradFill>
                  <a:gsLst>
                    <a:gs pos="1250">
                      <a:schemeClr val="tx2"/>
                    </a:gs>
                    <a:gs pos="99000">
                      <a:schemeClr val="tx2"/>
                    </a:gs>
                  </a:gsLst>
                  <a:lin ang="5400000" scaled="0"/>
                </a:gradFill>
                <a:latin typeface="+mj-lt"/>
              </a:defRPr>
            </a:lvl1pPr>
            <a:lvl2pPr marL="414487" indent="-186196">
              <a:buFont typeface="Segoe UI Light" panose="020B0502040204020203" pitchFamily="34" charset="0"/>
              <a:buChar char="−"/>
              <a:defRPr sz="3264">
                <a:latin typeface="+mj-lt"/>
              </a:defRPr>
            </a:lvl2pPr>
            <a:lvl3pPr marL="647637" indent="-186196">
              <a:buFont typeface="Courier New" panose="02070309020205020404" pitchFamily="49" charset="0"/>
              <a:buChar char="o"/>
              <a:defRPr sz="2856">
                <a:latin typeface="+mj-lt"/>
              </a:defRPr>
            </a:lvl3pPr>
            <a:lvl4pPr marL="748405" indent="-291380">
              <a:buFont typeface="Arial" panose="020B0604020202020204" pitchFamily="34" charset="0"/>
              <a:buChar char="•"/>
              <a:defRPr/>
            </a:lvl4pPr>
            <a:lvl5pPr marL="976917" indent="-29138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95460" y="601572"/>
            <a:ext cx="1345776" cy="634440"/>
          </a:xfrm>
          <a:prstGeom prst="rect">
            <a:avLst/>
          </a:prstGeom>
          <a:noFill/>
        </p:spPr>
        <p:txBody>
          <a:bodyPr wrap="none" lIns="182854" tIns="146283" rIns="182854" bIns="146283" rtlCol="0">
            <a:spAutoFit/>
          </a:bodyPr>
          <a:lstStyle/>
          <a:p>
            <a:pPr marL="0" marR="0" lvl="0" indent="0" algn="r"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mn-ea"/>
                <a:cs typeface="+mn-cs"/>
              </a:rPr>
              <a:t>Feature</a:t>
            </a:r>
          </a:p>
        </p:txBody>
      </p:sp>
      <p:sp>
        <p:nvSpPr>
          <p:cNvPr id="5" name="Picture Placeholder 6"/>
          <p:cNvSpPr>
            <a:spLocks noGrp="1"/>
          </p:cNvSpPr>
          <p:nvPr>
            <p:ph type="pic" sz="quarter" idx="12" hasCustomPrompt="1"/>
          </p:nvPr>
        </p:nvSpPr>
        <p:spPr>
          <a:xfrm>
            <a:off x="8258625" y="2423857"/>
            <a:ext cx="3562313" cy="3971137"/>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85954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5_Custom Layout">
    <p:bg>
      <p:bgPr>
        <a:solidFill>
          <a:srgbClr val="FF8C00"/>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srcRect l="46418" t="28339" b="17442"/>
          <a:stretch/>
        </p:blipFill>
        <p:spPr>
          <a:xfrm>
            <a:off x="-70338" y="-23447"/>
            <a:ext cx="13229832" cy="7057293"/>
          </a:xfrm>
          <a:prstGeom prst="rect">
            <a:avLst/>
          </a:prstGeom>
        </p:spPr>
      </p:pic>
      <p:sp>
        <p:nvSpPr>
          <p:cNvPr id="1381" name="Title 1"/>
          <p:cNvSpPr txBox="1">
            <a:spLocks/>
          </p:cNvSpPr>
          <p:nvPr userDrawn="1"/>
        </p:nvSpPr>
        <p:spPr>
          <a:xfrm>
            <a:off x="309896" y="340565"/>
            <a:ext cx="5244464" cy="3474545"/>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5399" b="0" i="0" u="none" strike="noStrike" kern="1200" cap="none" spc="-102" normalizeH="0" baseline="0" noProof="0" dirty="0">
              <a:ln w="3175">
                <a:noFill/>
              </a:ln>
              <a:solidFill>
                <a:srgbClr val="0072C6"/>
              </a:solidFill>
              <a:effectLst/>
              <a:uLnTx/>
              <a:uFillTx/>
              <a:latin typeface="Segoe UI Light"/>
              <a:ea typeface="+mn-ea"/>
              <a:cs typeface="Segoe UI" pitchFamily="34" charset="0"/>
            </a:endParaRPr>
          </a:p>
        </p:txBody>
      </p:sp>
      <p:grpSp>
        <p:nvGrpSpPr>
          <p:cNvPr id="25" name="Group 24"/>
          <p:cNvGrpSpPr/>
          <p:nvPr userDrawn="1"/>
        </p:nvGrpSpPr>
        <p:grpSpPr>
          <a:xfrm>
            <a:off x="1227054" y="3014900"/>
            <a:ext cx="1837052" cy="1837054"/>
            <a:chOff x="11092177" y="4747627"/>
            <a:chExt cx="540526" cy="540526"/>
          </a:xfrm>
        </p:grpSpPr>
        <p:sp>
          <p:nvSpPr>
            <p:cNvPr id="26" name="Freeform 186"/>
            <p:cNvSpPr>
              <a:spLocks/>
            </p:cNvSpPr>
            <p:nvPr userDrawn="1"/>
          </p:nvSpPr>
          <p:spPr bwMode="auto">
            <a:xfrm>
              <a:off x="11092177" y="4747627"/>
              <a:ext cx="540526" cy="540526"/>
            </a:xfrm>
            <a:prstGeom prst="ellipse">
              <a:avLst/>
            </a:prstGeom>
            <a:solidFill>
              <a:srgbClr val="FFB900">
                <a:alpha val="36000"/>
              </a:srgbClr>
            </a:solidFill>
            <a:ln>
              <a:noFill/>
            </a:ln>
          </p:spPr>
          <p:txBody>
            <a:bodyPr vert="horz" wrap="square" lIns="91427" tIns="45713" rIns="91427" bIns="45713" numCol="1" anchor="t" anchorCtr="0" compatLnSpc="1">
              <a:prstTxWarp prst="textNoShape">
                <a:avLst/>
              </a:prstTxWarp>
            </a:bodyPr>
            <a:lstStyle/>
            <a:p>
              <a:pPr marL="0" marR="0" lvl="0" indent="0" algn="l" defTabSz="931684"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27" name="Freeform 187"/>
            <p:cNvSpPr>
              <a:spLocks noEditPoints="1"/>
            </p:cNvSpPr>
            <p:nvPr/>
          </p:nvSpPr>
          <p:spPr bwMode="auto">
            <a:xfrm>
              <a:off x="11185499" y="4841873"/>
              <a:ext cx="352959" cy="352035"/>
            </a:xfrm>
            <a:prstGeom prst="ellipse">
              <a:avLst/>
            </a:prstGeom>
            <a:solidFill>
              <a:srgbClr val="FF8C00">
                <a:alpha val="79000"/>
              </a:srgbClr>
            </a:solidFill>
            <a:ln>
              <a:noFill/>
            </a:ln>
          </p:spPr>
          <p:txBody>
            <a:bodyPr vert="horz" wrap="square" lIns="91427" tIns="45713" rIns="91427" bIns="45713" numCol="1" anchor="t" anchorCtr="0" compatLnSpc="1">
              <a:prstTxWarp prst="textNoShape">
                <a:avLst/>
              </a:prstTxWarp>
            </a:bodyPr>
            <a:lstStyle/>
            <a:p>
              <a:pPr marL="0" marR="0" lvl="0" indent="0" algn="l" defTabSz="931684"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28" name="Group 27"/>
            <p:cNvGrpSpPr/>
            <p:nvPr/>
          </p:nvGrpSpPr>
          <p:grpSpPr>
            <a:xfrm>
              <a:off x="11258847" y="4915587"/>
              <a:ext cx="207178" cy="289829"/>
              <a:chOff x="-2260605" y="4106862"/>
              <a:chExt cx="298450" cy="417514"/>
            </a:xfrm>
          </p:grpSpPr>
          <p:sp>
            <p:nvSpPr>
              <p:cNvPr id="29" name="Freeform 188"/>
              <p:cNvSpPr>
                <a:spLocks/>
              </p:cNvSpPr>
              <p:nvPr/>
            </p:nvSpPr>
            <p:spPr bwMode="auto">
              <a:xfrm>
                <a:off x="-2260605" y="4106862"/>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684"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30" name="Freeform 192"/>
              <p:cNvSpPr>
                <a:spLocks noEditPoints="1"/>
              </p:cNvSpPr>
              <p:nvPr/>
            </p:nvSpPr>
            <p:spPr bwMode="auto">
              <a:xfrm>
                <a:off x="-2260600" y="4254501"/>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684"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31" name="Rectangle 194"/>
              <p:cNvSpPr>
                <a:spLocks noChangeArrowheads="1"/>
              </p:cNvSpPr>
              <p:nvPr/>
            </p:nvSpPr>
            <p:spPr bwMode="auto">
              <a:xfrm>
                <a:off x="-2168525" y="4452938"/>
                <a:ext cx="114300" cy="7143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1684"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ea typeface="+mn-ea"/>
                  <a:cs typeface="+mn-cs"/>
                </a:endParaRPr>
              </a:p>
            </p:txBody>
          </p:sp>
        </p:grpSp>
      </p:grpSp>
      <p:sp>
        <p:nvSpPr>
          <p:cNvPr id="12" name="Title 1"/>
          <p:cNvSpPr>
            <a:spLocks noGrp="1"/>
          </p:cNvSpPr>
          <p:nvPr>
            <p:ph type="title"/>
          </p:nvPr>
        </p:nvSpPr>
        <p:spPr>
          <a:xfrm>
            <a:off x="274639" y="295276"/>
            <a:ext cx="5364246" cy="2433673"/>
          </a:xfrm>
        </p:spPr>
        <p:txBody>
          <a:bodyPr/>
          <a:lstStyle>
            <a:lvl1pPr>
              <a:defRPr sz="5400">
                <a:gradFill>
                  <a:gsLst>
                    <a:gs pos="64912">
                      <a:schemeClr val="accent5"/>
                    </a:gs>
                    <a:gs pos="43000">
                      <a:schemeClr val="accent5"/>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186315976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65892233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accent4"/>
        </a:solidFill>
        <a:effectLst/>
      </p:bgPr>
    </p:bg>
    <p:spTree>
      <p:nvGrpSpPr>
        <p:cNvPr id="1" name=""/>
        <p:cNvGrpSpPr/>
        <p:nvPr/>
      </p:nvGrpSpPr>
      <p:grpSpPr>
        <a:xfrm>
          <a:off x="0" y="0"/>
          <a:ext cx="0" cy="0"/>
          <a:chOff x="0" y="0"/>
          <a:chExt cx="0" cy="0"/>
        </a:xfrm>
      </p:grpSpPr>
      <p:sp>
        <p:nvSpPr>
          <p:cNvPr id="1392" name="Rectangle 1391"/>
          <p:cNvSpPr/>
          <p:nvPr userDrawn="1"/>
        </p:nvSpPr>
        <p:spPr bwMode="auto">
          <a:xfrm>
            <a:off x="117230" y="77469"/>
            <a:ext cx="13037703" cy="6861465"/>
          </a:xfrm>
          <a:prstGeom prst="rect">
            <a:avLst/>
          </a:prstGeom>
          <a:blipFill>
            <a:blip r:embed="rId2">
              <a:alphaModFix amt="80000"/>
            </a:blip>
            <a:srcRect/>
            <a:stretch>
              <a:fillRect l="-89347" r="-1"/>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chemeClr val="bg1"/>
              </a:solidFill>
              <a:latin typeface="+mj-lt"/>
              <a:ea typeface="Segoe UI" pitchFamily="34" charset="0"/>
              <a:cs typeface="Segoe UI" pitchFamily="34" charset="0"/>
            </a:endParaRPr>
          </a:p>
        </p:txBody>
      </p:sp>
      <p:pic>
        <p:nvPicPr>
          <p:cNvPr id="19" name="Picture 18"/>
          <p:cNvPicPr>
            <a:picLocks noChangeAspect="1"/>
          </p:cNvPicPr>
          <p:nvPr userDrawn="1"/>
        </p:nvPicPr>
        <p:blipFill rotWithShape="1">
          <a:blip r:embed="rId3"/>
          <a:srcRect l="3690" t="27657" r="2751" b="17378"/>
          <a:stretch/>
        </p:blipFill>
        <p:spPr>
          <a:xfrm>
            <a:off x="117231" y="0"/>
            <a:ext cx="12437234" cy="6993924"/>
          </a:xfrm>
          <a:prstGeom prst="rect">
            <a:avLst/>
          </a:prstGeom>
        </p:spPr>
      </p:pic>
      <p:pic>
        <p:nvPicPr>
          <p:cNvPr id="23" name="Picture 22"/>
          <p:cNvPicPr>
            <a:picLocks noChangeAspect="1"/>
          </p:cNvPicPr>
          <p:nvPr userDrawn="1"/>
        </p:nvPicPr>
        <p:blipFill rotWithShape="1">
          <a:blip r:embed="rId4"/>
          <a:srcRect l="5796" t="5241" b="19866"/>
          <a:stretch/>
        </p:blipFill>
        <p:spPr>
          <a:xfrm>
            <a:off x="0" y="-49427"/>
            <a:ext cx="9292434" cy="7068065"/>
          </a:xfrm>
          <a:prstGeom prst="rect">
            <a:avLst/>
          </a:prstGeom>
        </p:spPr>
      </p:pic>
      <p:sp>
        <p:nvSpPr>
          <p:cNvPr id="1381" name="Title 1"/>
          <p:cNvSpPr txBox="1">
            <a:spLocks/>
          </p:cNvSpPr>
          <p:nvPr userDrawn="1"/>
        </p:nvSpPr>
        <p:spPr>
          <a:xfrm>
            <a:off x="309896" y="340565"/>
            <a:ext cx="5244464" cy="3474545"/>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endParaRPr lang="en-US" sz="5399" dirty="0">
              <a:solidFill>
                <a:srgbClr val="0072C6"/>
              </a:solidFill>
            </a:endParaRPr>
          </a:p>
        </p:txBody>
      </p:sp>
      <p:sp>
        <p:nvSpPr>
          <p:cNvPr id="1382" name="Title 1"/>
          <p:cNvSpPr>
            <a:spLocks noGrp="1"/>
          </p:cNvSpPr>
          <p:nvPr>
            <p:ph type="title"/>
          </p:nvPr>
        </p:nvSpPr>
        <p:spPr>
          <a:xfrm>
            <a:off x="274639" y="295276"/>
            <a:ext cx="5364246" cy="2433673"/>
          </a:xfrm>
        </p:spPr>
        <p:txBody>
          <a:bodyPr/>
          <a:lstStyle>
            <a:lvl1pPr>
              <a:defRPr sz="5400">
                <a:solidFill>
                  <a:schemeClr val="accent4"/>
                </a:solidFill>
              </a:defRPr>
            </a:lvl1pPr>
          </a:lstStyle>
          <a:p>
            <a:r>
              <a:rPr lang="en-US" dirty="0"/>
              <a:t>Click to edit Master title style</a:t>
            </a:r>
          </a:p>
        </p:txBody>
      </p:sp>
      <p:grpSp>
        <p:nvGrpSpPr>
          <p:cNvPr id="1383" name="Group 1382"/>
          <p:cNvGrpSpPr/>
          <p:nvPr userDrawn="1"/>
        </p:nvGrpSpPr>
        <p:grpSpPr>
          <a:xfrm>
            <a:off x="1257868" y="3037751"/>
            <a:ext cx="1775425" cy="1775425"/>
            <a:chOff x="1257868" y="2914778"/>
            <a:chExt cx="1775425" cy="1775425"/>
          </a:xfrm>
        </p:grpSpPr>
        <p:grpSp>
          <p:nvGrpSpPr>
            <p:cNvPr id="1384" name="Group 1383"/>
            <p:cNvGrpSpPr/>
            <p:nvPr userDrawn="1"/>
          </p:nvGrpSpPr>
          <p:grpSpPr>
            <a:xfrm>
              <a:off x="1257868" y="2914778"/>
              <a:ext cx="1775425" cy="1775425"/>
              <a:chOff x="1068968" y="3223626"/>
              <a:chExt cx="1775425" cy="1775425"/>
            </a:xfrm>
            <a:solidFill>
              <a:srgbClr val="BA141A"/>
            </a:solidFill>
          </p:grpSpPr>
          <p:sp>
            <p:nvSpPr>
              <p:cNvPr id="1387" name="Donut 1386"/>
              <p:cNvSpPr/>
              <p:nvPr/>
            </p:nvSpPr>
            <p:spPr bwMode="auto">
              <a:xfrm>
                <a:off x="1068968" y="3223626"/>
                <a:ext cx="1775425" cy="1775425"/>
              </a:xfrm>
              <a:prstGeom prst="donut">
                <a:avLst>
                  <a:gd name="adj" fmla="val 7423"/>
                </a:avLst>
              </a:prstGeom>
              <a:solidFill>
                <a:srgbClr val="BA141A">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marR="0" lvl="0" indent="-342834" algn="ctr" defTabSz="932293"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IN"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88" name="Freeform 5"/>
              <p:cNvSpPr>
                <a:spLocks/>
              </p:cNvSpPr>
              <p:nvPr/>
            </p:nvSpPr>
            <p:spPr bwMode="auto">
              <a:xfrm rot="18900000">
                <a:off x="1616206" y="3474252"/>
                <a:ext cx="376606" cy="352694"/>
              </a:xfrm>
              <a:custGeom>
                <a:avLst/>
                <a:gdLst>
                  <a:gd name="T0" fmla="*/ 53 w 53"/>
                  <a:gd name="T1" fmla="*/ 22 h 49"/>
                  <a:gd name="T2" fmla="*/ 2 w 53"/>
                  <a:gd name="T3" fmla="*/ 0 h 49"/>
                  <a:gd name="T4" fmla="*/ 0 w 53"/>
                  <a:gd name="T5" fmla="*/ 37 h 49"/>
                  <a:gd name="T6" fmla="*/ 28 w 53"/>
                  <a:gd name="T7" fmla="*/ 49 h 49"/>
                  <a:gd name="T8" fmla="*/ 53 w 53"/>
                  <a:gd name="T9" fmla="*/ 22 h 49"/>
                </a:gdLst>
                <a:ahLst/>
                <a:cxnLst>
                  <a:cxn ang="0">
                    <a:pos x="T0" y="T1"/>
                  </a:cxn>
                  <a:cxn ang="0">
                    <a:pos x="T2" y="T3"/>
                  </a:cxn>
                  <a:cxn ang="0">
                    <a:pos x="T4" y="T5"/>
                  </a:cxn>
                  <a:cxn ang="0">
                    <a:pos x="T6" y="T7"/>
                  </a:cxn>
                  <a:cxn ang="0">
                    <a:pos x="T8" y="T9"/>
                  </a:cxn>
                </a:cxnLst>
                <a:rect l="0" t="0" r="r" b="b"/>
                <a:pathLst>
                  <a:path w="53" h="49">
                    <a:moveTo>
                      <a:pt x="53" y="22"/>
                    </a:moveTo>
                    <a:cubicBezTo>
                      <a:pt x="39" y="9"/>
                      <a:pt x="21" y="2"/>
                      <a:pt x="2" y="0"/>
                    </a:cubicBezTo>
                    <a:cubicBezTo>
                      <a:pt x="0" y="37"/>
                      <a:pt x="0" y="37"/>
                      <a:pt x="0" y="37"/>
                    </a:cubicBezTo>
                    <a:cubicBezTo>
                      <a:pt x="10" y="38"/>
                      <a:pt x="20" y="42"/>
                      <a:pt x="28" y="49"/>
                    </a:cubicBezTo>
                    <a:lnTo>
                      <a:pt x="53" y="22"/>
                    </a:ln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sp>
            <p:nvSpPr>
              <p:cNvPr id="1389" name="Freeform 6"/>
              <p:cNvSpPr>
                <a:spLocks/>
              </p:cNvSpPr>
              <p:nvPr/>
            </p:nvSpPr>
            <p:spPr bwMode="auto">
              <a:xfrm rot="18900000">
                <a:off x="1942016" y="3461858"/>
                <a:ext cx="352695" cy="379596"/>
              </a:xfrm>
              <a:custGeom>
                <a:avLst/>
                <a:gdLst>
                  <a:gd name="T0" fmla="*/ 12 w 49"/>
                  <a:gd name="T1" fmla="*/ 53 h 53"/>
                  <a:gd name="T2" fmla="*/ 49 w 49"/>
                  <a:gd name="T3" fmla="*/ 51 h 53"/>
                  <a:gd name="T4" fmla="*/ 27 w 49"/>
                  <a:gd name="T5" fmla="*/ 0 h 53"/>
                  <a:gd name="T6" fmla="*/ 0 w 49"/>
                  <a:gd name="T7" fmla="*/ 24 h 53"/>
                  <a:gd name="T8" fmla="*/ 12 w 49"/>
                  <a:gd name="T9" fmla="*/ 53 h 53"/>
                </a:gdLst>
                <a:ahLst/>
                <a:cxnLst>
                  <a:cxn ang="0">
                    <a:pos x="T0" y="T1"/>
                  </a:cxn>
                  <a:cxn ang="0">
                    <a:pos x="T2" y="T3"/>
                  </a:cxn>
                  <a:cxn ang="0">
                    <a:pos x="T4" y="T5"/>
                  </a:cxn>
                  <a:cxn ang="0">
                    <a:pos x="T6" y="T7"/>
                  </a:cxn>
                  <a:cxn ang="0">
                    <a:pos x="T8" y="T9"/>
                  </a:cxn>
                </a:cxnLst>
                <a:rect l="0" t="0" r="r" b="b"/>
                <a:pathLst>
                  <a:path w="49" h="53">
                    <a:moveTo>
                      <a:pt x="12" y="53"/>
                    </a:moveTo>
                    <a:cubicBezTo>
                      <a:pt x="49" y="51"/>
                      <a:pt x="49" y="51"/>
                      <a:pt x="49" y="51"/>
                    </a:cubicBezTo>
                    <a:cubicBezTo>
                      <a:pt x="47" y="32"/>
                      <a:pt x="40" y="14"/>
                      <a:pt x="27" y="0"/>
                    </a:cubicBezTo>
                    <a:cubicBezTo>
                      <a:pt x="0" y="24"/>
                      <a:pt x="0" y="24"/>
                      <a:pt x="0" y="24"/>
                    </a:cubicBezTo>
                    <a:cubicBezTo>
                      <a:pt x="7" y="32"/>
                      <a:pt x="11" y="43"/>
                      <a:pt x="12" y="53"/>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sp>
            <p:nvSpPr>
              <p:cNvPr id="1390" name="Freeform 7"/>
              <p:cNvSpPr>
                <a:spLocks/>
              </p:cNvSpPr>
              <p:nvPr/>
            </p:nvSpPr>
            <p:spPr bwMode="auto">
              <a:xfrm rot="18900000">
                <a:off x="1311425" y="3777538"/>
                <a:ext cx="379596" cy="352694"/>
              </a:xfrm>
              <a:custGeom>
                <a:avLst/>
                <a:gdLst>
                  <a:gd name="T0" fmla="*/ 53 w 53"/>
                  <a:gd name="T1" fmla="*/ 37 h 49"/>
                  <a:gd name="T2" fmla="*/ 51 w 53"/>
                  <a:gd name="T3" fmla="*/ 0 h 49"/>
                  <a:gd name="T4" fmla="*/ 0 w 53"/>
                  <a:gd name="T5" fmla="*/ 21 h 49"/>
                  <a:gd name="T6" fmla="*/ 24 w 53"/>
                  <a:gd name="T7" fmla="*/ 49 h 49"/>
                  <a:gd name="T8" fmla="*/ 53 w 53"/>
                  <a:gd name="T9" fmla="*/ 37 h 49"/>
                </a:gdLst>
                <a:ahLst/>
                <a:cxnLst>
                  <a:cxn ang="0">
                    <a:pos x="T0" y="T1"/>
                  </a:cxn>
                  <a:cxn ang="0">
                    <a:pos x="T2" y="T3"/>
                  </a:cxn>
                  <a:cxn ang="0">
                    <a:pos x="T4" y="T5"/>
                  </a:cxn>
                  <a:cxn ang="0">
                    <a:pos x="T6" y="T7"/>
                  </a:cxn>
                  <a:cxn ang="0">
                    <a:pos x="T8" y="T9"/>
                  </a:cxn>
                </a:cxnLst>
                <a:rect l="0" t="0" r="r" b="b"/>
                <a:pathLst>
                  <a:path w="53" h="49">
                    <a:moveTo>
                      <a:pt x="53" y="37"/>
                    </a:moveTo>
                    <a:cubicBezTo>
                      <a:pt x="51" y="0"/>
                      <a:pt x="51" y="0"/>
                      <a:pt x="51" y="0"/>
                    </a:cubicBezTo>
                    <a:cubicBezTo>
                      <a:pt x="32" y="1"/>
                      <a:pt x="14" y="9"/>
                      <a:pt x="0" y="21"/>
                    </a:cubicBezTo>
                    <a:cubicBezTo>
                      <a:pt x="24" y="49"/>
                      <a:pt x="24" y="49"/>
                      <a:pt x="24" y="49"/>
                    </a:cubicBezTo>
                    <a:cubicBezTo>
                      <a:pt x="32" y="42"/>
                      <a:pt x="43" y="38"/>
                      <a:pt x="53" y="37"/>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sp>
            <p:nvSpPr>
              <p:cNvPr id="1391" name="Freeform 8"/>
              <p:cNvSpPr>
                <a:spLocks/>
              </p:cNvSpPr>
              <p:nvPr/>
            </p:nvSpPr>
            <p:spPr bwMode="auto">
              <a:xfrm rot="18900000">
                <a:off x="1331654" y="4082167"/>
                <a:ext cx="349706" cy="379596"/>
              </a:xfrm>
              <a:custGeom>
                <a:avLst/>
                <a:gdLst>
                  <a:gd name="T0" fmla="*/ 48 w 49"/>
                  <a:gd name="T1" fmla="*/ 23 h 53"/>
                  <a:gd name="T2" fmla="*/ 21 w 49"/>
                  <a:gd name="T3" fmla="*/ 0 h 53"/>
                  <a:gd name="T4" fmla="*/ 0 w 49"/>
                  <a:gd name="T5" fmla="*/ 51 h 53"/>
                  <a:gd name="T6" fmla="*/ 37 w 49"/>
                  <a:gd name="T7" fmla="*/ 53 h 53"/>
                  <a:gd name="T8" fmla="*/ 49 w 49"/>
                  <a:gd name="T9" fmla="*/ 24 h 53"/>
                  <a:gd name="T10" fmla="*/ 48 w 49"/>
                  <a:gd name="T11" fmla="*/ 23 h 53"/>
                </a:gdLst>
                <a:ahLst/>
                <a:cxnLst>
                  <a:cxn ang="0">
                    <a:pos x="T0" y="T1"/>
                  </a:cxn>
                  <a:cxn ang="0">
                    <a:pos x="T2" y="T3"/>
                  </a:cxn>
                  <a:cxn ang="0">
                    <a:pos x="T4" y="T5"/>
                  </a:cxn>
                  <a:cxn ang="0">
                    <a:pos x="T6" y="T7"/>
                  </a:cxn>
                  <a:cxn ang="0">
                    <a:pos x="T8" y="T9"/>
                  </a:cxn>
                  <a:cxn ang="0">
                    <a:pos x="T10" y="T11"/>
                  </a:cxn>
                </a:cxnLst>
                <a:rect l="0" t="0" r="r" b="b"/>
                <a:pathLst>
                  <a:path w="49" h="53">
                    <a:moveTo>
                      <a:pt x="48" y="23"/>
                    </a:moveTo>
                    <a:cubicBezTo>
                      <a:pt x="21" y="0"/>
                      <a:pt x="21" y="0"/>
                      <a:pt x="21" y="0"/>
                    </a:cubicBezTo>
                    <a:cubicBezTo>
                      <a:pt x="8" y="14"/>
                      <a:pt x="1" y="32"/>
                      <a:pt x="0" y="51"/>
                    </a:cubicBezTo>
                    <a:cubicBezTo>
                      <a:pt x="37" y="53"/>
                      <a:pt x="37" y="53"/>
                      <a:pt x="37" y="53"/>
                    </a:cubicBezTo>
                    <a:cubicBezTo>
                      <a:pt x="38" y="42"/>
                      <a:pt x="42" y="32"/>
                      <a:pt x="49" y="24"/>
                    </a:cubicBezTo>
                    <a:cubicBezTo>
                      <a:pt x="48" y="23"/>
                      <a:pt x="48" y="23"/>
                      <a:pt x="48" y="23"/>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grpSp>
        <p:sp>
          <p:nvSpPr>
            <p:cNvPr id="1385" name="Freeform 1384"/>
            <p:cNvSpPr>
              <a:spLocks/>
            </p:cNvSpPr>
            <p:nvPr userDrawn="1"/>
          </p:nvSpPr>
          <p:spPr bwMode="auto">
            <a:xfrm rot="18900000">
              <a:off x="2170096" y="3434382"/>
              <a:ext cx="593840" cy="477384"/>
            </a:xfrm>
            <a:custGeom>
              <a:avLst/>
              <a:gdLst>
                <a:gd name="connsiteX0" fmla="*/ 42335 w 473106"/>
                <a:gd name="connsiteY0" fmla="*/ 21859 h 380327"/>
                <a:gd name="connsiteX1" fmla="*/ 61057 w 473106"/>
                <a:gd name="connsiteY1" fmla="*/ 49049 h 380327"/>
                <a:gd name="connsiteX2" fmla="*/ 64322 w 473106"/>
                <a:gd name="connsiteY2" fmla="*/ 64322 h 380327"/>
                <a:gd name="connsiteX3" fmla="*/ 0 w 473106"/>
                <a:gd name="connsiteY3" fmla="*/ 0 h 380327"/>
                <a:gd name="connsiteX4" fmla="*/ 15056 w 473106"/>
                <a:gd name="connsiteY4" fmla="*/ 3198 h 380327"/>
                <a:gd name="connsiteX5" fmla="*/ 42335 w 473106"/>
                <a:gd name="connsiteY5" fmla="*/ 21859 h 380327"/>
                <a:gd name="connsiteX6" fmla="*/ 473106 w 473106"/>
                <a:gd name="connsiteY6" fmla="*/ 104320 h 380327"/>
                <a:gd name="connsiteX7" fmla="*/ 376111 w 473106"/>
                <a:gd name="connsiteY7" fmla="*/ 371609 h 380327"/>
                <a:gd name="connsiteX8" fmla="*/ 380327 w 473106"/>
                <a:gd name="connsiteY8" fmla="*/ 380327 h 380327"/>
                <a:gd name="connsiteX9" fmla="*/ 222557 w 473106"/>
                <a:gd name="connsiteY9" fmla="*/ 222557 h 380327"/>
                <a:gd name="connsiteX10" fmla="*/ 248449 w 473106"/>
                <a:gd name="connsiteY10" fmla="*/ 160479 h 380327"/>
                <a:gd name="connsiteX11" fmla="*/ 262000 w 473106"/>
                <a:gd name="connsiteY11" fmla="*/ 92946 h 380327"/>
                <a:gd name="connsiteX12" fmla="*/ 473106 w 473106"/>
                <a:gd name="connsiteY12" fmla="*/ 104320 h 3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106" h="380327">
                  <a:moveTo>
                    <a:pt x="42335" y="21859"/>
                  </a:moveTo>
                  <a:cubicBezTo>
                    <a:pt x="50181" y="29678"/>
                    <a:pt x="56599" y="38919"/>
                    <a:pt x="61057" y="49049"/>
                  </a:cubicBezTo>
                  <a:lnTo>
                    <a:pt x="64322" y="64322"/>
                  </a:lnTo>
                  <a:lnTo>
                    <a:pt x="0" y="0"/>
                  </a:lnTo>
                  <a:lnTo>
                    <a:pt x="15056" y="3198"/>
                  </a:lnTo>
                  <a:cubicBezTo>
                    <a:pt x="25218" y="7641"/>
                    <a:pt x="34490" y="14039"/>
                    <a:pt x="42335" y="21859"/>
                  </a:cubicBezTo>
                  <a:close/>
                  <a:moveTo>
                    <a:pt x="473106" y="104320"/>
                  </a:moveTo>
                  <a:cubicBezTo>
                    <a:pt x="467401" y="200999"/>
                    <a:pt x="433167" y="297678"/>
                    <a:pt x="376111" y="371609"/>
                  </a:cubicBezTo>
                  <a:lnTo>
                    <a:pt x="380327" y="380327"/>
                  </a:lnTo>
                  <a:lnTo>
                    <a:pt x="222557" y="222557"/>
                  </a:lnTo>
                  <a:lnTo>
                    <a:pt x="248449" y="160479"/>
                  </a:lnTo>
                  <a:cubicBezTo>
                    <a:pt x="254868" y="138442"/>
                    <a:pt x="259147" y="115694"/>
                    <a:pt x="262000" y="92946"/>
                  </a:cubicBezTo>
                  <a:cubicBezTo>
                    <a:pt x="262000" y="92946"/>
                    <a:pt x="262000" y="92946"/>
                    <a:pt x="473106" y="104320"/>
                  </a:cubicBezTo>
                  <a:close/>
                </a:path>
              </a:pathLst>
            </a:custGeom>
            <a:solidFill>
              <a:srgbClr val="BA141A"/>
            </a:solidFill>
            <a:ln>
              <a:noFill/>
            </a:ln>
            <a:extLst/>
          </p:spPr>
          <p:txBody>
            <a:bodyPr vert="horz" wrap="square" lIns="91427" tIns="45713" rIns="91427" bIns="45713" numCol="1" anchor="t" anchorCtr="0" compatLnSpc="1">
              <a:prstTxWarp prst="textNoShape">
                <a:avLst/>
              </a:prstTxWarp>
              <a:noAutofit/>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sp>
          <p:nvSpPr>
            <p:cNvPr id="1386" name="Freeform 1385"/>
            <p:cNvSpPr>
              <a:spLocks/>
            </p:cNvSpPr>
            <p:nvPr userDrawn="1"/>
          </p:nvSpPr>
          <p:spPr bwMode="auto">
            <a:xfrm rot="19005034">
              <a:off x="2115065" y="3501231"/>
              <a:ext cx="616889" cy="599616"/>
            </a:xfrm>
            <a:custGeom>
              <a:avLst/>
              <a:gdLst>
                <a:gd name="connsiteX0" fmla="*/ 145492 w 491469"/>
                <a:gd name="connsiteY0" fmla="*/ 25592 h 477708"/>
                <a:gd name="connsiteX1" fmla="*/ 171167 w 491469"/>
                <a:gd name="connsiteY1" fmla="*/ 85305 h 477708"/>
                <a:gd name="connsiteX2" fmla="*/ 325218 w 491469"/>
                <a:gd name="connsiteY2" fmla="*/ 227480 h 477708"/>
                <a:gd name="connsiteX3" fmla="*/ 325539 w 491469"/>
                <a:gd name="connsiteY3" fmla="*/ 226709 h 477708"/>
                <a:gd name="connsiteX4" fmla="*/ 484040 w 491469"/>
                <a:gd name="connsiteY4" fmla="*/ 385210 h 477708"/>
                <a:gd name="connsiteX5" fmla="*/ 488807 w 491469"/>
                <a:gd name="connsiteY5" fmla="*/ 395069 h 477708"/>
                <a:gd name="connsiteX6" fmla="*/ 473563 w 491469"/>
                <a:gd name="connsiteY6" fmla="*/ 460647 h 477708"/>
                <a:gd name="connsiteX7" fmla="*/ 387979 w 491469"/>
                <a:gd name="connsiteY7" fmla="*/ 460647 h 477708"/>
                <a:gd name="connsiteX8" fmla="*/ 85584 w 491469"/>
                <a:gd name="connsiteY8" fmla="*/ 170610 h 477708"/>
                <a:gd name="connsiteX9" fmla="*/ 0 w 491469"/>
                <a:gd name="connsiteY9" fmla="*/ 85305 h 477708"/>
                <a:gd name="connsiteX10" fmla="*/ 85584 w 491469"/>
                <a:gd name="connsiteY10" fmla="*/ 0 h 477708"/>
                <a:gd name="connsiteX11" fmla="*/ 145492 w 491469"/>
                <a:gd name="connsiteY11" fmla="*/ 25592 h 477708"/>
                <a:gd name="connsiteX0" fmla="*/ 145492 w 491469"/>
                <a:gd name="connsiteY0" fmla="*/ 25592 h 477708"/>
                <a:gd name="connsiteX1" fmla="*/ 171167 w 491469"/>
                <a:gd name="connsiteY1" fmla="*/ 85305 h 477708"/>
                <a:gd name="connsiteX2" fmla="*/ 325218 w 491469"/>
                <a:gd name="connsiteY2" fmla="*/ 227480 h 477708"/>
                <a:gd name="connsiteX3" fmla="*/ 484040 w 491469"/>
                <a:gd name="connsiteY3" fmla="*/ 385210 h 477708"/>
                <a:gd name="connsiteX4" fmla="*/ 488807 w 491469"/>
                <a:gd name="connsiteY4" fmla="*/ 395069 h 477708"/>
                <a:gd name="connsiteX5" fmla="*/ 473563 w 491469"/>
                <a:gd name="connsiteY5" fmla="*/ 460647 h 477708"/>
                <a:gd name="connsiteX6" fmla="*/ 387979 w 491469"/>
                <a:gd name="connsiteY6" fmla="*/ 460647 h 477708"/>
                <a:gd name="connsiteX7" fmla="*/ 85584 w 491469"/>
                <a:gd name="connsiteY7" fmla="*/ 170610 h 477708"/>
                <a:gd name="connsiteX8" fmla="*/ 0 w 491469"/>
                <a:gd name="connsiteY8" fmla="*/ 85305 h 477708"/>
                <a:gd name="connsiteX9" fmla="*/ 85584 w 491469"/>
                <a:gd name="connsiteY9" fmla="*/ 0 h 477708"/>
                <a:gd name="connsiteX10" fmla="*/ 145492 w 491469"/>
                <a:gd name="connsiteY10" fmla="*/ 25592 h 477708"/>
                <a:gd name="connsiteX0" fmla="*/ 145492 w 491469"/>
                <a:gd name="connsiteY0" fmla="*/ 25592 h 477708"/>
                <a:gd name="connsiteX1" fmla="*/ 171167 w 491469"/>
                <a:gd name="connsiteY1" fmla="*/ 85305 h 477708"/>
                <a:gd name="connsiteX2" fmla="*/ 484040 w 491469"/>
                <a:gd name="connsiteY2" fmla="*/ 385210 h 477708"/>
                <a:gd name="connsiteX3" fmla="*/ 488807 w 491469"/>
                <a:gd name="connsiteY3" fmla="*/ 395069 h 477708"/>
                <a:gd name="connsiteX4" fmla="*/ 473563 w 491469"/>
                <a:gd name="connsiteY4" fmla="*/ 460647 h 477708"/>
                <a:gd name="connsiteX5" fmla="*/ 387979 w 491469"/>
                <a:gd name="connsiteY5" fmla="*/ 460647 h 477708"/>
                <a:gd name="connsiteX6" fmla="*/ 85584 w 491469"/>
                <a:gd name="connsiteY6" fmla="*/ 170610 h 477708"/>
                <a:gd name="connsiteX7" fmla="*/ 0 w 491469"/>
                <a:gd name="connsiteY7" fmla="*/ 85305 h 477708"/>
                <a:gd name="connsiteX8" fmla="*/ 85584 w 491469"/>
                <a:gd name="connsiteY8" fmla="*/ 0 h 477708"/>
                <a:gd name="connsiteX9" fmla="*/ 145492 w 491469"/>
                <a:gd name="connsiteY9" fmla="*/ 25592 h 477708"/>
                <a:gd name="connsiteX0" fmla="*/ 145492 w 491469"/>
                <a:gd name="connsiteY0" fmla="*/ 25592 h 477708"/>
                <a:gd name="connsiteX1" fmla="*/ 171167 w 491469"/>
                <a:gd name="connsiteY1" fmla="*/ 85305 h 477708"/>
                <a:gd name="connsiteX2" fmla="*/ 488807 w 491469"/>
                <a:gd name="connsiteY2" fmla="*/ 395069 h 477708"/>
                <a:gd name="connsiteX3" fmla="*/ 473563 w 491469"/>
                <a:gd name="connsiteY3" fmla="*/ 460647 h 477708"/>
                <a:gd name="connsiteX4" fmla="*/ 387979 w 491469"/>
                <a:gd name="connsiteY4" fmla="*/ 460647 h 477708"/>
                <a:gd name="connsiteX5" fmla="*/ 85584 w 491469"/>
                <a:gd name="connsiteY5" fmla="*/ 170610 h 477708"/>
                <a:gd name="connsiteX6" fmla="*/ 0 w 491469"/>
                <a:gd name="connsiteY6" fmla="*/ 85305 h 477708"/>
                <a:gd name="connsiteX7" fmla="*/ 85584 w 491469"/>
                <a:gd name="connsiteY7" fmla="*/ 0 h 477708"/>
                <a:gd name="connsiteX8" fmla="*/ 145492 w 491469"/>
                <a:gd name="connsiteY8" fmla="*/ 25592 h 47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69" h="477708">
                  <a:moveTo>
                    <a:pt x="145492" y="25592"/>
                  </a:moveTo>
                  <a:cubicBezTo>
                    <a:pt x="161183" y="41231"/>
                    <a:pt x="171167" y="62557"/>
                    <a:pt x="171167" y="85305"/>
                  </a:cubicBezTo>
                  <a:lnTo>
                    <a:pt x="488807" y="395069"/>
                  </a:lnTo>
                  <a:cubicBezTo>
                    <a:pt x="494959" y="416928"/>
                    <a:pt x="490679" y="443586"/>
                    <a:pt x="473563" y="460647"/>
                  </a:cubicBezTo>
                  <a:cubicBezTo>
                    <a:pt x="450740" y="483395"/>
                    <a:pt x="410801" y="483395"/>
                    <a:pt x="387979" y="460647"/>
                  </a:cubicBezTo>
                  <a:lnTo>
                    <a:pt x="85584" y="170610"/>
                  </a:lnTo>
                  <a:cubicBezTo>
                    <a:pt x="39939" y="170610"/>
                    <a:pt x="0" y="136488"/>
                    <a:pt x="0" y="85305"/>
                  </a:cubicBezTo>
                  <a:cubicBezTo>
                    <a:pt x="0" y="39809"/>
                    <a:pt x="39939" y="0"/>
                    <a:pt x="85584" y="0"/>
                  </a:cubicBezTo>
                  <a:cubicBezTo>
                    <a:pt x="108406" y="0"/>
                    <a:pt x="129802" y="9952"/>
                    <a:pt x="145492" y="25592"/>
                  </a:cubicBezTo>
                  <a:close/>
                </a:path>
              </a:pathLst>
            </a:custGeom>
            <a:solidFill>
              <a:srgbClr val="BA141A">
                <a:lumMod val="50000"/>
              </a:srgbClr>
            </a:solidFill>
            <a:ln>
              <a:noFill/>
            </a:ln>
            <a:extLst/>
          </p:spPr>
          <p:txBody>
            <a:bodyPr vert="horz" wrap="square" lIns="91427" tIns="45713" rIns="91427" bIns="45713" numCol="1" anchor="t" anchorCtr="0" compatLnSpc="1">
              <a:prstTxWarp prst="textNoShape">
                <a:avLst/>
              </a:prstTxWarp>
              <a:noAutofit/>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grpSp>
    </p:spTree>
    <p:extLst>
      <p:ext uri="{BB962C8B-B14F-4D97-AF65-F5344CB8AC3E}">
        <p14:creationId xmlns:p14="http://schemas.microsoft.com/office/powerpoint/2010/main" val="301764489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127588"/>
            <a:ext cx="11653521" cy="1075884"/>
          </a:xfrm>
        </p:spPr>
        <p:txBody>
          <a:bodyPr lIns="146304" tIns="91440" rIns="146304" bIns="91440"/>
          <a:lstStyle>
            <a:lvl1pPr>
              <a:lnSpc>
                <a:spcPts val="6176"/>
              </a:lnSpc>
              <a:defRPr sz="4000"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478339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Mission Critical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44676" y="1377434"/>
            <a:ext cx="6886900" cy="4923061"/>
          </a:xfrm>
          <a:solidFill>
            <a:schemeClr val="bg1">
              <a:lumMod val="95000"/>
            </a:schemeClr>
          </a:solidFill>
          <a:ln w="63500">
            <a:solidFill>
              <a:schemeClr val="accent4"/>
            </a:solidFill>
            <a:miter lim="800000"/>
          </a:ln>
        </p:spPr>
        <p:txBody>
          <a:bodyPr wrap="square">
            <a:normAutofit/>
          </a:bodyPr>
          <a:lstStyle>
            <a:lvl1pPr marL="0" indent="0" defTabSz="373039">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836">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836">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836">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userDrawn="1"/>
        </p:nvGrpSpPr>
        <p:grpSpPr>
          <a:xfrm>
            <a:off x="-1200" y="6644680"/>
            <a:ext cx="12436794" cy="360970"/>
            <a:chOff x="-1200" y="6644680"/>
            <a:chExt cx="12436794" cy="360970"/>
          </a:xfrm>
        </p:grpSpPr>
        <p:sp>
          <p:nvSpPr>
            <p:cNvPr id="13" name="TextBox 12"/>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
        <p:nvSpPr>
          <p:cNvPr id="20" name="Text Placeholder 2"/>
          <p:cNvSpPr>
            <a:spLocks noGrp="1"/>
          </p:cNvSpPr>
          <p:nvPr>
            <p:ph type="body" sz="quarter" idx="13" hasCustomPrompt="1"/>
          </p:nvPr>
        </p:nvSpPr>
        <p:spPr>
          <a:xfrm>
            <a:off x="7564438" y="1350963"/>
            <a:ext cx="4598987" cy="4923425"/>
          </a:xfrm>
        </p:spPr>
        <p:txBody>
          <a:bodyPr/>
          <a:lstStyle>
            <a:lvl1pPr marL="0" indent="0">
              <a:lnSpc>
                <a:spcPct val="100000"/>
              </a:lnSpc>
              <a:spcBef>
                <a:spcPts val="2000"/>
              </a:spcBef>
              <a:buFontTx/>
              <a:buNone/>
              <a:defRPr lang="en-US" sz="2400" kern="1200" dirty="0" smtClean="0">
                <a:solidFill>
                  <a:schemeClr val="accent4"/>
                </a:solidFill>
                <a:latin typeface="+mj-lt"/>
                <a:ea typeface="ＭＳ Ｐゴシック" charset="0"/>
                <a:cs typeface="ＭＳ Ｐゴシック" charset="0"/>
              </a:defRPr>
            </a:lvl1pPr>
            <a:lvl2pPr marL="342900" indent="0">
              <a:lnSpc>
                <a:spcPct val="100000"/>
              </a:lnSpc>
              <a:spcBef>
                <a:spcPts val="2000"/>
              </a:spcBef>
              <a:buFontTx/>
              <a:buNone/>
              <a:defRPr lang="en-US" sz="1960" b="0" kern="1200" dirty="0" smtClean="0">
                <a:solidFill>
                  <a:schemeClr val="tx1"/>
                </a:solidFill>
                <a:latin typeface="+mn-lt"/>
                <a:ea typeface="ＭＳ Ｐゴシック" charset="0"/>
                <a:cs typeface="Segoe UI Semibold" panose="020B0702040204020203" pitchFamily="34" charset="0"/>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marL="0" lvl="0" indent="0" algn="l" defTabSz="931863" rtl="0" fontAlgn="base">
              <a:lnSpc>
                <a:spcPct val="100000"/>
              </a:lnSpc>
              <a:spcBef>
                <a:spcPts val="1224"/>
              </a:spcBef>
              <a:spcAft>
                <a:spcPts val="1200"/>
              </a:spcAft>
              <a:buClr>
                <a:schemeClr val="tx1"/>
              </a:buClr>
              <a:buSzPct val="90000"/>
              <a:buFont typeface="Wingdings" pitchFamily="2" charset="2"/>
              <a:buNone/>
            </a:pPr>
            <a:r>
              <a:rPr lang="en-US" dirty="0"/>
              <a:t>Click to edit Master text styles</a:t>
            </a:r>
          </a:p>
          <a:p>
            <a:pPr marL="0" lvl="1" indent="0" algn="l" defTabSz="931863" rtl="0" fontAlgn="base">
              <a:lnSpc>
                <a:spcPct val="100000"/>
              </a:lnSpc>
              <a:spcBef>
                <a:spcPts val="612"/>
              </a:spcBef>
              <a:spcAft>
                <a:spcPts val="1200"/>
              </a:spcAft>
              <a:buSzPct val="90000"/>
              <a:buFont typeface="Arial" charset="0"/>
              <a:buNone/>
            </a:pPr>
            <a:r>
              <a:rPr lang="en-US" dirty="0"/>
              <a:t>Second level</a:t>
            </a:r>
          </a:p>
        </p:txBody>
      </p:sp>
      <p:sp>
        <p:nvSpPr>
          <p:cNvPr id="23" name="Text Placeholder 4"/>
          <p:cNvSpPr>
            <a:spLocks noGrp="1"/>
          </p:cNvSpPr>
          <p:nvPr>
            <p:ph type="body" sz="quarter" idx="14"/>
          </p:nvPr>
        </p:nvSpPr>
        <p:spPr>
          <a:xfrm>
            <a:off x="269241" y="124313"/>
            <a:ext cx="11649456" cy="1078992"/>
          </a:xfrm>
        </p:spPr>
        <p:txBody>
          <a:bodyPr lIns="146304" tIns="91440" rIns="146304" bIns="91440" anchor="ctr" anchorCtr="0"/>
          <a:lstStyle>
            <a:lvl1pPr marL="0" indent="0">
              <a:buNone/>
              <a:defRPr sz="4000">
                <a:solidFill>
                  <a:schemeClr val="tx1">
                    <a:lumMod val="90000"/>
                    <a:lumOff val="10000"/>
                  </a:schemeClr>
                </a:solidFill>
              </a:defRPr>
            </a:lvl1pPr>
            <a:lvl5pPr marL="1028700" indent="0">
              <a:buNone/>
              <a:defRPr/>
            </a:lvl5pPr>
          </a:lstStyle>
          <a:p>
            <a:pPr lvl="0"/>
            <a:r>
              <a:rPr lang="en-US"/>
              <a:t>Click to edit Master text styles</a:t>
            </a:r>
          </a:p>
        </p:txBody>
      </p:sp>
    </p:spTree>
    <p:extLst>
      <p:ext uri="{BB962C8B-B14F-4D97-AF65-F5344CB8AC3E}">
        <p14:creationId xmlns:p14="http://schemas.microsoft.com/office/powerpoint/2010/main" val="38362990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3"/>
            <a:ext cx="8219813" cy="1828800"/>
          </a:xfrm>
        </p:spPr>
        <p:txBody>
          <a:bodyPr/>
          <a:lstStyle>
            <a:lvl1pPr>
              <a:defRPr sz="6001" baseline="0"/>
            </a:lvl1pPr>
          </a:lstStyle>
          <a:p>
            <a:r>
              <a:rPr lang="en-US"/>
              <a:t>Click to edit Master title style</a:t>
            </a:r>
            <a:endParaRPr lang="en-US" dirty="0"/>
          </a:p>
        </p:txBody>
      </p:sp>
    </p:spTree>
    <p:extLst>
      <p:ext uri="{BB962C8B-B14F-4D97-AF65-F5344CB8AC3E}">
        <p14:creationId xmlns:p14="http://schemas.microsoft.com/office/powerpoint/2010/main" val="39893240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rgbClr val="FF8C00"/>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srcRect l="46418" t="28339" b="17442"/>
          <a:stretch/>
        </p:blipFill>
        <p:spPr>
          <a:xfrm>
            <a:off x="-70338" y="-23447"/>
            <a:ext cx="13229832" cy="7057293"/>
          </a:xfrm>
          <a:prstGeom prst="rect">
            <a:avLst/>
          </a:prstGeom>
        </p:spPr>
      </p:pic>
      <p:sp>
        <p:nvSpPr>
          <p:cNvPr id="1381" name="Title 1"/>
          <p:cNvSpPr txBox="1">
            <a:spLocks/>
          </p:cNvSpPr>
          <p:nvPr userDrawn="1"/>
        </p:nvSpPr>
        <p:spPr>
          <a:xfrm>
            <a:off x="309896" y="340565"/>
            <a:ext cx="5244464" cy="3474545"/>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endParaRPr lang="en-US" sz="5399" dirty="0">
              <a:solidFill>
                <a:srgbClr val="0072C6"/>
              </a:solidFill>
            </a:endParaRPr>
          </a:p>
        </p:txBody>
      </p:sp>
      <p:grpSp>
        <p:nvGrpSpPr>
          <p:cNvPr id="25" name="Group 24"/>
          <p:cNvGrpSpPr/>
          <p:nvPr userDrawn="1"/>
        </p:nvGrpSpPr>
        <p:grpSpPr>
          <a:xfrm>
            <a:off x="1227054" y="3014900"/>
            <a:ext cx="1837052" cy="1837054"/>
            <a:chOff x="11092177" y="4747627"/>
            <a:chExt cx="540526" cy="540526"/>
          </a:xfrm>
        </p:grpSpPr>
        <p:sp>
          <p:nvSpPr>
            <p:cNvPr id="26" name="Freeform 186"/>
            <p:cNvSpPr>
              <a:spLocks/>
            </p:cNvSpPr>
            <p:nvPr userDrawn="1"/>
          </p:nvSpPr>
          <p:spPr bwMode="auto">
            <a:xfrm>
              <a:off x="11092177" y="4747627"/>
              <a:ext cx="540526" cy="540526"/>
            </a:xfrm>
            <a:prstGeom prst="ellipse">
              <a:avLst/>
            </a:prstGeom>
            <a:solidFill>
              <a:srgbClr val="FFB900">
                <a:alpha val="36000"/>
              </a:srgbClr>
            </a:solidFill>
            <a:ln>
              <a:noFill/>
            </a:ln>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sp>
          <p:nvSpPr>
            <p:cNvPr id="27" name="Freeform 187"/>
            <p:cNvSpPr>
              <a:spLocks noEditPoints="1"/>
            </p:cNvSpPr>
            <p:nvPr/>
          </p:nvSpPr>
          <p:spPr bwMode="auto">
            <a:xfrm>
              <a:off x="11185499" y="4841873"/>
              <a:ext cx="352959" cy="352035"/>
            </a:xfrm>
            <a:prstGeom prst="ellipse">
              <a:avLst/>
            </a:prstGeom>
            <a:solidFill>
              <a:srgbClr val="FF8C00">
                <a:alpha val="79000"/>
              </a:srgbClr>
            </a:solidFill>
            <a:ln>
              <a:noFill/>
            </a:ln>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grpSp>
          <p:nvGrpSpPr>
            <p:cNvPr id="28" name="Group 27"/>
            <p:cNvGrpSpPr/>
            <p:nvPr/>
          </p:nvGrpSpPr>
          <p:grpSpPr>
            <a:xfrm>
              <a:off x="11258847" y="4915587"/>
              <a:ext cx="207178" cy="289829"/>
              <a:chOff x="-2260605" y="4106862"/>
              <a:chExt cx="298450" cy="417514"/>
            </a:xfrm>
          </p:grpSpPr>
          <p:sp>
            <p:nvSpPr>
              <p:cNvPr id="29" name="Freeform 188"/>
              <p:cNvSpPr>
                <a:spLocks/>
              </p:cNvSpPr>
              <p:nvPr/>
            </p:nvSpPr>
            <p:spPr bwMode="auto">
              <a:xfrm>
                <a:off x="-2260605" y="4106862"/>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sp>
            <p:nvSpPr>
              <p:cNvPr id="30" name="Freeform 192"/>
              <p:cNvSpPr>
                <a:spLocks noEditPoints="1"/>
              </p:cNvSpPr>
              <p:nvPr/>
            </p:nvSpPr>
            <p:spPr bwMode="auto">
              <a:xfrm>
                <a:off x="-2260600" y="4254501"/>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sp>
            <p:nvSpPr>
              <p:cNvPr id="31" name="Rectangle 194"/>
              <p:cNvSpPr>
                <a:spLocks noChangeArrowheads="1"/>
              </p:cNvSpPr>
              <p:nvPr/>
            </p:nvSpPr>
            <p:spPr bwMode="auto">
              <a:xfrm>
                <a:off x="-2168525" y="4452938"/>
                <a:ext cx="114300" cy="7143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grpSp>
      </p:grpSp>
      <p:sp>
        <p:nvSpPr>
          <p:cNvPr id="12" name="Title 1"/>
          <p:cNvSpPr>
            <a:spLocks noGrp="1"/>
          </p:cNvSpPr>
          <p:nvPr>
            <p:ph type="title"/>
          </p:nvPr>
        </p:nvSpPr>
        <p:spPr>
          <a:xfrm>
            <a:off x="274639" y="295276"/>
            <a:ext cx="5364246" cy="2433673"/>
          </a:xfrm>
        </p:spPr>
        <p:txBody>
          <a:bodyPr/>
          <a:lstStyle>
            <a:lvl1pPr>
              <a:defRPr sz="5400">
                <a:solidFill>
                  <a:schemeClr val="accent4"/>
                </a:solidFill>
              </a:defRPr>
            </a:lvl1pPr>
          </a:lstStyle>
          <a:p>
            <a:r>
              <a:rPr lang="en-US" dirty="0"/>
              <a:t>Click to edit Master title style</a:t>
            </a:r>
          </a:p>
        </p:txBody>
      </p:sp>
    </p:spTree>
    <p:extLst>
      <p:ext uri="{BB962C8B-B14F-4D97-AF65-F5344CB8AC3E}">
        <p14:creationId xmlns:p14="http://schemas.microsoft.com/office/powerpoint/2010/main" val="152110959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nsights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5"/>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13" name="TextBox 12"/>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Tree>
    <p:extLst>
      <p:ext uri="{BB962C8B-B14F-4D97-AF65-F5344CB8AC3E}">
        <p14:creationId xmlns:p14="http://schemas.microsoft.com/office/powerpoint/2010/main" val="174498986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nsights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69241" y="1338785"/>
            <a:ext cx="6886900" cy="4923061"/>
          </a:xfrm>
          <a:solidFill>
            <a:schemeClr val="bg1">
              <a:lumMod val="95000"/>
            </a:schemeClr>
          </a:solidFill>
          <a:ln w="63500">
            <a:solidFill>
              <a:schemeClr val="accent5"/>
            </a:solidFill>
            <a:miter lim="800000"/>
          </a:ln>
        </p:spPr>
        <p:txBody>
          <a:bodyPr wrap="square">
            <a:normAutofit/>
          </a:bodyPr>
          <a:lstStyle>
            <a:lvl1pPr marL="0" indent="0" defTabSz="373039">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836">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836">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836">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331576" y="1338784"/>
            <a:ext cx="4602115" cy="4923062"/>
          </a:xfrm>
        </p:spPr>
        <p:txBody>
          <a:bodyPr wrap="square">
            <a:normAutofit/>
          </a:bodyPr>
          <a:lstStyle>
            <a:lvl1pPr marL="0" indent="0">
              <a:lnSpc>
                <a:spcPct val="100000"/>
              </a:lnSpc>
              <a:spcBef>
                <a:spcPts val="1224"/>
              </a:spcBef>
              <a:spcAft>
                <a:spcPts val="1200"/>
              </a:spcAft>
              <a:buClr>
                <a:schemeClr val="tx1"/>
              </a:buClr>
              <a:buFont typeface="Wingdings" pitchFamily="2" charset="2"/>
              <a:buNone/>
              <a:defRPr sz="2400">
                <a:solidFill>
                  <a:schemeClr val="accent5"/>
                </a:solidFill>
              </a:defRPr>
            </a:lvl1pPr>
            <a:lvl2pPr marL="0" indent="0">
              <a:lnSpc>
                <a:spcPct val="100000"/>
              </a:lnSpc>
              <a:spcBef>
                <a:spcPts val="612"/>
              </a:spcBef>
              <a:spcAft>
                <a:spcPts val="1200"/>
              </a:spcAft>
              <a:buNone/>
              <a:defRPr sz="1960" b="0">
                <a:latin typeface="+mn-lt"/>
                <a:cs typeface="Segoe UI Semibold" panose="020B0702040204020203" pitchFamily="34" charset="0"/>
              </a:defRPr>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p:txBody>
      </p:sp>
      <p:grpSp>
        <p:nvGrpSpPr>
          <p:cNvPr id="12" name="Group 11"/>
          <p:cNvGrpSpPr/>
          <p:nvPr userDrawn="1"/>
        </p:nvGrpSpPr>
        <p:grpSpPr>
          <a:xfrm>
            <a:off x="-1200" y="6644680"/>
            <a:ext cx="12436794" cy="360970"/>
            <a:chOff x="-1200" y="6644680"/>
            <a:chExt cx="12436794" cy="360970"/>
          </a:xfrm>
        </p:grpSpPr>
        <p:sp>
          <p:nvSpPr>
            <p:cNvPr id="13" name="TextBox 12"/>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
        <p:nvSpPr>
          <p:cNvPr id="18" name="Text Placeholder 4"/>
          <p:cNvSpPr>
            <a:spLocks noGrp="1"/>
          </p:cNvSpPr>
          <p:nvPr>
            <p:ph type="body" sz="quarter" idx="14"/>
          </p:nvPr>
        </p:nvSpPr>
        <p:spPr>
          <a:xfrm>
            <a:off x="269241" y="259792"/>
            <a:ext cx="11649456" cy="1078992"/>
          </a:xfrm>
        </p:spPr>
        <p:txBody>
          <a:bodyPr lIns="146304" tIns="91440" rIns="146304" bIns="91440" anchor="ctr" anchorCtr="0"/>
          <a:lstStyle>
            <a:lvl1pPr marL="0" indent="0">
              <a:buNone/>
              <a:defRPr sz="4000">
                <a:solidFill>
                  <a:schemeClr val="tx1">
                    <a:lumMod val="90000"/>
                    <a:lumOff val="10000"/>
                  </a:schemeClr>
                </a:solidFill>
              </a:defRPr>
            </a:lvl1pPr>
            <a:lvl5pPr marL="1028700" indent="0">
              <a:buNone/>
              <a:defRPr/>
            </a:lvl5pPr>
          </a:lstStyle>
          <a:p>
            <a:pPr lvl="0"/>
            <a:r>
              <a:rPr lang="en-US"/>
              <a:t>Click to edit Master text styles</a:t>
            </a:r>
          </a:p>
        </p:txBody>
      </p:sp>
    </p:spTree>
    <p:extLst>
      <p:ext uri="{BB962C8B-B14F-4D97-AF65-F5344CB8AC3E}">
        <p14:creationId xmlns:p14="http://schemas.microsoft.com/office/powerpoint/2010/main" val="146671896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ud Tex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269242" y="1350545"/>
            <a:ext cx="11653520"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4346331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Insights 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08331" y="2125663"/>
            <a:ext cx="8219813" cy="1828800"/>
          </a:xfrm>
        </p:spPr>
        <p:txBody>
          <a:bodyPr/>
          <a:lstStyle>
            <a:lvl1pPr>
              <a:defRPr sz="6001" baseline="0"/>
            </a:lvl1pPr>
          </a:lstStyle>
          <a:p>
            <a:r>
              <a:rPr lang="en-US" dirty="0"/>
              <a:t>Click to edit Master title style</a:t>
            </a:r>
          </a:p>
        </p:txBody>
      </p:sp>
    </p:spTree>
    <p:extLst>
      <p:ext uri="{BB962C8B-B14F-4D97-AF65-F5344CB8AC3E}">
        <p14:creationId xmlns:p14="http://schemas.microsoft.com/office/powerpoint/2010/main" val="6130439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a:srcRect l="46638" t="28313" r="2844" b="17827"/>
          <a:stretch/>
        </p:blipFill>
        <p:spPr>
          <a:xfrm>
            <a:off x="-23447" y="-23447"/>
            <a:ext cx="12473355" cy="7010401"/>
          </a:xfrm>
          <a:prstGeom prst="rect">
            <a:avLst/>
          </a:prstGeom>
        </p:spPr>
      </p:pic>
      <p:sp>
        <p:nvSpPr>
          <p:cNvPr id="90" name="Title 1"/>
          <p:cNvSpPr txBox="1">
            <a:spLocks/>
          </p:cNvSpPr>
          <p:nvPr userDrawn="1"/>
        </p:nvSpPr>
        <p:spPr>
          <a:xfrm>
            <a:off x="309896" y="340565"/>
            <a:ext cx="5244464" cy="3474545"/>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endParaRPr lang="en-US" sz="5399" dirty="0">
              <a:solidFill>
                <a:srgbClr val="0072C6"/>
              </a:solidFill>
            </a:endParaRPr>
          </a:p>
        </p:txBody>
      </p:sp>
      <p:grpSp>
        <p:nvGrpSpPr>
          <p:cNvPr id="3" name="Group 2"/>
          <p:cNvGrpSpPr/>
          <p:nvPr userDrawn="1"/>
        </p:nvGrpSpPr>
        <p:grpSpPr>
          <a:xfrm>
            <a:off x="642483" y="3138298"/>
            <a:ext cx="2560465" cy="1606300"/>
            <a:chOff x="517790" y="2775167"/>
            <a:chExt cx="2862475" cy="1795765"/>
          </a:xfrm>
        </p:grpSpPr>
        <p:sp>
          <p:nvSpPr>
            <p:cNvPr id="91" name="Freeform 90"/>
            <p:cNvSpPr/>
            <p:nvPr userDrawn="1"/>
          </p:nvSpPr>
          <p:spPr bwMode="auto">
            <a:xfrm>
              <a:off x="517790" y="2775167"/>
              <a:ext cx="2862475" cy="179576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92" name="Freeform 91"/>
            <p:cNvSpPr>
              <a:spLocks noChangeAspect="1"/>
            </p:cNvSpPr>
            <p:nvPr userDrawn="1"/>
          </p:nvSpPr>
          <p:spPr bwMode="auto">
            <a:xfrm>
              <a:off x="940381" y="3107853"/>
              <a:ext cx="2013729" cy="127502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93" name="Freeform 92"/>
            <p:cNvSpPr>
              <a:spLocks noChangeAspect="1"/>
            </p:cNvSpPr>
            <p:nvPr userDrawn="1"/>
          </p:nvSpPr>
          <p:spPr bwMode="auto">
            <a:xfrm>
              <a:off x="1312097" y="3379499"/>
              <a:ext cx="1273865" cy="80657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94" name="Freeform 93"/>
            <p:cNvSpPr>
              <a:spLocks noChangeAspect="1"/>
            </p:cNvSpPr>
            <p:nvPr userDrawn="1"/>
          </p:nvSpPr>
          <p:spPr bwMode="auto">
            <a:xfrm>
              <a:off x="1584147" y="3587566"/>
              <a:ext cx="729764" cy="4620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grpSp>
      <p:sp>
        <p:nvSpPr>
          <p:cNvPr id="10" name="Content Placeholder 3"/>
          <p:cNvSpPr>
            <a:spLocks noGrp="1"/>
          </p:cNvSpPr>
          <p:nvPr>
            <p:ph sz="quarter" idx="10"/>
          </p:nvPr>
        </p:nvSpPr>
        <p:spPr>
          <a:xfrm>
            <a:off x="309896" y="290691"/>
            <a:ext cx="5364246" cy="2478962"/>
          </a:xfrm>
        </p:spPr>
        <p:txBody>
          <a:bodyPr lIns="457200" tIns="91440" rIns="146304" bIns="91440"/>
          <a:lstStyle>
            <a:lvl1pPr marL="0" indent="0" algn="l">
              <a:buNone/>
              <a:defRPr sz="5400">
                <a:latin typeface="Segoe UI Light" panose="020B0502040204020203" pitchFamily="34" charset="0"/>
                <a:cs typeface="Segoe UI Light" panose="020B0502040204020203" pitchFamily="34" charset="0"/>
              </a:defRPr>
            </a:lvl1pPr>
          </a:lstStyle>
          <a:p>
            <a:pPr lvl="0"/>
            <a:r>
              <a:rPr lang="en-US" dirty="0"/>
              <a:t>Click to edit Master text styles</a:t>
            </a:r>
          </a:p>
        </p:txBody>
      </p:sp>
    </p:spTree>
    <p:extLst>
      <p:ext uri="{BB962C8B-B14F-4D97-AF65-F5344CB8AC3E}">
        <p14:creationId xmlns:p14="http://schemas.microsoft.com/office/powerpoint/2010/main" val="7085935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 y="292608"/>
            <a:ext cx="11922762" cy="1075884"/>
          </a:xfrm>
        </p:spPr>
        <p:txBody>
          <a:bodyPr lIns="457200" tIns="91440" rIns="146304" bIns="91440"/>
          <a:lstStyle>
            <a:lvl1pPr>
              <a:lnSpc>
                <a:spcPts val="6176"/>
              </a:lnSpc>
              <a:defRPr sz="4000"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563970" y="1390650"/>
            <a:ext cx="4358791" cy="4909666"/>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1"/>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1" y="1390650"/>
            <a:ext cx="7564438" cy="4909666"/>
          </a:xfrm>
          <a:ln w="152400">
            <a:noFill/>
          </a:ln>
        </p:spPr>
        <p:txBody>
          <a:bodyPr lIns="457200"/>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393842605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loud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44676" y="1377434"/>
            <a:ext cx="6886900" cy="4923061"/>
          </a:xfrm>
          <a:solidFill>
            <a:schemeClr val="bg1">
              <a:lumMod val="95000"/>
            </a:schemeClr>
          </a:solidFill>
          <a:ln w="73025">
            <a:solidFill>
              <a:srgbClr val="0072C6"/>
            </a:solidFill>
            <a:miter lim="800000"/>
          </a:ln>
        </p:spPr>
        <p:txBody>
          <a:bodyPr wrap="square">
            <a:normAutofit/>
          </a:bodyPr>
          <a:lstStyle>
            <a:lvl1pPr marL="0" indent="0" defTabSz="373039">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836">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836">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836">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715645" y="1377433"/>
            <a:ext cx="4062854" cy="4923062"/>
          </a:xfrm>
        </p:spPr>
        <p:txBody>
          <a:bodyPr wrap="square">
            <a:normAutofit/>
          </a:bodyPr>
          <a:lstStyle>
            <a:lvl1pPr marL="0" indent="0">
              <a:lnSpc>
                <a:spcPct val="100000"/>
              </a:lnSpc>
              <a:spcBef>
                <a:spcPts val="1224"/>
              </a:spcBef>
              <a:spcAft>
                <a:spcPts val="1200"/>
              </a:spcAft>
              <a:buClr>
                <a:schemeClr val="tx1"/>
              </a:buClr>
              <a:buFont typeface="Wingdings" pitchFamily="2" charset="2"/>
              <a:buNone/>
              <a:defRPr sz="2400">
                <a:solidFill>
                  <a:srgbClr val="0072C6"/>
                </a:solidFill>
              </a:defRPr>
            </a:lvl1pPr>
            <a:lvl2pPr marL="0" indent="0">
              <a:lnSpc>
                <a:spcPct val="100000"/>
              </a:lnSpc>
              <a:spcBef>
                <a:spcPts val="0"/>
              </a:spcBef>
              <a:spcAft>
                <a:spcPts val="1200"/>
              </a:spcAft>
              <a:buNone/>
              <a:defRPr sz="1960">
                <a:latin typeface="+mj-lt"/>
              </a:defRPr>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p:txBody>
      </p:sp>
      <p:grpSp>
        <p:nvGrpSpPr>
          <p:cNvPr id="12" name="Group 11"/>
          <p:cNvGrpSpPr/>
          <p:nvPr userDrawn="1"/>
        </p:nvGrpSpPr>
        <p:grpSpPr>
          <a:xfrm>
            <a:off x="-1200" y="6644680"/>
            <a:ext cx="12436794" cy="360970"/>
            <a:chOff x="-1200" y="6644680"/>
            <a:chExt cx="12436794" cy="360970"/>
          </a:xfrm>
        </p:grpSpPr>
        <p:sp>
          <p:nvSpPr>
            <p:cNvPr id="13" name="TextBox 12"/>
            <p:cNvSpPr txBox="1"/>
            <p:nvPr/>
          </p:nvSpPr>
          <p:spPr>
            <a:xfrm>
              <a:off x="-1200" y="6644680"/>
              <a:ext cx="4147213" cy="360970"/>
            </a:xfrm>
            <a:prstGeom prst="rect">
              <a:avLst/>
            </a:prstGeom>
            <a:solidFill>
              <a:srgbClr val="0072C6"/>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003963"/>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
        <p:nvSpPr>
          <p:cNvPr id="16" name="Text Placeholder 4"/>
          <p:cNvSpPr>
            <a:spLocks noGrp="1"/>
          </p:cNvSpPr>
          <p:nvPr>
            <p:ph type="body" sz="quarter" idx="14"/>
          </p:nvPr>
        </p:nvSpPr>
        <p:spPr>
          <a:xfrm>
            <a:off x="-1200" y="292608"/>
            <a:ext cx="11919897" cy="1078992"/>
          </a:xfrm>
        </p:spPr>
        <p:txBody>
          <a:bodyPr lIns="457200" tIns="91440" rIns="146304" bIns="91440" anchor="ctr" anchorCtr="0"/>
          <a:lstStyle>
            <a:lvl1pPr marL="0" indent="0">
              <a:buNone/>
              <a:defRPr sz="4000">
                <a:solidFill>
                  <a:schemeClr val="tx1">
                    <a:lumMod val="90000"/>
                    <a:lumOff val="10000"/>
                  </a:schemeClr>
                </a:solidFill>
              </a:defRPr>
            </a:lvl1pPr>
            <a:lvl5pPr marL="1028700" indent="0">
              <a:buNone/>
              <a:defRPr/>
            </a:lvl5pPr>
          </a:lstStyle>
          <a:p>
            <a:pPr lvl="0"/>
            <a:r>
              <a:rPr lang="en-US" dirty="0"/>
              <a:t>Click to edit Master text styles</a:t>
            </a:r>
          </a:p>
        </p:txBody>
      </p:sp>
    </p:spTree>
    <p:extLst>
      <p:ext uri="{BB962C8B-B14F-4D97-AF65-F5344CB8AC3E}">
        <p14:creationId xmlns:p14="http://schemas.microsoft.com/office/powerpoint/2010/main" val="233712354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Cloud sec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08331" y="2125663"/>
            <a:ext cx="8219813" cy="1828800"/>
          </a:xfrm>
        </p:spPr>
        <p:txBody>
          <a:bodyPr/>
          <a:lstStyle>
            <a:lvl1pPr>
              <a:defRPr sz="6001" baseline="0"/>
            </a:lvl1pPr>
          </a:lstStyle>
          <a:p>
            <a:r>
              <a:rPr lang="en-US"/>
              <a:t>Click to edit Master title style</a:t>
            </a:r>
            <a:endParaRPr lang="en-US" dirty="0"/>
          </a:p>
        </p:txBody>
      </p:sp>
    </p:spTree>
    <p:extLst>
      <p:ext uri="{BB962C8B-B14F-4D97-AF65-F5344CB8AC3E}">
        <p14:creationId xmlns:p14="http://schemas.microsoft.com/office/powerpoint/2010/main" val="797263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grpSp>
        <p:nvGrpSpPr>
          <p:cNvPr id="4" name="Group 3"/>
          <p:cNvGrpSpPr/>
          <p:nvPr userDrawn="1"/>
        </p:nvGrpSpPr>
        <p:grpSpPr>
          <a:xfrm>
            <a:off x="-1200" y="6644680"/>
            <a:ext cx="12436794" cy="360970"/>
            <a:chOff x="-1200" y="6644680"/>
            <a:chExt cx="12436794" cy="360970"/>
          </a:xfrm>
        </p:grpSpPr>
        <p:sp>
          <p:nvSpPr>
            <p:cNvPr id="5" name="TextBox 4"/>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6" name="TextBox 5"/>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Tree>
    <p:extLst>
      <p:ext uri="{BB962C8B-B14F-4D97-AF65-F5344CB8AC3E}">
        <p14:creationId xmlns:p14="http://schemas.microsoft.com/office/powerpoint/2010/main" val="2506773378"/>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917">
          <p15:clr>
            <a:srgbClr val="FBAE40"/>
          </p15:clr>
        </p15:guide>
        <p15:guide id="3" orient="horz" pos="523">
          <p15:clr>
            <a:srgbClr val="FBAE40"/>
          </p15:clr>
        </p15:guide>
        <p15:guide id="4" pos="293">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grpSp>
        <p:nvGrpSpPr>
          <p:cNvPr id="4" name="Group 3"/>
          <p:cNvGrpSpPr/>
          <p:nvPr userDrawn="1"/>
        </p:nvGrpSpPr>
        <p:grpSpPr>
          <a:xfrm>
            <a:off x="-1200" y="6644680"/>
            <a:ext cx="12436794" cy="360970"/>
            <a:chOff x="-1200" y="6644680"/>
            <a:chExt cx="12436794" cy="360970"/>
          </a:xfrm>
        </p:grpSpPr>
        <p:sp>
          <p:nvSpPr>
            <p:cNvPr id="5" name="TextBox 4"/>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6" name="TextBox 5"/>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Tree>
    <p:extLst>
      <p:ext uri="{BB962C8B-B14F-4D97-AF65-F5344CB8AC3E}">
        <p14:creationId xmlns:p14="http://schemas.microsoft.com/office/powerpoint/2010/main" val="303592024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a:xfrm>
            <a:off x="0" y="295275"/>
            <a:ext cx="12163425" cy="917575"/>
          </a:xfrm>
        </p:spPr>
        <p:txBody>
          <a:bodyPr lIns="457200"/>
          <a:lstStyle/>
          <a:p>
            <a:r>
              <a:rPr lang="en-US" dirty="0"/>
              <a:t>Click to edit Master title style</a:t>
            </a:r>
            <a:endParaRPr lang="en-IN" dirty="0"/>
          </a:p>
        </p:txBody>
      </p:sp>
      <p:grpSp>
        <p:nvGrpSpPr>
          <p:cNvPr id="4" name="Group 3"/>
          <p:cNvGrpSpPr/>
          <p:nvPr userDrawn="1"/>
        </p:nvGrpSpPr>
        <p:grpSpPr>
          <a:xfrm>
            <a:off x="-1200" y="6644680"/>
            <a:ext cx="12436794" cy="360970"/>
            <a:chOff x="-1200" y="6644680"/>
            <a:chExt cx="12436794" cy="360970"/>
          </a:xfrm>
        </p:grpSpPr>
        <p:sp>
          <p:nvSpPr>
            <p:cNvPr id="5" name="TextBox 4"/>
            <p:cNvSpPr txBox="1"/>
            <p:nvPr/>
          </p:nvSpPr>
          <p:spPr>
            <a:xfrm>
              <a:off x="-1200" y="6644680"/>
              <a:ext cx="4147213" cy="360970"/>
            </a:xfrm>
            <a:prstGeom prst="rect">
              <a:avLst/>
            </a:prstGeom>
            <a:solidFill>
              <a:srgbClr val="0072C6"/>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6" name="TextBox 5"/>
            <p:cNvSpPr txBox="1"/>
            <p:nvPr userDrawn="1"/>
          </p:nvSpPr>
          <p:spPr>
            <a:xfrm>
              <a:off x="4146013" y="6644680"/>
              <a:ext cx="8289581" cy="360970"/>
            </a:xfrm>
            <a:prstGeom prst="rect">
              <a:avLst/>
            </a:prstGeom>
            <a:solidFill>
              <a:srgbClr val="003963"/>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Tree>
    <p:extLst>
      <p:ext uri="{BB962C8B-B14F-4D97-AF65-F5344CB8AC3E}">
        <p14:creationId xmlns:p14="http://schemas.microsoft.com/office/powerpoint/2010/main" val="88984565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8"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4" name="Footer Placeholder 2"/>
          <p:cNvSpPr>
            <a:spLocks noGrp="1"/>
          </p:cNvSpPr>
          <p:nvPr>
            <p:ph type="ftr" sz="quarter" idx="14"/>
          </p:nvPr>
        </p:nvSpPr>
        <p:spPr>
          <a:xfrm>
            <a:off x="457200" y="6565900"/>
            <a:ext cx="3937000" cy="136525"/>
          </a:xfrm>
          <a:prstGeom prst="rect">
            <a:avLst/>
          </a:prstGeom>
        </p:spPr>
        <p:txBody>
          <a:bodyPr/>
          <a:lstStyle>
            <a:lvl1pPr fontAlgn="base">
              <a:spcBef>
                <a:spcPct val="0"/>
              </a:spcBef>
              <a:spcAft>
                <a:spcPct val="0"/>
              </a:spcAft>
              <a:defRPr dirty="0" smtClean="0">
                <a:solidFill>
                  <a:srgbClr val="505050"/>
                </a:solidFill>
              </a:defRPr>
            </a:lvl1pPr>
          </a:lstStyle>
          <a:p>
            <a:pPr>
              <a:defRPr/>
            </a:pPr>
            <a:r>
              <a:rPr dirty="0"/>
              <a:t>Microsoft Confidential</a:t>
            </a:r>
          </a:p>
        </p:txBody>
      </p:sp>
      <p:sp>
        <p:nvSpPr>
          <p:cNvPr id="5" name="Slide Number Placeholder 3"/>
          <p:cNvSpPr>
            <a:spLocks noGrp="1"/>
          </p:cNvSpPr>
          <p:nvPr>
            <p:ph type="sldNum" sz="quarter" idx="15"/>
          </p:nvPr>
        </p:nvSpPr>
        <p:spPr/>
        <p:txBody>
          <a:bodyPr/>
          <a:lstStyle>
            <a:lvl1pPr defTabSz="931863"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51995031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0"/>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rPr dirty="0"/>
              <a:t>Microsoft Confidential</a:t>
            </a: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519174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ud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44676" y="1377434"/>
            <a:ext cx="6886900" cy="4923061"/>
          </a:xfrm>
          <a:solidFill>
            <a:schemeClr val="bg1">
              <a:lumMod val="95000"/>
            </a:schemeClr>
          </a:solidFill>
          <a:ln w="73025">
            <a:solidFill>
              <a:srgbClr val="0072C6"/>
            </a:solidFill>
            <a:miter lim="800000"/>
          </a:ln>
        </p:spPr>
        <p:txBody>
          <a:bodyPr wrap="square">
            <a:normAutofit/>
          </a:bodyPr>
          <a:lstStyle>
            <a:lvl1pPr marL="0" indent="0" defTabSz="373039">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836">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836">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836">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715645" y="1377433"/>
            <a:ext cx="4062854" cy="4923062"/>
          </a:xfrm>
        </p:spPr>
        <p:txBody>
          <a:bodyPr wrap="square">
            <a:normAutofit/>
          </a:bodyPr>
          <a:lstStyle>
            <a:lvl1pPr marL="0" indent="0">
              <a:lnSpc>
                <a:spcPct val="100000"/>
              </a:lnSpc>
              <a:spcBef>
                <a:spcPts val="1224"/>
              </a:spcBef>
              <a:spcAft>
                <a:spcPts val="1200"/>
              </a:spcAft>
              <a:buClr>
                <a:schemeClr val="tx1"/>
              </a:buClr>
              <a:buFont typeface="Wingdings" pitchFamily="2" charset="2"/>
              <a:buNone/>
              <a:defRPr sz="2400">
                <a:solidFill>
                  <a:srgbClr val="0072C6"/>
                </a:solidFill>
              </a:defRPr>
            </a:lvl1pPr>
            <a:lvl2pPr marL="0" indent="0">
              <a:lnSpc>
                <a:spcPct val="100000"/>
              </a:lnSpc>
              <a:spcBef>
                <a:spcPts val="0"/>
              </a:spcBef>
              <a:spcAft>
                <a:spcPts val="1200"/>
              </a:spcAft>
              <a:buNone/>
              <a:defRPr sz="1960">
                <a:latin typeface="+mj-lt"/>
              </a:defRPr>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p:txBody>
      </p:sp>
      <p:grpSp>
        <p:nvGrpSpPr>
          <p:cNvPr id="12" name="Group 11"/>
          <p:cNvGrpSpPr/>
          <p:nvPr userDrawn="1"/>
        </p:nvGrpSpPr>
        <p:grpSpPr>
          <a:xfrm>
            <a:off x="-1200" y="6644680"/>
            <a:ext cx="12436794" cy="360970"/>
            <a:chOff x="-1200" y="6644680"/>
            <a:chExt cx="12436794" cy="360970"/>
          </a:xfrm>
        </p:grpSpPr>
        <p:sp>
          <p:nvSpPr>
            <p:cNvPr id="13" name="TextBox 12"/>
            <p:cNvSpPr txBox="1"/>
            <p:nvPr/>
          </p:nvSpPr>
          <p:spPr>
            <a:xfrm>
              <a:off x="-1200" y="6644680"/>
              <a:ext cx="4147213" cy="360970"/>
            </a:xfrm>
            <a:prstGeom prst="rect">
              <a:avLst/>
            </a:prstGeom>
            <a:solidFill>
              <a:srgbClr val="0072C6"/>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003963"/>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
        <p:nvSpPr>
          <p:cNvPr id="16" name="Text Placeholder 4"/>
          <p:cNvSpPr>
            <a:spLocks noGrp="1"/>
          </p:cNvSpPr>
          <p:nvPr>
            <p:ph type="body" sz="quarter" idx="14"/>
          </p:nvPr>
        </p:nvSpPr>
        <p:spPr>
          <a:xfrm>
            <a:off x="269241" y="259792"/>
            <a:ext cx="11649456" cy="1078992"/>
          </a:xfrm>
        </p:spPr>
        <p:txBody>
          <a:bodyPr lIns="146304" tIns="91440" rIns="146304" bIns="91440" anchor="ctr" anchorCtr="0"/>
          <a:lstStyle>
            <a:lvl1pPr marL="0" indent="0">
              <a:buNone/>
              <a:defRPr sz="4000">
                <a:solidFill>
                  <a:schemeClr val="tx1">
                    <a:lumMod val="90000"/>
                    <a:lumOff val="10000"/>
                  </a:schemeClr>
                </a:solidFill>
              </a:defRPr>
            </a:lvl1pPr>
            <a:lvl5pPr marL="1028700" indent="0">
              <a:buNone/>
              <a:defRPr/>
            </a:lvl5pPr>
          </a:lstStyle>
          <a:p>
            <a:pPr lvl="0"/>
            <a:r>
              <a:rPr lang="en-US"/>
              <a:t>Click to edit Master text styles</a:t>
            </a:r>
          </a:p>
        </p:txBody>
      </p:sp>
    </p:spTree>
    <p:extLst>
      <p:ext uri="{BB962C8B-B14F-4D97-AF65-F5344CB8AC3E}">
        <p14:creationId xmlns:p14="http://schemas.microsoft.com/office/powerpoint/2010/main" val="384669249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0"/>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sp>
        <p:nvSpPr>
          <p:cNvPr id="2554" name="Rectangle 2553"/>
          <p:cNvSpPr/>
          <p:nvPr userDrawn="1"/>
        </p:nvSpPr>
        <p:spPr bwMode="auto">
          <a:xfrm>
            <a:off x="2718486"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 name="Footer Placeholder 1"/>
          <p:cNvSpPr>
            <a:spLocks noGrp="1"/>
          </p:cNvSpPr>
          <p:nvPr>
            <p:ph type="ftr" sz="quarter" idx="10"/>
          </p:nvPr>
        </p:nvSpPr>
        <p:spPr>
          <a:xfrm>
            <a:off x="457200" y="6565900"/>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rPr dirty="0"/>
              <a:t>Microsoft Confidential</a:t>
            </a: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21008709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4000">
                <a:solidFill>
                  <a:schemeClr val="tx1"/>
                </a:solidFill>
                <a:latin typeface="+mj-lt"/>
              </a:defRPr>
            </a:lvl1pPr>
          </a:lstStyle>
          <a:p>
            <a:r>
              <a:rPr lang="en-US" dirty="0"/>
              <a:t>Click to edit Master title style</a:t>
            </a:r>
          </a:p>
        </p:txBody>
      </p:sp>
    </p:spTree>
    <p:extLst>
      <p:ext uri="{BB962C8B-B14F-4D97-AF65-F5344CB8AC3E}">
        <p14:creationId xmlns:p14="http://schemas.microsoft.com/office/powerpoint/2010/main" val="3947011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788339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96898"/>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2596898"/>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6366782"/>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613122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987213" y="6682039"/>
            <a:ext cx="376411" cy="28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24">
                <a:latin typeface="Calibri" pitchFamily="34" charset="0"/>
              </a:rPr>
              <a:pPr/>
              <a:t>‹#›</a:t>
            </a:fld>
            <a:endParaRPr lang="en-US" altLang="en-US" sz="1428" dirty="0">
              <a:latin typeface="Calibri" pitchFamily="34" charset="0"/>
            </a:endParaRPr>
          </a:p>
        </p:txBody>
      </p:sp>
      <p:sp>
        <p:nvSpPr>
          <p:cNvPr id="2" name="Title 1"/>
          <p:cNvSpPr>
            <a:spLocks noGrp="1"/>
          </p:cNvSpPr>
          <p:nvPr>
            <p:ph type="title"/>
          </p:nvPr>
        </p:nvSpPr>
        <p:spPr>
          <a:noFill/>
        </p:spPr>
        <p:txBody>
          <a:bodyPr rtlCol="0"/>
          <a:lstStyle>
            <a:lvl1pPr marL="0" indent="0" algn="ctr" defTabSz="-14143806" rtl="0" eaLnBrk="1" fontAlgn="base" hangingPunct="1">
              <a:spcBef>
                <a:spcPct val="0"/>
              </a:spcBef>
              <a:spcAft>
                <a:spcPct val="0"/>
              </a:spcAft>
              <a:defRPr lang="en-US" sz="2856"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74642" y="1212851"/>
            <a:ext cx="11887198" cy="1503040"/>
          </a:xfrm>
          <a:prstGeom prst="rect">
            <a:avLst/>
          </a:prstGeom>
        </p:spPr>
        <p:txBody>
          <a:bodyPr rtlCol="0"/>
          <a:lstStyle>
            <a:lvl1pPr>
              <a:buClrTx/>
              <a:buFont typeface="Wingdings" pitchFamily="2" charset="2"/>
              <a:buChar char="§"/>
              <a:defRPr sz="2040" b="1">
                <a:latin typeface="Calibri" pitchFamily="34" charset="0"/>
              </a:defRPr>
            </a:lvl1pPr>
            <a:lvl2pPr>
              <a:buClrTx/>
              <a:buFont typeface="Wingdings" pitchFamily="2" charset="2"/>
              <a:buChar char="o"/>
              <a:defRPr sz="1836" b="0">
                <a:latin typeface="Calibri Light" pitchFamily="34" charset="0"/>
              </a:defRPr>
            </a:lvl2pPr>
            <a:lvl3pPr>
              <a:buClrTx/>
              <a:buFont typeface="Wingdings" pitchFamily="2" charset="2"/>
              <a:buChar char="o"/>
              <a:defRPr sz="1632" b="0">
                <a:latin typeface="Calibri Light" pitchFamily="34" charset="0"/>
              </a:defRPr>
            </a:lvl3pPr>
            <a:lvl4pPr>
              <a:buClrTx/>
              <a:buFont typeface="Wingdings" pitchFamily="2" charset="2"/>
              <a:buChar char="o"/>
              <a:defRPr sz="1428" b="0">
                <a:latin typeface="Calibri Light" pitchFamily="34" charset="0"/>
              </a:defRPr>
            </a:lvl4pPr>
            <a:lvl5pPr>
              <a:buClrTx/>
              <a:buFont typeface="Wingdings" pitchFamily="2" charset="2"/>
              <a:buChar char="o"/>
              <a:defRPr sz="1224"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7404541"/>
      </p:ext>
    </p:extLst>
  </p:cSld>
  <p:clrMapOvr>
    <a:masterClrMapping/>
  </p:clrMapOvr>
  <p:transition>
    <p:fade/>
  </p:transition>
  <p:hf sldNum="0"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987213" y="6682039"/>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24">
                <a:latin typeface="Calibri" pitchFamily="34" charset="0"/>
              </a:rPr>
              <a:pPr/>
              <a:t>‹#›</a:t>
            </a:fld>
            <a:endParaRPr lang="en-US" altLang="en-US" sz="1428" dirty="0">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320108867"/>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71" tIns="38840" rIns="77671" bIns="38840" numCol="1" rtlCol="0" anchor="ctr" anchorCtr="0" compatLnSpc="1">
            <a:prstTxWarp prst="textNoShape">
              <a:avLst/>
            </a:prstTxWarp>
          </a:bodyPr>
          <a:lstStyle/>
          <a:p>
            <a:pPr algn="ctr" defTabSz="776460" fontAlgn="base">
              <a:spcBef>
                <a:spcPct val="0"/>
              </a:spcBef>
              <a:spcAft>
                <a:spcPct val="0"/>
              </a:spcAft>
            </a:pPr>
            <a:endParaRPr lang="en-US" sz="1785"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57263884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44676" y="1377434"/>
            <a:ext cx="6886900" cy="4923061"/>
          </a:xfrm>
          <a:solidFill>
            <a:schemeClr val="bg1">
              <a:lumMod val="95000"/>
            </a:schemeClr>
          </a:solidFill>
          <a:ln w="76200">
            <a:solidFill>
              <a:srgbClr val="0072C6"/>
            </a:solidFill>
          </a:ln>
        </p:spPr>
        <p:txBody>
          <a:bodyPr wrap="square">
            <a:normAutofit/>
          </a:bodyPr>
          <a:lstStyle>
            <a:lvl1pPr marL="0" indent="0" defTabSz="373039">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836">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836">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836">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715645" y="1377433"/>
            <a:ext cx="4062854" cy="4923062"/>
          </a:xfrm>
        </p:spPr>
        <p:txBody>
          <a:bodyPr wrap="square">
            <a:normAutofit/>
          </a:bodyPr>
          <a:lstStyle>
            <a:lvl1pPr marL="0" indent="0">
              <a:spcBef>
                <a:spcPts val="1224"/>
              </a:spcBef>
              <a:buClr>
                <a:schemeClr val="tx1"/>
              </a:buClr>
              <a:buFont typeface="Wingdings" pitchFamily="2" charset="2"/>
              <a:buNone/>
              <a:defRPr sz="2652">
                <a:solidFill>
                  <a:srgbClr val="0072C6"/>
                </a:solidFill>
              </a:defRPr>
            </a:lvl1pPr>
            <a:lvl2pPr marL="0" indent="0">
              <a:spcBef>
                <a:spcPts val="612"/>
              </a:spcBef>
              <a:buNone/>
              <a:defRPr sz="1836">
                <a:latin typeface="+mj-lt"/>
              </a:defRPr>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200" y="6642289"/>
            <a:ext cx="12436794" cy="360996"/>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
        <p:nvSpPr>
          <p:cNvPr id="8" name="Title 2"/>
          <p:cNvSpPr>
            <a:spLocks noGrp="1"/>
          </p:cNvSpPr>
          <p:nvPr>
            <p:ph type="title"/>
          </p:nvPr>
        </p:nvSpPr>
        <p:spPr>
          <a:xfrm>
            <a:off x="274639" y="377082"/>
            <a:ext cx="11889564" cy="917575"/>
          </a:xfrm>
        </p:spPr>
        <p:txBody>
          <a:bodyPr/>
          <a:lstStyle/>
          <a:p>
            <a:r>
              <a:rPr lang="en-US" dirty="0"/>
              <a:t>Click to edit Master title style</a:t>
            </a:r>
          </a:p>
        </p:txBody>
      </p:sp>
    </p:spTree>
    <p:extLst>
      <p:ext uri="{BB962C8B-B14F-4D97-AF65-F5344CB8AC3E}">
        <p14:creationId xmlns:p14="http://schemas.microsoft.com/office/powerpoint/2010/main" val="386162975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1211001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loud sec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08331" y="2125663"/>
            <a:ext cx="8219813" cy="1828800"/>
          </a:xfrm>
        </p:spPr>
        <p:txBody>
          <a:bodyPr/>
          <a:lstStyle>
            <a:lvl1pPr>
              <a:defRPr sz="6001" baseline="0"/>
            </a:lvl1pPr>
          </a:lstStyle>
          <a:p>
            <a:r>
              <a:rPr lang="en-US"/>
              <a:t>Click to edit Master title style</a:t>
            </a:r>
            <a:endParaRPr lang="en-US" dirty="0"/>
          </a:p>
        </p:txBody>
      </p:sp>
    </p:spTree>
    <p:extLst>
      <p:ext uri="{BB962C8B-B14F-4D97-AF65-F5344CB8AC3E}">
        <p14:creationId xmlns:p14="http://schemas.microsoft.com/office/powerpoint/2010/main" val="1922591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308326"/>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2"/>
            <a:ext cx="11375537" cy="621530"/>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0" y="1476623"/>
            <a:ext cx="11375537" cy="22283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56571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5707332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2" y="233151"/>
            <a:ext cx="11375536" cy="579152"/>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29662" y="1476624"/>
            <a:ext cx="11375536" cy="980781"/>
          </a:xfrm>
        </p:spPr>
        <p:txBody>
          <a:bodyPr/>
          <a:lstStyle>
            <a:lvl1pPr marL="0" indent="0">
              <a:spcBef>
                <a:spcPts val="0"/>
              </a:spcBef>
              <a:spcAft>
                <a:spcPts val="687"/>
              </a:spcAft>
              <a:buNone/>
              <a:defRPr sz="3264" spc="-102" baseline="0">
                <a:latin typeface="Segoe UI Light" pitchFamily="34" charset="0"/>
              </a:defRPr>
            </a:lvl1pPr>
            <a:lvl2pPr marL="0" indent="0">
              <a:spcBef>
                <a:spcPts val="0"/>
              </a:spcBef>
              <a:spcAft>
                <a:spcPts val="306"/>
              </a:spcAft>
              <a:buNone/>
              <a:defRPr sz="1836" spc="-51" baseline="0"/>
            </a:lvl2pPr>
            <a:lvl3pPr marL="0" indent="0">
              <a:spcBef>
                <a:spcPts val="0"/>
              </a:spcBef>
              <a:spcAft>
                <a:spcPts val="306"/>
              </a:spcAft>
              <a:buNone/>
              <a:defRPr sz="1530"/>
            </a:lvl3pPr>
            <a:lvl4pPr marL="0" indent="0">
              <a:spcBef>
                <a:spcPts val="0"/>
              </a:spcBef>
              <a:spcAft>
                <a:spcPts val="306"/>
              </a:spcAft>
              <a:buNone/>
              <a:defRPr/>
            </a:lvl4pPr>
            <a:lvl5pPr marL="0" indent="0">
              <a:spcBef>
                <a:spcPts val="0"/>
              </a:spcBef>
              <a:spcAft>
                <a:spcPts val="306"/>
              </a:spcAft>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674844609"/>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Perf">
    <p:spTree>
      <p:nvGrpSpPr>
        <p:cNvPr id="1" name=""/>
        <p:cNvGrpSpPr/>
        <p:nvPr/>
      </p:nvGrpSpPr>
      <p:grpSpPr>
        <a:xfrm>
          <a:off x="0" y="0"/>
          <a:ext cx="0" cy="0"/>
          <a:chOff x="0" y="0"/>
          <a:chExt cx="0" cy="0"/>
        </a:xfrm>
      </p:grpSpPr>
      <p:sp>
        <p:nvSpPr>
          <p:cNvPr id="10" name="Rectangle 9"/>
          <p:cNvSpPr/>
          <p:nvPr userDrawn="1"/>
        </p:nvSpPr>
        <p:spPr bwMode="auto">
          <a:xfrm>
            <a:off x="4419856" y="6453184"/>
            <a:ext cx="8015739" cy="548484"/>
          </a:xfrm>
          <a:prstGeom prst="rect">
            <a:avLst/>
          </a:prstGeom>
          <a:solidFill>
            <a:srgbClr val="611C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1" name="Rectangle 10"/>
          <p:cNvSpPr/>
          <p:nvPr userDrawn="1"/>
        </p:nvSpPr>
        <p:spPr bwMode="auto">
          <a:xfrm>
            <a:off x="885" y="6453184"/>
            <a:ext cx="4418973" cy="54848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defTabSz="776329">
              <a:lnSpc>
                <a:spcPct val="90000"/>
              </a:lnSpc>
              <a:defRPr/>
            </a:pPr>
            <a:endParaRPr lang="en-US" sz="1800"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12" name="Rectangle 11"/>
          <p:cNvSpPr/>
          <p:nvPr userDrawn="1"/>
        </p:nvSpPr>
        <p:spPr bwMode="auto">
          <a:xfrm>
            <a:off x="483326" y="1931038"/>
            <a:ext cx="7168116" cy="434064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1597"/>
            <a:endParaRPr lang="en-US" sz="1800" dirty="0">
              <a:ln>
                <a:solidFill>
                  <a:srgbClr val="FFFFFF">
                    <a:alpha val="0"/>
                  </a:srgbClr>
                </a:solidFill>
              </a:ln>
              <a:solidFill>
                <a:srgbClr val="C00000"/>
              </a:solidFill>
              <a:latin typeface="Segoe UI Light"/>
              <a:ea typeface="Segoe UI" pitchFamily="34" charset="0"/>
              <a:cs typeface="Segoe UI" pitchFamily="34" charset="0"/>
            </a:endParaRPr>
          </a:p>
        </p:txBody>
      </p:sp>
      <p:sp>
        <p:nvSpPr>
          <p:cNvPr id="13" name="Title 2"/>
          <p:cNvSpPr>
            <a:spLocks noGrp="1"/>
          </p:cNvSpPr>
          <p:nvPr>
            <p:ph type="title"/>
          </p:nvPr>
        </p:nvSpPr>
        <p:spPr>
          <a:xfrm>
            <a:off x="274640" y="295277"/>
            <a:ext cx="11888787" cy="803866"/>
          </a:xfrm>
        </p:spPr>
        <p:txBody>
          <a:bodyPr/>
          <a:lstStyle>
            <a:lvl1pPr>
              <a:defRPr sz="5404"/>
            </a:lvl1pPr>
          </a:lstStyle>
          <a:p>
            <a:r>
              <a:rPr lang="en-US" dirty="0"/>
              <a:t>Click to edit Master title style</a:t>
            </a:r>
            <a:endParaRPr lang="en-IN" dirty="0"/>
          </a:p>
        </p:txBody>
      </p:sp>
      <p:sp>
        <p:nvSpPr>
          <p:cNvPr id="18" name="Text Placeholder 17"/>
          <p:cNvSpPr>
            <a:spLocks noGrp="1"/>
          </p:cNvSpPr>
          <p:nvPr>
            <p:ph type="body" sz="quarter" idx="10"/>
          </p:nvPr>
        </p:nvSpPr>
        <p:spPr>
          <a:xfrm>
            <a:off x="275286" y="1099373"/>
            <a:ext cx="11887522" cy="650819"/>
          </a:xfrm>
          <a:prstGeom prst="rect">
            <a:avLst/>
          </a:prstGeom>
        </p:spPr>
        <p:txBody>
          <a:bodyPr/>
          <a:lstStyle>
            <a:lvl1pPr marL="0" indent="0">
              <a:buNone/>
              <a:defRPr sz="3366">
                <a:solidFill>
                  <a:srgbClr val="C00000"/>
                </a:solidFill>
              </a:defRPr>
            </a:lvl1pPr>
          </a:lstStyle>
          <a:p>
            <a:pPr lvl="0"/>
            <a:r>
              <a:rPr lang="en-US" dirty="0"/>
              <a:t>Click to edit Master text styles</a:t>
            </a:r>
          </a:p>
        </p:txBody>
      </p:sp>
    </p:spTree>
    <p:extLst>
      <p:ext uri="{BB962C8B-B14F-4D97-AF65-F5344CB8AC3E}">
        <p14:creationId xmlns:p14="http://schemas.microsoft.com/office/powerpoint/2010/main" val="174983920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83135464"/>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5/2/2017</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185486248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24157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935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grpSp>
        <p:nvGrpSpPr>
          <p:cNvPr id="4" name="Group 3"/>
          <p:cNvGrpSpPr/>
          <p:nvPr userDrawn="1"/>
        </p:nvGrpSpPr>
        <p:grpSpPr>
          <a:xfrm>
            <a:off x="-1200" y="6644680"/>
            <a:ext cx="12436794" cy="360970"/>
            <a:chOff x="-1200" y="6644680"/>
            <a:chExt cx="12436794" cy="360970"/>
          </a:xfrm>
        </p:grpSpPr>
        <p:sp>
          <p:nvSpPr>
            <p:cNvPr id="5" name="TextBox 4"/>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6" name="TextBox 5"/>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Tree>
    <p:extLst>
      <p:ext uri="{BB962C8B-B14F-4D97-AF65-F5344CB8AC3E}">
        <p14:creationId xmlns:p14="http://schemas.microsoft.com/office/powerpoint/2010/main" val="3254298188"/>
      </p:ext>
    </p:extLst>
  </p:cSld>
  <p:clrMapOvr>
    <a:masterClrMapping/>
  </p:clrMapOvr>
  <p:transition>
    <p:fade/>
  </p:transition>
  <p:extLst>
    <p:ext uri="{DCECCB84-F9BA-43D5-87BE-67443E8EF086}">
      <p15:sldGuideLst xmlns:p15="http://schemas.microsoft.com/office/powerpoint/2012/main">
        <p15:guide id="1" orient="horz" pos="2203" userDrawn="1">
          <p15:clr>
            <a:srgbClr val="FBAE40"/>
          </p15:clr>
        </p15:guide>
        <p15:guide id="2" pos="3917" userDrawn="1">
          <p15:clr>
            <a:srgbClr val="FBAE40"/>
          </p15:clr>
        </p15:guide>
        <p15:guide id="3" orient="horz" pos="523" userDrawn="1">
          <p15:clr>
            <a:srgbClr val="FBAE40"/>
          </p15:clr>
        </p15:guide>
        <p15:guide id="4" pos="29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grpSp>
        <p:nvGrpSpPr>
          <p:cNvPr id="4" name="Group 3"/>
          <p:cNvGrpSpPr/>
          <p:nvPr userDrawn="1"/>
        </p:nvGrpSpPr>
        <p:grpSpPr>
          <a:xfrm>
            <a:off x="-1200" y="6644680"/>
            <a:ext cx="12436794" cy="360970"/>
            <a:chOff x="-1200" y="6644680"/>
            <a:chExt cx="12436794" cy="360970"/>
          </a:xfrm>
        </p:grpSpPr>
        <p:sp>
          <p:nvSpPr>
            <p:cNvPr id="5" name="TextBox 4"/>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6" name="TextBox 5"/>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Tree>
    <p:extLst>
      <p:ext uri="{BB962C8B-B14F-4D97-AF65-F5344CB8AC3E}">
        <p14:creationId xmlns:p14="http://schemas.microsoft.com/office/powerpoint/2010/main" val="146799962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grpSp>
        <p:nvGrpSpPr>
          <p:cNvPr id="4" name="Group 3"/>
          <p:cNvGrpSpPr/>
          <p:nvPr userDrawn="1"/>
        </p:nvGrpSpPr>
        <p:grpSpPr>
          <a:xfrm>
            <a:off x="-1200" y="6644680"/>
            <a:ext cx="12436794" cy="360970"/>
            <a:chOff x="-1200" y="6644680"/>
            <a:chExt cx="12436794" cy="360970"/>
          </a:xfrm>
        </p:grpSpPr>
        <p:sp>
          <p:nvSpPr>
            <p:cNvPr id="5" name="TextBox 4"/>
            <p:cNvSpPr txBox="1"/>
            <p:nvPr/>
          </p:nvSpPr>
          <p:spPr>
            <a:xfrm>
              <a:off x="-1200" y="6644680"/>
              <a:ext cx="4147213" cy="360970"/>
            </a:xfrm>
            <a:prstGeom prst="rect">
              <a:avLst/>
            </a:prstGeom>
            <a:solidFill>
              <a:srgbClr val="0072C6"/>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6" name="TextBox 5"/>
            <p:cNvSpPr txBox="1"/>
            <p:nvPr userDrawn="1"/>
          </p:nvSpPr>
          <p:spPr>
            <a:xfrm>
              <a:off x="4146013" y="6644680"/>
              <a:ext cx="8289581" cy="360970"/>
            </a:xfrm>
            <a:prstGeom prst="rect">
              <a:avLst/>
            </a:prstGeom>
            <a:solidFill>
              <a:srgbClr val="003963"/>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Tree>
    <p:extLst>
      <p:ext uri="{BB962C8B-B14F-4D97-AF65-F5344CB8AC3E}">
        <p14:creationId xmlns:p14="http://schemas.microsoft.com/office/powerpoint/2010/main" val="64007846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8"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4" name="Footer Placeholder 2"/>
          <p:cNvSpPr>
            <a:spLocks noGrp="1"/>
          </p:cNvSpPr>
          <p:nvPr>
            <p:ph type="ftr" sz="quarter" idx="14"/>
          </p:nvPr>
        </p:nvSpPr>
        <p:spPr>
          <a:xfrm>
            <a:off x="457200" y="6565900"/>
            <a:ext cx="3937000" cy="136525"/>
          </a:xfrm>
          <a:prstGeom prst="rect">
            <a:avLst/>
          </a:prstGeom>
        </p:spPr>
        <p:txBody>
          <a:bodyPr/>
          <a:lstStyle>
            <a:lvl1pPr fontAlgn="base">
              <a:spcBef>
                <a:spcPct val="0"/>
              </a:spcBef>
              <a:spcAft>
                <a:spcPct val="0"/>
              </a:spcAft>
              <a:defRPr dirty="0" smtClean="0">
                <a:solidFill>
                  <a:srgbClr val="505050"/>
                </a:solidFill>
              </a:defRPr>
            </a:lvl1pPr>
          </a:lstStyle>
          <a:p>
            <a:pPr>
              <a:defRPr/>
            </a:pPr>
            <a:r>
              <a:t>Microsoft Confidential</a:t>
            </a:r>
            <a:endParaRPr/>
          </a:p>
        </p:txBody>
      </p:sp>
      <p:sp>
        <p:nvSpPr>
          <p:cNvPr id="5" name="Slide Number Placeholder 3"/>
          <p:cNvSpPr>
            <a:spLocks noGrp="1"/>
          </p:cNvSpPr>
          <p:nvPr>
            <p:ph type="sldNum" sz="quarter" idx="15"/>
          </p:nvPr>
        </p:nvSpPr>
        <p:spPr/>
        <p:txBody>
          <a:bodyPr/>
          <a:lstStyle>
            <a:lvl1pPr defTabSz="931863"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04631037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127588"/>
            <a:ext cx="11653521" cy="1075884"/>
          </a:xfrm>
        </p:spPr>
        <p:txBody>
          <a:bodyPr lIns="146304" tIns="91440" rIns="146304" bIns="91440"/>
          <a:lstStyle>
            <a:lvl1pPr>
              <a:lnSpc>
                <a:spcPts val="6176"/>
              </a:lnSpc>
              <a:defRPr sz="4000"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
        <p:nvSpPr>
          <p:cNvPr id="16" name="Text Placeholder 2"/>
          <p:cNvSpPr>
            <a:spLocks noGrp="1"/>
          </p:cNvSpPr>
          <p:nvPr>
            <p:ph type="body" sz="quarter" idx="13"/>
          </p:nvPr>
        </p:nvSpPr>
        <p:spPr>
          <a:xfrm>
            <a:off x="7564438" y="1350963"/>
            <a:ext cx="4598987"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226309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0"/>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endParaRP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9452562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0"/>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2554" name="Rectangle 2553"/>
          <p:cNvSpPr/>
          <p:nvPr userDrawn="1"/>
        </p:nvSpPr>
        <p:spPr bwMode="auto">
          <a:xfrm>
            <a:off x="2718486"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2" name="Footer Placeholder 1"/>
          <p:cNvSpPr>
            <a:spLocks noGrp="1"/>
          </p:cNvSpPr>
          <p:nvPr>
            <p:ph type="ftr" sz="quarter" idx="10"/>
          </p:nvPr>
        </p:nvSpPr>
        <p:spPr>
          <a:xfrm>
            <a:off x="457200" y="6565900"/>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endParaRP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67712702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4000">
                <a:solidFill>
                  <a:schemeClr val="tx1"/>
                </a:solidFill>
                <a:latin typeface="+mj-lt"/>
              </a:defRPr>
            </a:lvl1pPr>
          </a:lstStyle>
          <a:p>
            <a:r>
              <a:rPr lang="en-US" dirty="0"/>
              <a:t>Click to edit Master title style</a:t>
            </a:r>
          </a:p>
        </p:txBody>
      </p:sp>
    </p:spTree>
    <p:extLst>
      <p:ext uri="{BB962C8B-B14F-4D97-AF65-F5344CB8AC3E}">
        <p14:creationId xmlns:p14="http://schemas.microsoft.com/office/powerpoint/2010/main" val="385961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497820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96898"/>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2596898"/>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477607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719751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987213" y="6682039"/>
            <a:ext cx="376411" cy="28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24">
                <a:latin typeface="Calibri" pitchFamily="34" charset="0"/>
              </a:rPr>
              <a:pPr/>
              <a:t>‹#›</a:t>
            </a:fld>
            <a:endParaRPr lang="en-US" altLang="en-US" sz="1428">
              <a:latin typeface="Calibri" pitchFamily="34" charset="0"/>
            </a:endParaRPr>
          </a:p>
        </p:txBody>
      </p:sp>
      <p:sp>
        <p:nvSpPr>
          <p:cNvPr id="2" name="Title 1"/>
          <p:cNvSpPr>
            <a:spLocks noGrp="1"/>
          </p:cNvSpPr>
          <p:nvPr>
            <p:ph type="title"/>
          </p:nvPr>
        </p:nvSpPr>
        <p:spPr>
          <a:noFill/>
        </p:spPr>
        <p:txBody>
          <a:bodyPr rtlCol="0"/>
          <a:lstStyle>
            <a:lvl1pPr marL="0" indent="0" algn="ctr" defTabSz="-14143806" rtl="0" eaLnBrk="1" fontAlgn="base" hangingPunct="1">
              <a:spcBef>
                <a:spcPct val="0"/>
              </a:spcBef>
              <a:spcAft>
                <a:spcPct val="0"/>
              </a:spcAft>
              <a:defRPr lang="en-US" sz="2856"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74642" y="1212851"/>
            <a:ext cx="11887198" cy="1503040"/>
          </a:xfrm>
          <a:prstGeom prst="rect">
            <a:avLst/>
          </a:prstGeom>
        </p:spPr>
        <p:txBody>
          <a:bodyPr rtlCol="0"/>
          <a:lstStyle>
            <a:lvl1pPr>
              <a:buClrTx/>
              <a:buFont typeface="Wingdings" pitchFamily="2" charset="2"/>
              <a:buChar char="§"/>
              <a:defRPr sz="2040" b="1">
                <a:latin typeface="Calibri" pitchFamily="34" charset="0"/>
              </a:defRPr>
            </a:lvl1pPr>
            <a:lvl2pPr>
              <a:buClrTx/>
              <a:buFont typeface="Wingdings" pitchFamily="2" charset="2"/>
              <a:buChar char="o"/>
              <a:defRPr sz="1836" b="0">
                <a:latin typeface="Calibri Light" pitchFamily="34" charset="0"/>
              </a:defRPr>
            </a:lvl2pPr>
            <a:lvl3pPr>
              <a:buClrTx/>
              <a:buFont typeface="Wingdings" pitchFamily="2" charset="2"/>
              <a:buChar char="o"/>
              <a:defRPr sz="1632" b="0">
                <a:latin typeface="Calibri Light" pitchFamily="34" charset="0"/>
              </a:defRPr>
            </a:lvl3pPr>
            <a:lvl4pPr>
              <a:buClrTx/>
              <a:buFont typeface="Wingdings" pitchFamily="2" charset="2"/>
              <a:buChar char="o"/>
              <a:defRPr sz="1428" b="0">
                <a:latin typeface="Calibri Light" pitchFamily="34" charset="0"/>
              </a:defRPr>
            </a:lvl4pPr>
            <a:lvl5pPr>
              <a:buClrTx/>
              <a:buFont typeface="Wingdings" pitchFamily="2" charset="2"/>
              <a:buChar char="o"/>
              <a:defRPr sz="1224"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9932182"/>
      </p:ext>
    </p:extLst>
  </p:cSld>
  <p:clrMapOvr>
    <a:masterClrMapping/>
  </p:clrMapOvr>
  <p:transition>
    <p:fade/>
  </p:transition>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987213" y="6682039"/>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24">
                <a:latin typeface="Calibri" pitchFamily="34" charset="0"/>
              </a:rPr>
              <a:pPr/>
              <a:t>‹#›</a:t>
            </a:fld>
            <a:endParaRPr lang="en-US" altLang="en-US" sz="1428">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116214248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71" tIns="38840" rIns="77671" bIns="38840" numCol="1" rtlCol="0" anchor="ctr" anchorCtr="0" compatLnSpc="1">
            <a:prstTxWarp prst="textNoShape">
              <a:avLst/>
            </a:prstTxWarp>
          </a:bodyPr>
          <a:lstStyle/>
          <a:p>
            <a:pPr algn="ctr" defTabSz="776460" fontAlgn="base">
              <a:spcBef>
                <a:spcPct val="0"/>
              </a:spcBef>
              <a:spcAft>
                <a:spcPct val="0"/>
              </a:spcAft>
            </a:pPr>
            <a:endParaRPr lang="en-US" sz="1785"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34711319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44676" y="1377434"/>
            <a:ext cx="6886900" cy="4923061"/>
          </a:xfrm>
          <a:solidFill>
            <a:schemeClr val="bg1">
              <a:lumMod val="95000"/>
            </a:schemeClr>
          </a:solidFill>
          <a:ln w="76200">
            <a:solidFill>
              <a:srgbClr val="0072C6"/>
            </a:solidFill>
          </a:ln>
        </p:spPr>
        <p:txBody>
          <a:bodyPr wrap="square">
            <a:normAutofit/>
          </a:bodyPr>
          <a:lstStyle>
            <a:lvl1pPr marL="0" indent="0" defTabSz="373039">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836">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836">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836">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715645" y="1377433"/>
            <a:ext cx="4062854" cy="4923062"/>
          </a:xfrm>
        </p:spPr>
        <p:txBody>
          <a:bodyPr wrap="square">
            <a:normAutofit/>
          </a:bodyPr>
          <a:lstStyle>
            <a:lvl1pPr marL="0" indent="0">
              <a:spcBef>
                <a:spcPts val="1224"/>
              </a:spcBef>
              <a:buClr>
                <a:schemeClr val="tx1"/>
              </a:buClr>
              <a:buFont typeface="Wingdings" pitchFamily="2" charset="2"/>
              <a:buNone/>
              <a:defRPr sz="2652">
                <a:solidFill>
                  <a:srgbClr val="0072C6"/>
                </a:solidFill>
              </a:defRPr>
            </a:lvl1pPr>
            <a:lvl2pPr marL="0" indent="0">
              <a:spcBef>
                <a:spcPts val="612"/>
              </a:spcBef>
              <a:buNone/>
              <a:defRPr sz="1836">
                <a:latin typeface="+mj-lt"/>
              </a:defRPr>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200" y="6642289"/>
            <a:ext cx="12436794" cy="360996"/>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515">
                <a:lnSpc>
                  <a:spcPts val="3060"/>
                </a:lnSpc>
              </a:pPr>
              <a:r>
                <a:rPr lang="en-US" sz="2856"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2055">
                <a:lnSpc>
                  <a:spcPts val="3001"/>
                </a:lnSpc>
                <a:defRPr/>
              </a:pPr>
              <a:endParaRPr lang="en-US" sz="2856" kern="0" dirty="0">
                <a:solidFill>
                  <a:srgbClr val="FFFFFF"/>
                </a:solidFill>
                <a:latin typeface="Segoe UI Light"/>
              </a:endParaRPr>
            </a:p>
          </p:txBody>
        </p:sp>
      </p:grpSp>
      <p:sp>
        <p:nvSpPr>
          <p:cNvPr id="8" name="Title 2"/>
          <p:cNvSpPr>
            <a:spLocks noGrp="1"/>
          </p:cNvSpPr>
          <p:nvPr>
            <p:ph type="title"/>
          </p:nvPr>
        </p:nvSpPr>
        <p:spPr>
          <a:xfrm>
            <a:off x="274639" y="377082"/>
            <a:ext cx="11889564" cy="917575"/>
          </a:xfrm>
        </p:spPr>
        <p:txBody>
          <a:bodyPr/>
          <a:lstStyle/>
          <a:p>
            <a:r>
              <a:rPr lang="en-US" dirty="0"/>
              <a:t>Click to edit Master title style</a:t>
            </a:r>
          </a:p>
        </p:txBody>
      </p:sp>
    </p:spTree>
    <p:extLst>
      <p:ext uri="{BB962C8B-B14F-4D97-AF65-F5344CB8AC3E}">
        <p14:creationId xmlns:p14="http://schemas.microsoft.com/office/powerpoint/2010/main" val="25771587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ission Critical Tex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127588"/>
            <a:ext cx="11653521" cy="1075884"/>
          </a:xfrm>
        </p:spPr>
        <p:txBody>
          <a:bodyPr lIns="146304" tIns="91440" rIns="146304" bIns="91440"/>
          <a:lstStyle>
            <a:lvl1pPr>
              <a:lnSpc>
                <a:spcPts val="6176"/>
              </a:lnSpc>
              <a:defRPr sz="4000" baseline="0">
                <a:solidFill>
                  <a:schemeClr val="tx1"/>
                </a:solidFill>
              </a:defRPr>
            </a:lvl1pPr>
          </a:lstStyle>
          <a:p>
            <a:r>
              <a:rPr lang="en-US"/>
              <a:t>Lorem ipsum dolor sit.</a:t>
            </a:r>
            <a:endParaRPr lang="en-US" dirty="0"/>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
        <p:nvSpPr>
          <p:cNvPr id="16" name="Text Placeholder 2"/>
          <p:cNvSpPr>
            <a:spLocks noGrp="1"/>
          </p:cNvSpPr>
          <p:nvPr>
            <p:ph type="body" sz="quarter" idx="13"/>
          </p:nvPr>
        </p:nvSpPr>
        <p:spPr>
          <a:xfrm>
            <a:off x="269242" y="1350963"/>
            <a:ext cx="11894184" cy="4923425"/>
          </a:xfrm>
        </p:spPr>
        <p:txBody>
          <a:bodyPr/>
          <a:lstStyle>
            <a:lvl1pPr marL="0" indent="0">
              <a:lnSpc>
                <a:spcPct val="100000"/>
              </a:lnSpc>
              <a:spcBef>
                <a:spcPts val="2000"/>
              </a:spcBef>
              <a:buFontTx/>
              <a:buNone/>
              <a:defRPr sz="3200">
                <a:solidFill>
                  <a:srgbClr val="C00000"/>
                </a:solidFill>
              </a:defRPr>
            </a:lvl1pPr>
            <a:lvl2pPr marL="342900" indent="0">
              <a:lnSpc>
                <a:spcPct val="100000"/>
              </a:lnSpc>
              <a:spcBef>
                <a:spcPts val="2000"/>
              </a:spcBef>
              <a:buFontTx/>
              <a:buNone/>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087810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3568591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341115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2"/>
            <a:ext cx="11375537" cy="621530"/>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0" y="1476623"/>
            <a:ext cx="11375537" cy="22283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90480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823555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2" y="233151"/>
            <a:ext cx="11375536" cy="579152"/>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29662" y="1476624"/>
            <a:ext cx="11375536" cy="980781"/>
          </a:xfrm>
        </p:spPr>
        <p:txBody>
          <a:bodyPr/>
          <a:lstStyle>
            <a:lvl1pPr marL="0" indent="0">
              <a:spcBef>
                <a:spcPts val="0"/>
              </a:spcBef>
              <a:spcAft>
                <a:spcPts val="687"/>
              </a:spcAft>
              <a:buNone/>
              <a:defRPr sz="3264" spc="-102" baseline="0">
                <a:latin typeface="Segoe UI Light" pitchFamily="34" charset="0"/>
              </a:defRPr>
            </a:lvl1pPr>
            <a:lvl2pPr marL="0" indent="0">
              <a:spcBef>
                <a:spcPts val="0"/>
              </a:spcBef>
              <a:spcAft>
                <a:spcPts val="306"/>
              </a:spcAft>
              <a:buNone/>
              <a:defRPr sz="1836" spc="-51" baseline="0"/>
            </a:lvl2pPr>
            <a:lvl3pPr marL="0" indent="0">
              <a:spcBef>
                <a:spcPts val="0"/>
              </a:spcBef>
              <a:spcAft>
                <a:spcPts val="306"/>
              </a:spcAft>
              <a:buNone/>
              <a:defRPr sz="1530"/>
            </a:lvl3pPr>
            <a:lvl4pPr marL="0" indent="0">
              <a:spcBef>
                <a:spcPts val="0"/>
              </a:spcBef>
              <a:spcAft>
                <a:spcPts val="306"/>
              </a:spcAft>
              <a:buNone/>
              <a:defRPr/>
            </a:lvl4pPr>
            <a:lvl5pPr marL="0" indent="0">
              <a:spcBef>
                <a:spcPts val="0"/>
              </a:spcBef>
              <a:spcAft>
                <a:spcPts val="306"/>
              </a:spcAft>
              <a:buNone/>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60698373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Perf">
    <p:spTree>
      <p:nvGrpSpPr>
        <p:cNvPr id="1" name=""/>
        <p:cNvGrpSpPr/>
        <p:nvPr/>
      </p:nvGrpSpPr>
      <p:grpSpPr>
        <a:xfrm>
          <a:off x="0" y="0"/>
          <a:ext cx="0" cy="0"/>
          <a:chOff x="0" y="0"/>
          <a:chExt cx="0" cy="0"/>
        </a:xfrm>
      </p:grpSpPr>
      <p:sp>
        <p:nvSpPr>
          <p:cNvPr id="10" name="Rectangle 9"/>
          <p:cNvSpPr/>
          <p:nvPr userDrawn="1"/>
        </p:nvSpPr>
        <p:spPr bwMode="auto">
          <a:xfrm>
            <a:off x="4419856" y="6453184"/>
            <a:ext cx="8015739" cy="548484"/>
          </a:xfrm>
          <a:prstGeom prst="rect">
            <a:avLst/>
          </a:prstGeom>
          <a:solidFill>
            <a:srgbClr val="611C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a:lnSpc>
                <a:spcPct val="90000"/>
              </a:lnSpc>
            </a:pPr>
            <a:endParaRPr lang="en-US" sz="2000" b="1" dirty="0">
              <a:solidFill>
                <a:srgbClr val="FFFFFF"/>
              </a:solidFill>
              <a:latin typeface="Segoe UI Light"/>
              <a:ea typeface="Segoe UI" pitchFamily="34" charset="0"/>
              <a:cs typeface="Segoe UI" pitchFamily="34" charset="0"/>
            </a:endParaRPr>
          </a:p>
        </p:txBody>
      </p:sp>
      <p:sp>
        <p:nvSpPr>
          <p:cNvPr id="11" name="Rectangle 10"/>
          <p:cNvSpPr/>
          <p:nvPr userDrawn="1"/>
        </p:nvSpPr>
        <p:spPr bwMode="auto">
          <a:xfrm>
            <a:off x="885" y="6453184"/>
            <a:ext cx="4418973" cy="54848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defTabSz="776329">
              <a:lnSpc>
                <a:spcPct val="90000"/>
              </a:lnSpc>
              <a:defRPr/>
            </a:pPr>
            <a:endParaRPr lang="en-US" sz="1800" kern="0" dirty="0">
              <a:ln>
                <a:solidFill>
                  <a:srgbClr val="FFFFFF">
                    <a:alpha val="0"/>
                  </a:srgbClr>
                </a:solidFill>
              </a:ln>
              <a:solidFill>
                <a:srgbClr val="FFFFFF"/>
              </a:solidFill>
              <a:latin typeface="Segoe UI Semibold" panose="020B0702040204020203" pitchFamily="34" charset="0"/>
              <a:ea typeface="MS PGothic" charset="0"/>
              <a:cs typeface="Segoe UI Semibold" panose="020B0702040204020203" pitchFamily="34" charset="0"/>
            </a:endParaRPr>
          </a:p>
        </p:txBody>
      </p:sp>
      <p:sp>
        <p:nvSpPr>
          <p:cNvPr id="12" name="Rectangle 11"/>
          <p:cNvSpPr/>
          <p:nvPr userDrawn="1"/>
        </p:nvSpPr>
        <p:spPr bwMode="auto">
          <a:xfrm>
            <a:off x="483326" y="1931038"/>
            <a:ext cx="7168116" cy="434064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 tIns="45700" rIns="91401" bIns="45700" numCol="1" spcCol="0" rtlCol="0" fromWordArt="0" anchor="t" anchorCtr="0" forceAA="0" compatLnSpc="1">
            <a:prstTxWarp prst="textNoShape">
              <a:avLst/>
            </a:prstTxWarp>
            <a:noAutofit/>
          </a:bodyPr>
          <a:lstStyle/>
          <a:p>
            <a:pPr defTabSz="931597"/>
            <a:endParaRPr lang="en-US" sz="1800" dirty="0">
              <a:ln>
                <a:solidFill>
                  <a:srgbClr val="FFFFFF">
                    <a:alpha val="0"/>
                  </a:srgbClr>
                </a:solidFill>
              </a:ln>
              <a:solidFill>
                <a:srgbClr val="C00000"/>
              </a:solidFill>
              <a:latin typeface="Segoe UI Light"/>
              <a:ea typeface="Segoe UI" pitchFamily="34" charset="0"/>
              <a:cs typeface="Segoe UI" pitchFamily="34" charset="0"/>
            </a:endParaRPr>
          </a:p>
        </p:txBody>
      </p:sp>
      <p:sp>
        <p:nvSpPr>
          <p:cNvPr id="13" name="Title 2"/>
          <p:cNvSpPr>
            <a:spLocks noGrp="1"/>
          </p:cNvSpPr>
          <p:nvPr>
            <p:ph type="title"/>
          </p:nvPr>
        </p:nvSpPr>
        <p:spPr>
          <a:xfrm>
            <a:off x="274640" y="295277"/>
            <a:ext cx="11888787" cy="803866"/>
          </a:xfrm>
        </p:spPr>
        <p:txBody>
          <a:bodyPr/>
          <a:lstStyle>
            <a:lvl1pPr>
              <a:defRPr sz="5404"/>
            </a:lvl1pPr>
          </a:lstStyle>
          <a:p>
            <a:r>
              <a:rPr lang="en-US" dirty="0"/>
              <a:t>Click to edit Master title style</a:t>
            </a:r>
            <a:endParaRPr lang="en-IN" dirty="0"/>
          </a:p>
        </p:txBody>
      </p:sp>
      <p:sp>
        <p:nvSpPr>
          <p:cNvPr id="18" name="Text Placeholder 17"/>
          <p:cNvSpPr>
            <a:spLocks noGrp="1"/>
          </p:cNvSpPr>
          <p:nvPr>
            <p:ph type="body" sz="quarter" idx="10"/>
          </p:nvPr>
        </p:nvSpPr>
        <p:spPr>
          <a:xfrm>
            <a:off x="275286" y="1099373"/>
            <a:ext cx="11887522" cy="650819"/>
          </a:xfrm>
          <a:prstGeom prst="rect">
            <a:avLst/>
          </a:prstGeom>
        </p:spPr>
        <p:txBody>
          <a:bodyPr/>
          <a:lstStyle>
            <a:lvl1pPr marL="0" indent="0">
              <a:buNone/>
              <a:defRPr sz="3366">
                <a:solidFill>
                  <a:srgbClr val="C00000"/>
                </a:solidFill>
              </a:defRPr>
            </a:lvl1pPr>
          </a:lstStyle>
          <a:p>
            <a:pPr lvl="0"/>
            <a:r>
              <a:rPr lang="en-US" dirty="0"/>
              <a:t>Click to edit Master text styles</a:t>
            </a:r>
          </a:p>
        </p:txBody>
      </p:sp>
    </p:spTree>
    <p:extLst>
      <p:ext uri="{BB962C8B-B14F-4D97-AF65-F5344CB8AC3E}">
        <p14:creationId xmlns:p14="http://schemas.microsoft.com/office/powerpoint/2010/main" val="168612396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9800047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4"/>
            <a:ext cx="10726460" cy="135195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FCBA4302-AB3A-4B30-AA1E-4FC776169C46}" type="datetimeFigureOut">
              <a:rPr lang="en-US" smtClean="0">
                <a:solidFill>
                  <a:srgbClr val="FFFFFF"/>
                </a:solidFill>
              </a:rPr>
              <a:pPr defTabSz="932597"/>
              <a:t>5/2/2017</a:t>
            </a:fld>
            <a:endParaRPr lang="en-US" dirty="0">
              <a:solidFill>
                <a:srgbClr val="FFFFFF"/>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defTabSz="932597"/>
            <a:endParaRPr lang="en-US" dirty="0">
              <a:solidFill>
                <a:srgbClr val="FFFFFF"/>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defTabSz="932597"/>
            <a:fld id="{238D2EFD-9BE3-4DA5-8511-61AA80F92140}" type="slidenum">
              <a:rPr lang="en-US" smtClean="0">
                <a:solidFill>
                  <a:srgbClr val="FFFFFF"/>
                </a:solidFill>
              </a:rPr>
              <a:pPr defTabSz="932597"/>
              <a:t>‹#›</a:t>
            </a:fld>
            <a:endParaRPr lang="en-US" dirty="0">
              <a:solidFill>
                <a:srgbClr val="FFFFFF"/>
              </a:solidFill>
            </a:endParaRPr>
          </a:p>
        </p:txBody>
      </p:sp>
    </p:spTree>
    <p:extLst>
      <p:ext uri="{BB962C8B-B14F-4D97-AF65-F5344CB8AC3E}">
        <p14:creationId xmlns:p14="http://schemas.microsoft.com/office/powerpoint/2010/main" val="32777777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613413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6202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300"/>
            </a:lvl1pPr>
          </a:lstStyle>
          <a:p>
            <a:r>
              <a:rPr lang="en-US" dirty="0"/>
              <a:t>Click to edit Master title style</a:t>
            </a:r>
          </a:p>
        </p:txBody>
      </p:sp>
    </p:spTree>
    <p:extLst>
      <p:ext uri="{BB962C8B-B14F-4D97-AF65-F5344CB8AC3E}">
        <p14:creationId xmlns:p14="http://schemas.microsoft.com/office/powerpoint/2010/main" val="94154922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ssion Critical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44676" y="1377434"/>
            <a:ext cx="6886900" cy="4923061"/>
          </a:xfrm>
          <a:solidFill>
            <a:schemeClr val="bg1">
              <a:lumMod val="95000"/>
            </a:schemeClr>
          </a:solidFill>
          <a:ln w="63500">
            <a:solidFill>
              <a:schemeClr val="accent4"/>
            </a:solidFill>
            <a:miter lim="800000"/>
          </a:ln>
        </p:spPr>
        <p:txBody>
          <a:bodyPr wrap="square">
            <a:normAutofit/>
          </a:bodyPr>
          <a:lstStyle>
            <a:lvl1pPr marL="0" indent="0" defTabSz="373039">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836">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836">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836">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userDrawn="1"/>
        </p:nvGrpSpPr>
        <p:grpSpPr>
          <a:xfrm>
            <a:off x="-1200" y="6644680"/>
            <a:ext cx="12436794" cy="360970"/>
            <a:chOff x="-1200" y="6644680"/>
            <a:chExt cx="12436794" cy="360970"/>
          </a:xfrm>
        </p:grpSpPr>
        <p:sp>
          <p:nvSpPr>
            <p:cNvPr id="13" name="TextBox 12"/>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
        <p:nvSpPr>
          <p:cNvPr id="20" name="Text Placeholder 2"/>
          <p:cNvSpPr>
            <a:spLocks noGrp="1"/>
          </p:cNvSpPr>
          <p:nvPr>
            <p:ph type="body" sz="quarter" idx="13" hasCustomPrompt="1"/>
          </p:nvPr>
        </p:nvSpPr>
        <p:spPr>
          <a:xfrm>
            <a:off x="7564438" y="1350963"/>
            <a:ext cx="4598987" cy="4923425"/>
          </a:xfrm>
        </p:spPr>
        <p:txBody>
          <a:bodyPr/>
          <a:lstStyle>
            <a:lvl1pPr marL="0" indent="0">
              <a:lnSpc>
                <a:spcPct val="100000"/>
              </a:lnSpc>
              <a:spcBef>
                <a:spcPts val="2000"/>
              </a:spcBef>
              <a:buFontTx/>
              <a:buNone/>
              <a:defRPr lang="en-US" sz="2400" kern="1200" dirty="0" smtClean="0">
                <a:solidFill>
                  <a:schemeClr val="accent4"/>
                </a:solidFill>
                <a:latin typeface="+mj-lt"/>
                <a:ea typeface="ＭＳ Ｐゴシック" charset="0"/>
                <a:cs typeface="ＭＳ Ｐゴシック" charset="0"/>
              </a:defRPr>
            </a:lvl1pPr>
            <a:lvl2pPr marL="342900" indent="0">
              <a:lnSpc>
                <a:spcPct val="100000"/>
              </a:lnSpc>
              <a:spcBef>
                <a:spcPts val="2000"/>
              </a:spcBef>
              <a:buFontTx/>
              <a:buNone/>
              <a:defRPr lang="en-US" sz="1960" b="0" kern="1200" dirty="0" smtClean="0">
                <a:solidFill>
                  <a:schemeClr val="tx1"/>
                </a:solidFill>
                <a:latin typeface="+mn-lt"/>
                <a:ea typeface="ＭＳ Ｐゴシック" charset="0"/>
                <a:cs typeface="Segoe UI Semibold" panose="020B0702040204020203" pitchFamily="34" charset="0"/>
              </a:defRPr>
            </a:lvl2pPr>
            <a:lvl3pPr marL="571500" indent="0">
              <a:lnSpc>
                <a:spcPct val="100000"/>
              </a:lnSpc>
              <a:spcBef>
                <a:spcPts val="2000"/>
              </a:spcBef>
              <a:buFontTx/>
              <a:buNone/>
              <a:defRPr/>
            </a:lvl3pPr>
            <a:lvl4pPr marL="800100" indent="0">
              <a:lnSpc>
                <a:spcPct val="100000"/>
              </a:lnSpc>
              <a:spcBef>
                <a:spcPts val="2000"/>
              </a:spcBef>
              <a:buFontTx/>
              <a:buNone/>
              <a:defRPr/>
            </a:lvl4pPr>
            <a:lvl5pPr marL="1028700" indent="0">
              <a:lnSpc>
                <a:spcPct val="100000"/>
              </a:lnSpc>
              <a:spcBef>
                <a:spcPts val="2000"/>
              </a:spcBef>
              <a:buFontTx/>
              <a:buNone/>
              <a:defRPr/>
            </a:lvl5pPr>
          </a:lstStyle>
          <a:p>
            <a:pPr marL="0" lvl="0" indent="0" algn="l" defTabSz="931863" rtl="0" fontAlgn="base">
              <a:lnSpc>
                <a:spcPct val="100000"/>
              </a:lnSpc>
              <a:spcBef>
                <a:spcPts val="1224"/>
              </a:spcBef>
              <a:spcAft>
                <a:spcPts val="1200"/>
              </a:spcAft>
              <a:buClr>
                <a:schemeClr val="tx1"/>
              </a:buClr>
              <a:buSzPct val="90000"/>
              <a:buFont typeface="Wingdings" pitchFamily="2" charset="2"/>
              <a:buNone/>
            </a:pPr>
            <a:r>
              <a:rPr lang="en-US" dirty="0"/>
              <a:t>Click to edit Master text styles</a:t>
            </a:r>
          </a:p>
          <a:p>
            <a:pPr marL="0" lvl="1" indent="0" algn="l" defTabSz="931863" rtl="0" fontAlgn="base">
              <a:lnSpc>
                <a:spcPct val="100000"/>
              </a:lnSpc>
              <a:spcBef>
                <a:spcPts val="612"/>
              </a:spcBef>
              <a:spcAft>
                <a:spcPts val="1200"/>
              </a:spcAft>
              <a:buSzPct val="90000"/>
              <a:buFont typeface="Arial" charset="0"/>
              <a:buNone/>
            </a:pPr>
            <a:r>
              <a:rPr lang="en-US" dirty="0"/>
              <a:t>Second level</a:t>
            </a:r>
          </a:p>
        </p:txBody>
      </p:sp>
      <p:sp>
        <p:nvSpPr>
          <p:cNvPr id="23" name="Text Placeholder 4"/>
          <p:cNvSpPr>
            <a:spLocks noGrp="1"/>
          </p:cNvSpPr>
          <p:nvPr>
            <p:ph type="body" sz="quarter" idx="14"/>
          </p:nvPr>
        </p:nvSpPr>
        <p:spPr>
          <a:xfrm>
            <a:off x="269241" y="124313"/>
            <a:ext cx="11649456" cy="1078992"/>
          </a:xfrm>
        </p:spPr>
        <p:txBody>
          <a:bodyPr lIns="146304" tIns="91440" rIns="146304" bIns="91440" anchor="ctr" anchorCtr="0"/>
          <a:lstStyle>
            <a:lvl1pPr marL="0" indent="0">
              <a:buNone/>
              <a:defRPr sz="4000">
                <a:solidFill>
                  <a:schemeClr val="tx1">
                    <a:lumMod val="90000"/>
                    <a:lumOff val="10000"/>
                  </a:schemeClr>
                </a:solidFill>
              </a:defRPr>
            </a:lvl1pPr>
            <a:lvl5pPr marL="1028700" indent="0">
              <a:buNone/>
              <a:defRPr/>
            </a:lvl5pPr>
          </a:lstStyle>
          <a:p>
            <a:pPr lvl="0"/>
            <a:r>
              <a:rPr lang="en-US"/>
              <a:t>Click to edit Master text styles</a:t>
            </a:r>
          </a:p>
        </p:txBody>
      </p:sp>
    </p:spTree>
    <p:extLst>
      <p:ext uri="{BB962C8B-B14F-4D97-AF65-F5344CB8AC3E}">
        <p14:creationId xmlns:p14="http://schemas.microsoft.com/office/powerpoint/2010/main" val="309129015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dirty="0"/>
          </a:p>
        </p:txBody>
      </p:sp>
      <p:sp>
        <p:nvSpPr>
          <p:cNvPr id="5" name="Title 4"/>
          <p:cNvSpPr>
            <a:spLocks noGrp="1"/>
          </p:cNvSpPr>
          <p:nvPr>
            <p:ph type="title"/>
          </p:nvPr>
        </p:nvSpPr>
        <p:spPr>
          <a:xfrm>
            <a:off x="274320" y="307607"/>
            <a:ext cx="5486718" cy="917575"/>
          </a:xfrm>
        </p:spPr>
        <p:txBody>
          <a:bodyPr/>
          <a:lstStyle>
            <a:lvl1pPr>
              <a:defRPr sz="6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0370370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715644" y="1377431"/>
            <a:ext cx="4446194" cy="5048308"/>
          </a:xfrm>
        </p:spPr>
        <p:txBody>
          <a:bodyPr wrap="square">
            <a:normAutofit/>
          </a:bodyPr>
          <a:lstStyle>
            <a:lvl1pPr marL="0" indent="0">
              <a:spcBef>
                <a:spcPts val="1224"/>
              </a:spcBef>
              <a:buClr>
                <a:schemeClr val="tx1"/>
              </a:buClr>
              <a:buFont typeface="Wingdings" pitchFamily="2" charset="2"/>
              <a:buNone/>
              <a:defRPr sz="2652">
                <a:solidFill>
                  <a:schemeClr val="bg2"/>
                </a:solidFill>
              </a:defRPr>
            </a:lvl1pPr>
            <a:lvl2pPr marL="0" indent="0">
              <a:spcBef>
                <a:spcPts val="612"/>
              </a:spcBef>
              <a:buNone/>
              <a:defRPr sz="1836">
                <a:solidFill>
                  <a:schemeClr val="tx1"/>
                </a:solidFill>
                <a:latin typeface="+mj-lt"/>
              </a:defRPr>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75288" y="1377858"/>
            <a:ext cx="7006597" cy="4976760"/>
          </a:xfrm>
          <a:ln w="152400">
            <a:noFill/>
          </a:ln>
        </p:spPr>
        <p:txBody>
          <a:bodyPr>
            <a:normAutofit/>
          </a:bodyPr>
          <a:lstStyle>
            <a:lvl1pPr marL="0" indent="0">
              <a:buNone/>
              <a:defRPr/>
            </a:lvl1pPr>
          </a:lstStyle>
          <a:p>
            <a:r>
              <a:rPr lang="en-US" dirty="0"/>
              <a:t>Screen shot or image here</a:t>
            </a:r>
          </a:p>
        </p:txBody>
      </p:sp>
      <p:sp>
        <p:nvSpPr>
          <p:cNvPr id="10" name="Title 2"/>
          <p:cNvSpPr>
            <a:spLocks noGrp="1"/>
          </p:cNvSpPr>
          <p:nvPr>
            <p:ph type="title"/>
          </p:nvPr>
        </p:nvSpPr>
        <p:spPr>
          <a:xfrm>
            <a:off x="274639" y="377082"/>
            <a:ext cx="11889564" cy="917575"/>
          </a:xfrm>
        </p:spPr>
        <p:txBody>
          <a:bodyPr/>
          <a:lstStyle/>
          <a:p>
            <a:r>
              <a:rPr lang="en-US" dirty="0"/>
              <a:t>Click to edit Master title style</a:t>
            </a:r>
          </a:p>
        </p:txBody>
      </p:sp>
    </p:spTree>
    <p:extLst>
      <p:ext uri="{BB962C8B-B14F-4D97-AF65-F5344CB8AC3E}">
        <p14:creationId xmlns:p14="http://schemas.microsoft.com/office/powerpoint/2010/main" val="259325793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44676" y="1377434"/>
            <a:ext cx="6886900" cy="4923061"/>
          </a:xfrm>
          <a:solidFill>
            <a:schemeClr val="tx2"/>
          </a:solidFill>
          <a:ln w="76200">
            <a:solidFill>
              <a:schemeClr val="bg2"/>
            </a:solidFill>
          </a:ln>
        </p:spPr>
        <p:txBody>
          <a:bodyPr wrap="square">
            <a:normAutofit/>
          </a:bodyPr>
          <a:lstStyle>
            <a:lvl1pPr marL="0" indent="0" defTabSz="373039">
              <a:lnSpc>
                <a:spcPct val="100000"/>
              </a:lnSpc>
              <a:spcBef>
                <a:spcPts val="0"/>
              </a:spcBef>
              <a:buClr>
                <a:schemeClr val="tx1"/>
              </a:buClr>
              <a:buFont typeface="Wingdings" pitchFamily="2" charset="2"/>
              <a:buNone/>
              <a:defRPr sz="1836" baseline="0">
                <a:solidFill>
                  <a:schemeClr val="bg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836">
                <a:solidFill>
                  <a:schemeClr val="bg1"/>
                </a:solidFill>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836">
                <a:solidFill>
                  <a:schemeClr val="bg1"/>
                </a:solidFill>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836">
                <a:solidFill>
                  <a:schemeClr val="bg1"/>
                </a:solidFill>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836">
                <a:solidFill>
                  <a:schemeClr val="bg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715645" y="1377433"/>
            <a:ext cx="4062854" cy="4923062"/>
          </a:xfrm>
        </p:spPr>
        <p:txBody>
          <a:bodyPr wrap="square">
            <a:normAutofit/>
          </a:bodyPr>
          <a:lstStyle>
            <a:lvl1pPr marL="0" indent="0">
              <a:spcBef>
                <a:spcPts val="1224"/>
              </a:spcBef>
              <a:buClr>
                <a:schemeClr val="tx1"/>
              </a:buClr>
              <a:buFont typeface="Wingdings" pitchFamily="2" charset="2"/>
              <a:buNone/>
              <a:defRPr sz="2652">
                <a:solidFill>
                  <a:schemeClr val="bg2"/>
                </a:solidFill>
              </a:defRPr>
            </a:lvl1pPr>
            <a:lvl2pPr marL="0" indent="0">
              <a:spcBef>
                <a:spcPts val="612"/>
              </a:spcBef>
              <a:buNone/>
              <a:defRPr sz="1836">
                <a:latin typeface="+mj-lt"/>
              </a:defRPr>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200" y="6642289"/>
            <a:ext cx="12436794" cy="360996"/>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marL="0" marR="0" lvl="0" indent="0" algn="l" defTabSz="932515" rtl="0" eaLnBrk="1" fontAlgn="auto" latinLnBrk="0" hangingPunct="1">
                <a:lnSpc>
                  <a:spcPts val="3060"/>
                </a:lnSpc>
                <a:spcBef>
                  <a:spcPts val="0"/>
                </a:spcBef>
                <a:spcAft>
                  <a:spcPts val="0"/>
                </a:spcAft>
                <a:buClrTx/>
                <a:buSzTx/>
                <a:buFontTx/>
                <a:buNone/>
                <a:tabLst/>
                <a:defRPr/>
              </a:pPr>
              <a:r>
                <a:rPr kumimoji="0" lang="en-US" sz="2856"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marL="0" marR="0" lvl="0" indent="0" algn="l" defTabSz="932055" rtl="0" eaLnBrk="1" fontAlgn="auto" latinLnBrk="0" hangingPunct="1">
                <a:lnSpc>
                  <a:spcPts val="3001"/>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a typeface="+mn-ea"/>
                <a:cs typeface="+mn-cs"/>
              </a:endParaRPr>
            </a:p>
          </p:txBody>
        </p:sp>
      </p:grpSp>
      <p:sp>
        <p:nvSpPr>
          <p:cNvPr id="8" name="Title 2"/>
          <p:cNvSpPr>
            <a:spLocks noGrp="1"/>
          </p:cNvSpPr>
          <p:nvPr>
            <p:ph type="title"/>
          </p:nvPr>
        </p:nvSpPr>
        <p:spPr>
          <a:xfrm>
            <a:off x="274639" y="377082"/>
            <a:ext cx="11889564" cy="917575"/>
          </a:xfrm>
        </p:spPr>
        <p:txBody>
          <a:bodyPr/>
          <a:lstStyle/>
          <a:p>
            <a:r>
              <a:rPr lang="en-US" dirty="0"/>
              <a:t>Click to edit Master title style</a:t>
            </a:r>
          </a:p>
        </p:txBody>
      </p:sp>
    </p:spTree>
    <p:extLst>
      <p:ext uri="{BB962C8B-B14F-4D97-AF65-F5344CB8AC3E}">
        <p14:creationId xmlns:p14="http://schemas.microsoft.com/office/powerpoint/2010/main" val="110846799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2114557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8548519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Red">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29857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Only">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6725943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65866646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solidFill>
                  <a:schemeClr val="bg1"/>
                </a:soli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94949"/>
              </a:solidFill>
              <a:effectLst/>
              <a:uLnTx/>
              <a:uFillTx/>
              <a:latin typeface="Segoe UI"/>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94949"/>
              </a:solidFill>
              <a:effectLst/>
              <a:uLnTx/>
              <a:uFillTx/>
              <a:latin typeface="Segoe UI"/>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94949"/>
              </a:solidFill>
              <a:effectLst/>
              <a:uLnTx/>
              <a:uFillTx/>
              <a:latin typeface="Segoe UI"/>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94949"/>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7206965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7515515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3"/>
            <a:ext cx="8219813" cy="1828800"/>
          </a:xfrm>
        </p:spPr>
        <p:txBody>
          <a:bodyPr/>
          <a:lstStyle>
            <a:lvl1pPr>
              <a:defRPr sz="6001" baseline="0"/>
            </a:lvl1pPr>
          </a:lstStyle>
          <a:p>
            <a:r>
              <a:rPr lang="en-US"/>
              <a:t>Click to edit Master title style</a:t>
            </a:r>
            <a:endParaRPr lang="en-US" dirty="0"/>
          </a:p>
        </p:txBody>
      </p:sp>
    </p:spTree>
    <p:extLst>
      <p:ext uri="{BB962C8B-B14F-4D97-AF65-F5344CB8AC3E}">
        <p14:creationId xmlns:p14="http://schemas.microsoft.com/office/powerpoint/2010/main" val="2835919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solidFill>
                  <a:schemeClr val="bg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solidFill>
                  <a:schemeClr val="bg1"/>
                </a:soli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611876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solidFill>
                  <a:schemeClr val="bg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1898981"/>
          </a:xfrm>
        </p:spPr>
        <p:txBody>
          <a:bodyPr/>
          <a:lstStyle>
            <a:lvl1pPr>
              <a:defRPr sz="2600">
                <a:solidFill>
                  <a:schemeClr val="bg1"/>
                </a:solidFill>
                <a:latin typeface="+mn-lt"/>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780831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712541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40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702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48474935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1"/>
                </a:solidFill>
              </a:defRPr>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solidFill>
                  <a:schemeClr val="tx1"/>
                </a:solidFill>
              </a:defRPr>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48163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96407396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88312596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solidFill>
                  <a:schemeClr val="bg1"/>
                </a:solidFill>
                <a:latin typeface="+mj-lt"/>
              </a:defRPr>
            </a:lvl1pPr>
          </a:lstStyle>
          <a:p>
            <a:pPr lvl="0"/>
            <a:r>
              <a:rPr lang="en-US" dirty="0"/>
              <a:t>Speaker Name</a:t>
            </a:r>
          </a:p>
        </p:txBody>
      </p:sp>
    </p:spTree>
    <p:extLst>
      <p:ext uri="{BB962C8B-B14F-4D97-AF65-F5344CB8AC3E}">
        <p14:creationId xmlns:p14="http://schemas.microsoft.com/office/powerpoint/2010/main" val="10855338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73585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rgbClr val="FF8C00"/>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srcRect l="46418" t="28339" b="17442"/>
          <a:stretch/>
        </p:blipFill>
        <p:spPr>
          <a:xfrm>
            <a:off x="-70338" y="-23447"/>
            <a:ext cx="13229832" cy="7057293"/>
          </a:xfrm>
          <a:prstGeom prst="rect">
            <a:avLst/>
          </a:prstGeom>
        </p:spPr>
      </p:pic>
      <p:sp>
        <p:nvSpPr>
          <p:cNvPr id="1381" name="Title 1"/>
          <p:cNvSpPr txBox="1">
            <a:spLocks/>
          </p:cNvSpPr>
          <p:nvPr userDrawn="1"/>
        </p:nvSpPr>
        <p:spPr>
          <a:xfrm>
            <a:off x="309896" y="340565"/>
            <a:ext cx="5244464" cy="3474545"/>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endParaRPr lang="en-US" sz="5399" dirty="0">
              <a:solidFill>
                <a:srgbClr val="0072C6"/>
              </a:solidFill>
            </a:endParaRPr>
          </a:p>
        </p:txBody>
      </p:sp>
      <p:grpSp>
        <p:nvGrpSpPr>
          <p:cNvPr id="25" name="Group 24"/>
          <p:cNvGrpSpPr/>
          <p:nvPr userDrawn="1"/>
        </p:nvGrpSpPr>
        <p:grpSpPr>
          <a:xfrm>
            <a:off x="1227054" y="3014900"/>
            <a:ext cx="1837052" cy="1837054"/>
            <a:chOff x="11092177" y="4747627"/>
            <a:chExt cx="540526" cy="540526"/>
          </a:xfrm>
        </p:grpSpPr>
        <p:sp>
          <p:nvSpPr>
            <p:cNvPr id="26" name="Freeform 186"/>
            <p:cNvSpPr>
              <a:spLocks/>
            </p:cNvSpPr>
            <p:nvPr userDrawn="1"/>
          </p:nvSpPr>
          <p:spPr bwMode="auto">
            <a:xfrm>
              <a:off x="11092177" y="4747627"/>
              <a:ext cx="540526" cy="540526"/>
            </a:xfrm>
            <a:prstGeom prst="ellipse">
              <a:avLst/>
            </a:prstGeom>
            <a:solidFill>
              <a:srgbClr val="FFB900">
                <a:alpha val="36000"/>
              </a:srgbClr>
            </a:solidFill>
            <a:ln>
              <a:noFill/>
            </a:ln>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sp>
          <p:nvSpPr>
            <p:cNvPr id="27" name="Freeform 187"/>
            <p:cNvSpPr>
              <a:spLocks noEditPoints="1"/>
            </p:cNvSpPr>
            <p:nvPr/>
          </p:nvSpPr>
          <p:spPr bwMode="auto">
            <a:xfrm>
              <a:off x="11185499" y="4841873"/>
              <a:ext cx="352959" cy="352035"/>
            </a:xfrm>
            <a:prstGeom prst="ellipse">
              <a:avLst/>
            </a:prstGeom>
            <a:solidFill>
              <a:srgbClr val="FF8C00">
                <a:alpha val="79000"/>
              </a:srgbClr>
            </a:solidFill>
            <a:ln>
              <a:noFill/>
            </a:ln>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grpSp>
          <p:nvGrpSpPr>
            <p:cNvPr id="28" name="Group 27"/>
            <p:cNvGrpSpPr/>
            <p:nvPr/>
          </p:nvGrpSpPr>
          <p:grpSpPr>
            <a:xfrm>
              <a:off x="11258847" y="4915587"/>
              <a:ext cx="207178" cy="289829"/>
              <a:chOff x="-2260605" y="4106862"/>
              <a:chExt cx="298450" cy="417514"/>
            </a:xfrm>
          </p:grpSpPr>
          <p:sp>
            <p:nvSpPr>
              <p:cNvPr id="29" name="Freeform 188"/>
              <p:cNvSpPr>
                <a:spLocks/>
              </p:cNvSpPr>
              <p:nvPr/>
            </p:nvSpPr>
            <p:spPr bwMode="auto">
              <a:xfrm>
                <a:off x="-2260605" y="4106862"/>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sp>
            <p:nvSpPr>
              <p:cNvPr id="30" name="Freeform 192"/>
              <p:cNvSpPr>
                <a:spLocks noEditPoints="1"/>
              </p:cNvSpPr>
              <p:nvPr/>
            </p:nvSpPr>
            <p:spPr bwMode="auto">
              <a:xfrm>
                <a:off x="-2260600" y="4254501"/>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sp>
            <p:nvSpPr>
              <p:cNvPr id="31" name="Rectangle 194"/>
              <p:cNvSpPr>
                <a:spLocks noChangeArrowheads="1"/>
              </p:cNvSpPr>
              <p:nvPr/>
            </p:nvSpPr>
            <p:spPr bwMode="auto">
              <a:xfrm>
                <a:off x="-2168525" y="4452938"/>
                <a:ext cx="114300" cy="7143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1684"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Segoe UI"/>
                  <a:cs typeface="+mn-cs"/>
                </a:endParaRPr>
              </a:p>
            </p:txBody>
          </p:sp>
        </p:grpSp>
      </p:grpSp>
      <p:sp>
        <p:nvSpPr>
          <p:cNvPr id="12" name="Title 1"/>
          <p:cNvSpPr>
            <a:spLocks noGrp="1"/>
          </p:cNvSpPr>
          <p:nvPr>
            <p:ph type="title"/>
          </p:nvPr>
        </p:nvSpPr>
        <p:spPr>
          <a:xfrm>
            <a:off x="274639" y="295276"/>
            <a:ext cx="5364246" cy="2433673"/>
          </a:xfrm>
        </p:spPr>
        <p:txBody>
          <a:bodyPr/>
          <a:lstStyle>
            <a:lvl1pPr>
              <a:defRPr sz="5400">
                <a:solidFill>
                  <a:schemeClr val="accent4"/>
                </a:solidFill>
              </a:defRPr>
            </a:lvl1pPr>
          </a:lstStyle>
          <a:p>
            <a:r>
              <a:rPr lang="en-US" dirty="0"/>
              <a:t>Click to edit Master title style</a:t>
            </a:r>
          </a:p>
        </p:txBody>
      </p:sp>
    </p:spTree>
    <p:extLst>
      <p:ext uri="{BB962C8B-B14F-4D97-AF65-F5344CB8AC3E}">
        <p14:creationId xmlns:p14="http://schemas.microsoft.com/office/powerpoint/2010/main" val="347766868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solidFill>
                  <a:schemeClr val="bg1"/>
                </a:solidFill>
              </a:defRPr>
            </a:lvl1pPr>
          </a:lstStyle>
          <a:p>
            <a:r>
              <a:rPr lang="en-US" dirty="0"/>
              <a:t>Section title</a:t>
            </a:r>
          </a:p>
        </p:txBody>
      </p:sp>
    </p:spTree>
    <p:extLst>
      <p:ext uri="{BB962C8B-B14F-4D97-AF65-F5344CB8AC3E}">
        <p14:creationId xmlns:p14="http://schemas.microsoft.com/office/powerpoint/2010/main" val="414789358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5113228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901"/>
            <a:ext cx="3937000" cy="136525"/>
          </a:xfrm>
          <a:prstGeom prst="rect">
            <a:avLst/>
          </a:prstGeom>
        </p:spPr>
        <p:txBody>
          <a:bodyPr/>
          <a:lstStyle>
            <a:lvl1pPr fontAlgn="base">
              <a:spcBef>
                <a:spcPct val="0"/>
              </a:spcBef>
              <a:spcAft>
                <a:spcPct val="0"/>
              </a:spcAft>
              <a:defRPr>
                <a:solidFill>
                  <a:schemeClr val="tx1"/>
                </a:solidFill>
              </a:defRPr>
            </a:lvl1pPr>
          </a:lstStyle>
          <a:p>
            <a:pPr marL="0" marR="0" lvl="0" indent="0" algn="l" defTabSz="932404"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a:xfrm>
            <a:off x="11595101" y="6565901"/>
            <a:ext cx="566738" cy="136525"/>
          </a:xfrm>
          <a:prstGeom prst="rect">
            <a:avLst/>
          </a:prstGeom>
        </p:spPr>
        <p:txBody>
          <a:bodyPr/>
          <a:lstStyle>
            <a:lvl1pPr defTabSz="931684" fontAlgn="base">
              <a:spcBef>
                <a:spcPct val="0"/>
              </a:spcBef>
              <a:spcAft>
                <a:spcPct val="0"/>
              </a:spcAft>
              <a:defRPr>
                <a:solidFill>
                  <a:schemeClr val="tx1"/>
                </a:solidFill>
              </a:defRPr>
            </a:lvl1pPr>
          </a:lstStyle>
          <a:p>
            <a:pPr marL="0" marR="0" lvl="0" indent="0" algn="l" defTabSz="931684" rtl="0" eaLnBrk="1" fontAlgn="base" latinLnBrk="0" hangingPunct="1">
              <a:lnSpc>
                <a:spcPct val="100000"/>
              </a:lnSpc>
              <a:spcBef>
                <a:spcPct val="0"/>
              </a:spcBef>
              <a:spcAft>
                <a:spcPct val="0"/>
              </a:spcAft>
              <a:buClrTx/>
              <a:buSzTx/>
              <a:buFontTx/>
              <a:buNone/>
              <a:tabLst/>
              <a:defRPr/>
            </a:pPr>
            <a:fld id="{EC136591-509A-F246-B30E-5ECE4A4A5F5E}" type="slidenum">
              <a:rPr kumimoji="0" lang="en-US"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31684" rtl="0" eaLnBrk="1" fontAlgn="base" latinLnBrk="0" hangingPunct="1">
                <a:lnSpc>
                  <a:spcPct val="100000"/>
                </a:lnSpc>
                <a:spcBef>
                  <a:spcPct val="0"/>
                </a:spcBef>
                <a:spcAft>
                  <a:spcPct val="0"/>
                </a:spcAft>
                <a:buClrTx/>
                <a:buSzTx/>
                <a:buFontTx/>
                <a:buNone/>
                <a:tabLst/>
                <a:defRPr/>
              </a:pPr>
              <a:t>‹#›</a:t>
            </a:fld>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24639875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3637" y="972491"/>
            <a:ext cx="11181727" cy="809108"/>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274640" y="1212853"/>
            <a:ext cx="11887197" cy="1567867"/>
          </a:xfrm>
          <a:prstGeom prst="rect">
            <a:avLst/>
          </a:prstGeom>
        </p:spPr>
        <p:txBody>
          <a:bodyPr/>
          <a:lstStyle>
            <a:lvl1pPr marL="0" indent="-248699">
              <a:defRPr sz="2176">
                <a:solidFill>
                  <a:srgbClr val="191919"/>
                </a:solidFill>
              </a:defRPr>
            </a:lvl1pPr>
            <a:lvl2pPr marL="621746" indent="-248699">
              <a:defRPr sz="1904">
                <a:solidFill>
                  <a:srgbClr val="191919"/>
                </a:solidFill>
              </a:defRPr>
            </a:lvl2pPr>
            <a:lvl3pPr marL="994794" indent="-248699">
              <a:defRPr sz="1632">
                <a:solidFill>
                  <a:srgbClr val="191919"/>
                </a:solidFill>
              </a:defRPr>
            </a:lvl3pPr>
            <a:lvl4pPr marL="1367842" indent="-248699">
              <a:defRPr sz="1428">
                <a:solidFill>
                  <a:srgbClr val="191919"/>
                </a:solidFill>
              </a:defRPr>
            </a:lvl4pPr>
            <a:lvl5pPr marL="1740890" indent="-248699">
              <a:defRPr sz="1428">
                <a:solidFill>
                  <a:srgbClr val="19191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2"/>
          <p:cNvSpPr>
            <a:spLocks noGrp="1"/>
          </p:cNvSpPr>
          <p:nvPr>
            <p:ph type="body" idx="10"/>
          </p:nvPr>
        </p:nvSpPr>
        <p:spPr>
          <a:xfrm>
            <a:off x="673642" y="1049214"/>
            <a:ext cx="11178759" cy="327832"/>
          </a:xfrm>
          <a:prstGeom prst="rect">
            <a:avLst/>
          </a:prstGeom>
        </p:spPr>
        <p:txBody>
          <a:bodyPr anchor="b">
            <a:noAutofit/>
          </a:bodyPr>
          <a:lstStyle>
            <a:lvl1pPr marL="0" indent="0">
              <a:buNone/>
              <a:defRPr sz="1904" b="0">
                <a:solidFill>
                  <a:srgbClr val="2E2E2E"/>
                </a:solidFill>
                <a:latin typeface="+mj-lt"/>
              </a:defRPr>
            </a:lvl1pPr>
            <a:lvl2pPr marL="621746" indent="0">
              <a:buNone/>
              <a:defRPr sz="2720" b="1"/>
            </a:lvl2pPr>
            <a:lvl3pPr marL="1243493" indent="0">
              <a:buNone/>
              <a:defRPr sz="2448" b="1"/>
            </a:lvl3pPr>
            <a:lvl4pPr marL="1865239" indent="0">
              <a:buNone/>
              <a:defRPr sz="2176" b="1"/>
            </a:lvl4pPr>
            <a:lvl5pPr marL="2486985" indent="0">
              <a:buNone/>
              <a:defRPr sz="2176" b="1"/>
            </a:lvl5pPr>
            <a:lvl6pPr marL="3108731" indent="0">
              <a:buNone/>
              <a:defRPr sz="2176" b="1"/>
            </a:lvl6pPr>
            <a:lvl7pPr marL="3730478" indent="0">
              <a:buNone/>
              <a:defRPr sz="2176" b="1"/>
            </a:lvl7pPr>
            <a:lvl8pPr marL="4352224" indent="0">
              <a:buNone/>
              <a:defRPr sz="2176" b="1"/>
            </a:lvl8pPr>
            <a:lvl9pPr marL="4973970" indent="0">
              <a:buNone/>
              <a:defRPr sz="2176" b="1"/>
            </a:lvl9pPr>
          </a:lstStyle>
          <a:p>
            <a:pPr lvl="0"/>
            <a:r>
              <a:rPr lang="en-US"/>
              <a:t>Click to edit Master text styles</a:t>
            </a:r>
          </a:p>
        </p:txBody>
      </p:sp>
      <p:sp>
        <p:nvSpPr>
          <p:cNvPr id="6" name="Slide Number Placeholder 5"/>
          <p:cNvSpPr>
            <a:spLocks noGrp="1"/>
          </p:cNvSpPr>
          <p:nvPr>
            <p:ph type="sldNum" sz="quarter" idx="4"/>
          </p:nvPr>
        </p:nvSpPr>
        <p:spPr>
          <a:xfrm>
            <a:off x="9377740" y="6592463"/>
            <a:ext cx="2901844" cy="373472"/>
          </a:xfrm>
          <a:prstGeom prst="rect">
            <a:avLst/>
          </a:prstGeom>
        </p:spPr>
        <p:txBody>
          <a:bodyPr vert="horz" lIns="91440" tIns="45720" rIns="91440" bIns="45720" rtlCol="0" anchor="ctr"/>
          <a:lstStyle>
            <a:lvl1pPr algn="r">
              <a:defRPr sz="952">
                <a:solidFill>
                  <a:schemeClr val="bg1"/>
                </a:solidFill>
              </a:defRPr>
            </a:lvl1pPr>
          </a:lstStyle>
          <a:p>
            <a:pPr marL="0" marR="0" lvl="0" indent="0" algn="r" defTabSz="932404" rtl="0" eaLnBrk="1" fontAlgn="auto" latinLnBrk="0" hangingPunct="1">
              <a:lnSpc>
                <a:spcPct val="100000"/>
              </a:lnSpc>
              <a:spcBef>
                <a:spcPts val="0"/>
              </a:spcBef>
              <a:spcAft>
                <a:spcPts val="0"/>
              </a:spcAft>
              <a:buClrTx/>
              <a:buSzTx/>
              <a:buFontTx/>
              <a:buNone/>
              <a:tabLst/>
              <a:defRPr/>
            </a:pPr>
            <a:endParaRPr kumimoji="0" lang="en-US" sz="952" b="0" i="0" u="none" strike="noStrike" kern="1200" cap="none" spc="0" normalizeH="0" baseline="0" noProof="0" dirty="0">
              <a:ln>
                <a:noFill/>
              </a:ln>
              <a:solidFill>
                <a:srgbClr val="494949"/>
              </a:solidFill>
              <a:effectLst/>
              <a:uLnTx/>
              <a:uFillTx/>
              <a:latin typeface="Segoe UI"/>
              <a:ea typeface="+mn-ea"/>
              <a:cs typeface="+mn-cs"/>
            </a:endParaRPr>
          </a:p>
        </p:txBody>
      </p:sp>
    </p:spTree>
    <p:extLst>
      <p:ext uri="{BB962C8B-B14F-4D97-AF65-F5344CB8AC3E}">
        <p14:creationId xmlns:p14="http://schemas.microsoft.com/office/powerpoint/2010/main" val="27882163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8_Contact Page">
    <p:bg>
      <p:bgPr>
        <a:solidFill>
          <a:srgbClr val="0070C0"/>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1" y="5991150"/>
            <a:ext cx="11990363" cy="810478"/>
          </a:xfrm>
          <a:prstGeom prst="rect">
            <a:avLst/>
          </a:prstGeom>
          <a:noFill/>
        </p:spPr>
        <p:txBody>
          <a:bodyPr wrap="square" rtlCol="0">
            <a:spAutoFit/>
          </a:bodyPr>
          <a:lstStyle/>
          <a:p>
            <a:pPr marL="0" marR="0" lvl="0" indent="0" algn="l" defTabSz="932706" rtl="0" eaLnBrk="1" fontAlgn="auto" latinLnBrk="0" hangingPunct="1">
              <a:lnSpc>
                <a:spcPts val="1441"/>
              </a:lnSpc>
              <a:spcBef>
                <a:spcPts val="0"/>
              </a:spcBef>
              <a:spcAft>
                <a:spcPts val="0"/>
              </a:spcAft>
              <a:buClrTx/>
              <a:buSzTx/>
              <a:buFontTx/>
              <a:buNone/>
              <a:tabLst/>
              <a:defRPr/>
            </a:pPr>
            <a:r>
              <a:rPr kumimoji="0" lang="en-US" sz="1088" b="0" i="0" u="none" strike="noStrike" kern="1200" cap="none" spc="0" normalizeH="0" baseline="0" noProof="0" dirty="0">
                <a:ln>
                  <a:noFill/>
                </a:ln>
                <a:solidFill>
                  <a:srgbClr val="494949"/>
                </a:solidFill>
                <a:effectLst/>
                <a:uLnTx/>
                <a:uFillTx/>
                <a:latin typeface="Segoe UI"/>
                <a:ea typeface="+mn-ea"/>
                <a:cs typeface="+mn-cs"/>
              </a:rPr>
              <a:t>© 2015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546806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097302"/>
          </a:xfrm>
          <a:prstGeom prst="rect">
            <a:avLst/>
          </a:prstGeom>
        </p:spPr>
        <p:txBody>
          <a:bodyPr lIns="146304" tIns="91440" rIns="146304" bIns="91440"/>
          <a:lstStyle>
            <a:lvl1pPr>
              <a:lnSpc>
                <a:spcPts val="6298"/>
              </a:lnSpc>
              <a:defRPr sz="5798" baseline="0">
                <a:solidFill>
                  <a:schemeClr val="bg1"/>
                </a:solidFill>
              </a:defRPr>
            </a:lvl1pPr>
          </a:lstStyle>
          <a:p>
            <a:r>
              <a:rPr lang="en-US"/>
              <a:t>Lorem ipsum dolor sit.</a:t>
            </a:r>
          </a:p>
        </p:txBody>
      </p:sp>
      <p:sp>
        <p:nvSpPr>
          <p:cNvPr id="3" name="Footer Placeholder 2"/>
          <p:cNvSpPr>
            <a:spLocks noGrp="1"/>
          </p:cNvSpPr>
          <p:nvPr>
            <p:ph type="ftr" sz="quarter" idx="10"/>
          </p:nvPr>
        </p:nvSpPr>
        <p:spPr>
          <a:xfrm>
            <a:off x="457200" y="6565901"/>
            <a:ext cx="3937000" cy="136525"/>
          </a:xfrm>
          <a:prstGeom prst="rect">
            <a:avLst/>
          </a:prstGeom>
        </p:spPr>
        <p:txBody>
          <a:bodyPr/>
          <a:lstStyle/>
          <a:p>
            <a:pPr marL="0" marR="0" lvl="0" indent="0" algn="l" defTabSz="932404"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a:xfrm>
            <a:off x="11595101" y="6565901"/>
            <a:ext cx="566738" cy="136525"/>
          </a:xfrm>
          <a:prstGeom prst="rect">
            <a:avLst/>
          </a:prstGeom>
        </p:spPr>
        <p:txBody>
          <a:bodyPr/>
          <a:lstStyle/>
          <a:p>
            <a:pPr marL="0" marR="0" lvl="0" indent="0" algn="l" defTabSz="932404"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a:ln>
                  <a:noFill/>
                </a:ln>
                <a:solidFill>
                  <a:srgbClr val="505050"/>
                </a:solidFill>
                <a:effectLst/>
                <a:uLnTx/>
                <a:uFillTx/>
                <a:latin typeface="Segoe UI"/>
                <a:ea typeface="+mn-ea"/>
                <a:cs typeface="+mn-cs"/>
              </a:rPr>
              <a:pPr marL="0" marR="0" lvl="0" indent="0" algn="l" defTabSz="932404"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274638" y="2125665"/>
            <a:ext cx="9144000" cy="4082870"/>
          </a:xfrm>
          <a:prstGeom prst="rect">
            <a:avLst/>
          </a:prstGeom>
        </p:spPr>
        <p:txBody>
          <a:bodyPr/>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632649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1"/>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marL="0" marR="0" lvl="0" indent="0" algn="l" defTabSz="932404" rtl="0" eaLnBrk="1" fontAlgn="base" latinLnBrk="0" hangingPunct="1">
              <a:lnSpc>
                <a:spcPct val="100000"/>
              </a:lnSpc>
              <a:spcBef>
                <a:spcPct val="0"/>
              </a:spcBef>
              <a:spcAft>
                <a:spcPct val="0"/>
              </a:spcAft>
              <a:buClrTx/>
              <a:buSzTx/>
              <a:buFontTx/>
              <a:buNone/>
              <a:tabLst/>
              <a:defRPr/>
            </a:pPr>
            <a:r>
              <a:rPr kumimoji="0" sz="1800" b="0" i="0" u="none" strike="noStrike" kern="1200" cap="none" spc="0" normalizeH="0" baseline="0" noProof="0" dirty="0">
                <a:ln>
                  <a:noFill/>
                </a:ln>
                <a:solidFill>
                  <a:srgbClr val="00000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a:xfrm>
            <a:off x="11595101" y="6565901"/>
            <a:ext cx="566738" cy="136525"/>
          </a:xfrm>
          <a:prstGeom prst="rect">
            <a:avLst/>
          </a:prstGeom>
        </p:spPr>
        <p:txBody>
          <a:bodyPr/>
          <a:lstStyle>
            <a:lvl1pPr defTabSz="931684" fontAlgn="base">
              <a:spcBef>
                <a:spcPct val="0"/>
              </a:spcBef>
              <a:spcAft>
                <a:spcPct val="0"/>
              </a:spcAft>
              <a:defRPr smtClean="0">
                <a:solidFill>
                  <a:srgbClr val="000000"/>
                </a:solidFill>
              </a:defRPr>
            </a:lvl1pPr>
          </a:lstStyle>
          <a:p>
            <a:pPr marL="0" marR="0" lvl="0" indent="0" algn="l" defTabSz="931684" rtl="0" eaLnBrk="1" fontAlgn="base" latinLnBrk="0" hangingPunct="1">
              <a:lnSpc>
                <a:spcPct val="100000"/>
              </a:lnSpc>
              <a:spcBef>
                <a:spcPct val="0"/>
              </a:spcBef>
              <a:spcAft>
                <a:spcPct val="0"/>
              </a:spcAft>
              <a:buClrTx/>
              <a:buSzTx/>
              <a:buFontTx/>
              <a:buNone/>
              <a:tabLst/>
              <a:defRPr/>
            </a:pPr>
            <a:fld id="{F8A0AC42-AA1D-4944-8D96-660DE70C7E1B}" type="slidenum">
              <a:rPr kumimoji="0" sz="1800" b="0" i="0" u="none" strike="noStrike" kern="1200" cap="none" spc="0" normalizeH="0" baseline="0" noProof="0">
                <a:ln>
                  <a:noFill/>
                </a:ln>
                <a:solidFill>
                  <a:srgbClr val="000000"/>
                </a:solidFill>
                <a:effectLst/>
                <a:uLnTx/>
                <a:uFillTx/>
                <a:latin typeface="Segoe UI"/>
                <a:ea typeface="+mn-ea"/>
                <a:cs typeface="+mn-cs"/>
              </a:rPr>
              <a:pPr marL="0" marR="0" lvl="0" indent="0" algn="l" defTabSz="931684" rtl="0" eaLnBrk="1" fontAlgn="base" latinLnBrk="0" hangingPunct="1">
                <a:lnSpc>
                  <a:spcPct val="100000"/>
                </a:lnSpc>
                <a:spcBef>
                  <a:spcPct val="0"/>
                </a:spcBef>
                <a:spcAft>
                  <a:spcPct val="0"/>
                </a:spcAft>
                <a:buClrTx/>
                <a:buSzTx/>
                <a:buFontTx/>
                <a:buNone/>
                <a:tabLst/>
                <a:defRPr/>
              </a:pPr>
              <a:t>‹#›</a:t>
            </a:fld>
            <a:endParaRPr kumimoji="0" sz="1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0765384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433457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1" y="292082"/>
            <a:ext cx="11887200" cy="946413"/>
          </a:xfrm>
          <a:prstGeom prst="rect">
            <a:avLst/>
          </a:prstGeom>
        </p:spPr>
        <p:txBody>
          <a:bodyPr lIns="146304" tIns="91440" rIns="146304" bIns="91440"/>
          <a:lstStyle>
            <a:lvl1pPr algn="l">
              <a:defRPr sz="39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41124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68056"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20" y="1620"/>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0" y="195847"/>
            <a:ext cx="12436475" cy="658903"/>
          </a:xfrm>
          <a:prstGeom prst="rect">
            <a:avLst/>
          </a:prstGeo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0" y="848669"/>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248" indent="0">
              <a:buNone/>
              <a:defRPr/>
            </a:lvl2pPr>
            <a:lvl3pPr marL="600120" indent="0">
              <a:buNone/>
              <a:defRPr/>
            </a:lvl3pPr>
            <a:lvl4pPr marL="887367" indent="0">
              <a:buNone/>
              <a:defRPr/>
            </a:lvl4pPr>
            <a:lvl5pPr marL="1127415" indent="0">
              <a:buNone/>
              <a:defRPr/>
            </a:lvl5pPr>
          </a:lstStyle>
          <a:p>
            <a:pPr lvl="0"/>
            <a:r>
              <a:rPr lang="en-US" dirty="0"/>
              <a:t>Click to add subtitle</a:t>
            </a:r>
          </a:p>
        </p:txBody>
      </p:sp>
    </p:spTree>
    <p:extLst>
      <p:ext uri="{BB962C8B-B14F-4D97-AF65-F5344CB8AC3E}">
        <p14:creationId xmlns:p14="http://schemas.microsoft.com/office/powerpoint/2010/main" val="779444931"/>
      </p:ext>
    </p:extLst>
  </p:cSld>
  <p:clrMapOvr>
    <a:masterClrMapping/>
  </p:clrMapOvr>
  <p:transition spd="slow">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sights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563970" y="1350545"/>
            <a:ext cx="4358791"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5"/>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13" name="TextBox 12"/>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Tree>
    <p:extLst>
      <p:ext uri="{BB962C8B-B14F-4D97-AF65-F5344CB8AC3E}">
        <p14:creationId xmlns:p14="http://schemas.microsoft.com/office/powerpoint/2010/main" val="256299089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11320462" cy="1097302"/>
          </a:xfrm>
        </p:spPr>
        <p:txBody>
          <a:bodyPr lIns="146304" tIns="91440" rIns="146304" bIns="91440"/>
          <a:lstStyle>
            <a:lvl1pPr>
              <a:lnSpc>
                <a:spcPts val="6300"/>
              </a:lnSpc>
              <a:defRPr sz="58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pPr marL="0" marR="0" lvl="0" indent="0" algn="l" defTabSz="932404"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marL="0" marR="0" lvl="0" indent="0" algn="l" defTabSz="932404"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a:ln>
                  <a:noFill/>
                </a:ln>
                <a:solidFill>
                  <a:srgbClr val="505050"/>
                </a:solidFill>
                <a:effectLst/>
                <a:uLnTx/>
                <a:uFillTx/>
                <a:latin typeface="Segoe UI"/>
                <a:ea typeface="+mn-ea"/>
                <a:cs typeface="+mn-cs"/>
              </a:rPr>
              <a:pPr marL="0" marR="0" lvl="0" indent="0" algn="l" defTabSz="932404"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49911860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89886528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228302"/>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661977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49"/>
            <a:ext cx="11887200" cy="206204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400"/>
            </a:lvl1pPr>
          </a:lstStyle>
          <a:p>
            <a:r>
              <a:rPr lang="en-US" dirty="0"/>
              <a:t>Click to edit Master title style</a:t>
            </a:r>
          </a:p>
        </p:txBody>
      </p:sp>
    </p:spTree>
    <p:extLst>
      <p:ext uri="{BB962C8B-B14F-4D97-AF65-F5344CB8AC3E}">
        <p14:creationId xmlns:p14="http://schemas.microsoft.com/office/powerpoint/2010/main" val="344548258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770"/>
            <a:ext cx="12436475" cy="6995517"/>
          </a:xfrm>
          <a:prstGeom prst="rect">
            <a:avLst/>
          </a:prstGeom>
        </p:spPr>
      </p:pic>
      <p:sp>
        <p:nvSpPr>
          <p:cNvPr id="4" name="Rectangle 3"/>
          <p:cNvSpPr/>
          <p:nvPr userDrawn="1"/>
        </p:nvSpPr>
        <p:spPr bwMode="auto">
          <a:xfrm>
            <a:off x="272986" y="1759921"/>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1759921"/>
            <a:ext cx="6402388"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2986" y="3588721"/>
            <a:ext cx="6402388" cy="1828779"/>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518" y="6161741"/>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18173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25466969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739589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159581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877873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522348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sights Tex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000"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269242" y="1350545"/>
            <a:ext cx="11653520" cy="4949771"/>
          </a:xfrm>
        </p:spPr>
        <p:txBody>
          <a:bodyPr wrap="square">
            <a:normAutofit/>
          </a:bodyPr>
          <a:lstStyle>
            <a:lvl1pPr marL="0" indent="0">
              <a:lnSpc>
                <a:spcPct val="100000"/>
              </a:lnSpc>
              <a:spcBef>
                <a:spcPts val="1200"/>
              </a:spcBef>
              <a:spcAft>
                <a:spcPts val="1200"/>
              </a:spcAft>
              <a:buClr>
                <a:schemeClr val="tx1"/>
              </a:buClr>
              <a:buFont typeface="Wingdings" pitchFamily="2" charset="2"/>
              <a:buNone/>
              <a:defRPr sz="2400">
                <a:solidFill>
                  <a:schemeClr val="accent5"/>
                </a:solidFill>
              </a:defRPr>
            </a:lvl1pPr>
            <a:lvl2pPr marL="0" indent="0">
              <a:lnSpc>
                <a:spcPct val="100000"/>
              </a:lnSpc>
              <a:spcAft>
                <a:spcPts val="1200"/>
              </a:spcAft>
              <a:buNone/>
              <a:defRPr sz="1961">
                <a:solidFill>
                  <a:schemeClr val="tx1"/>
                </a:solidFill>
              </a:defRPr>
            </a:lvl2pPr>
            <a:lvl3pPr marL="227209" indent="0">
              <a:lnSpc>
                <a:spcPct val="100000"/>
              </a:lnSpc>
              <a:spcAft>
                <a:spcPts val="1200"/>
              </a:spcAft>
              <a:buNone/>
              <a:tabLst/>
              <a:defRPr sz="1961">
                <a:solidFill>
                  <a:schemeClr val="tx1"/>
                </a:solidFill>
              </a:defRPr>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13" name="TextBox 12"/>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Tree>
    <p:extLst>
      <p:ext uri="{BB962C8B-B14F-4D97-AF65-F5344CB8AC3E}">
        <p14:creationId xmlns:p14="http://schemas.microsoft.com/office/powerpoint/2010/main" val="35224250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356552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855553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185868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09660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092539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111102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5312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6169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85825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813699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sights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69241" y="1338785"/>
            <a:ext cx="6886900" cy="4923061"/>
          </a:xfrm>
          <a:solidFill>
            <a:schemeClr val="bg1">
              <a:lumMod val="95000"/>
            </a:schemeClr>
          </a:solidFill>
          <a:ln w="63500">
            <a:solidFill>
              <a:schemeClr val="accent5"/>
            </a:solidFill>
            <a:miter lim="800000"/>
          </a:ln>
        </p:spPr>
        <p:txBody>
          <a:bodyPr wrap="square">
            <a:normAutofit/>
          </a:bodyPr>
          <a:lstStyle>
            <a:lvl1pPr marL="0" indent="0" defTabSz="373039">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836">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836">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836">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331576" y="1338784"/>
            <a:ext cx="4602115" cy="4923062"/>
          </a:xfrm>
        </p:spPr>
        <p:txBody>
          <a:bodyPr wrap="square">
            <a:normAutofit/>
          </a:bodyPr>
          <a:lstStyle>
            <a:lvl1pPr marL="0" indent="0">
              <a:lnSpc>
                <a:spcPct val="100000"/>
              </a:lnSpc>
              <a:spcBef>
                <a:spcPts val="1224"/>
              </a:spcBef>
              <a:spcAft>
                <a:spcPts val="1200"/>
              </a:spcAft>
              <a:buClr>
                <a:schemeClr val="tx1"/>
              </a:buClr>
              <a:buFont typeface="Wingdings" pitchFamily="2" charset="2"/>
              <a:buNone/>
              <a:defRPr sz="2400">
                <a:solidFill>
                  <a:schemeClr val="accent5"/>
                </a:solidFill>
              </a:defRPr>
            </a:lvl1pPr>
            <a:lvl2pPr marL="0" indent="0">
              <a:lnSpc>
                <a:spcPct val="100000"/>
              </a:lnSpc>
              <a:spcBef>
                <a:spcPts val="612"/>
              </a:spcBef>
              <a:spcAft>
                <a:spcPts val="1200"/>
              </a:spcAft>
              <a:buNone/>
              <a:defRPr sz="1960" b="0">
                <a:latin typeface="+mn-lt"/>
                <a:cs typeface="Segoe UI Semibold" panose="020B0702040204020203" pitchFamily="34" charset="0"/>
              </a:defRPr>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p:txBody>
      </p:sp>
      <p:grpSp>
        <p:nvGrpSpPr>
          <p:cNvPr id="12" name="Group 11"/>
          <p:cNvGrpSpPr/>
          <p:nvPr userDrawn="1"/>
        </p:nvGrpSpPr>
        <p:grpSpPr>
          <a:xfrm>
            <a:off x="-1200" y="6644680"/>
            <a:ext cx="12436794" cy="360970"/>
            <a:chOff x="-1200" y="6644680"/>
            <a:chExt cx="12436794" cy="360970"/>
          </a:xfrm>
        </p:grpSpPr>
        <p:sp>
          <p:nvSpPr>
            <p:cNvPr id="13" name="TextBox 12"/>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grpSp>
      <p:sp>
        <p:nvSpPr>
          <p:cNvPr id="18" name="Text Placeholder 4"/>
          <p:cNvSpPr>
            <a:spLocks noGrp="1"/>
          </p:cNvSpPr>
          <p:nvPr>
            <p:ph type="body" sz="quarter" idx="14"/>
          </p:nvPr>
        </p:nvSpPr>
        <p:spPr>
          <a:xfrm>
            <a:off x="269241" y="259792"/>
            <a:ext cx="11649456" cy="1078992"/>
          </a:xfrm>
        </p:spPr>
        <p:txBody>
          <a:bodyPr lIns="146304" tIns="91440" rIns="146304" bIns="91440" anchor="ctr" anchorCtr="0"/>
          <a:lstStyle>
            <a:lvl1pPr marL="0" indent="0">
              <a:buNone/>
              <a:defRPr sz="4000">
                <a:solidFill>
                  <a:schemeClr val="tx1">
                    <a:lumMod val="90000"/>
                    <a:lumOff val="10000"/>
                  </a:schemeClr>
                </a:solidFill>
              </a:defRPr>
            </a:lvl1pPr>
            <a:lvl5pPr marL="1028700" indent="0">
              <a:buNone/>
              <a:defRPr/>
            </a:lvl5pPr>
          </a:lstStyle>
          <a:p>
            <a:pPr lvl="0"/>
            <a:r>
              <a:rPr lang="en-US"/>
              <a:t>Click to edit Master text styles</a:t>
            </a:r>
          </a:p>
        </p:txBody>
      </p:sp>
    </p:spTree>
    <p:extLst>
      <p:ext uri="{BB962C8B-B14F-4D97-AF65-F5344CB8AC3E}">
        <p14:creationId xmlns:p14="http://schemas.microsoft.com/office/powerpoint/2010/main" val="38145168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126771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527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7256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9189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62725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Copyright</a:t>
            </a:r>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226687997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648624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Walkin No tile">
    <p:bg>
      <p:bgPr>
        <a:solidFill>
          <a:srgbClr val="FF8C00"/>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6" name="Freeform 30"/>
          <p:cNvSpPr>
            <a:spLocks noEditPoints="1"/>
          </p:cNvSpPr>
          <p:nvPr userDrawn="1"/>
        </p:nvSpPr>
        <p:spPr bwMode="auto">
          <a:xfrm>
            <a:off x="11778" y="0"/>
            <a:ext cx="12416094" cy="6991350"/>
          </a:xfrm>
          <a:custGeom>
            <a:avLst/>
            <a:gdLst>
              <a:gd name="T0" fmla="*/ 97 w 3869"/>
              <a:gd name="T1" fmla="*/ 947 h 2177"/>
              <a:gd name="T2" fmla="*/ 1388 w 3869"/>
              <a:gd name="T3" fmla="*/ 916 h 2177"/>
              <a:gd name="T4" fmla="*/ 1296 w 3869"/>
              <a:gd name="T5" fmla="*/ 810 h 2177"/>
              <a:gd name="T6" fmla="*/ 1534 w 3869"/>
              <a:gd name="T7" fmla="*/ 844 h 2177"/>
              <a:gd name="T8" fmla="*/ 273 w 3869"/>
              <a:gd name="T9" fmla="*/ 836 h 2177"/>
              <a:gd name="T10" fmla="*/ 478 w 3869"/>
              <a:gd name="T11" fmla="*/ 671 h 2177"/>
              <a:gd name="T12" fmla="*/ 129 w 3869"/>
              <a:gd name="T13" fmla="*/ 515 h 2177"/>
              <a:gd name="T14" fmla="*/ 489 w 3869"/>
              <a:gd name="T15" fmla="*/ 518 h 2177"/>
              <a:gd name="T16" fmla="*/ 1256 w 3869"/>
              <a:gd name="T17" fmla="*/ 452 h 2177"/>
              <a:gd name="T18" fmla="*/ 1134 w 3869"/>
              <a:gd name="T19" fmla="*/ 302 h 2177"/>
              <a:gd name="T20" fmla="*/ 748 w 3869"/>
              <a:gd name="T21" fmla="*/ 413 h 2177"/>
              <a:gd name="T22" fmla="*/ 1621 w 3869"/>
              <a:gd name="T23" fmla="*/ 266 h 2177"/>
              <a:gd name="T24" fmla="*/ 1181 w 3869"/>
              <a:gd name="T25" fmla="*/ 126 h 2177"/>
              <a:gd name="T26" fmla="*/ 750 w 3869"/>
              <a:gd name="T27" fmla="*/ 261 h 2177"/>
              <a:gd name="T28" fmla="*/ 807 w 3869"/>
              <a:gd name="T29" fmla="*/ 7 h 2177"/>
              <a:gd name="T30" fmla="*/ 2432 w 3869"/>
              <a:gd name="T31" fmla="*/ 1026 h 2177"/>
              <a:gd name="T32" fmla="*/ 2045 w 3869"/>
              <a:gd name="T33" fmla="*/ 925 h 2177"/>
              <a:gd name="T34" fmla="*/ 2410 w 3869"/>
              <a:gd name="T35" fmla="*/ 935 h 2177"/>
              <a:gd name="T36" fmla="*/ 3534 w 3869"/>
              <a:gd name="T37" fmla="*/ 833 h 2177"/>
              <a:gd name="T38" fmla="*/ 3077 w 3869"/>
              <a:gd name="T39" fmla="*/ 705 h 2177"/>
              <a:gd name="T40" fmla="*/ 2678 w 3869"/>
              <a:gd name="T41" fmla="*/ 837 h 2177"/>
              <a:gd name="T42" fmla="*/ 2671 w 3869"/>
              <a:gd name="T43" fmla="*/ 606 h 2177"/>
              <a:gd name="T44" fmla="*/ 2601 w 3869"/>
              <a:gd name="T45" fmla="*/ 601 h 2177"/>
              <a:gd name="T46" fmla="*/ 2339 w 3869"/>
              <a:gd name="T47" fmla="*/ 502 h 2177"/>
              <a:gd name="T48" fmla="*/ 3734 w 3869"/>
              <a:gd name="T49" fmla="*/ 394 h 2177"/>
              <a:gd name="T50" fmla="*/ 3412 w 3869"/>
              <a:gd name="T51" fmla="*/ 371 h 2177"/>
              <a:gd name="T52" fmla="*/ 2304 w 3869"/>
              <a:gd name="T53" fmla="*/ 394 h 2177"/>
              <a:gd name="T54" fmla="*/ 3763 w 3869"/>
              <a:gd name="T55" fmla="*/ 268 h 2177"/>
              <a:gd name="T56" fmla="*/ 3209 w 3869"/>
              <a:gd name="T57" fmla="*/ 178 h 2177"/>
              <a:gd name="T58" fmla="*/ 2340 w 3869"/>
              <a:gd name="T59" fmla="*/ 225 h 2177"/>
              <a:gd name="T60" fmla="*/ 3196 w 3869"/>
              <a:gd name="T61" fmla="*/ 40 h 2177"/>
              <a:gd name="T62" fmla="*/ 205 w 3869"/>
              <a:gd name="T63" fmla="*/ 2104 h 2177"/>
              <a:gd name="T64" fmla="*/ 95 w 3869"/>
              <a:gd name="T65" fmla="*/ 2064 h 2177"/>
              <a:gd name="T66" fmla="*/ 180 w 3869"/>
              <a:gd name="T67" fmla="*/ 2030 h 2177"/>
              <a:gd name="T68" fmla="*/ 1394 w 3869"/>
              <a:gd name="T69" fmla="*/ 1918 h 2177"/>
              <a:gd name="T70" fmla="*/ 1532 w 3869"/>
              <a:gd name="T71" fmla="*/ 1965 h 2177"/>
              <a:gd name="T72" fmla="*/ 579 w 3869"/>
              <a:gd name="T73" fmla="*/ 1907 h 2177"/>
              <a:gd name="T74" fmla="*/ 329 w 3869"/>
              <a:gd name="T75" fmla="*/ 1729 h 2177"/>
              <a:gd name="T76" fmla="*/ 1762 w 3869"/>
              <a:gd name="T77" fmla="*/ 1751 h 2177"/>
              <a:gd name="T78" fmla="*/ 515 w 3869"/>
              <a:gd name="T79" fmla="*/ 1602 h 2177"/>
              <a:gd name="T80" fmla="*/ 1625 w 3869"/>
              <a:gd name="T81" fmla="*/ 1492 h 2177"/>
              <a:gd name="T82" fmla="*/ 1347 w 3869"/>
              <a:gd name="T83" fmla="*/ 1470 h 2177"/>
              <a:gd name="T84" fmla="*/ 875 w 3869"/>
              <a:gd name="T85" fmla="*/ 1566 h 2177"/>
              <a:gd name="T86" fmla="*/ 1648 w 3869"/>
              <a:gd name="T87" fmla="*/ 1342 h 2177"/>
              <a:gd name="T88" fmla="*/ 1329 w 3869"/>
              <a:gd name="T89" fmla="*/ 1243 h 2177"/>
              <a:gd name="T90" fmla="*/ 783 w 3869"/>
              <a:gd name="T91" fmla="*/ 1380 h 2177"/>
              <a:gd name="T92" fmla="*/ 886 w 3869"/>
              <a:gd name="T93" fmla="*/ 1114 h 2177"/>
              <a:gd name="T94" fmla="*/ 2279 w 3869"/>
              <a:gd name="T95" fmla="*/ 2162 h 2177"/>
              <a:gd name="T96" fmla="*/ 3721 w 3869"/>
              <a:gd name="T97" fmla="*/ 2123 h 2177"/>
              <a:gd name="T98" fmla="*/ 2516 w 3869"/>
              <a:gd name="T99" fmla="*/ 2009 h 2177"/>
              <a:gd name="T100" fmla="*/ 3582 w 3869"/>
              <a:gd name="T101" fmla="*/ 1926 h 2177"/>
              <a:gd name="T102" fmla="*/ 3278 w 3869"/>
              <a:gd name="T103" fmla="*/ 1829 h 2177"/>
              <a:gd name="T104" fmla="*/ 2871 w 3869"/>
              <a:gd name="T105" fmla="*/ 1903 h 2177"/>
              <a:gd name="T106" fmla="*/ 2696 w 3869"/>
              <a:gd name="T107" fmla="*/ 1757 h 2177"/>
              <a:gd name="T108" fmla="*/ 2612 w 3869"/>
              <a:gd name="T109" fmla="*/ 1716 h 2177"/>
              <a:gd name="T110" fmla="*/ 2342 w 3869"/>
              <a:gd name="T111" fmla="*/ 1621 h 2177"/>
              <a:gd name="T112" fmla="*/ 3773 w 3869"/>
              <a:gd name="T113" fmla="*/ 1518 h 2177"/>
              <a:gd name="T114" fmla="*/ 3169 w 3869"/>
              <a:gd name="T115" fmla="*/ 1468 h 2177"/>
              <a:gd name="T116" fmla="*/ 2542 w 3869"/>
              <a:gd name="T117" fmla="*/ 1405 h 2177"/>
              <a:gd name="T118" fmla="*/ 3788 w 3869"/>
              <a:gd name="T119" fmla="*/ 1315 h 2177"/>
              <a:gd name="T120" fmla="*/ 3185 w 3869"/>
              <a:gd name="T121" fmla="*/ 1221 h 2177"/>
              <a:gd name="T122" fmla="*/ 2612 w 3869"/>
              <a:gd name="T123" fmla="*/ 1284 h 2177"/>
              <a:gd name="T124" fmla="*/ 2924 w 3869"/>
              <a:gd name="T125" fmla="*/ 1143 h 2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69" h="2177">
                <a:moveTo>
                  <a:pt x="89" y="1078"/>
                </a:moveTo>
                <a:cubicBezTo>
                  <a:pt x="81" y="1078"/>
                  <a:pt x="75" y="1075"/>
                  <a:pt x="70" y="1069"/>
                </a:cubicBezTo>
                <a:cubicBezTo>
                  <a:pt x="67" y="1063"/>
                  <a:pt x="65" y="1054"/>
                  <a:pt x="65" y="1042"/>
                </a:cubicBezTo>
                <a:cubicBezTo>
                  <a:pt x="65" y="1028"/>
                  <a:pt x="67" y="1019"/>
                  <a:pt x="71" y="1012"/>
                </a:cubicBezTo>
                <a:cubicBezTo>
                  <a:pt x="76" y="1006"/>
                  <a:pt x="82" y="1002"/>
                  <a:pt x="91" y="1002"/>
                </a:cubicBezTo>
                <a:cubicBezTo>
                  <a:pt x="107" y="1002"/>
                  <a:pt x="115" y="1015"/>
                  <a:pt x="115" y="1040"/>
                </a:cubicBezTo>
                <a:cubicBezTo>
                  <a:pt x="115" y="1052"/>
                  <a:pt x="113" y="1062"/>
                  <a:pt x="108" y="1068"/>
                </a:cubicBezTo>
                <a:cubicBezTo>
                  <a:pt x="103" y="1075"/>
                  <a:pt x="97" y="1078"/>
                  <a:pt x="89" y="1078"/>
                </a:cubicBezTo>
                <a:close/>
                <a:moveTo>
                  <a:pt x="90" y="1012"/>
                </a:moveTo>
                <a:cubicBezTo>
                  <a:pt x="81" y="1012"/>
                  <a:pt x="76" y="1022"/>
                  <a:pt x="76" y="1042"/>
                </a:cubicBezTo>
                <a:cubicBezTo>
                  <a:pt x="76" y="1060"/>
                  <a:pt x="81" y="1068"/>
                  <a:pt x="89" y="1068"/>
                </a:cubicBezTo>
                <a:cubicBezTo>
                  <a:pt x="98" y="1068"/>
                  <a:pt x="103" y="1060"/>
                  <a:pt x="103" y="1041"/>
                </a:cubicBezTo>
                <a:cubicBezTo>
                  <a:pt x="103" y="1021"/>
                  <a:pt x="98" y="1012"/>
                  <a:pt x="90" y="1012"/>
                </a:cubicBezTo>
                <a:close/>
                <a:moveTo>
                  <a:pt x="163" y="1005"/>
                </a:moveTo>
                <a:cubicBezTo>
                  <a:pt x="163" y="1005"/>
                  <a:pt x="163" y="1005"/>
                  <a:pt x="163" y="1005"/>
                </a:cubicBezTo>
                <a:cubicBezTo>
                  <a:pt x="157" y="1005"/>
                  <a:pt x="157" y="1005"/>
                  <a:pt x="157" y="1005"/>
                </a:cubicBezTo>
                <a:cubicBezTo>
                  <a:pt x="155" y="1006"/>
                  <a:pt x="154" y="1007"/>
                  <a:pt x="152" y="1008"/>
                </a:cubicBezTo>
                <a:cubicBezTo>
                  <a:pt x="150" y="1010"/>
                  <a:pt x="148" y="1010"/>
                  <a:pt x="147" y="1011"/>
                </a:cubicBezTo>
                <a:cubicBezTo>
                  <a:pt x="144" y="1012"/>
                  <a:pt x="143" y="1013"/>
                  <a:pt x="142" y="1013"/>
                </a:cubicBezTo>
                <a:cubicBezTo>
                  <a:pt x="139" y="1014"/>
                  <a:pt x="138" y="1015"/>
                  <a:pt x="136" y="1015"/>
                </a:cubicBezTo>
                <a:cubicBezTo>
                  <a:pt x="136" y="1015"/>
                  <a:pt x="136" y="1015"/>
                  <a:pt x="136" y="1026"/>
                </a:cubicBezTo>
                <a:cubicBezTo>
                  <a:pt x="139" y="1025"/>
                  <a:pt x="142" y="1023"/>
                  <a:pt x="144" y="1023"/>
                </a:cubicBezTo>
                <a:cubicBezTo>
                  <a:pt x="147" y="1022"/>
                  <a:pt x="149" y="1021"/>
                  <a:pt x="151" y="1019"/>
                </a:cubicBezTo>
                <a:cubicBezTo>
                  <a:pt x="151" y="1019"/>
                  <a:pt x="151" y="1019"/>
                  <a:pt x="151" y="1078"/>
                </a:cubicBezTo>
                <a:cubicBezTo>
                  <a:pt x="151" y="1078"/>
                  <a:pt x="151" y="1078"/>
                  <a:pt x="163" y="1078"/>
                </a:cubicBezTo>
                <a:cubicBezTo>
                  <a:pt x="163" y="1078"/>
                  <a:pt x="163" y="1078"/>
                  <a:pt x="163" y="1005"/>
                </a:cubicBezTo>
                <a:close/>
                <a:moveTo>
                  <a:pt x="210" y="1005"/>
                </a:moveTo>
                <a:cubicBezTo>
                  <a:pt x="210" y="1005"/>
                  <a:pt x="210" y="1005"/>
                  <a:pt x="210" y="1005"/>
                </a:cubicBezTo>
                <a:cubicBezTo>
                  <a:pt x="205" y="1005"/>
                  <a:pt x="205" y="1005"/>
                  <a:pt x="205" y="1005"/>
                </a:cubicBezTo>
                <a:cubicBezTo>
                  <a:pt x="202" y="1006"/>
                  <a:pt x="201" y="1007"/>
                  <a:pt x="199" y="1008"/>
                </a:cubicBezTo>
                <a:cubicBezTo>
                  <a:pt x="197" y="1010"/>
                  <a:pt x="195" y="1010"/>
                  <a:pt x="194" y="1011"/>
                </a:cubicBezTo>
                <a:cubicBezTo>
                  <a:pt x="192" y="1013"/>
                  <a:pt x="190" y="1013"/>
                  <a:pt x="189" y="1014"/>
                </a:cubicBezTo>
                <a:cubicBezTo>
                  <a:pt x="187" y="1015"/>
                  <a:pt x="185" y="1015"/>
                  <a:pt x="183" y="1015"/>
                </a:cubicBezTo>
                <a:cubicBezTo>
                  <a:pt x="183" y="1015"/>
                  <a:pt x="183" y="1015"/>
                  <a:pt x="183" y="1026"/>
                </a:cubicBezTo>
                <a:cubicBezTo>
                  <a:pt x="186" y="1025"/>
                  <a:pt x="189" y="1024"/>
                  <a:pt x="191" y="1023"/>
                </a:cubicBezTo>
                <a:cubicBezTo>
                  <a:pt x="194" y="1022"/>
                  <a:pt x="196" y="1021"/>
                  <a:pt x="198" y="1019"/>
                </a:cubicBezTo>
                <a:cubicBezTo>
                  <a:pt x="198" y="1019"/>
                  <a:pt x="198" y="1019"/>
                  <a:pt x="198" y="1078"/>
                </a:cubicBezTo>
                <a:cubicBezTo>
                  <a:pt x="198" y="1078"/>
                  <a:pt x="198" y="1078"/>
                  <a:pt x="210" y="1078"/>
                </a:cubicBezTo>
                <a:cubicBezTo>
                  <a:pt x="210" y="1078"/>
                  <a:pt x="210" y="1078"/>
                  <a:pt x="210" y="1005"/>
                </a:cubicBezTo>
                <a:close/>
                <a:moveTo>
                  <a:pt x="256" y="1005"/>
                </a:moveTo>
                <a:cubicBezTo>
                  <a:pt x="256" y="1005"/>
                  <a:pt x="256" y="1005"/>
                  <a:pt x="256" y="1005"/>
                </a:cubicBezTo>
                <a:cubicBezTo>
                  <a:pt x="252" y="1005"/>
                  <a:pt x="252" y="1005"/>
                  <a:pt x="252" y="1005"/>
                </a:cubicBezTo>
                <a:cubicBezTo>
                  <a:pt x="250" y="1006"/>
                  <a:pt x="248" y="1007"/>
                  <a:pt x="246" y="1008"/>
                </a:cubicBezTo>
                <a:cubicBezTo>
                  <a:pt x="245" y="1010"/>
                  <a:pt x="242" y="1010"/>
                  <a:pt x="241" y="1011"/>
                </a:cubicBezTo>
                <a:cubicBezTo>
                  <a:pt x="239" y="1013"/>
                  <a:pt x="237" y="1013"/>
                  <a:pt x="235" y="1014"/>
                </a:cubicBezTo>
                <a:cubicBezTo>
                  <a:pt x="234" y="1015"/>
                  <a:pt x="232" y="1015"/>
                  <a:pt x="230" y="1015"/>
                </a:cubicBezTo>
                <a:cubicBezTo>
                  <a:pt x="230" y="1015"/>
                  <a:pt x="230" y="1015"/>
                  <a:pt x="230" y="1026"/>
                </a:cubicBezTo>
                <a:cubicBezTo>
                  <a:pt x="233" y="1025"/>
                  <a:pt x="236" y="1024"/>
                  <a:pt x="238" y="1023"/>
                </a:cubicBezTo>
                <a:cubicBezTo>
                  <a:pt x="240" y="1022"/>
                  <a:pt x="243" y="1021"/>
                  <a:pt x="245" y="1019"/>
                </a:cubicBezTo>
                <a:cubicBezTo>
                  <a:pt x="245" y="1019"/>
                  <a:pt x="245" y="1019"/>
                  <a:pt x="245" y="1078"/>
                </a:cubicBezTo>
                <a:cubicBezTo>
                  <a:pt x="245" y="1078"/>
                  <a:pt x="245" y="1078"/>
                  <a:pt x="256" y="1078"/>
                </a:cubicBezTo>
                <a:cubicBezTo>
                  <a:pt x="256" y="1078"/>
                  <a:pt x="256" y="1078"/>
                  <a:pt x="256" y="1005"/>
                </a:cubicBezTo>
                <a:close/>
                <a:moveTo>
                  <a:pt x="304" y="1005"/>
                </a:moveTo>
                <a:cubicBezTo>
                  <a:pt x="304" y="1005"/>
                  <a:pt x="304" y="1005"/>
                  <a:pt x="304" y="1005"/>
                </a:cubicBezTo>
                <a:cubicBezTo>
                  <a:pt x="299" y="1005"/>
                  <a:pt x="299" y="1005"/>
                  <a:pt x="299" y="1005"/>
                </a:cubicBezTo>
                <a:cubicBezTo>
                  <a:pt x="296" y="1006"/>
                  <a:pt x="295" y="1007"/>
                  <a:pt x="293" y="1008"/>
                </a:cubicBezTo>
                <a:cubicBezTo>
                  <a:pt x="291" y="1010"/>
                  <a:pt x="290" y="1010"/>
                  <a:pt x="288" y="1011"/>
                </a:cubicBezTo>
                <a:cubicBezTo>
                  <a:pt x="286" y="1013"/>
                  <a:pt x="284" y="1013"/>
                  <a:pt x="283" y="1014"/>
                </a:cubicBezTo>
                <a:cubicBezTo>
                  <a:pt x="280" y="1015"/>
                  <a:pt x="279" y="1015"/>
                  <a:pt x="277" y="1015"/>
                </a:cubicBezTo>
                <a:cubicBezTo>
                  <a:pt x="277" y="1015"/>
                  <a:pt x="277" y="1015"/>
                  <a:pt x="277" y="1026"/>
                </a:cubicBezTo>
                <a:cubicBezTo>
                  <a:pt x="280" y="1025"/>
                  <a:pt x="283" y="1024"/>
                  <a:pt x="285" y="1023"/>
                </a:cubicBezTo>
                <a:cubicBezTo>
                  <a:pt x="288" y="1022"/>
                  <a:pt x="290" y="1021"/>
                  <a:pt x="292" y="1019"/>
                </a:cubicBezTo>
                <a:cubicBezTo>
                  <a:pt x="292" y="1019"/>
                  <a:pt x="292" y="1019"/>
                  <a:pt x="292" y="1078"/>
                </a:cubicBezTo>
                <a:cubicBezTo>
                  <a:pt x="292" y="1078"/>
                  <a:pt x="292" y="1078"/>
                  <a:pt x="304" y="1078"/>
                </a:cubicBezTo>
                <a:cubicBezTo>
                  <a:pt x="304" y="1078"/>
                  <a:pt x="304" y="1078"/>
                  <a:pt x="304" y="1005"/>
                </a:cubicBezTo>
                <a:close/>
                <a:moveTo>
                  <a:pt x="427" y="1005"/>
                </a:moveTo>
                <a:cubicBezTo>
                  <a:pt x="427" y="1005"/>
                  <a:pt x="427" y="1005"/>
                  <a:pt x="427" y="1005"/>
                </a:cubicBezTo>
                <a:cubicBezTo>
                  <a:pt x="421" y="1005"/>
                  <a:pt x="421" y="1005"/>
                  <a:pt x="421" y="1005"/>
                </a:cubicBezTo>
                <a:cubicBezTo>
                  <a:pt x="419" y="1006"/>
                  <a:pt x="418" y="1007"/>
                  <a:pt x="416" y="1008"/>
                </a:cubicBezTo>
                <a:cubicBezTo>
                  <a:pt x="414" y="1010"/>
                  <a:pt x="413" y="1010"/>
                  <a:pt x="411" y="1011"/>
                </a:cubicBezTo>
                <a:cubicBezTo>
                  <a:pt x="409" y="1013"/>
                  <a:pt x="407" y="1013"/>
                  <a:pt x="406" y="1014"/>
                </a:cubicBezTo>
                <a:cubicBezTo>
                  <a:pt x="403" y="1015"/>
                  <a:pt x="402" y="1015"/>
                  <a:pt x="400" y="1015"/>
                </a:cubicBezTo>
                <a:cubicBezTo>
                  <a:pt x="400" y="1015"/>
                  <a:pt x="400" y="1015"/>
                  <a:pt x="400" y="1026"/>
                </a:cubicBezTo>
                <a:cubicBezTo>
                  <a:pt x="403" y="1025"/>
                  <a:pt x="406" y="1024"/>
                  <a:pt x="408" y="1023"/>
                </a:cubicBezTo>
                <a:cubicBezTo>
                  <a:pt x="411" y="1022"/>
                  <a:pt x="413" y="1021"/>
                  <a:pt x="415" y="1019"/>
                </a:cubicBezTo>
                <a:cubicBezTo>
                  <a:pt x="415" y="1019"/>
                  <a:pt x="415" y="1019"/>
                  <a:pt x="415" y="1078"/>
                </a:cubicBezTo>
                <a:cubicBezTo>
                  <a:pt x="415" y="1078"/>
                  <a:pt x="415" y="1078"/>
                  <a:pt x="427" y="1078"/>
                </a:cubicBezTo>
                <a:cubicBezTo>
                  <a:pt x="427" y="1078"/>
                  <a:pt x="427" y="1078"/>
                  <a:pt x="427" y="1005"/>
                </a:cubicBezTo>
                <a:close/>
                <a:moveTo>
                  <a:pt x="474" y="1005"/>
                </a:moveTo>
                <a:cubicBezTo>
                  <a:pt x="474" y="1005"/>
                  <a:pt x="474" y="1005"/>
                  <a:pt x="474" y="1005"/>
                </a:cubicBezTo>
                <a:cubicBezTo>
                  <a:pt x="469" y="1005"/>
                  <a:pt x="469" y="1005"/>
                  <a:pt x="469" y="1005"/>
                </a:cubicBezTo>
                <a:cubicBezTo>
                  <a:pt x="467" y="1006"/>
                  <a:pt x="465" y="1007"/>
                  <a:pt x="463" y="1008"/>
                </a:cubicBezTo>
                <a:cubicBezTo>
                  <a:pt x="462" y="1010"/>
                  <a:pt x="460" y="1010"/>
                  <a:pt x="458" y="1011"/>
                </a:cubicBezTo>
                <a:cubicBezTo>
                  <a:pt x="457" y="1013"/>
                  <a:pt x="454" y="1013"/>
                  <a:pt x="453" y="1014"/>
                </a:cubicBezTo>
                <a:cubicBezTo>
                  <a:pt x="451" y="1015"/>
                  <a:pt x="449" y="1015"/>
                  <a:pt x="447" y="1015"/>
                </a:cubicBezTo>
                <a:cubicBezTo>
                  <a:pt x="447" y="1015"/>
                  <a:pt x="447" y="1015"/>
                  <a:pt x="447" y="1026"/>
                </a:cubicBezTo>
                <a:cubicBezTo>
                  <a:pt x="450" y="1025"/>
                  <a:pt x="453" y="1024"/>
                  <a:pt x="455" y="1023"/>
                </a:cubicBezTo>
                <a:cubicBezTo>
                  <a:pt x="458" y="1022"/>
                  <a:pt x="460" y="1021"/>
                  <a:pt x="462" y="1019"/>
                </a:cubicBezTo>
                <a:cubicBezTo>
                  <a:pt x="462" y="1019"/>
                  <a:pt x="462" y="1019"/>
                  <a:pt x="462" y="1078"/>
                </a:cubicBezTo>
                <a:cubicBezTo>
                  <a:pt x="462" y="1078"/>
                  <a:pt x="462" y="1078"/>
                  <a:pt x="474" y="1078"/>
                </a:cubicBezTo>
                <a:cubicBezTo>
                  <a:pt x="474" y="1078"/>
                  <a:pt x="474" y="1078"/>
                  <a:pt x="474" y="1005"/>
                </a:cubicBezTo>
                <a:close/>
                <a:moveTo>
                  <a:pt x="522" y="1005"/>
                </a:moveTo>
                <a:cubicBezTo>
                  <a:pt x="522" y="1005"/>
                  <a:pt x="522" y="1005"/>
                  <a:pt x="522" y="1005"/>
                </a:cubicBezTo>
                <a:cubicBezTo>
                  <a:pt x="517" y="1005"/>
                  <a:pt x="517" y="1005"/>
                  <a:pt x="517" y="1005"/>
                </a:cubicBezTo>
                <a:cubicBezTo>
                  <a:pt x="515" y="1006"/>
                  <a:pt x="513" y="1007"/>
                  <a:pt x="511" y="1008"/>
                </a:cubicBezTo>
                <a:cubicBezTo>
                  <a:pt x="509" y="1010"/>
                  <a:pt x="508" y="1010"/>
                  <a:pt x="506" y="1011"/>
                </a:cubicBezTo>
                <a:cubicBezTo>
                  <a:pt x="504" y="1013"/>
                  <a:pt x="502" y="1013"/>
                  <a:pt x="501" y="1014"/>
                </a:cubicBezTo>
                <a:cubicBezTo>
                  <a:pt x="498" y="1015"/>
                  <a:pt x="497" y="1015"/>
                  <a:pt x="495" y="1015"/>
                </a:cubicBezTo>
                <a:cubicBezTo>
                  <a:pt x="495" y="1015"/>
                  <a:pt x="495" y="1015"/>
                  <a:pt x="495" y="1026"/>
                </a:cubicBezTo>
                <a:cubicBezTo>
                  <a:pt x="498" y="1025"/>
                  <a:pt x="501" y="1024"/>
                  <a:pt x="503" y="1023"/>
                </a:cubicBezTo>
                <a:cubicBezTo>
                  <a:pt x="506" y="1022"/>
                  <a:pt x="508" y="1021"/>
                  <a:pt x="510" y="1019"/>
                </a:cubicBezTo>
                <a:cubicBezTo>
                  <a:pt x="510" y="1019"/>
                  <a:pt x="510" y="1019"/>
                  <a:pt x="510" y="1078"/>
                </a:cubicBezTo>
                <a:cubicBezTo>
                  <a:pt x="510" y="1078"/>
                  <a:pt x="510" y="1078"/>
                  <a:pt x="522" y="1078"/>
                </a:cubicBezTo>
                <a:cubicBezTo>
                  <a:pt x="522" y="1078"/>
                  <a:pt x="522" y="1078"/>
                  <a:pt x="522" y="1005"/>
                </a:cubicBezTo>
                <a:close/>
                <a:moveTo>
                  <a:pt x="568" y="1005"/>
                </a:moveTo>
                <a:cubicBezTo>
                  <a:pt x="568" y="1005"/>
                  <a:pt x="568" y="1005"/>
                  <a:pt x="568" y="1005"/>
                </a:cubicBezTo>
                <a:cubicBezTo>
                  <a:pt x="564" y="1005"/>
                  <a:pt x="564" y="1005"/>
                  <a:pt x="564" y="1005"/>
                </a:cubicBezTo>
                <a:cubicBezTo>
                  <a:pt x="562" y="1006"/>
                  <a:pt x="560" y="1007"/>
                  <a:pt x="558" y="1008"/>
                </a:cubicBezTo>
                <a:cubicBezTo>
                  <a:pt x="557" y="1010"/>
                  <a:pt x="554" y="1010"/>
                  <a:pt x="553" y="1011"/>
                </a:cubicBezTo>
                <a:cubicBezTo>
                  <a:pt x="551" y="1012"/>
                  <a:pt x="549" y="1013"/>
                  <a:pt x="547" y="1013"/>
                </a:cubicBezTo>
                <a:cubicBezTo>
                  <a:pt x="546" y="1014"/>
                  <a:pt x="544" y="1015"/>
                  <a:pt x="542" y="1015"/>
                </a:cubicBezTo>
                <a:cubicBezTo>
                  <a:pt x="542" y="1015"/>
                  <a:pt x="542" y="1015"/>
                  <a:pt x="542" y="1026"/>
                </a:cubicBezTo>
                <a:cubicBezTo>
                  <a:pt x="545" y="1025"/>
                  <a:pt x="548" y="1023"/>
                  <a:pt x="550" y="1023"/>
                </a:cubicBezTo>
                <a:cubicBezTo>
                  <a:pt x="552" y="1022"/>
                  <a:pt x="555" y="1021"/>
                  <a:pt x="557" y="1019"/>
                </a:cubicBezTo>
                <a:cubicBezTo>
                  <a:pt x="557" y="1019"/>
                  <a:pt x="557" y="1019"/>
                  <a:pt x="557" y="1078"/>
                </a:cubicBezTo>
                <a:cubicBezTo>
                  <a:pt x="557" y="1078"/>
                  <a:pt x="557" y="1078"/>
                  <a:pt x="568" y="1078"/>
                </a:cubicBezTo>
                <a:cubicBezTo>
                  <a:pt x="568" y="1078"/>
                  <a:pt x="568" y="1078"/>
                  <a:pt x="568" y="1005"/>
                </a:cubicBezTo>
                <a:close/>
                <a:moveTo>
                  <a:pt x="325" y="1037"/>
                </a:moveTo>
                <a:cubicBezTo>
                  <a:pt x="325" y="1037"/>
                  <a:pt x="325" y="1037"/>
                  <a:pt x="325" y="1037"/>
                </a:cubicBezTo>
                <a:cubicBezTo>
                  <a:pt x="324" y="1045"/>
                  <a:pt x="324" y="1045"/>
                  <a:pt x="324" y="1045"/>
                </a:cubicBezTo>
                <a:cubicBezTo>
                  <a:pt x="331" y="1046"/>
                  <a:pt x="331" y="1049"/>
                  <a:pt x="331" y="1051"/>
                </a:cubicBezTo>
                <a:cubicBezTo>
                  <a:pt x="331" y="1053"/>
                  <a:pt x="331" y="1056"/>
                  <a:pt x="331" y="1058"/>
                </a:cubicBezTo>
                <a:cubicBezTo>
                  <a:pt x="331" y="1061"/>
                  <a:pt x="330" y="1063"/>
                  <a:pt x="330" y="1065"/>
                </a:cubicBezTo>
                <a:cubicBezTo>
                  <a:pt x="330" y="1075"/>
                  <a:pt x="336" y="1078"/>
                  <a:pt x="345" y="1078"/>
                </a:cubicBezTo>
                <a:cubicBezTo>
                  <a:pt x="345" y="1078"/>
                  <a:pt x="345" y="1078"/>
                  <a:pt x="348" y="1078"/>
                </a:cubicBezTo>
                <a:cubicBezTo>
                  <a:pt x="348" y="1078"/>
                  <a:pt x="348" y="1078"/>
                  <a:pt x="348" y="1069"/>
                </a:cubicBezTo>
                <a:cubicBezTo>
                  <a:pt x="348" y="1069"/>
                  <a:pt x="348" y="1069"/>
                  <a:pt x="347" y="1069"/>
                </a:cubicBezTo>
                <a:cubicBezTo>
                  <a:pt x="343" y="1069"/>
                  <a:pt x="342" y="1066"/>
                  <a:pt x="342" y="1063"/>
                </a:cubicBezTo>
                <a:cubicBezTo>
                  <a:pt x="342" y="1062"/>
                  <a:pt x="342" y="1060"/>
                  <a:pt x="342" y="1058"/>
                </a:cubicBezTo>
                <a:cubicBezTo>
                  <a:pt x="342" y="1057"/>
                  <a:pt x="343" y="1055"/>
                  <a:pt x="343" y="1052"/>
                </a:cubicBezTo>
                <a:cubicBezTo>
                  <a:pt x="343" y="1045"/>
                  <a:pt x="340" y="1042"/>
                  <a:pt x="334" y="1041"/>
                </a:cubicBezTo>
                <a:cubicBezTo>
                  <a:pt x="334" y="1041"/>
                  <a:pt x="334" y="1041"/>
                  <a:pt x="334" y="1041"/>
                </a:cubicBezTo>
                <a:cubicBezTo>
                  <a:pt x="340" y="1040"/>
                  <a:pt x="343" y="1037"/>
                  <a:pt x="343" y="1030"/>
                </a:cubicBezTo>
                <a:cubicBezTo>
                  <a:pt x="343" y="1027"/>
                  <a:pt x="342" y="1026"/>
                  <a:pt x="342" y="1024"/>
                </a:cubicBezTo>
                <a:cubicBezTo>
                  <a:pt x="342" y="1022"/>
                  <a:pt x="342" y="1020"/>
                  <a:pt x="342" y="1019"/>
                </a:cubicBezTo>
                <a:cubicBezTo>
                  <a:pt x="342" y="1016"/>
                  <a:pt x="343" y="1013"/>
                  <a:pt x="347" y="1013"/>
                </a:cubicBezTo>
                <a:cubicBezTo>
                  <a:pt x="347" y="1013"/>
                  <a:pt x="347" y="1013"/>
                  <a:pt x="348" y="1013"/>
                </a:cubicBezTo>
                <a:cubicBezTo>
                  <a:pt x="348" y="1013"/>
                  <a:pt x="348" y="1013"/>
                  <a:pt x="348" y="1004"/>
                </a:cubicBezTo>
                <a:cubicBezTo>
                  <a:pt x="348" y="1004"/>
                  <a:pt x="348" y="1004"/>
                  <a:pt x="345" y="1004"/>
                </a:cubicBezTo>
                <a:cubicBezTo>
                  <a:pt x="336" y="1004"/>
                  <a:pt x="330" y="1008"/>
                  <a:pt x="330" y="1017"/>
                </a:cubicBezTo>
                <a:cubicBezTo>
                  <a:pt x="330" y="1019"/>
                  <a:pt x="331" y="1022"/>
                  <a:pt x="331" y="1024"/>
                </a:cubicBezTo>
                <a:cubicBezTo>
                  <a:pt x="331" y="1026"/>
                  <a:pt x="331" y="1029"/>
                  <a:pt x="331" y="1031"/>
                </a:cubicBezTo>
                <a:cubicBezTo>
                  <a:pt x="331" y="1033"/>
                  <a:pt x="331" y="1037"/>
                  <a:pt x="325" y="1037"/>
                </a:cubicBezTo>
                <a:close/>
                <a:moveTo>
                  <a:pt x="379" y="1045"/>
                </a:moveTo>
                <a:cubicBezTo>
                  <a:pt x="379" y="1045"/>
                  <a:pt x="379" y="1045"/>
                  <a:pt x="379" y="1045"/>
                </a:cubicBezTo>
                <a:cubicBezTo>
                  <a:pt x="379" y="1037"/>
                  <a:pt x="379" y="1037"/>
                  <a:pt x="379" y="1037"/>
                </a:cubicBezTo>
                <a:cubicBezTo>
                  <a:pt x="373" y="1037"/>
                  <a:pt x="372" y="1033"/>
                  <a:pt x="372" y="1031"/>
                </a:cubicBezTo>
                <a:cubicBezTo>
                  <a:pt x="372" y="1029"/>
                  <a:pt x="372" y="1026"/>
                  <a:pt x="373" y="1024"/>
                </a:cubicBezTo>
                <a:cubicBezTo>
                  <a:pt x="373" y="1022"/>
                  <a:pt x="373" y="1019"/>
                  <a:pt x="373" y="1017"/>
                </a:cubicBezTo>
                <a:cubicBezTo>
                  <a:pt x="373" y="1008"/>
                  <a:pt x="368" y="1004"/>
                  <a:pt x="359" y="1004"/>
                </a:cubicBezTo>
                <a:cubicBezTo>
                  <a:pt x="359" y="1004"/>
                  <a:pt x="359" y="1004"/>
                  <a:pt x="355" y="1004"/>
                </a:cubicBezTo>
                <a:cubicBezTo>
                  <a:pt x="355" y="1004"/>
                  <a:pt x="355" y="1004"/>
                  <a:pt x="355" y="1013"/>
                </a:cubicBezTo>
                <a:cubicBezTo>
                  <a:pt x="355" y="1013"/>
                  <a:pt x="355" y="1013"/>
                  <a:pt x="357" y="1013"/>
                </a:cubicBezTo>
                <a:cubicBezTo>
                  <a:pt x="360" y="1013"/>
                  <a:pt x="362" y="1016"/>
                  <a:pt x="362" y="1019"/>
                </a:cubicBezTo>
                <a:cubicBezTo>
                  <a:pt x="362" y="1020"/>
                  <a:pt x="361" y="1022"/>
                  <a:pt x="361" y="1024"/>
                </a:cubicBezTo>
                <a:cubicBezTo>
                  <a:pt x="361" y="1026"/>
                  <a:pt x="361" y="1027"/>
                  <a:pt x="361" y="1030"/>
                </a:cubicBezTo>
                <a:cubicBezTo>
                  <a:pt x="361" y="1037"/>
                  <a:pt x="364" y="1040"/>
                  <a:pt x="369" y="1041"/>
                </a:cubicBezTo>
                <a:cubicBezTo>
                  <a:pt x="369" y="1041"/>
                  <a:pt x="369" y="1041"/>
                  <a:pt x="369" y="1041"/>
                </a:cubicBezTo>
                <a:cubicBezTo>
                  <a:pt x="364" y="1042"/>
                  <a:pt x="361" y="1045"/>
                  <a:pt x="361" y="1052"/>
                </a:cubicBezTo>
                <a:cubicBezTo>
                  <a:pt x="361" y="1055"/>
                  <a:pt x="361" y="1057"/>
                  <a:pt x="361" y="1058"/>
                </a:cubicBezTo>
                <a:cubicBezTo>
                  <a:pt x="361" y="1060"/>
                  <a:pt x="362" y="1062"/>
                  <a:pt x="362" y="1063"/>
                </a:cubicBezTo>
                <a:cubicBezTo>
                  <a:pt x="362" y="1066"/>
                  <a:pt x="361" y="1069"/>
                  <a:pt x="357" y="1069"/>
                </a:cubicBezTo>
                <a:cubicBezTo>
                  <a:pt x="357" y="1069"/>
                  <a:pt x="357" y="1069"/>
                  <a:pt x="355" y="1069"/>
                </a:cubicBezTo>
                <a:cubicBezTo>
                  <a:pt x="355" y="1069"/>
                  <a:pt x="355" y="1069"/>
                  <a:pt x="355" y="1078"/>
                </a:cubicBezTo>
                <a:cubicBezTo>
                  <a:pt x="355" y="1078"/>
                  <a:pt x="355" y="1078"/>
                  <a:pt x="359" y="1078"/>
                </a:cubicBezTo>
                <a:cubicBezTo>
                  <a:pt x="368" y="1078"/>
                  <a:pt x="373" y="1075"/>
                  <a:pt x="373" y="1065"/>
                </a:cubicBezTo>
                <a:cubicBezTo>
                  <a:pt x="373" y="1063"/>
                  <a:pt x="373" y="1061"/>
                  <a:pt x="373" y="1058"/>
                </a:cubicBezTo>
                <a:cubicBezTo>
                  <a:pt x="372" y="1056"/>
                  <a:pt x="372" y="1053"/>
                  <a:pt x="372" y="1051"/>
                </a:cubicBezTo>
                <a:cubicBezTo>
                  <a:pt x="372" y="1049"/>
                  <a:pt x="373" y="1046"/>
                  <a:pt x="379" y="1045"/>
                </a:cubicBezTo>
                <a:close/>
                <a:moveTo>
                  <a:pt x="706" y="1037"/>
                </a:moveTo>
                <a:cubicBezTo>
                  <a:pt x="706" y="1037"/>
                  <a:pt x="706" y="1037"/>
                  <a:pt x="706" y="1037"/>
                </a:cubicBezTo>
                <a:cubicBezTo>
                  <a:pt x="706" y="1045"/>
                  <a:pt x="706" y="1045"/>
                  <a:pt x="706" y="1045"/>
                </a:cubicBezTo>
                <a:cubicBezTo>
                  <a:pt x="712" y="1046"/>
                  <a:pt x="713" y="1049"/>
                  <a:pt x="713" y="1051"/>
                </a:cubicBezTo>
                <a:cubicBezTo>
                  <a:pt x="713" y="1053"/>
                  <a:pt x="713" y="1056"/>
                  <a:pt x="713" y="1058"/>
                </a:cubicBezTo>
                <a:cubicBezTo>
                  <a:pt x="712" y="1061"/>
                  <a:pt x="712" y="1063"/>
                  <a:pt x="712" y="1065"/>
                </a:cubicBezTo>
                <a:cubicBezTo>
                  <a:pt x="712" y="1075"/>
                  <a:pt x="718" y="1078"/>
                  <a:pt x="726" y="1078"/>
                </a:cubicBezTo>
                <a:cubicBezTo>
                  <a:pt x="726" y="1078"/>
                  <a:pt x="726" y="1078"/>
                  <a:pt x="730" y="1078"/>
                </a:cubicBezTo>
                <a:cubicBezTo>
                  <a:pt x="730" y="1078"/>
                  <a:pt x="730" y="1078"/>
                  <a:pt x="730" y="1069"/>
                </a:cubicBezTo>
                <a:cubicBezTo>
                  <a:pt x="730" y="1069"/>
                  <a:pt x="730" y="1069"/>
                  <a:pt x="728" y="1069"/>
                </a:cubicBezTo>
                <a:cubicBezTo>
                  <a:pt x="725" y="1069"/>
                  <a:pt x="724" y="1066"/>
                  <a:pt x="724" y="1063"/>
                </a:cubicBezTo>
                <a:cubicBezTo>
                  <a:pt x="724" y="1062"/>
                  <a:pt x="724" y="1060"/>
                  <a:pt x="724" y="1058"/>
                </a:cubicBezTo>
                <a:cubicBezTo>
                  <a:pt x="724" y="1057"/>
                  <a:pt x="724" y="1055"/>
                  <a:pt x="724" y="1052"/>
                </a:cubicBezTo>
                <a:cubicBezTo>
                  <a:pt x="724" y="1045"/>
                  <a:pt x="721" y="1042"/>
                  <a:pt x="716" y="1041"/>
                </a:cubicBezTo>
                <a:cubicBezTo>
                  <a:pt x="716" y="1041"/>
                  <a:pt x="716" y="1041"/>
                  <a:pt x="716" y="1041"/>
                </a:cubicBezTo>
                <a:cubicBezTo>
                  <a:pt x="721" y="1040"/>
                  <a:pt x="724" y="1037"/>
                  <a:pt x="724" y="1030"/>
                </a:cubicBezTo>
                <a:cubicBezTo>
                  <a:pt x="724" y="1027"/>
                  <a:pt x="724" y="1026"/>
                  <a:pt x="724" y="1024"/>
                </a:cubicBezTo>
                <a:cubicBezTo>
                  <a:pt x="724" y="1022"/>
                  <a:pt x="724" y="1020"/>
                  <a:pt x="724" y="1019"/>
                </a:cubicBezTo>
                <a:cubicBezTo>
                  <a:pt x="724" y="1016"/>
                  <a:pt x="725" y="1013"/>
                  <a:pt x="728" y="1013"/>
                </a:cubicBezTo>
                <a:cubicBezTo>
                  <a:pt x="728" y="1013"/>
                  <a:pt x="728" y="1013"/>
                  <a:pt x="730" y="1013"/>
                </a:cubicBezTo>
                <a:cubicBezTo>
                  <a:pt x="730" y="1013"/>
                  <a:pt x="730" y="1013"/>
                  <a:pt x="730" y="1004"/>
                </a:cubicBezTo>
                <a:cubicBezTo>
                  <a:pt x="730" y="1004"/>
                  <a:pt x="730" y="1004"/>
                  <a:pt x="726" y="1004"/>
                </a:cubicBezTo>
                <a:cubicBezTo>
                  <a:pt x="717" y="1004"/>
                  <a:pt x="712" y="1008"/>
                  <a:pt x="712" y="1017"/>
                </a:cubicBezTo>
                <a:cubicBezTo>
                  <a:pt x="712" y="1019"/>
                  <a:pt x="712" y="1022"/>
                  <a:pt x="712" y="1024"/>
                </a:cubicBezTo>
                <a:cubicBezTo>
                  <a:pt x="713" y="1026"/>
                  <a:pt x="713" y="1029"/>
                  <a:pt x="713" y="1031"/>
                </a:cubicBezTo>
                <a:cubicBezTo>
                  <a:pt x="713" y="1033"/>
                  <a:pt x="712" y="1037"/>
                  <a:pt x="706" y="1037"/>
                </a:cubicBezTo>
                <a:close/>
                <a:moveTo>
                  <a:pt x="761" y="1045"/>
                </a:moveTo>
                <a:cubicBezTo>
                  <a:pt x="761" y="1045"/>
                  <a:pt x="761" y="1045"/>
                  <a:pt x="761" y="1045"/>
                </a:cubicBezTo>
                <a:cubicBezTo>
                  <a:pt x="761" y="1037"/>
                  <a:pt x="761" y="1037"/>
                  <a:pt x="761" y="1037"/>
                </a:cubicBezTo>
                <a:cubicBezTo>
                  <a:pt x="754" y="1037"/>
                  <a:pt x="754" y="1033"/>
                  <a:pt x="754" y="1031"/>
                </a:cubicBezTo>
                <a:cubicBezTo>
                  <a:pt x="754" y="1029"/>
                  <a:pt x="754" y="1026"/>
                  <a:pt x="754" y="1024"/>
                </a:cubicBezTo>
                <a:cubicBezTo>
                  <a:pt x="755" y="1022"/>
                  <a:pt x="755" y="1019"/>
                  <a:pt x="755" y="1017"/>
                </a:cubicBezTo>
                <a:cubicBezTo>
                  <a:pt x="755" y="1008"/>
                  <a:pt x="750" y="1004"/>
                  <a:pt x="740" y="1004"/>
                </a:cubicBezTo>
                <a:cubicBezTo>
                  <a:pt x="740" y="1004"/>
                  <a:pt x="740" y="1004"/>
                  <a:pt x="737" y="1004"/>
                </a:cubicBezTo>
                <a:cubicBezTo>
                  <a:pt x="737" y="1004"/>
                  <a:pt x="737" y="1004"/>
                  <a:pt x="737" y="1013"/>
                </a:cubicBezTo>
                <a:cubicBezTo>
                  <a:pt x="737" y="1013"/>
                  <a:pt x="737" y="1013"/>
                  <a:pt x="738" y="1013"/>
                </a:cubicBezTo>
                <a:cubicBezTo>
                  <a:pt x="742" y="1013"/>
                  <a:pt x="743" y="1016"/>
                  <a:pt x="743" y="1019"/>
                </a:cubicBezTo>
                <a:cubicBezTo>
                  <a:pt x="743" y="1020"/>
                  <a:pt x="743" y="1022"/>
                  <a:pt x="743" y="1024"/>
                </a:cubicBezTo>
                <a:cubicBezTo>
                  <a:pt x="743" y="1026"/>
                  <a:pt x="743" y="1027"/>
                  <a:pt x="743" y="1030"/>
                </a:cubicBezTo>
                <a:cubicBezTo>
                  <a:pt x="743" y="1037"/>
                  <a:pt x="745" y="1040"/>
                  <a:pt x="751" y="1041"/>
                </a:cubicBezTo>
                <a:cubicBezTo>
                  <a:pt x="751" y="1041"/>
                  <a:pt x="751" y="1041"/>
                  <a:pt x="751" y="1041"/>
                </a:cubicBezTo>
                <a:cubicBezTo>
                  <a:pt x="745" y="1042"/>
                  <a:pt x="743" y="1045"/>
                  <a:pt x="743" y="1052"/>
                </a:cubicBezTo>
                <a:cubicBezTo>
                  <a:pt x="743" y="1055"/>
                  <a:pt x="743" y="1057"/>
                  <a:pt x="743" y="1058"/>
                </a:cubicBezTo>
                <a:cubicBezTo>
                  <a:pt x="743" y="1060"/>
                  <a:pt x="743" y="1062"/>
                  <a:pt x="743" y="1063"/>
                </a:cubicBezTo>
                <a:cubicBezTo>
                  <a:pt x="743" y="1066"/>
                  <a:pt x="742" y="1069"/>
                  <a:pt x="738" y="1069"/>
                </a:cubicBezTo>
                <a:cubicBezTo>
                  <a:pt x="738" y="1069"/>
                  <a:pt x="738" y="1069"/>
                  <a:pt x="737" y="1069"/>
                </a:cubicBezTo>
                <a:cubicBezTo>
                  <a:pt x="737" y="1069"/>
                  <a:pt x="737" y="1069"/>
                  <a:pt x="737" y="1078"/>
                </a:cubicBezTo>
                <a:cubicBezTo>
                  <a:pt x="737" y="1078"/>
                  <a:pt x="737" y="1078"/>
                  <a:pt x="740" y="1078"/>
                </a:cubicBezTo>
                <a:cubicBezTo>
                  <a:pt x="749" y="1078"/>
                  <a:pt x="755" y="1075"/>
                  <a:pt x="755" y="1065"/>
                </a:cubicBezTo>
                <a:cubicBezTo>
                  <a:pt x="755" y="1063"/>
                  <a:pt x="755" y="1061"/>
                  <a:pt x="754" y="1058"/>
                </a:cubicBezTo>
                <a:cubicBezTo>
                  <a:pt x="754" y="1056"/>
                  <a:pt x="754" y="1053"/>
                  <a:pt x="754" y="1051"/>
                </a:cubicBezTo>
                <a:cubicBezTo>
                  <a:pt x="754" y="1049"/>
                  <a:pt x="754" y="1046"/>
                  <a:pt x="761" y="1045"/>
                </a:cubicBezTo>
                <a:close/>
                <a:moveTo>
                  <a:pt x="808" y="1005"/>
                </a:moveTo>
                <a:cubicBezTo>
                  <a:pt x="808" y="1005"/>
                  <a:pt x="808" y="1005"/>
                  <a:pt x="808" y="1005"/>
                </a:cubicBezTo>
                <a:cubicBezTo>
                  <a:pt x="803" y="1005"/>
                  <a:pt x="803" y="1005"/>
                  <a:pt x="803" y="1005"/>
                </a:cubicBezTo>
                <a:cubicBezTo>
                  <a:pt x="801" y="1006"/>
                  <a:pt x="799" y="1007"/>
                  <a:pt x="797" y="1008"/>
                </a:cubicBezTo>
                <a:cubicBezTo>
                  <a:pt x="796" y="1010"/>
                  <a:pt x="794" y="1010"/>
                  <a:pt x="792" y="1011"/>
                </a:cubicBezTo>
                <a:cubicBezTo>
                  <a:pt x="790" y="1012"/>
                  <a:pt x="789" y="1013"/>
                  <a:pt x="787" y="1013"/>
                </a:cubicBezTo>
                <a:cubicBezTo>
                  <a:pt x="785" y="1014"/>
                  <a:pt x="783" y="1015"/>
                  <a:pt x="781" y="1015"/>
                </a:cubicBezTo>
                <a:cubicBezTo>
                  <a:pt x="781" y="1015"/>
                  <a:pt x="781" y="1015"/>
                  <a:pt x="781" y="1026"/>
                </a:cubicBezTo>
                <a:cubicBezTo>
                  <a:pt x="784" y="1025"/>
                  <a:pt x="787" y="1023"/>
                  <a:pt x="789" y="1023"/>
                </a:cubicBezTo>
                <a:cubicBezTo>
                  <a:pt x="792" y="1022"/>
                  <a:pt x="794" y="1021"/>
                  <a:pt x="797" y="1019"/>
                </a:cubicBezTo>
                <a:cubicBezTo>
                  <a:pt x="797" y="1019"/>
                  <a:pt x="797" y="1019"/>
                  <a:pt x="797" y="1078"/>
                </a:cubicBezTo>
                <a:cubicBezTo>
                  <a:pt x="797" y="1078"/>
                  <a:pt x="797" y="1078"/>
                  <a:pt x="808" y="1078"/>
                </a:cubicBezTo>
                <a:cubicBezTo>
                  <a:pt x="808" y="1078"/>
                  <a:pt x="808" y="1078"/>
                  <a:pt x="808" y="1005"/>
                </a:cubicBezTo>
                <a:close/>
                <a:moveTo>
                  <a:pt x="855" y="1005"/>
                </a:moveTo>
                <a:cubicBezTo>
                  <a:pt x="855" y="1005"/>
                  <a:pt x="855" y="1005"/>
                  <a:pt x="855" y="1005"/>
                </a:cubicBezTo>
                <a:cubicBezTo>
                  <a:pt x="850" y="1005"/>
                  <a:pt x="850" y="1005"/>
                  <a:pt x="850" y="1005"/>
                </a:cubicBezTo>
                <a:cubicBezTo>
                  <a:pt x="848" y="1006"/>
                  <a:pt x="847" y="1007"/>
                  <a:pt x="845" y="1008"/>
                </a:cubicBezTo>
                <a:cubicBezTo>
                  <a:pt x="843" y="1010"/>
                  <a:pt x="841" y="1010"/>
                  <a:pt x="840" y="1011"/>
                </a:cubicBezTo>
                <a:cubicBezTo>
                  <a:pt x="838" y="1013"/>
                  <a:pt x="836" y="1013"/>
                  <a:pt x="835" y="1014"/>
                </a:cubicBezTo>
                <a:cubicBezTo>
                  <a:pt x="832" y="1015"/>
                  <a:pt x="831" y="1015"/>
                  <a:pt x="829" y="1015"/>
                </a:cubicBezTo>
                <a:cubicBezTo>
                  <a:pt x="829" y="1015"/>
                  <a:pt x="829" y="1015"/>
                  <a:pt x="829" y="1026"/>
                </a:cubicBezTo>
                <a:cubicBezTo>
                  <a:pt x="832" y="1025"/>
                  <a:pt x="835" y="1024"/>
                  <a:pt x="837" y="1023"/>
                </a:cubicBezTo>
                <a:cubicBezTo>
                  <a:pt x="840" y="1022"/>
                  <a:pt x="842" y="1021"/>
                  <a:pt x="844" y="1019"/>
                </a:cubicBezTo>
                <a:cubicBezTo>
                  <a:pt x="844" y="1019"/>
                  <a:pt x="844" y="1019"/>
                  <a:pt x="844" y="1078"/>
                </a:cubicBezTo>
                <a:cubicBezTo>
                  <a:pt x="844" y="1078"/>
                  <a:pt x="844" y="1078"/>
                  <a:pt x="855" y="1078"/>
                </a:cubicBezTo>
                <a:cubicBezTo>
                  <a:pt x="855" y="1078"/>
                  <a:pt x="855" y="1078"/>
                  <a:pt x="855" y="1005"/>
                </a:cubicBezTo>
                <a:close/>
                <a:moveTo>
                  <a:pt x="902" y="1005"/>
                </a:moveTo>
                <a:cubicBezTo>
                  <a:pt x="902" y="1005"/>
                  <a:pt x="902" y="1005"/>
                  <a:pt x="902" y="1005"/>
                </a:cubicBezTo>
                <a:cubicBezTo>
                  <a:pt x="897" y="1005"/>
                  <a:pt x="897" y="1005"/>
                  <a:pt x="897" y="1005"/>
                </a:cubicBezTo>
                <a:cubicBezTo>
                  <a:pt x="895" y="1006"/>
                  <a:pt x="894" y="1007"/>
                  <a:pt x="892" y="1008"/>
                </a:cubicBezTo>
                <a:cubicBezTo>
                  <a:pt x="890" y="1010"/>
                  <a:pt x="888" y="1010"/>
                  <a:pt x="887" y="1011"/>
                </a:cubicBezTo>
                <a:cubicBezTo>
                  <a:pt x="884" y="1013"/>
                  <a:pt x="883" y="1013"/>
                  <a:pt x="881" y="1014"/>
                </a:cubicBezTo>
                <a:cubicBezTo>
                  <a:pt x="879" y="1015"/>
                  <a:pt x="877" y="1015"/>
                  <a:pt x="876" y="1015"/>
                </a:cubicBezTo>
                <a:cubicBezTo>
                  <a:pt x="876" y="1015"/>
                  <a:pt x="876" y="1015"/>
                  <a:pt x="876" y="1026"/>
                </a:cubicBezTo>
                <a:cubicBezTo>
                  <a:pt x="879" y="1025"/>
                  <a:pt x="882" y="1024"/>
                  <a:pt x="884" y="1023"/>
                </a:cubicBezTo>
                <a:cubicBezTo>
                  <a:pt x="886" y="1022"/>
                  <a:pt x="889" y="1021"/>
                  <a:pt x="890" y="1019"/>
                </a:cubicBezTo>
                <a:cubicBezTo>
                  <a:pt x="890" y="1019"/>
                  <a:pt x="890" y="1019"/>
                  <a:pt x="890" y="1078"/>
                </a:cubicBezTo>
                <a:cubicBezTo>
                  <a:pt x="890" y="1078"/>
                  <a:pt x="890" y="1078"/>
                  <a:pt x="902" y="1078"/>
                </a:cubicBezTo>
                <a:cubicBezTo>
                  <a:pt x="902" y="1078"/>
                  <a:pt x="902" y="1078"/>
                  <a:pt x="902" y="1005"/>
                </a:cubicBezTo>
                <a:close/>
                <a:moveTo>
                  <a:pt x="1025" y="1005"/>
                </a:moveTo>
                <a:cubicBezTo>
                  <a:pt x="1025" y="1005"/>
                  <a:pt x="1025" y="1005"/>
                  <a:pt x="1025" y="1005"/>
                </a:cubicBezTo>
                <a:cubicBezTo>
                  <a:pt x="1020" y="1005"/>
                  <a:pt x="1020" y="1005"/>
                  <a:pt x="1020" y="1005"/>
                </a:cubicBezTo>
                <a:cubicBezTo>
                  <a:pt x="1018" y="1006"/>
                  <a:pt x="1016" y="1007"/>
                  <a:pt x="1014" y="1008"/>
                </a:cubicBezTo>
                <a:cubicBezTo>
                  <a:pt x="1013" y="1010"/>
                  <a:pt x="1011" y="1010"/>
                  <a:pt x="1009" y="1011"/>
                </a:cubicBezTo>
                <a:cubicBezTo>
                  <a:pt x="1007" y="1013"/>
                  <a:pt x="1005" y="1013"/>
                  <a:pt x="1004" y="1014"/>
                </a:cubicBezTo>
                <a:cubicBezTo>
                  <a:pt x="1001" y="1015"/>
                  <a:pt x="1000" y="1015"/>
                  <a:pt x="998" y="1015"/>
                </a:cubicBezTo>
                <a:cubicBezTo>
                  <a:pt x="998" y="1015"/>
                  <a:pt x="998" y="1015"/>
                  <a:pt x="998" y="1026"/>
                </a:cubicBezTo>
                <a:cubicBezTo>
                  <a:pt x="1001" y="1025"/>
                  <a:pt x="1004" y="1024"/>
                  <a:pt x="1007" y="1023"/>
                </a:cubicBezTo>
                <a:cubicBezTo>
                  <a:pt x="1009" y="1022"/>
                  <a:pt x="1011" y="1021"/>
                  <a:pt x="1013" y="1019"/>
                </a:cubicBezTo>
                <a:cubicBezTo>
                  <a:pt x="1013" y="1019"/>
                  <a:pt x="1013" y="1019"/>
                  <a:pt x="1013" y="1078"/>
                </a:cubicBezTo>
                <a:cubicBezTo>
                  <a:pt x="1013" y="1078"/>
                  <a:pt x="1013" y="1078"/>
                  <a:pt x="1025" y="1078"/>
                </a:cubicBezTo>
                <a:cubicBezTo>
                  <a:pt x="1025" y="1078"/>
                  <a:pt x="1025" y="1078"/>
                  <a:pt x="1025" y="1005"/>
                </a:cubicBezTo>
                <a:close/>
                <a:moveTo>
                  <a:pt x="1073" y="1005"/>
                </a:moveTo>
                <a:cubicBezTo>
                  <a:pt x="1073" y="1005"/>
                  <a:pt x="1073" y="1005"/>
                  <a:pt x="1073" y="1005"/>
                </a:cubicBezTo>
                <a:cubicBezTo>
                  <a:pt x="1067" y="1005"/>
                  <a:pt x="1067" y="1005"/>
                  <a:pt x="1067" y="1005"/>
                </a:cubicBezTo>
                <a:cubicBezTo>
                  <a:pt x="1065" y="1006"/>
                  <a:pt x="1064" y="1007"/>
                  <a:pt x="1062" y="1008"/>
                </a:cubicBezTo>
                <a:cubicBezTo>
                  <a:pt x="1060" y="1010"/>
                  <a:pt x="1058" y="1010"/>
                  <a:pt x="1056" y="1011"/>
                </a:cubicBezTo>
                <a:cubicBezTo>
                  <a:pt x="1055" y="1013"/>
                  <a:pt x="1053" y="1013"/>
                  <a:pt x="1051" y="1014"/>
                </a:cubicBezTo>
                <a:cubicBezTo>
                  <a:pt x="1049" y="1015"/>
                  <a:pt x="1048" y="1015"/>
                  <a:pt x="1045" y="1015"/>
                </a:cubicBezTo>
                <a:cubicBezTo>
                  <a:pt x="1045" y="1015"/>
                  <a:pt x="1045" y="1015"/>
                  <a:pt x="1045" y="1026"/>
                </a:cubicBezTo>
                <a:cubicBezTo>
                  <a:pt x="1048" y="1025"/>
                  <a:pt x="1051" y="1024"/>
                  <a:pt x="1053" y="1023"/>
                </a:cubicBezTo>
                <a:cubicBezTo>
                  <a:pt x="1056" y="1022"/>
                  <a:pt x="1059" y="1021"/>
                  <a:pt x="1061" y="1019"/>
                </a:cubicBezTo>
                <a:cubicBezTo>
                  <a:pt x="1061" y="1019"/>
                  <a:pt x="1061" y="1019"/>
                  <a:pt x="1061" y="1078"/>
                </a:cubicBezTo>
                <a:cubicBezTo>
                  <a:pt x="1061" y="1078"/>
                  <a:pt x="1061" y="1078"/>
                  <a:pt x="1073" y="1078"/>
                </a:cubicBezTo>
                <a:cubicBezTo>
                  <a:pt x="1073" y="1078"/>
                  <a:pt x="1073" y="1078"/>
                  <a:pt x="1073" y="1005"/>
                </a:cubicBezTo>
                <a:close/>
                <a:moveTo>
                  <a:pt x="1119" y="1005"/>
                </a:moveTo>
                <a:cubicBezTo>
                  <a:pt x="1119" y="1005"/>
                  <a:pt x="1119" y="1005"/>
                  <a:pt x="1119" y="1005"/>
                </a:cubicBezTo>
                <a:cubicBezTo>
                  <a:pt x="1114" y="1005"/>
                  <a:pt x="1114" y="1005"/>
                  <a:pt x="1114" y="1005"/>
                </a:cubicBezTo>
                <a:cubicBezTo>
                  <a:pt x="1112" y="1006"/>
                  <a:pt x="1111" y="1007"/>
                  <a:pt x="1109" y="1008"/>
                </a:cubicBezTo>
                <a:cubicBezTo>
                  <a:pt x="1107" y="1010"/>
                  <a:pt x="1105" y="1010"/>
                  <a:pt x="1104" y="1011"/>
                </a:cubicBezTo>
                <a:cubicBezTo>
                  <a:pt x="1101" y="1012"/>
                  <a:pt x="1100" y="1013"/>
                  <a:pt x="1098" y="1013"/>
                </a:cubicBezTo>
                <a:cubicBezTo>
                  <a:pt x="1096" y="1014"/>
                  <a:pt x="1094" y="1015"/>
                  <a:pt x="1093" y="1015"/>
                </a:cubicBezTo>
                <a:cubicBezTo>
                  <a:pt x="1093" y="1015"/>
                  <a:pt x="1093" y="1015"/>
                  <a:pt x="1093" y="1026"/>
                </a:cubicBezTo>
                <a:cubicBezTo>
                  <a:pt x="1096" y="1025"/>
                  <a:pt x="1099" y="1023"/>
                  <a:pt x="1101" y="1023"/>
                </a:cubicBezTo>
                <a:cubicBezTo>
                  <a:pt x="1103" y="1022"/>
                  <a:pt x="1106" y="1021"/>
                  <a:pt x="1107" y="1019"/>
                </a:cubicBezTo>
                <a:cubicBezTo>
                  <a:pt x="1107" y="1019"/>
                  <a:pt x="1107" y="1019"/>
                  <a:pt x="1107" y="1078"/>
                </a:cubicBezTo>
                <a:cubicBezTo>
                  <a:pt x="1107" y="1078"/>
                  <a:pt x="1107" y="1078"/>
                  <a:pt x="1119" y="1078"/>
                </a:cubicBezTo>
                <a:cubicBezTo>
                  <a:pt x="1119" y="1078"/>
                  <a:pt x="1119" y="1078"/>
                  <a:pt x="1119" y="1005"/>
                </a:cubicBezTo>
                <a:close/>
                <a:moveTo>
                  <a:pt x="1163" y="1078"/>
                </a:moveTo>
                <a:cubicBezTo>
                  <a:pt x="1156" y="1078"/>
                  <a:pt x="1150" y="1075"/>
                  <a:pt x="1145" y="1069"/>
                </a:cubicBezTo>
                <a:cubicBezTo>
                  <a:pt x="1142" y="1063"/>
                  <a:pt x="1139" y="1054"/>
                  <a:pt x="1139" y="1042"/>
                </a:cubicBezTo>
                <a:cubicBezTo>
                  <a:pt x="1139" y="1028"/>
                  <a:pt x="1142" y="1019"/>
                  <a:pt x="1146" y="1012"/>
                </a:cubicBezTo>
                <a:cubicBezTo>
                  <a:pt x="1150" y="1006"/>
                  <a:pt x="1157" y="1002"/>
                  <a:pt x="1166" y="1002"/>
                </a:cubicBezTo>
                <a:cubicBezTo>
                  <a:pt x="1182" y="1002"/>
                  <a:pt x="1190" y="1015"/>
                  <a:pt x="1190" y="1040"/>
                </a:cubicBezTo>
                <a:cubicBezTo>
                  <a:pt x="1190" y="1052"/>
                  <a:pt x="1188" y="1062"/>
                  <a:pt x="1182" y="1068"/>
                </a:cubicBezTo>
                <a:cubicBezTo>
                  <a:pt x="1178" y="1075"/>
                  <a:pt x="1172" y="1078"/>
                  <a:pt x="1163" y="1078"/>
                </a:cubicBezTo>
                <a:close/>
                <a:moveTo>
                  <a:pt x="1165" y="1012"/>
                </a:moveTo>
                <a:cubicBezTo>
                  <a:pt x="1155" y="1012"/>
                  <a:pt x="1151" y="1022"/>
                  <a:pt x="1151" y="1042"/>
                </a:cubicBezTo>
                <a:cubicBezTo>
                  <a:pt x="1151" y="1060"/>
                  <a:pt x="1155" y="1068"/>
                  <a:pt x="1164" y="1068"/>
                </a:cubicBezTo>
                <a:cubicBezTo>
                  <a:pt x="1173" y="1068"/>
                  <a:pt x="1177" y="1060"/>
                  <a:pt x="1177" y="1041"/>
                </a:cubicBezTo>
                <a:cubicBezTo>
                  <a:pt x="1177" y="1021"/>
                  <a:pt x="1173" y="1012"/>
                  <a:pt x="1165" y="1012"/>
                </a:cubicBezTo>
                <a:close/>
                <a:moveTo>
                  <a:pt x="1235" y="1078"/>
                </a:moveTo>
                <a:cubicBezTo>
                  <a:pt x="1227" y="1078"/>
                  <a:pt x="1221" y="1075"/>
                  <a:pt x="1217" y="1069"/>
                </a:cubicBezTo>
                <a:cubicBezTo>
                  <a:pt x="1213" y="1063"/>
                  <a:pt x="1210" y="1054"/>
                  <a:pt x="1210" y="1042"/>
                </a:cubicBezTo>
                <a:cubicBezTo>
                  <a:pt x="1210" y="1028"/>
                  <a:pt x="1213" y="1019"/>
                  <a:pt x="1217" y="1012"/>
                </a:cubicBezTo>
                <a:cubicBezTo>
                  <a:pt x="1221" y="1006"/>
                  <a:pt x="1228" y="1002"/>
                  <a:pt x="1237" y="1002"/>
                </a:cubicBezTo>
                <a:cubicBezTo>
                  <a:pt x="1253" y="1002"/>
                  <a:pt x="1261" y="1015"/>
                  <a:pt x="1261" y="1040"/>
                </a:cubicBezTo>
                <a:cubicBezTo>
                  <a:pt x="1261" y="1052"/>
                  <a:pt x="1259" y="1062"/>
                  <a:pt x="1254" y="1068"/>
                </a:cubicBezTo>
                <a:cubicBezTo>
                  <a:pt x="1249" y="1075"/>
                  <a:pt x="1243" y="1078"/>
                  <a:pt x="1235" y="1078"/>
                </a:cubicBezTo>
                <a:close/>
                <a:moveTo>
                  <a:pt x="1236" y="1012"/>
                </a:moveTo>
                <a:cubicBezTo>
                  <a:pt x="1227" y="1012"/>
                  <a:pt x="1222" y="1022"/>
                  <a:pt x="1222" y="1042"/>
                </a:cubicBezTo>
                <a:cubicBezTo>
                  <a:pt x="1222" y="1060"/>
                  <a:pt x="1226" y="1068"/>
                  <a:pt x="1235" y="1068"/>
                </a:cubicBezTo>
                <a:cubicBezTo>
                  <a:pt x="1244" y="1068"/>
                  <a:pt x="1248" y="1060"/>
                  <a:pt x="1248" y="1041"/>
                </a:cubicBezTo>
                <a:cubicBezTo>
                  <a:pt x="1248" y="1021"/>
                  <a:pt x="1244" y="1012"/>
                  <a:pt x="1236" y="1012"/>
                </a:cubicBezTo>
                <a:close/>
                <a:moveTo>
                  <a:pt x="923" y="1037"/>
                </a:moveTo>
                <a:cubicBezTo>
                  <a:pt x="923" y="1037"/>
                  <a:pt x="923" y="1037"/>
                  <a:pt x="923" y="1037"/>
                </a:cubicBezTo>
                <a:cubicBezTo>
                  <a:pt x="922" y="1045"/>
                  <a:pt x="922" y="1045"/>
                  <a:pt x="922" y="1045"/>
                </a:cubicBezTo>
                <a:cubicBezTo>
                  <a:pt x="929" y="1046"/>
                  <a:pt x="929" y="1049"/>
                  <a:pt x="929" y="1051"/>
                </a:cubicBezTo>
                <a:cubicBezTo>
                  <a:pt x="929" y="1053"/>
                  <a:pt x="929" y="1056"/>
                  <a:pt x="929" y="1058"/>
                </a:cubicBezTo>
                <a:cubicBezTo>
                  <a:pt x="929" y="1061"/>
                  <a:pt x="928" y="1063"/>
                  <a:pt x="928" y="1065"/>
                </a:cubicBezTo>
                <a:cubicBezTo>
                  <a:pt x="928" y="1075"/>
                  <a:pt x="934" y="1078"/>
                  <a:pt x="943" y="1078"/>
                </a:cubicBezTo>
                <a:cubicBezTo>
                  <a:pt x="943" y="1078"/>
                  <a:pt x="943" y="1078"/>
                  <a:pt x="946" y="1078"/>
                </a:cubicBezTo>
                <a:cubicBezTo>
                  <a:pt x="946" y="1078"/>
                  <a:pt x="946" y="1078"/>
                  <a:pt x="946" y="1069"/>
                </a:cubicBezTo>
                <a:cubicBezTo>
                  <a:pt x="946" y="1069"/>
                  <a:pt x="946" y="1069"/>
                  <a:pt x="945" y="1069"/>
                </a:cubicBezTo>
                <a:cubicBezTo>
                  <a:pt x="941" y="1069"/>
                  <a:pt x="940" y="1066"/>
                  <a:pt x="940" y="1063"/>
                </a:cubicBezTo>
                <a:cubicBezTo>
                  <a:pt x="940" y="1062"/>
                  <a:pt x="940" y="1060"/>
                  <a:pt x="941" y="1058"/>
                </a:cubicBezTo>
                <a:cubicBezTo>
                  <a:pt x="941" y="1057"/>
                  <a:pt x="941" y="1055"/>
                  <a:pt x="941" y="1052"/>
                </a:cubicBezTo>
                <a:cubicBezTo>
                  <a:pt x="941" y="1045"/>
                  <a:pt x="938" y="1042"/>
                  <a:pt x="932" y="1041"/>
                </a:cubicBezTo>
                <a:cubicBezTo>
                  <a:pt x="932" y="1041"/>
                  <a:pt x="932" y="1041"/>
                  <a:pt x="932" y="1041"/>
                </a:cubicBezTo>
                <a:cubicBezTo>
                  <a:pt x="938" y="1040"/>
                  <a:pt x="941" y="1037"/>
                  <a:pt x="941" y="1030"/>
                </a:cubicBezTo>
                <a:cubicBezTo>
                  <a:pt x="941" y="1027"/>
                  <a:pt x="941" y="1026"/>
                  <a:pt x="941" y="1024"/>
                </a:cubicBezTo>
                <a:cubicBezTo>
                  <a:pt x="940" y="1022"/>
                  <a:pt x="940" y="1020"/>
                  <a:pt x="940" y="1019"/>
                </a:cubicBezTo>
                <a:cubicBezTo>
                  <a:pt x="940" y="1016"/>
                  <a:pt x="941" y="1013"/>
                  <a:pt x="945" y="1013"/>
                </a:cubicBezTo>
                <a:cubicBezTo>
                  <a:pt x="945" y="1013"/>
                  <a:pt x="945" y="1013"/>
                  <a:pt x="946" y="1013"/>
                </a:cubicBezTo>
                <a:cubicBezTo>
                  <a:pt x="946" y="1013"/>
                  <a:pt x="946" y="1013"/>
                  <a:pt x="946" y="1004"/>
                </a:cubicBezTo>
                <a:cubicBezTo>
                  <a:pt x="946" y="1004"/>
                  <a:pt x="946" y="1004"/>
                  <a:pt x="943" y="1004"/>
                </a:cubicBezTo>
                <a:cubicBezTo>
                  <a:pt x="934" y="1004"/>
                  <a:pt x="928" y="1008"/>
                  <a:pt x="928" y="1017"/>
                </a:cubicBezTo>
                <a:cubicBezTo>
                  <a:pt x="928" y="1019"/>
                  <a:pt x="929" y="1022"/>
                  <a:pt x="929" y="1024"/>
                </a:cubicBezTo>
                <a:cubicBezTo>
                  <a:pt x="929" y="1026"/>
                  <a:pt x="929" y="1029"/>
                  <a:pt x="929" y="1031"/>
                </a:cubicBezTo>
                <a:cubicBezTo>
                  <a:pt x="929" y="1033"/>
                  <a:pt x="929" y="1037"/>
                  <a:pt x="923" y="1037"/>
                </a:cubicBezTo>
                <a:close/>
                <a:moveTo>
                  <a:pt x="978" y="1045"/>
                </a:moveTo>
                <a:cubicBezTo>
                  <a:pt x="978" y="1045"/>
                  <a:pt x="978" y="1045"/>
                  <a:pt x="978" y="1045"/>
                </a:cubicBezTo>
                <a:cubicBezTo>
                  <a:pt x="978" y="1037"/>
                  <a:pt x="978" y="1037"/>
                  <a:pt x="978" y="1037"/>
                </a:cubicBezTo>
                <a:cubicBezTo>
                  <a:pt x="971" y="1037"/>
                  <a:pt x="971" y="1033"/>
                  <a:pt x="971" y="1031"/>
                </a:cubicBezTo>
                <a:cubicBezTo>
                  <a:pt x="971" y="1029"/>
                  <a:pt x="971" y="1026"/>
                  <a:pt x="971" y="1024"/>
                </a:cubicBezTo>
                <a:cubicBezTo>
                  <a:pt x="972" y="1022"/>
                  <a:pt x="972" y="1019"/>
                  <a:pt x="972" y="1017"/>
                </a:cubicBezTo>
                <a:cubicBezTo>
                  <a:pt x="972" y="1008"/>
                  <a:pt x="966" y="1004"/>
                  <a:pt x="957" y="1004"/>
                </a:cubicBezTo>
                <a:cubicBezTo>
                  <a:pt x="957" y="1004"/>
                  <a:pt x="957" y="1004"/>
                  <a:pt x="953" y="1004"/>
                </a:cubicBezTo>
                <a:cubicBezTo>
                  <a:pt x="953" y="1004"/>
                  <a:pt x="953" y="1004"/>
                  <a:pt x="953" y="1013"/>
                </a:cubicBezTo>
                <a:cubicBezTo>
                  <a:pt x="953" y="1013"/>
                  <a:pt x="953" y="1013"/>
                  <a:pt x="955" y="1013"/>
                </a:cubicBezTo>
                <a:cubicBezTo>
                  <a:pt x="958" y="1013"/>
                  <a:pt x="960" y="1016"/>
                  <a:pt x="960" y="1019"/>
                </a:cubicBezTo>
                <a:cubicBezTo>
                  <a:pt x="960" y="1020"/>
                  <a:pt x="960" y="1022"/>
                  <a:pt x="960" y="1024"/>
                </a:cubicBezTo>
                <a:cubicBezTo>
                  <a:pt x="959" y="1026"/>
                  <a:pt x="959" y="1027"/>
                  <a:pt x="959" y="1030"/>
                </a:cubicBezTo>
                <a:cubicBezTo>
                  <a:pt x="959" y="1037"/>
                  <a:pt x="962" y="1040"/>
                  <a:pt x="968" y="1041"/>
                </a:cubicBezTo>
                <a:cubicBezTo>
                  <a:pt x="968" y="1041"/>
                  <a:pt x="968" y="1041"/>
                  <a:pt x="968" y="1041"/>
                </a:cubicBezTo>
                <a:cubicBezTo>
                  <a:pt x="962" y="1042"/>
                  <a:pt x="959" y="1045"/>
                  <a:pt x="959" y="1052"/>
                </a:cubicBezTo>
                <a:cubicBezTo>
                  <a:pt x="959" y="1055"/>
                  <a:pt x="959" y="1057"/>
                  <a:pt x="960" y="1058"/>
                </a:cubicBezTo>
                <a:cubicBezTo>
                  <a:pt x="960" y="1060"/>
                  <a:pt x="960" y="1062"/>
                  <a:pt x="960" y="1063"/>
                </a:cubicBezTo>
                <a:cubicBezTo>
                  <a:pt x="960" y="1066"/>
                  <a:pt x="959" y="1069"/>
                  <a:pt x="955" y="1069"/>
                </a:cubicBezTo>
                <a:cubicBezTo>
                  <a:pt x="955" y="1069"/>
                  <a:pt x="955" y="1069"/>
                  <a:pt x="953" y="1069"/>
                </a:cubicBezTo>
                <a:cubicBezTo>
                  <a:pt x="953" y="1069"/>
                  <a:pt x="953" y="1069"/>
                  <a:pt x="953" y="1078"/>
                </a:cubicBezTo>
                <a:cubicBezTo>
                  <a:pt x="953" y="1078"/>
                  <a:pt x="953" y="1078"/>
                  <a:pt x="957" y="1078"/>
                </a:cubicBezTo>
                <a:cubicBezTo>
                  <a:pt x="966" y="1078"/>
                  <a:pt x="972" y="1075"/>
                  <a:pt x="972" y="1065"/>
                </a:cubicBezTo>
                <a:cubicBezTo>
                  <a:pt x="972" y="1063"/>
                  <a:pt x="972" y="1061"/>
                  <a:pt x="971" y="1058"/>
                </a:cubicBezTo>
                <a:cubicBezTo>
                  <a:pt x="971" y="1056"/>
                  <a:pt x="971" y="1053"/>
                  <a:pt x="971" y="1051"/>
                </a:cubicBezTo>
                <a:cubicBezTo>
                  <a:pt x="971" y="1049"/>
                  <a:pt x="971" y="1046"/>
                  <a:pt x="978" y="1045"/>
                </a:cubicBezTo>
                <a:close/>
                <a:moveTo>
                  <a:pt x="1447" y="1078"/>
                </a:moveTo>
                <a:cubicBezTo>
                  <a:pt x="1440" y="1078"/>
                  <a:pt x="1434" y="1075"/>
                  <a:pt x="1429" y="1068"/>
                </a:cubicBezTo>
                <a:cubicBezTo>
                  <a:pt x="1425" y="1063"/>
                  <a:pt x="1423" y="1053"/>
                  <a:pt x="1423" y="1042"/>
                </a:cubicBezTo>
                <a:cubicBezTo>
                  <a:pt x="1423" y="1028"/>
                  <a:pt x="1425" y="1019"/>
                  <a:pt x="1429" y="1012"/>
                </a:cubicBezTo>
                <a:cubicBezTo>
                  <a:pt x="1434" y="1005"/>
                  <a:pt x="1440" y="1002"/>
                  <a:pt x="1449" y="1002"/>
                </a:cubicBezTo>
                <a:cubicBezTo>
                  <a:pt x="1465" y="1002"/>
                  <a:pt x="1473" y="1015"/>
                  <a:pt x="1473" y="1039"/>
                </a:cubicBezTo>
                <a:cubicBezTo>
                  <a:pt x="1473" y="1052"/>
                  <a:pt x="1471" y="1062"/>
                  <a:pt x="1467" y="1068"/>
                </a:cubicBezTo>
                <a:cubicBezTo>
                  <a:pt x="1462" y="1075"/>
                  <a:pt x="1456" y="1078"/>
                  <a:pt x="1447" y="1078"/>
                </a:cubicBezTo>
                <a:close/>
                <a:moveTo>
                  <a:pt x="1448" y="1012"/>
                </a:moveTo>
                <a:cubicBezTo>
                  <a:pt x="1440" y="1012"/>
                  <a:pt x="1435" y="1021"/>
                  <a:pt x="1435" y="1041"/>
                </a:cubicBezTo>
                <a:cubicBezTo>
                  <a:pt x="1435" y="1059"/>
                  <a:pt x="1440" y="1068"/>
                  <a:pt x="1448" y="1068"/>
                </a:cubicBezTo>
                <a:cubicBezTo>
                  <a:pt x="1456" y="1068"/>
                  <a:pt x="1461" y="1059"/>
                  <a:pt x="1461" y="1041"/>
                </a:cubicBezTo>
                <a:cubicBezTo>
                  <a:pt x="1461" y="1021"/>
                  <a:pt x="1457" y="1012"/>
                  <a:pt x="1448" y="1012"/>
                </a:cubicBezTo>
                <a:close/>
                <a:moveTo>
                  <a:pt x="1565" y="1078"/>
                </a:moveTo>
                <a:cubicBezTo>
                  <a:pt x="1557" y="1078"/>
                  <a:pt x="1552" y="1075"/>
                  <a:pt x="1547" y="1068"/>
                </a:cubicBezTo>
                <a:cubicBezTo>
                  <a:pt x="1543" y="1063"/>
                  <a:pt x="1541" y="1053"/>
                  <a:pt x="1541" y="1042"/>
                </a:cubicBezTo>
                <a:cubicBezTo>
                  <a:pt x="1541" y="1028"/>
                  <a:pt x="1543" y="1019"/>
                  <a:pt x="1547" y="1012"/>
                </a:cubicBezTo>
                <a:cubicBezTo>
                  <a:pt x="1552" y="1005"/>
                  <a:pt x="1558" y="1002"/>
                  <a:pt x="1567" y="1002"/>
                </a:cubicBezTo>
                <a:cubicBezTo>
                  <a:pt x="1583" y="1002"/>
                  <a:pt x="1591" y="1015"/>
                  <a:pt x="1591" y="1039"/>
                </a:cubicBezTo>
                <a:cubicBezTo>
                  <a:pt x="1591" y="1052"/>
                  <a:pt x="1589" y="1062"/>
                  <a:pt x="1584" y="1068"/>
                </a:cubicBezTo>
                <a:cubicBezTo>
                  <a:pt x="1579" y="1075"/>
                  <a:pt x="1574" y="1078"/>
                  <a:pt x="1565" y="1078"/>
                </a:cubicBezTo>
                <a:close/>
                <a:moveTo>
                  <a:pt x="1566" y="1012"/>
                </a:moveTo>
                <a:cubicBezTo>
                  <a:pt x="1557" y="1012"/>
                  <a:pt x="1553" y="1021"/>
                  <a:pt x="1553" y="1041"/>
                </a:cubicBezTo>
                <a:cubicBezTo>
                  <a:pt x="1553" y="1059"/>
                  <a:pt x="1557" y="1068"/>
                  <a:pt x="1566" y="1068"/>
                </a:cubicBezTo>
                <a:cubicBezTo>
                  <a:pt x="1574" y="1068"/>
                  <a:pt x="1579" y="1059"/>
                  <a:pt x="1579" y="1041"/>
                </a:cubicBezTo>
                <a:cubicBezTo>
                  <a:pt x="1579" y="1021"/>
                  <a:pt x="1575" y="1012"/>
                  <a:pt x="1566" y="1012"/>
                </a:cubicBezTo>
                <a:close/>
                <a:moveTo>
                  <a:pt x="1520" y="1005"/>
                </a:moveTo>
                <a:cubicBezTo>
                  <a:pt x="1520" y="1005"/>
                  <a:pt x="1520" y="1005"/>
                  <a:pt x="1520" y="1005"/>
                </a:cubicBezTo>
                <a:cubicBezTo>
                  <a:pt x="1515" y="1005"/>
                  <a:pt x="1515" y="1005"/>
                  <a:pt x="1515" y="1005"/>
                </a:cubicBezTo>
                <a:cubicBezTo>
                  <a:pt x="1513" y="1006"/>
                  <a:pt x="1512" y="1007"/>
                  <a:pt x="1510" y="1008"/>
                </a:cubicBezTo>
                <a:cubicBezTo>
                  <a:pt x="1508" y="1010"/>
                  <a:pt x="1506" y="1010"/>
                  <a:pt x="1505" y="1011"/>
                </a:cubicBezTo>
                <a:cubicBezTo>
                  <a:pt x="1503" y="1012"/>
                  <a:pt x="1501" y="1013"/>
                  <a:pt x="1499" y="1013"/>
                </a:cubicBezTo>
                <a:cubicBezTo>
                  <a:pt x="1497" y="1014"/>
                  <a:pt x="1496" y="1015"/>
                  <a:pt x="1494" y="1015"/>
                </a:cubicBezTo>
                <a:cubicBezTo>
                  <a:pt x="1494" y="1015"/>
                  <a:pt x="1494" y="1015"/>
                  <a:pt x="1494" y="1026"/>
                </a:cubicBezTo>
                <a:cubicBezTo>
                  <a:pt x="1497" y="1025"/>
                  <a:pt x="1499" y="1023"/>
                  <a:pt x="1502" y="1023"/>
                </a:cubicBezTo>
                <a:cubicBezTo>
                  <a:pt x="1505" y="1022"/>
                  <a:pt x="1507" y="1021"/>
                  <a:pt x="1509" y="1019"/>
                </a:cubicBezTo>
                <a:cubicBezTo>
                  <a:pt x="1509" y="1019"/>
                  <a:pt x="1509" y="1019"/>
                  <a:pt x="1509" y="1078"/>
                </a:cubicBezTo>
                <a:cubicBezTo>
                  <a:pt x="1509" y="1078"/>
                  <a:pt x="1509" y="1078"/>
                  <a:pt x="1520" y="1078"/>
                </a:cubicBezTo>
                <a:cubicBezTo>
                  <a:pt x="1520" y="1078"/>
                  <a:pt x="1520" y="1078"/>
                  <a:pt x="1520" y="1005"/>
                </a:cubicBezTo>
                <a:close/>
                <a:moveTo>
                  <a:pt x="1636" y="1078"/>
                </a:moveTo>
                <a:cubicBezTo>
                  <a:pt x="1628" y="1078"/>
                  <a:pt x="1622" y="1075"/>
                  <a:pt x="1618" y="1069"/>
                </a:cubicBezTo>
                <a:cubicBezTo>
                  <a:pt x="1614" y="1063"/>
                  <a:pt x="1612" y="1054"/>
                  <a:pt x="1612" y="1042"/>
                </a:cubicBezTo>
                <a:cubicBezTo>
                  <a:pt x="1612" y="1028"/>
                  <a:pt x="1614" y="1019"/>
                  <a:pt x="1618" y="1012"/>
                </a:cubicBezTo>
                <a:cubicBezTo>
                  <a:pt x="1623" y="1006"/>
                  <a:pt x="1629" y="1002"/>
                  <a:pt x="1638" y="1002"/>
                </a:cubicBezTo>
                <a:cubicBezTo>
                  <a:pt x="1654" y="1002"/>
                  <a:pt x="1662" y="1015"/>
                  <a:pt x="1662" y="1040"/>
                </a:cubicBezTo>
                <a:cubicBezTo>
                  <a:pt x="1662" y="1052"/>
                  <a:pt x="1660" y="1062"/>
                  <a:pt x="1656" y="1068"/>
                </a:cubicBezTo>
                <a:cubicBezTo>
                  <a:pt x="1650" y="1075"/>
                  <a:pt x="1645" y="1078"/>
                  <a:pt x="1636" y="1078"/>
                </a:cubicBezTo>
                <a:close/>
                <a:moveTo>
                  <a:pt x="1637" y="1012"/>
                </a:moveTo>
                <a:cubicBezTo>
                  <a:pt x="1628" y="1012"/>
                  <a:pt x="1623" y="1022"/>
                  <a:pt x="1623" y="1042"/>
                </a:cubicBezTo>
                <a:cubicBezTo>
                  <a:pt x="1623" y="1060"/>
                  <a:pt x="1628" y="1068"/>
                  <a:pt x="1637" y="1068"/>
                </a:cubicBezTo>
                <a:cubicBezTo>
                  <a:pt x="1645" y="1068"/>
                  <a:pt x="1650" y="1060"/>
                  <a:pt x="1650" y="1041"/>
                </a:cubicBezTo>
                <a:cubicBezTo>
                  <a:pt x="1650" y="1021"/>
                  <a:pt x="1645" y="1012"/>
                  <a:pt x="1637" y="1012"/>
                </a:cubicBezTo>
                <a:close/>
                <a:moveTo>
                  <a:pt x="1683" y="1037"/>
                </a:moveTo>
                <a:cubicBezTo>
                  <a:pt x="1683" y="1037"/>
                  <a:pt x="1683" y="1037"/>
                  <a:pt x="1683" y="1037"/>
                </a:cubicBezTo>
                <a:cubicBezTo>
                  <a:pt x="1683" y="1045"/>
                  <a:pt x="1683" y="1045"/>
                  <a:pt x="1683" y="1045"/>
                </a:cubicBezTo>
                <a:cubicBezTo>
                  <a:pt x="1689" y="1046"/>
                  <a:pt x="1690" y="1049"/>
                  <a:pt x="1690" y="1051"/>
                </a:cubicBezTo>
                <a:cubicBezTo>
                  <a:pt x="1690" y="1053"/>
                  <a:pt x="1689" y="1056"/>
                  <a:pt x="1689" y="1058"/>
                </a:cubicBezTo>
                <a:cubicBezTo>
                  <a:pt x="1689" y="1061"/>
                  <a:pt x="1689" y="1063"/>
                  <a:pt x="1689" y="1065"/>
                </a:cubicBezTo>
                <a:cubicBezTo>
                  <a:pt x="1689" y="1075"/>
                  <a:pt x="1695" y="1078"/>
                  <a:pt x="1703" y="1078"/>
                </a:cubicBezTo>
                <a:cubicBezTo>
                  <a:pt x="1703" y="1078"/>
                  <a:pt x="1703" y="1078"/>
                  <a:pt x="1707" y="1078"/>
                </a:cubicBezTo>
                <a:cubicBezTo>
                  <a:pt x="1707" y="1078"/>
                  <a:pt x="1707" y="1078"/>
                  <a:pt x="1707" y="1069"/>
                </a:cubicBezTo>
                <a:cubicBezTo>
                  <a:pt x="1707" y="1069"/>
                  <a:pt x="1707" y="1069"/>
                  <a:pt x="1705" y="1069"/>
                </a:cubicBezTo>
                <a:cubicBezTo>
                  <a:pt x="1702" y="1069"/>
                  <a:pt x="1700" y="1066"/>
                  <a:pt x="1700" y="1063"/>
                </a:cubicBezTo>
                <a:cubicBezTo>
                  <a:pt x="1700" y="1062"/>
                  <a:pt x="1700" y="1060"/>
                  <a:pt x="1701" y="1058"/>
                </a:cubicBezTo>
                <a:cubicBezTo>
                  <a:pt x="1701" y="1057"/>
                  <a:pt x="1701" y="1055"/>
                  <a:pt x="1701" y="1052"/>
                </a:cubicBezTo>
                <a:cubicBezTo>
                  <a:pt x="1701" y="1045"/>
                  <a:pt x="1698" y="1042"/>
                  <a:pt x="1693" y="1041"/>
                </a:cubicBezTo>
                <a:cubicBezTo>
                  <a:pt x="1693" y="1041"/>
                  <a:pt x="1693" y="1041"/>
                  <a:pt x="1693" y="1041"/>
                </a:cubicBezTo>
                <a:cubicBezTo>
                  <a:pt x="1698" y="1040"/>
                  <a:pt x="1701" y="1037"/>
                  <a:pt x="1701" y="1030"/>
                </a:cubicBezTo>
                <a:cubicBezTo>
                  <a:pt x="1701" y="1027"/>
                  <a:pt x="1701" y="1026"/>
                  <a:pt x="1701" y="1024"/>
                </a:cubicBezTo>
                <a:cubicBezTo>
                  <a:pt x="1700" y="1022"/>
                  <a:pt x="1700" y="1020"/>
                  <a:pt x="1700" y="1019"/>
                </a:cubicBezTo>
                <a:cubicBezTo>
                  <a:pt x="1700" y="1016"/>
                  <a:pt x="1702" y="1013"/>
                  <a:pt x="1705" y="1013"/>
                </a:cubicBezTo>
                <a:cubicBezTo>
                  <a:pt x="1705" y="1013"/>
                  <a:pt x="1705" y="1013"/>
                  <a:pt x="1707" y="1013"/>
                </a:cubicBezTo>
                <a:cubicBezTo>
                  <a:pt x="1707" y="1013"/>
                  <a:pt x="1707" y="1013"/>
                  <a:pt x="1707" y="1004"/>
                </a:cubicBezTo>
                <a:cubicBezTo>
                  <a:pt x="1707" y="1004"/>
                  <a:pt x="1707" y="1004"/>
                  <a:pt x="1703" y="1004"/>
                </a:cubicBezTo>
                <a:cubicBezTo>
                  <a:pt x="1694" y="1004"/>
                  <a:pt x="1689" y="1008"/>
                  <a:pt x="1689" y="1017"/>
                </a:cubicBezTo>
                <a:cubicBezTo>
                  <a:pt x="1689" y="1019"/>
                  <a:pt x="1689" y="1022"/>
                  <a:pt x="1689" y="1024"/>
                </a:cubicBezTo>
                <a:cubicBezTo>
                  <a:pt x="1689" y="1026"/>
                  <a:pt x="1690" y="1029"/>
                  <a:pt x="1690" y="1031"/>
                </a:cubicBezTo>
                <a:cubicBezTo>
                  <a:pt x="1690" y="1033"/>
                  <a:pt x="1689" y="1037"/>
                  <a:pt x="1683" y="1037"/>
                </a:cubicBezTo>
                <a:close/>
                <a:moveTo>
                  <a:pt x="1737" y="1045"/>
                </a:moveTo>
                <a:cubicBezTo>
                  <a:pt x="1737" y="1045"/>
                  <a:pt x="1737" y="1045"/>
                  <a:pt x="1737" y="1045"/>
                </a:cubicBezTo>
                <a:cubicBezTo>
                  <a:pt x="1737" y="1037"/>
                  <a:pt x="1737" y="1037"/>
                  <a:pt x="1737" y="1037"/>
                </a:cubicBezTo>
                <a:cubicBezTo>
                  <a:pt x="1731" y="1037"/>
                  <a:pt x="1731" y="1033"/>
                  <a:pt x="1731" y="1031"/>
                </a:cubicBezTo>
                <a:cubicBezTo>
                  <a:pt x="1731" y="1029"/>
                  <a:pt x="1731" y="1026"/>
                  <a:pt x="1731" y="1024"/>
                </a:cubicBezTo>
                <a:cubicBezTo>
                  <a:pt x="1732" y="1022"/>
                  <a:pt x="1732" y="1019"/>
                  <a:pt x="1732" y="1017"/>
                </a:cubicBezTo>
                <a:cubicBezTo>
                  <a:pt x="1732" y="1008"/>
                  <a:pt x="1726" y="1004"/>
                  <a:pt x="1717" y="1004"/>
                </a:cubicBezTo>
                <a:cubicBezTo>
                  <a:pt x="1717" y="1004"/>
                  <a:pt x="1717" y="1004"/>
                  <a:pt x="1713" y="1004"/>
                </a:cubicBezTo>
                <a:cubicBezTo>
                  <a:pt x="1713" y="1004"/>
                  <a:pt x="1713" y="1004"/>
                  <a:pt x="1713" y="1013"/>
                </a:cubicBezTo>
                <a:cubicBezTo>
                  <a:pt x="1713" y="1013"/>
                  <a:pt x="1713" y="1013"/>
                  <a:pt x="1715" y="1013"/>
                </a:cubicBezTo>
                <a:cubicBezTo>
                  <a:pt x="1719" y="1013"/>
                  <a:pt x="1720" y="1016"/>
                  <a:pt x="1720" y="1019"/>
                </a:cubicBezTo>
                <a:cubicBezTo>
                  <a:pt x="1720" y="1020"/>
                  <a:pt x="1720" y="1022"/>
                  <a:pt x="1720" y="1024"/>
                </a:cubicBezTo>
                <a:cubicBezTo>
                  <a:pt x="1719" y="1026"/>
                  <a:pt x="1719" y="1027"/>
                  <a:pt x="1719" y="1030"/>
                </a:cubicBezTo>
                <a:cubicBezTo>
                  <a:pt x="1719" y="1037"/>
                  <a:pt x="1722" y="1040"/>
                  <a:pt x="1728" y="1041"/>
                </a:cubicBezTo>
                <a:cubicBezTo>
                  <a:pt x="1728" y="1041"/>
                  <a:pt x="1728" y="1041"/>
                  <a:pt x="1728" y="1041"/>
                </a:cubicBezTo>
                <a:cubicBezTo>
                  <a:pt x="1722" y="1042"/>
                  <a:pt x="1719" y="1045"/>
                  <a:pt x="1719" y="1052"/>
                </a:cubicBezTo>
                <a:cubicBezTo>
                  <a:pt x="1719" y="1055"/>
                  <a:pt x="1719" y="1057"/>
                  <a:pt x="1720" y="1058"/>
                </a:cubicBezTo>
                <a:cubicBezTo>
                  <a:pt x="1720" y="1060"/>
                  <a:pt x="1720" y="1062"/>
                  <a:pt x="1720" y="1063"/>
                </a:cubicBezTo>
                <a:cubicBezTo>
                  <a:pt x="1720" y="1066"/>
                  <a:pt x="1719" y="1069"/>
                  <a:pt x="1715" y="1069"/>
                </a:cubicBezTo>
                <a:cubicBezTo>
                  <a:pt x="1715" y="1069"/>
                  <a:pt x="1715" y="1069"/>
                  <a:pt x="1713" y="1069"/>
                </a:cubicBezTo>
                <a:cubicBezTo>
                  <a:pt x="1713" y="1069"/>
                  <a:pt x="1713" y="1069"/>
                  <a:pt x="1713" y="1078"/>
                </a:cubicBezTo>
                <a:cubicBezTo>
                  <a:pt x="1713" y="1078"/>
                  <a:pt x="1713" y="1078"/>
                  <a:pt x="1717" y="1078"/>
                </a:cubicBezTo>
                <a:cubicBezTo>
                  <a:pt x="1726" y="1078"/>
                  <a:pt x="1732" y="1075"/>
                  <a:pt x="1732" y="1065"/>
                </a:cubicBezTo>
                <a:cubicBezTo>
                  <a:pt x="1732" y="1063"/>
                  <a:pt x="1732" y="1061"/>
                  <a:pt x="1731" y="1058"/>
                </a:cubicBezTo>
                <a:cubicBezTo>
                  <a:pt x="1731" y="1056"/>
                  <a:pt x="1731" y="1053"/>
                  <a:pt x="1731" y="1051"/>
                </a:cubicBezTo>
                <a:cubicBezTo>
                  <a:pt x="1731" y="1049"/>
                  <a:pt x="1731" y="1046"/>
                  <a:pt x="1737" y="1045"/>
                </a:cubicBezTo>
                <a:close/>
                <a:moveTo>
                  <a:pt x="1858" y="1078"/>
                </a:moveTo>
                <a:cubicBezTo>
                  <a:pt x="1850" y="1078"/>
                  <a:pt x="1844" y="1075"/>
                  <a:pt x="1839" y="1069"/>
                </a:cubicBezTo>
                <a:cubicBezTo>
                  <a:pt x="1836" y="1063"/>
                  <a:pt x="1833" y="1054"/>
                  <a:pt x="1833" y="1042"/>
                </a:cubicBezTo>
                <a:cubicBezTo>
                  <a:pt x="1833" y="1028"/>
                  <a:pt x="1836" y="1019"/>
                  <a:pt x="1840" y="1012"/>
                </a:cubicBezTo>
                <a:cubicBezTo>
                  <a:pt x="1845" y="1006"/>
                  <a:pt x="1851" y="1002"/>
                  <a:pt x="1860" y="1002"/>
                </a:cubicBezTo>
                <a:cubicBezTo>
                  <a:pt x="1876" y="1002"/>
                  <a:pt x="1884" y="1015"/>
                  <a:pt x="1884" y="1040"/>
                </a:cubicBezTo>
                <a:cubicBezTo>
                  <a:pt x="1884" y="1052"/>
                  <a:pt x="1882" y="1062"/>
                  <a:pt x="1877" y="1068"/>
                </a:cubicBezTo>
                <a:cubicBezTo>
                  <a:pt x="1873" y="1075"/>
                  <a:pt x="1866" y="1078"/>
                  <a:pt x="1858" y="1078"/>
                </a:cubicBezTo>
                <a:close/>
                <a:moveTo>
                  <a:pt x="1859" y="1012"/>
                </a:moveTo>
                <a:cubicBezTo>
                  <a:pt x="1850" y="1012"/>
                  <a:pt x="1845" y="1022"/>
                  <a:pt x="1845" y="1042"/>
                </a:cubicBezTo>
                <a:cubicBezTo>
                  <a:pt x="1845" y="1060"/>
                  <a:pt x="1850" y="1068"/>
                  <a:pt x="1859" y="1068"/>
                </a:cubicBezTo>
                <a:cubicBezTo>
                  <a:pt x="1867" y="1068"/>
                  <a:pt x="1872" y="1060"/>
                  <a:pt x="1872" y="1041"/>
                </a:cubicBezTo>
                <a:cubicBezTo>
                  <a:pt x="1872" y="1021"/>
                  <a:pt x="1867" y="1012"/>
                  <a:pt x="1859" y="1012"/>
                </a:cubicBezTo>
                <a:close/>
                <a:moveTo>
                  <a:pt x="1932" y="1005"/>
                </a:moveTo>
                <a:cubicBezTo>
                  <a:pt x="1932" y="1005"/>
                  <a:pt x="1932" y="1005"/>
                  <a:pt x="1932" y="1005"/>
                </a:cubicBezTo>
                <a:cubicBezTo>
                  <a:pt x="1927" y="1005"/>
                  <a:pt x="1927" y="1005"/>
                  <a:pt x="1927" y="1005"/>
                </a:cubicBezTo>
                <a:cubicBezTo>
                  <a:pt x="1924" y="1006"/>
                  <a:pt x="1923" y="1007"/>
                  <a:pt x="1921" y="1008"/>
                </a:cubicBezTo>
                <a:cubicBezTo>
                  <a:pt x="1919" y="1010"/>
                  <a:pt x="1917" y="1010"/>
                  <a:pt x="1916" y="1011"/>
                </a:cubicBezTo>
                <a:cubicBezTo>
                  <a:pt x="1913" y="1012"/>
                  <a:pt x="1912" y="1013"/>
                  <a:pt x="1910" y="1013"/>
                </a:cubicBezTo>
                <a:cubicBezTo>
                  <a:pt x="1908" y="1014"/>
                  <a:pt x="1907" y="1015"/>
                  <a:pt x="1904" y="1015"/>
                </a:cubicBezTo>
                <a:cubicBezTo>
                  <a:pt x="1904" y="1015"/>
                  <a:pt x="1904" y="1015"/>
                  <a:pt x="1904" y="1026"/>
                </a:cubicBezTo>
                <a:cubicBezTo>
                  <a:pt x="1907" y="1025"/>
                  <a:pt x="1910" y="1023"/>
                  <a:pt x="1913" y="1023"/>
                </a:cubicBezTo>
                <a:cubicBezTo>
                  <a:pt x="1916" y="1022"/>
                  <a:pt x="1918" y="1021"/>
                  <a:pt x="1920" y="1019"/>
                </a:cubicBezTo>
                <a:cubicBezTo>
                  <a:pt x="1920" y="1019"/>
                  <a:pt x="1920" y="1019"/>
                  <a:pt x="1920" y="1078"/>
                </a:cubicBezTo>
                <a:cubicBezTo>
                  <a:pt x="1920" y="1078"/>
                  <a:pt x="1920" y="1078"/>
                  <a:pt x="1932" y="1078"/>
                </a:cubicBezTo>
                <a:cubicBezTo>
                  <a:pt x="1932" y="1078"/>
                  <a:pt x="1932" y="1078"/>
                  <a:pt x="1932" y="1005"/>
                </a:cubicBezTo>
                <a:close/>
                <a:moveTo>
                  <a:pt x="128" y="957"/>
                </a:moveTo>
                <a:cubicBezTo>
                  <a:pt x="128" y="958"/>
                  <a:pt x="129" y="960"/>
                  <a:pt x="130" y="961"/>
                </a:cubicBezTo>
                <a:cubicBezTo>
                  <a:pt x="130" y="963"/>
                  <a:pt x="130" y="965"/>
                  <a:pt x="131" y="966"/>
                </a:cubicBezTo>
                <a:cubicBezTo>
                  <a:pt x="131" y="968"/>
                  <a:pt x="131" y="969"/>
                  <a:pt x="131" y="971"/>
                </a:cubicBezTo>
                <a:cubicBezTo>
                  <a:pt x="132" y="974"/>
                  <a:pt x="131" y="976"/>
                  <a:pt x="128" y="976"/>
                </a:cubicBezTo>
                <a:cubicBezTo>
                  <a:pt x="125" y="976"/>
                  <a:pt x="122" y="975"/>
                  <a:pt x="119" y="975"/>
                </a:cubicBezTo>
                <a:cubicBezTo>
                  <a:pt x="119" y="975"/>
                  <a:pt x="118" y="975"/>
                  <a:pt x="118" y="976"/>
                </a:cubicBezTo>
                <a:cubicBezTo>
                  <a:pt x="116" y="977"/>
                  <a:pt x="115" y="979"/>
                  <a:pt x="114" y="980"/>
                </a:cubicBezTo>
                <a:cubicBezTo>
                  <a:pt x="112" y="983"/>
                  <a:pt x="108" y="983"/>
                  <a:pt x="106" y="981"/>
                </a:cubicBezTo>
                <a:cubicBezTo>
                  <a:pt x="104" y="979"/>
                  <a:pt x="103" y="976"/>
                  <a:pt x="101" y="973"/>
                </a:cubicBezTo>
                <a:cubicBezTo>
                  <a:pt x="101" y="972"/>
                  <a:pt x="101" y="970"/>
                  <a:pt x="103" y="969"/>
                </a:cubicBezTo>
                <a:cubicBezTo>
                  <a:pt x="101" y="969"/>
                  <a:pt x="99" y="969"/>
                  <a:pt x="97" y="969"/>
                </a:cubicBezTo>
                <a:cubicBezTo>
                  <a:pt x="97" y="971"/>
                  <a:pt x="95" y="973"/>
                  <a:pt x="95" y="975"/>
                </a:cubicBezTo>
                <a:cubicBezTo>
                  <a:pt x="95" y="975"/>
                  <a:pt x="94" y="976"/>
                  <a:pt x="94" y="977"/>
                </a:cubicBezTo>
                <a:cubicBezTo>
                  <a:pt x="94" y="980"/>
                  <a:pt x="93" y="981"/>
                  <a:pt x="90" y="981"/>
                </a:cubicBezTo>
                <a:cubicBezTo>
                  <a:pt x="87" y="981"/>
                  <a:pt x="84" y="980"/>
                  <a:pt x="81" y="979"/>
                </a:cubicBezTo>
                <a:cubicBezTo>
                  <a:pt x="79" y="978"/>
                  <a:pt x="79" y="977"/>
                  <a:pt x="79" y="975"/>
                </a:cubicBezTo>
                <a:cubicBezTo>
                  <a:pt x="79" y="974"/>
                  <a:pt x="79" y="973"/>
                  <a:pt x="80" y="973"/>
                </a:cubicBezTo>
                <a:cubicBezTo>
                  <a:pt x="77" y="972"/>
                  <a:pt x="75" y="971"/>
                  <a:pt x="73" y="969"/>
                </a:cubicBezTo>
                <a:cubicBezTo>
                  <a:pt x="72" y="969"/>
                  <a:pt x="71" y="967"/>
                  <a:pt x="70" y="965"/>
                </a:cubicBezTo>
                <a:cubicBezTo>
                  <a:pt x="69" y="963"/>
                  <a:pt x="69" y="962"/>
                  <a:pt x="71" y="960"/>
                </a:cubicBezTo>
                <a:cubicBezTo>
                  <a:pt x="74" y="958"/>
                  <a:pt x="75" y="955"/>
                  <a:pt x="74" y="951"/>
                </a:cubicBezTo>
                <a:cubicBezTo>
                  <a:pt x="74" y="949"/>
                  <a:pt x="74" y="947"/>
                  <a:pt x="74" y="945"/>
                </a:cubicBezTo>
                <a:cubicBezTo>
                  <a:pt x="73" y="944"/>
                  <a:pt x="71" y="944"/>
                  <a:pt x="70" y="943"/>
                </a:cubicBezTo>
                <a:cubicBezTo>
                  <a:pt x="69" y="941"/>
                  <a:pt x="68" y="939"/>
                  <a:pt x="68" y="937"/>
                </a:cubicBezTo>
                <a:cubicBezTo>
                  <a:pt x="68" y="934"/>
                  <a:pt x="72" y="931"/>
                  <a:pt x="74" y="931"/>
                </a:cubicBezTo>
                <a:cubicBezTo>
                  <a:pt x="75" y="931"/>
                  <a:pt x="75" y="932"/>
                  <a:pt x="75" y="933"/>
                </a:cubicBezTo>
                <a:cubicBezTo>
                  <a:pt x="75" y="934"/>
                  <a:pt x="75" y="935"/>
                  <a:pt x="75" y="936"/>
                </a:cubicBezTo>
                <a:cubicBezTo>
                  <a:pt x="75" y="936"/>
                  <a:pt x="74" y="936"/>
                  <a:pt x="74" y="936"/>
                </a:cubicBezTo>
                <a:cubicBezTo>
                  <a:pt x="74" y="937"/>
                  <a:pt x="73" y="938"/>
                  <a:pt x="72" y="940"/>
                </a:cubicBezTo>
                <a:cubicBezTo>
                  <a:pt x="74" y="940"/>
                  <a:pt x="74" y="940"/>
                  <a:pt x="75" y="939"/>
                </a:cubicBezTo>
                <a:cubicBezTo>
                  <a:pt x="76" y="938"/>
                  <a:pt x="77" y="937"/>
                  <a:pt x="77" y="936"/>
                </a:cubicBezTo>
                <a:cubicBezTo>
                  <a:pt x="82" y="929"/>
                  <a:pt x="88" y="926"/>
                  <a:pt x="95" y="924"/>
                </a:cubicBezTo>
                <a:cubicBezTo>
                  <a:pt x="99" y="924"/>
                  <a:pt x="102" y="922"/>
                  <a:pt x="104" y="920"/>
                </a:cubicBezTo>
                <a:cubicBezTo>
                  <a:pt x="104" y="919"/>
                  <a:pt x="105" y="919"/>
                  <a:pt x="105" y="919"/>
                </a:cubicBezTo>
                <a:cubicBezTo>
                  <a:pt x="108" y="918"/>
                  <a:pt x="110" y="916"/>
                  <a:pt x="112" y="914"/>
                </a:cubicBezTo>
                <a:cubicBezTo>
                  <a:pt x="119" y="907"/>
                  <a:pt x="131" y="906"/>
                  <a:pt x="139" y="913"/>
                </a:cubicBezTo>
                <a:cubicBezTo>
                  <a:pt x="141" y="915"/>
                  <a:pt x="144" y="917"/>
                  <a:pt x="146" y="919"/>
                </a:cubicBezTo>
                <a:cubicBezTo>
                  <a:pt x="148" y="920"/>
                  <a:pt x="149" y="922"/>
                  <a:pt x="150" y="924"/>
                </a:cubicBezTo>
                <a:cubicBezTo>
                  <a:pt x="151" y="925"/>
                  <a:pt x="152" y="925"/>
                  <a:pt x="153" y="924"/>
                </a:cubicBezTo>
                <a:cubicBezTo>
                  <a:pt x="154" y="924"/>
                  <a:pt x="154" y="923"/>
                  <a:pt x="155" y="922"/>
                </a:cubicBezTo>
                <a:cubicBezTo>
                  <a:pt x="157" y="919"/>
                  <a:pt x="160" y="919"/>
                  <a:pt x="161" y="922"/>
                </a:cubicBezTo>
                <a:cubicBezTo>
                  <a:pt x="163" y="926"/>
                  <a:pt x="163" y="928"/>
                  <a:pt x="164" y="931"/>
                </a:cubicBezTo>
                <a:cubicBezTo>
                  <a:pt x="164" y="936"/>
                  <a:pt x="164" y="940"/>
                  <a:pt x="163" y="945"/>
                </a:cubicBezTo>
                <a:cubicBezTo>
                  <a:pt x="160" y="951"/>
                  <a:pt x="155" y="954"/>
                  <a:pt x="149" y="954"/>
                </a:cubicBezTo>
                <a:cubicBezTo>
                  <a:pt x="148" y="954"/>
                  <a:pt x="148" y="954"/>
                  <a:pt x="147" y="954"/>
                </a:cubicBezTo>
                <a:cubicBezTo>
                  <a:pt x="144" y="954"/>
                  <a:pt x="143" y="954"/>
                  <a:pt x="143" y="957"/>
                </a:cubicBezTo>
                <a:cubicBezTo>
                  <a:pt x="141" y="961"/>
                  <a:pt x="135" y="963"/>
                  <a:pt x="132" y="960"/>
                </a:cubicBezTo>
                <a:cubicBezTo>
                  <a:pt x="131" y="958"/>
                  <a:pt x="130" y="958"/>
                  <a:pt x="129" y="956"/>
                </a:cubicBezTo>
                <a:cubicBezTo>
                  <a:pt x="128" y="957"/>
                  <a:pt x="128" y="957"/>
                  <a:pt x="128" y="957"/>
                </a:cubicBezTo>
                <a:close/>
                <a:moveTo>
                  <a:pt x="123" y="952"/>
                </a:moveTo>
                <a:cubicBezTo>
                  <a:pt x="126" y="954"/>
                  <a:pt x="130" y="955"/>
                  <a:pt x="132" y="958"/>
                </a:cubicBezTo>
                <a:cubicBezTo>
                  <a:pt x="134" y="960"/>
                  <a:pt x="136" y="960"/>
                  <a:pt x="138" y="960"/>
                </a:cubicBezTo>
                <a:cubicBezTo>
                  <a:pt x="141" y="959"/>
                  <a:pt x="142" y="957"/>
                  <a:pt x="142" y="954"/>
                </a:cubicBezTo>
                <a:cubicBezTo>
                  <a:pt x="142" y="954"/>
                  <a:pt x="141" y="954"/>
                  <a:pt x="141" y="954"/>
                </a:cubicBezTo>
                <a:cubicBezTo>
                  <a:pt x="141" y="956"/>
                  <a:pt x="139" y="957"/>
                  <a:pt x="139" y="958"/>
                </a:cubicBezTo>
                <a:cubicBezTo>
                  <a:pt x="137" y="959"/>
                  <a:pt x="136" y="959"/>
                  <a:pt x="135" y="958"/>
                </a:cubicBezTo>
                <a:cubicBezTo>
                  <a:pt x="135" y="958"/>
                  <a:pt x="134" y="957"/>
                  <a:pt x="134" y="956"/>
                </a:cubicBezTo>
                <a:cubicBezTo>
                  <a:pt x="134" y="954"/>
                  <a:pt x="135" y="952"/>
                  <a:pt x="135" y="950"/>
                </a:cubicBezTo>
                <a:cubicBezTo>
                  <a:pt x="138" y="951"/>
                  <a:pt x="141" y="952"/>
                  <a:pt x="145" y="952"/>
                </a:cubicBezTo>
                <a:cubicBezTo>
                  <a:pt x="152" y="954"/>
                  <a:pt x="158" y="952"/>
                  <a:pt x="161" y="943"/>
                </a:cubicBezTo>
                <a:cubicBezTo>
                  <a:pt x="163" y="939"/>
                  <a:pt x="163" y="934"/>
                  <a:pt x="162" y="929"/>
                </a:cubicBezTo>
                <a:cubicBezTo>
                  <a:pt x="161" y="927"/>
                  <a:pt x="161" y="925"/>
                  <a:pt x="160" y="923"/>
                </a:cubicBezTo>
                <a:cubicBezTo>
                  <a:pt x="159" y="922"/>
                  <a:pt x="158" y="921"/>
                  <a:pt x="157" y="923"/>
                </a:cubicBezTo>
                <a:cubicBezTo>
                  <a:pt x="155" y="924"/>
                  <a:pt x="154" y="926"/>
                  <a:pt x="152" y="927"/>
                </a:cubicBezTo>
                <a:cubicBezTo>
                  <a:pt x="151" y="927"/>
                  <a:pt x="150" y="928"/>
                  <a:pt x="150" y="929"/>
                </a:cubicBezTo>
                <a:cubicBezTo>
                  <a:pt x="151" y="932"/>
                  <a:pt x="150" y="935"/>
                  <a:pt x="149" y="939"/>
                </a:cubicBezTo>
                <a:cubicBezTo>
                  <a:pt x="149" y="937"/>
                  <a:pt x="150" y="935"/>
                  <a:pt x="150" y="933"/>
                </a:cubicBezTo>
                <a:cubicBezTo>
                  <a:pt x="150" y="932"/>
                  <a:pt x="149" y="932"/>
                  <a:pt x="149" y="931"/>
                </a:cubicBezTo>
                <a:cubicBezTo>
                  <a:pt x="148" y="932"/>
                  <a:pt x="148" y="932"/>
                  <a:pt x="148" y="932"/>
                </a:cubicBezTo>
                <a:cubicBezTo>
                  <a:pt x="147" y="933"/>
                  <a:pt x="146" y="935"/>
                  <a:pt x="145" y="936"/>
                </a:cubicBezTo>
                <a:cubicBezTo>
                  <a:pt x="145" y="936"/>
                  <a:pt x="145" y="936"/>
                  <a:pt x="145" y="936"/>
                </a:cubicBezTo>
                <a:cubicBezTo>
                  <a:pt x="145" y="935"/>
                  <a:pt x="146" y="933"/>
                  <a:pt x="146" y="931"/>
                </a:cubicBezTo>
                <a:cubicBezTo>
                  <a:pt x="145" y="931"/>
                  <a:pt x="144" y="932"/>
                  <a:pt x="144" y="933"/>
                </a:cubicBezTo>
                <a:cubicBezTo>
                  <a:pt x="143" y="933"/>
                  <a:pt x="143" y="934"/>
                  <a:pt x="143" y="935"/>
                </a:cubicBezTo>
                <a:cubicBezTo>
                  <a:pt x="143" y="931"/>
                  <a:pt x="143" y="931"/>
                  <a:pt x="149" y="930"/>
                </a:cubicBezTo>
                <a:cubicBezTo>
                  <a:pt x="149" y="929"/>
                  <a:pt x="148" y="929"/>
                  <a:pt x="148" y="929"/>
                </a:cubicBezTo>
                <a:cubicBezTo>
                  <a:pt x="145" y="929"/>
                  <a:pt x="144" y="928"/>
                  <a:pt x="144" y="926"/>
                </a:cubicBezTo>
                <a:cubicBezTo>
                  <a:pt x="146" y="925"/>
                  <a:pt x="147" y="925"/>
                  <a:pt x="149" y="924"/>
                </a:cubicBezTo>
                <a:cubicBezTo>
                  <a:pt x="147" y="922"/>
                  <a:pt x="146" y="919"/>
                  <a:pt x="143" y="919"/>
                </a:cubicBezTo>
                <a:cubicBezTo>
                  <a:pt x="142" y="919"/>
                  <a:pt x="142" y="918"/>
                  <a:pt x="142" y="918"/>
                </a:cubicBezTo>
                <a:cubicBezTo>
                  <a:pt x="139" y="916"/>
                  <a:pt x="137" y="914"/>
                  <a:pt x="134" y="912"/>
                </a:cubicBezTo>
                <a:cubicBezTo>
                  <a:pt x="132" y="910"/>
                  <a:pt x="129" y="910"/>
                  <a:pt x="127" y="910"/>
                </a:cubicBezTo>
                <a:cubicBezTo>
                  <a:pt x="124" y="910"/>
                  <a:pt x="121" y="911"/>
                  <a:pt x="117" y="912"/>
                </a:cubicBezTo>
                <a:cubicBezTo>
                  <a:pt x="115" y="913"/>
                  <a:pt x="112" y="915"/>
                  <a:pt x="110" y="918"/>
                </a:cubicBezTo>
                <a:cubicBezTo>
                  <a:pt x="112" y="918"/>
                  <a:pt x="113" y="918"/>
                  <a:pt x="114" y="918"/>
                </a:cubicBezTo>
                <a:cubicBezTo>
                  <a:pt x="114" y="918"/>
                  <a:pt x="113" y="919"/>
                  <a:pt x="112" y="919"/>
                </a:cubicBezTo>
                <a:cubicBezTo>
                  <a:pt x="110" y="920"/>
                  <a:pt x="107" y="919"/>
                  <a:pt x="105" y="921"/>
                </a:cubicBezTo>
                <a:cubicBezTo>
                  <a:pt x="102" y="925"/>
                  <a:pt x="98" y="929"/>
                  <a:pt x="94" y="933"/>
                </a:cubicBezTo>
                <a:cubicBezTo>
                  <a:pt x="93" y="935"/>
                  <a:pt x="92" y="937"/>
                  <a:pt x="91" y="940"/>
                </a:cubicBezTo>
                <a:cubicBezTo>
                  <a:pt x="91" y="940"/>
                  <a:pt x="91" y="941"/>
                  <a:pt x="91" y="941"/>
                </a:cubicBezTo>
                <a:cubicBezTo>
                  <a:pt x="92" y="943"/>
                  <a:pt x="94" y="945"/>
                  <a:pt x="95" y="947"/>
                </a:cubicBezTo>
                <a:cubicBezTo>
                  <a:pt x="96" y="946"/>
                  <a:pt x="97" y="944"/>
                  <a:pt x="99" y="943"/>
                </a:cubicBezTo>
                <a:cubicBezTo>
                  <a:pt x="98" y="944"/>
                  <a:pt x="98" y="945"/>
                  <a:pt x="97" y="947"/>
                </a:cubicBezTo>
                <a:cubicBezTo>
                  <a:pt x="96" y="948"/>
                  <a:pt x="95" y="949"/>
                  <a:pt x="95" y="951"/>
                </a:cubicBezTo>
                <a:cubicBezTo>
                  <a:pt x="95" y="952"/>
                  <a:pt x="95" y="953"/>
                  <a:pt x="95" y="954"/>
                </a:cubicBezTo>
                <a:cubicBezTo>
                  <a:pt x="98" y="957"/>
                  <a:pt x="101" y="957"/>
                  <a:pt x="105" y="955"/>
                </a:cubicBezTo>
                <a:cubicBezTo>
                  <a:pt x="107" y="954"/>
                  <a:pt x="110" y="952"/>
                  <a:pt x="113" y="952"/>
                </a:cubicBezTo>
                <a:cubicBezTo>
                  <a:pt x="114" y="951"/>
                  <a:pt x="115" y="950"/>
                  <a:pt x="115" y="949"/>
                </a:cubicBezTo>
                <a:cubicBezTo>
                  <a:pt x="115" y="946"/>
                  <a:pt x="115" y="942"/>
                  <a:pt x="115" y="939"/>
                </a:cubicBezTo>
                <a:cubicBezTo>
                  <a:pt x="115" y="936"/>
                  <a:pt x="115" y="933"/>
                  <a:pt x="115" y="930"/>
                </a:cubicBezTo>
                <a:cubicBezTo>
                  <a:pt x="116" y="933"/>
                  <a:pt x="117" y="935"/>
                  <a:pt x="117" y="938"/>
                </a:cubicBezTo>
                <a:cubicBezTo>
                  <a:pt x="118" y="943"/>
                  <a:pt x="118" y="947"/>
                  <a:pt x="117" y="951"/>
                </a:cubicBezTo>
                <a:cubicBezTo>
                  <a:pt x="116" y="952"/>
                  <a:pt x="115" y="953"/>
                  <a:pt x="115" y="953"/>
                </a:cubicBezTo>
                <a:cubicBezTo>
                  <a:pt x="112" y="953"/>
                  <a:pt x="108" y="955"/>
                  <a:pt x="105" y="957"/>
                </a:cubicBezTo>
                <a:cubicBezTo>
                  <a:pt x="100" y="960"/>
                  <a:pt x="97" y="958"/>
                  <a:pt x="93" y="954"/>
                </a:cubicBezTo>
                <a:cubicBezTo>
                  <a:pt x="93" y="954"/>
                  <a:pt x="93" y="952"/>
                  <a:pt x="93" y="952"/>
                </a:cubicBezTo>
                <a:cubicBezTo>
                  <a:pt x="94" y="950"/>
                  <a:pt x="93" y="948"/>
                  <a:pt x="92" y="946"/>
                </a:cubicBezTo>
                <a:cubicBezTo>
                  <a:pt x="90" y="944"/>
                  <a:pt x="88" y="941"/>
                  <a:pt x="90" y="939"/>
                </a:cubicBezTo>
                <a:cubicBezTo>
                  <a:pt x="90" y="937"/>
                  <a:pt x="91" y="935"/>
                  <a:pt x="92" y="933"/>
                </a:cubicBezTo>
                <a:cubicBezTo>
                  <a:pt x="94" y="931"/>
                  <a:pt x="96" y="928"/>
                  <a:pt x="98" y="926"/>
                </a:cubicBezTo>
                <a:cubicBezTo>
                  <a:pt x="98" y="926"/>
                  <a:pt x="97" y="926"/>
                  <a:pt x="97" y="926"/>
                </a:cubicBezTo>
                <a:cubicBezTo>
                  <a:pt x="92" y="927"/>
                  <a:pt x="88" y="928"/>
                  <a:pt x="84" y="931"/>
                </a:cubicBezTo>
                <a:cubicBezTo>
                  <a:pt x="79" y="936"/>
                  <a:pt x="76" y="941"/>
                  <a:pt x="76" y="948"/>
                </a:cubicBezTo>
                <a:cubicBezTo>
                  <a:pt x="75" y="954"/>
                  <a:pt x="78" y="960"/>
                  <a:pt x="81" y="966"/>
                </a:cubicBezTo>
                <a:cubicBezTo>
                  <a:pt x="82" y="967"/>
                  <a:pt x="83" y="969"/>
                  <a:pt x="82" y="970"/>
                </a:cubicBezTo>
                <a:cubicBezTo>
                  <a:pt x="82" y="971"/>
                  <a:pt x="82" y="973"/>
                  <a:pt x="81" y="974"/>
                </a:cubicBezTo>
                <a:cubicBezTo>
                  <a:pt x="81" y="976"/>
                  <a:pt x="81" y="977"/>
                  <a:pt x="82" y="977"/>
                </a:cubicBezTo>
                <a:cubicBezTo>
                  <a:pt x="85" y="978"/>
                  <a:pt x="88" y="979"/>
                  <a:pt x="91" y="979"/>
                </a:cubicBezTo>
                <a:cubicBezTo>
                  <a:pt x="92" y="979"/>
                  <a:pt x="92" y="978"/>
                  <a:pt x="92" y="978"/>
                </a:cubicBezTo>
                <a:cubicBezTo>
                  <a:pt x="93" y="977"/>
                  <a:pt x="93" y="975"/>
                  <a:pt x="94" y="974"/>
                </a:cubicBezTo>
                <a:cubicBezTo>
                  <a:pt x="95" y="972"/>
                  <a:pt x="95" y="969"/>
                  <a:pt x="95" y="966"/>
                </a:cubicBezTo>
                <a:cubicBezTo>
                  <a:pt x="95" y="966"/>
                  <a:pt x="95" y="966"/>
                  <a:pt x="95" y="965"/>
                </a:cubicBezTo>
                <a:cubicBezTo>
                  <a:pt x="95" y="965"/>
                  <a:pt x="95" y="965"/>
                  <a:pt x="95" y="964"/>
                </a:cubicBezTo>
                <a:cubicBezTo>
                  <a:pt x="96" y="967"/>
                  <a:pt x="97" y="967"/>
                  <a:pt x="99" y="967"/>
                </a:cubicBezTo>
                <a:cubicBezTo>
                  <a:pt x="100" y="967"/>
                  <a:pt x="101" y="967"/>
                  <a:pt x="102" y="967"/>
                </a:cubicBezTo>
                <a:cubicBezTo>
                  <a:pt x="104" y="967"/>
                  <a:pt x="108" y="968"/>
                  <a:pt x="108" y="964"/>
                </a:cubicBezTo>
                <a:cubicBezTo>
                  <a:pt x="108" y="966"/>
                  <a:pt x="108" y="967"/>
                  <a:pt x="108" y="968"/>
                </a:cubicBezTo>
                <a:cubicBezTo>
                  <a:pt x="107" y="969"/>
                  <a:pt x="106" y="970"/>
                  <a:pt x="104" y="970"/>
                </a:cubicBezTo>
                <a:cubicBezTo>
                  <a:pt x="103" y="971"/>
                  <a:pt x="103" y="973"/>
                  <a:pt x="103" y="973"/>
                </a:cubicBezTo>
                <a:cubicBezTo>
                  <a:pt x="104" y="976"/>
                  <a:pt x="106" y="978"/>
                  <a:pt x="107" y="980"/>
                </a:cubicBezTo>
                <a:cubicBezTo>
                  <a:pt x="109" y="981"/>
                  <a:pt x="111" y="981"/>
                  <a:pt x="112" y="979"/>
                </a:cubicBezTo>
                <a:cubicBezTo>
                  <a:pt x="113" y="978"/>
                  <a:pt x="114" y="977"/>
                  <a:pt x="114" y="977"/>
                </a:cubicBezTo>
                <a:cubicBezTo>
                  <a:pt x="116" y="975"/>
                  <a:pt x="117" y="974"/>
                  <a:pt x="119" y="973"/>
                </a:cubicBezTo>
                <a:cubicBezTo>
                  <a:pt x="123" y="969"/>
                  <a:pt x="125" y="963"/>
                  <a:pt x="127" y="957"/>
                </a:cubicBezTo>
                <a:cubicBezTo>
                  <a:pt x="127" y="956"/>
                  <a:pt x="126" y="956"/>
                  <a:pt x="126" y="955"/>
                </a:cubicBezTo>
                <a:cubicBezTo>
                  <a:pt x="125" y="954"/>
                  <a:pt x="124" y="953"/>
                  <a:pt x="123" y="952"/>
                </a:cubicBezTo>
                <a:close/>
                <a:moveTo>
                  <a:pt x="75" y="959"/>
                </a:moveTo>
                <a:cubicBezTo>
                  <a:pt x="75" y="960"/>
                  <a:pt x="73" y="960"/>
                  <a:pt x="72" y="962"/>
                </a:cubicBezTo>
                <a:cubicBezTo>
                  <a:pt x="72" y="962"/>
                  <a:pt x="71" y="963"/>
                  <a:pt x="71" y="964"/>
                </a:cubicBezTo>
                <a:cubicBezTo>
                  <a:pt x="71" y="966"/>
                  <a:pt x="75" y="971"/>
                  <a:pt x="79" y="970"/>
                </a:cubicBezTo>
                <a:cubicBezTo>
                  <a:pt x="80" y="970"/>
                  <a:pt x="81" y="969"/>
                  <a:pt x="80" y="967"/>
                </a:cubicBezTo>
                <a:cubicBezTo>
                  <a:pt x="79" y="964"/>
                  <a:pt x="77" y="962"/>
                  <a:pt x="75" y="959"/>
                </a:cubicBezTo>
                <a:close/>
                <a:moveTo>
                  <a:pt x="128" y="961"/>
                </a:moveTo>
                <a:cubicBezTo>
                  <a:pt x="126" y="966"/>
                  <a:pt x="123" y="970"/>
                  <a:pt x="121" y="974"/>
                </a:cubicBezTo>
                <a:cubicBezTo>
                  <a:pt x="124" y="974"/>
                  <a:pt x="126" y="975"/>
                  <a:pt x="129" y="974"/>
                </a:cubicBezTo>
                <a:cubicBezTo>
                  <a:pt x="129" y="974"/>
                  <a:pt x="130" y="973"/>
                  <a:pt x="130" y="973"/>
                </a:cubicBezTo>
                <a:cubicBezTo>
                  <a:pt x="130" y="970"/>
                  <a:pt x="130" y="967"/>
                  <a:pt x="129" y="965"/>
                </a:cubicBezTo>
                <a:cubicBezTo>
                  <a:pt x="129" y="964"/>
                  <a:pt x="128" y="962"/>
                  <a:pt x="128" y="961"/>
                </a:cubicBezTo>
                <a:close/>
                <a:moveTo>
                  <a:pt x="75" y="941"/>
                </a:moveTo>
                <a:cubicBezTo>
                  <a:pt x="75" y="941"/>
                  <a:pt x="74" y="941"/>
                  <a:pt x="74" y="941"/>
                </a:cubicBezTo>
                <a:cubicBezTo>
                  <a:pt x="73" y="941"/>
                  <a:pt x="72" y="941"/>
                  <a:pt x="72" y="941"/>
                </a:cubicBezTo>
                <a:cubicBezTo>
                  <a:pt x="72" y="941"/>
                  <a:pt x="71" y="940"/>
                  <a:pt x="71" y="939"/>
                </a:cubicBezTo>
                <a:cubicBezTo>
                  <a:pt x="72" y="937"/>
                  <a:pt x="72" y="935"/>
                  <a:pt x="73" y="933"/>
                </a:cubicBezTo>
                <a:cubicBezTo>
                  <a:pt x="73" y="933"/>
                  <a:pt x="73" y="933"/>
                  <a:pt x="72" y="933"/>
                </a:cubicBezTo>
                <a:cubicBezTo>
                  <a:pt x="72" y="934"/>
                  <a:pt x="70" y="935"/>
                  <a:pt x="70" y="936"/>
                </a:cubicBezTo>
                <a:cubicBezTo>
                  <a:pt x="69" y="937"/>
                  <a:pt x="70" y="942"/>
                  <a:pt x="72" y="943"/>
                </a:cubicBezTo>
                <a:cubicBezTo>
                  <a:pt x="74" y="944"/>
                  <a:pt x="75" y="943"/>
                  <a:pt x="75" y="941"/>
                </a:cubicBezTo>
                <a:close/>
                <a:moveTo>
                  <a:pt x="76" y="959"/>
                </a:moveTo>
                <a:cubicBezTo>
                  <a:pt x="75" y="960"/>
                  <a:pt x="73" y="961"/>
                  <a:pt x="72" y="962"/>
                </a:cubicBezTo>
                <a:cubicBezTo>
                  <a:pt x="72" y="962"/>
                  <a:pt x="71" y="963"/>
                  <a:pt x="71" y="964"/>
                </a:cubicBezTo>
                <a:cubicBezTo>
                  <a:pt x="71" y="967"/>
                  <a:pt x="76" y="971"/>
                  <a:pt x="79" y="971"/>
                </a:cubicBezTo>
                <a:cubicBezTo>
                  <a:pt x="80" y="971"/>
                  <a:pt x="81" y="969"/>
                  <a:pt x="80" y="968"/>
                </a:cubicBezTo>
                <a:cubicBezTo>
                  <a:pt x="79" y="965"/>
                  <a:pt x="77" y="962"/>
                  <a:pt x="76" y="959"/>
                </a:cubicBezTo>
                <a:close/>
                <a:moveTo>
                  <a:pt x="128" y="961"/>
                </a:moveTo>
                <a:cubicBezTo>
                  <a:pt x="126" y="966"/>
                  <a:pt x="124" y="970"/>
                  <a:pt x="121" y="974"/>
                </a:cubicBezTo>
                <a:cubicBezTo>
                  <a:pt x="124" y="974"/>
                  <a:pt x="126" y="975"/>
                  <a:pt x="129" y="974"/>
                </a:cubicBezTo>
                <a:cubicBezTo>
                  <a:pt x="129" y="974"/>
                  <a:pt x="129" y="973"/>
                  <a:pt x="129" y="973"/>
                </a:cubicBezTo>
                <a:cubicBezTo>
                  <a:pt x="129" y="970"/>
                  <a:pt x="129" y="968"/>
                  <a:pt x="129" y="965"/>
                </a:cubicBezTo>
                <a:cubicBezTo>
                  <a:pt x="129" y="964"/>
                  <a:pt x="128" y="962"/>
                  <a:pt x="128" y="961"/>
                </a:cubicBezTo>
                <a:close/>
                <a:moveTo>
                  <a:pt x="76" y="941"/>
                </a:moveTo>
                <a:cubicBezTo>
                  <a:pt x="75" y="941"/>
                  <a:pt x="74" y="942"/>
                  <a:pt x="74" y="942"/>
                </a:cubicBezTo>
                <a:cubicBezTo>
                  <a:pt x="73" y="942"/>
                  <a:pt x="72" y="942"/>
                  <a:pt x="72" y="941"/>
                </a:cubicBezTo>
                <a:cubicBezTo>
                  <a:pt x="72" y="941"/>
                  <a:pt x="71" y="940"/>
                  <a:pt x="71" y="939"/>
                </a:cubicBezTo>
                <a:cubicBezTo>
                  <a:pt x="72" y="937"/>
                  <a:pt x="73" y="935"/>
                  <a:pt x="73" y="933"/>
                </a:cubicBezTo>
                <a:cubicBezTo>
                  <a:pt x="73" y="933"/>
                  <a:pt x="73" y="933"/>
                  <a:pt x="73" y="933"/>
                </a:cubicBezTo>
                <a:cubicBezTo>
                  <a:pt x="72" y="934"/>
                  <a:pt x="71" y="935"/>
                  <a:pt x="70" y="936"/>
                </a:cubicBezTo>
                <a:cubicBezTo>
                  <a:pt x="69" y="937"/>
                  <a:pt x="71" y="942"/>
                  <a:pt x="72" y="943"/>
                </a:cubicBezTo>
                <a:cubicBezTo>
                  <a:pt x="74" y="944"/>
                  <a:pt x="76" y="943"/>
                  <a:pt x="76" y="941"/>
                </a:cubicBezTo>
                <a:close/>
                <a:moveTo>
                  <a:pt x="128" y="933"/>
                </a:moveTo>
                <a:cubicBezTo>
                  <a:pt x="131" y="929"/>
                  <a:pt x="131" y="929"/>
                  <a:pt x="135" y="928"/>
                </a:cubicBezTo>
                <a:cubicBezTo>
                  <a:pt x="135" y="930"/>
                  <a:pt x="136" y="931"/>
                  <a:pt x="138" y="931"/>
                </a:cubicBezTo>
                <a:cubicBezTo>
                  <a:pt x="135" y="932"/>
                  <a:pt x="133" y="934"/>
                  <a:pt x="131" y="935"/>
                </a:cubicBezTo>
                <a:cubicBezTo>
                  <a:pt x="130" y="934"/>
                  <a:pt x="130" y="933"/>
                  <a:pt x="129" y="932"/>
                </a:cubicBezTo>
                <a:cubicBezTo>
                  <a:pt x="129" y="932"/>
                  <a:pt x="128" y="932"/>
                  <a:pt x="128" y="933"/>
                </a:cubicBezTo>
                <a:close/>
                <a:moveTo>
                  <a:pt x="134" y="932"/>
                </a:moveTo>
                <a:cubicBezTo>
                  <a:pt x="133" y="932"/>
                  <a:pt x="132" y="931"/>
                  <a:pt x="132" y="931"/>
                </a:cubicBezTo>
                <a:cubicBezTo>
                  <a:pt x="131" y="931"/>
                  <a:pt x="130" y="932"/>
                  <a:pt x="130" y="933"/>
                </a:cubicBezTo>
                <a:cubicBezTo>
                  <a:pt x="130" y="933"/>
                  <a:pt x="131" y="933"/>
                  <a:pt x="131" y="934"/>
                </a:cubicBezTo>
                <a:cubicBezTo>
                  <a:pt x="132" y="933"/>
                  <a:pt x="132" y="933"/>
                  <a:pt x="134" y="932"/>
                </a:cubicBezTo>
                <a:close/>
                <a:moveTo>
                  <a:pt x="115" y="922"/>
                </a:moveTo>
                <a:cubicBezTo>
                  <a:pt x="108" y="921"/>
                  <a:pt x="105" y="924"/>
                  <a:pt x="104" y="932"/>
                </a:cubicBezTo>
                <a:cubicBezTo>
                  <a:pt x="105" y="930"/>
                  <a:pt x="106" y="928"/>
                  <a:pt x="108" y="925"/>
                </a:cubicBezTo>
                <a:cubicBezTo>
                  <a:pt x="108" y="925"/>
                  <a:pt x="108" y="925"/>
                  <a:pt x="108" y="925"/>
                </a:cubicBezTo>
                <a:cubicBezTo>
                  <a:pt x="108" y="926"/>
                  <a:pt x="108" y="927"/>
                  <a:pt x="108" y="928"/>
                </a:cubicBezTo>
                <a:cubicBezTo>
                  <a:pt x="109" y="925"/>
                  <a:pt x="111" y="923"/>
                  <a:pt x="115" y="922"/>
                </a:cubicBezTo>
                <a:close/>
                <a:moveTo>
                  <a:pt x="158" y="924"/>
                </a:moveTo>
                <a:cubicBezTo>
                  <a:pt x="156" y="925"/>
                  <a:pt x="154" y="927"/>
                  <a:pt x="153" y="928"/>
                </a:cubicBezTo>
                <a:cubicBezTo>
                  <a:pt x="155" y="928"/>
                  <a:pt x="157" y="927"/>
                  <a:pt x="158" y="924"/>
                </a:cubicBezTo>
                <a:close/>
                <a:moveTo>
                  <a:pt x="125" y="926"/>
                </a:moveTo>
                <a:cubicBezTo>
                  <a:pt x="126" y="925"/>
                  <a:pt x="127" y="923"/>
                  <a:pt x="128" y="922"/>
                </a:cubicBezTo>
                <a:cubicBezTo>
                  <a:pt x="125" y="923"/>
                  <a:pt x="125" y="924"/>
                  <a:pt x="125" y="926"/>
                </a:cubicBezTo>
                <a:close/>
                <a:moveTo>
                  <a:pt x="135" y="947"/>
                </a:moveTo>
                <a:cubicBezTo>
                  <a:pt x="133" y="948"/>
                  <a:pt x="132" y="949"/>
                  <a:pt x="132" y="949"/>
                </a:cubicBezTo>
                <a:cubicBezTo>
                  <a:pt x="133" y="949"/>
                  <a:pt x="134" y="948"/>
                  <a:pt x="135" y="947"/>
                </a:cubicBezTo>
                <a:close/>
                <a:moveTo>
                  <a:pt x="134" y="932"/>
                </a:moveTo>
                <a:cubicBezTo>
                  <a:pt x="133" y="931"/>
                  <a:pt x="132" y="931"/>
                  <a:pt x="132" y="931"/>
                </a:cubicBezTo>
                <a:cubicBezTo>
                  <a:pt x="131" y="931"/>
                  <a:pt x="130" y="932"/>
                  <a:pt x="130" y="932"/>
                </a:cubicBezTo>
                <a:cubicBezTo>
                  <a:pt x="130" y="933"/>
                  <a:pt x="131" y="933"/>
                  <a:pt x="131" y="933"/>
                </a:cubicBezTo>
                <a:cubicBezTo>
                  <a:pt x="132" y="933"/>
                  <a:pt x="133" y="933"/>
                  <a:pt x="134" y="932"/>
                </a:cubicBezTo>
                <a:close/>
                <a:moveTo>
                  <a:pt x="1764" y="1078"/>
                </a:moveTo>
                <a:cubicBezTo>
                  <a:pt x="1767" y="1059"/>
                  <a:pt x="1767" y="1059"/>
                  <a:pt x="1767" y="1059"/>
                </a:cubicBezTo>
                <a:cubicBezTo>
                  <a:pt x="1758" y="1059"/>
                  <a:pt x="1758" y="1059"/>
                  <a:pt x="1758" y="1059"/>
                </a:cubicBezTo>
                <a:cubicBezTo>
                  <a:pt x="1758" y="1047"/>
                  <a:pt x="1758" y="1047"/>
                  <a:pt x="1758" y="1047"/>
                </a:cubicBezTo>
                <a:cubicBezTo>
                  <a:pt x="1769" y="1047"/>
                  <a:pt x="1769" y="1047"/>
                  <a:pt x="1769" y="1047"/>
                </a:cubicBezTo>
                <a:cubicBezTo>
                  <a:pt x="1770" y="1036"/>
                  <a:pt x="1770" y="1036"/>
                  <a:pt x="1770" y="1036"/>
                </a:cubicBezTo>
                <a:cubicBezTo>
                  <a:pt x="1761" y="1036"/>
                  <a:pt x="1761" y="1036"/>
                  <a:pt x="1761" y="1036"/>
                </a:cubicBezTo>
                <a:cubicBezTo>
                  <a:pt x="1761" y="1024"/>
                  <a:pt x="1761" y="1024"/>
                  <a:pt x="1761" y="1024"/>
                </a:cubicBezTo>
                <a:cubicBezTo>
                  <a:pt x="1772" y="1024"/>
                  <a:pt x="1772" y="1024"/>
                  <a:pt x="1772" y="1024"/>
                </a:cubicBezTo>
                <a:cubicBezTo>
                  <a:pt x="1775" y="1006"/>
                  <a:pt x="1775" y="1006"/>
                  <a:pt x="1775" y="1006"/>
                </a:cubicBezTo>
                <a:cubicBezTo>
                  <a:pt x="1786" y="1006"/>
                  <a:pt x="1786" y="1006"/>
                  <a:pt x="1786" y="1006"/>
                </a:cubicBezTo>
                <a:cubicBezTo>
                  <a:pt x="1783" y="1024"/>
                  <a:pt x="1783" y="1024"/>
                  <a:pt x="1783" y="1024"/>
                </a:cubicBezTo>
                <a:cubicBezTo>
                  <a:pt x="1793" y="1024"/>
                  <a:pt x="1793" y="1024"/>
                  <a:pt x="1793" y="1024"/>
                </a:cubicBezTo>
                <a:cubicBezTo>
                  <a:pt x="1796" y="1006"/>
                  <a:pt x="1796" y="1006"/>
                  <a:pt x="1796" y="1006"/>
                </a:cubicBezTo>
                <a:cubicBezTo>
                  <a:pt x="1807" y="1006"/>
                  <a:pt x="1807" y="1006"/>
                  <a:pt x="1807" y="1006"/>
                </a:cubicBezTo>
                <a:cubicBezTo>
                  <a:pt x="1804" y="1024"/>
                  <a:pt x="1804" y="1024"/>
                  <a:pt x="1804" y="1024"/>
                </a:cubicBezTo>
                <a:cubicBezTo>
                  <a:pt x="1813" y="1024"/>
                  <a:pt x="1813" y="1024"/>
                  <a:pt x="1813" y="1024"/>
                </a:cubicBezTo>
                <a:cubicBezTo>
                  <a:pt x="1813" y="1036"/>
                  <a:pt x="1813" y="1036"/>
                  <a:pt x="1813" y="1036"/>
                </a:cubicBezTo>
                <a:cubicBezTo>
                  <a:pt x="1803" y="1036"/>
                  <a:pt x="1803" y="1036"/>
                  <a:pt x="1803" y="1036"/>
                </a:cubicBezTo>
                <a:cubicBezTo>
                  <a:pt x="1801" y="1047"/>
                  <a:pt x="1801" y="1047"/>
                  <a:pt x="1801" y="1047"/>
                </a:cubicBezTo>
                <a:cubicBezTo>
                  <a:pt x="1810" y="1047"/>
                  <a:pt x="1810" y="1047"/>
                  <a:pt x="1810" y="1047"/>
                </a:cubicBezTo>
                <a:cubicBezTo>
                  <a:pt x="1810" y="1059"/>
                  <a:pt x="1810" y="1059"/>
                  <a:pt x="1810" y="1059"/>
                </a:cubicBezTo>
                <a:cubicBezTo>
                  <a:pt x="1799" y="1059"/>
                  <a:pt x="1799" y="1059"/>
                  <a:pt x="1799" y="1059"/>
                </a:cubicBezTo>
                <a:cubicBezTo>
                  <a:pt x="1796" y="1078"/>
                  <a:pt x="1796" y="1078"/>
                  <a:pt x="1796" y="1078"/>
                </a:cubicBezTo>
                <a:cubicBezTo>
                  <a:pt x="1785" y="1078"/>
                  <a:pt x="1785" y="1078"/>
                  <a:pt x="1785" y="1078"/>
                </a:cubicBezTo>
                <a:cubicBezTo>
                  <a:pt x="1788" y="1059"/>
                  <a:pt x="1788" y="1059"/>
                  <a:pt x="1788" y="1059"/>
                </a:cubicBezTo>
                <a:cubicBezTo>
                  <a:pt x="1778" y="1059"/>
                  <a:pt x="1778" y="1059"/>
                  <a:pt x="1778" y="1059"/>
                </a:cubicBezTo>
                <a:cubicBezTo>
                  <a:pt x="1775" y="1078"/>
                  <a:pt x="1775" y="1078"/>
                  <a:pt x="1775" y="1078"/>
                </a:cubicBezTo>
                <a:cubicBezTo>
                  <a:pt x="1764" y="1078"/>
                  <a:pt x="1764" y="1078"/>
                  <a:pt x="1764" y="1078"/>
                </a:cubicBezTo>
                <a:cubicBezTo>
                  <a:pt x="1764" y="1078"/>
                  <a:pt x="1764" y="1078"/>
                  <a:pt x="1764" y="1078"/>
                </a:cubicBezTo>
                <a:close/>
                <a:moveTo>
                  <a:pt x="1790" y="1047"/>
                </a:moveTo>
                <a:cubicBezTo>
                  <a:pt x="1791" y="1036"/>
                  <a:pt x="1791" y="1036"/>
                  <a:pt x="1791" y="1036"/>
                </a:cubicBezTo>
                <a:cubicBezTo>
                  <a:pt x="1782" y="1036"/>
                  <a:pt x="1782" y="1036"/>
                  <a:pt x="1782" y="1036"/>
                </a:cubicBezTo>
                <a:cubicBezTo>
                  <a:pt x="1780" y="1047"/>
                  <a:pt x="1780" y="1047"/>
                  <a:pt x="1780" y="1047"/>
                </a:cubicBezTo>
                <a:cubicBezTo>
                  <a:pt x="1790" y="1047"/>
                  <a:pt x="1790" y="1047"/>
                  <a:pt x="1790" y="1047"/>
                </a:cubicBezTo>
                <a:cubicBezTo>
                  <a:pt x="1790" y="1047"/>
                  <a:pt x="1790" y="1047"/>
                  <a:pt x="1790" y="1047"/>
                </a:cubicBezTo>
                <a:close/>
                <a:moveTo>
                  <a:pt x="649" y="1052"/>
                </a:moveTo>
                <a:cubicBezTo>
                  <a:pt x="649" y="1053"/>
                  <a:pt x="650" y="1055"/>
                  <a:pt x="650" y="1056"/>
                </a:cubicBezTo>
                <a:cubicBezTo>
                  <a:pt x="651" y="1058"/>
                  <a:pt x="651" y="1060"/>
                  <a:pt x="652" y="1061"/>
                </a:cubicBezTo>
                <a:cubicBezTo>
                  <a:pt x="652" y="1063"/>
                  <a:pt x="652" y="1065"/>
                  <a:pt x="652" y="1066"/>
                </a:cubicBezTo>
                <a:cubicBezTo>
                  <a:pt x="653" y="1069"/>
                  <a:pt x="652" y="1071"/>
                  <a:pt x="648" y="1071"/>
                </a:cubicBezTo>
                <a:cubicBezTo>
                  <a:pt x="646" y="1071"/>
                  <a:pt x="643" y="1070"/>
                  <a:pt x="640" y="1070"/>
                </a:cubicBezTo>
                <a:cubicBezTo>
                  <a:pt x="640" y="1070"/>
                  <a:pt x="639" y="1070"/>
                  <a:pt x="639" y="1071"/>
                </a:cubicBezTo>
                <a:cubicBezTo>
                  <a:pt x="637" y="1072"/>
                  <a:pt x="635" y="1074"/>
                  <a:pt x="634" y="1075"/>
                </a:cubicBezTo>
                <a:cubicBezTo>
                  <a:pt x="632" y="1078"/>
                  <a:pt x="629" y="1078"/>
                  <a:pt x="627" y="1076"/>
                </a:cubicBezTo>
                <a:cubicBezTo>
                  <a:pt x="625" y="1074"/>
                  <a:pt x="624" y="1071"/>
                  <a:pt x="622" y="1068"/>
                </a:cubicBezTo>
                <a:cubicBezTo>
                  <a:pt x="621" y="1067"/>
                  <a:pt x="622" y="1065"/>
                  <a:pt x="624" y="1064"/>
                </a:cubicBezTo>
                <a:cubicBezTo>
                  <a:pt x="621" y="1064"/>
                  <a:pt x="620" y="1064"/>
                  <a:pt x="618" y="1064"/>
                </a:cubicBezTo>
                <a:cubicBezTo>
                  <a:pt x="617" y="1066"/>
                  <a:pt x="616" y="1068"/>
                  <a:pt x="615" y="1070"/>
                </a:cubicBezTo>
                <a:cubicBezTo>
                  <a:pt x="615" y="1070"/>
                  <a:pt x="615" y="1071"/>
                  <a:pt x="615" y="1072"/>
                </a:cubicBezTo>
                <a:cubicBezTo>
                  <a:pt x="615" y="1075"/>
                  <a:pt x="614" y="1076"/>
                  <a:pt x="611" y="1076"/>
                </a:cubicBezTo>
                <a:cubicBezTo>
                  <a:pt x="608" y="1076"/>
                  <a:pt x="605" y="1075"/>
                  <a:pt x="602" y="1074"/>
                </a:cubicBezTo>
                <a:cubicBezTo>
                  <a:pt x="600" y="1073"/>
                  <a:pt x="599" y="1072"/>
                  <a:pt x="600" y="1070"/>
                </a:cubicBezTo>
                <a:cubicBezTo>
                  <a:pt x="600" y="1069"/>
                  <a:pt x="600" y="1068"/>
                  <a:pt x="601" y="1068"/>
                </a:cubicBezTo>
                <a:cubicBezTo>
                  <a:pt x="598" y="1067"/>
                  <a:pt x="596" y="1066"/>
                  <a:pt x="594" y="1065"/>
                </a:cubicBezTo>
                <a:cubicBezTo>
                  <a:pt x="593" y="1064"/>
                  <a:pt x="592" y="1062"/>
                  <a:pt x="591" y="1060"/>
                </a:cubicBezTo>
                <a:cubicBezTo>
                  <a:pt x="590" y="1058"/>
                  <a:pt x="590" y="1057"/>
                  <a:pt x="592" y="1055"/>
                </a:cubicBezTo>
                <a:cubicBezTo>
                  <a:pt x="595" y="1053"/>
                  <a:pt x="596" y="1050"/>
                  <a:pt x="595" y="1046"/>
                </a:cubicBezTo>
                <a:cubicBezTo>
                  <a:pt x="595" y="1044"/>
                  <a:pt x="595" y="1042"/>
                  <a:pt x="595" y="1040"/>
                </a:cubicBezTo>
                <a:cubicBezTo>
                  <a:pt x="594" y="1039"/>
                  <a:pt x="592" y="1039"/>
                  <a:pt x="591" y="1038"/>
                </a:cubicBezTo>
                <a:cubicBezTo>
                  <a:pt x="590" y="1036"/>
                  <a:pt x="589" y="1034"/>
                  <a:pt x="589" y="1032"/>
                </a:cubicBezTo>
                <a:cubicBezTo>
                  <a:pt x="589" y="1029"/>
                  <a:pt x="592" y="1026"/>
                  <a:pt x="595" y="1026"/>
                </a:cubicBezTo>
                <a:cubicBezTo>
                  <a:pt x="595" y="1026"/>
                  <a:pt x="595" y="1027"/>
                  <a:pt x="596" y="1028"/>
                </a:cubicBezTo>
                <a:cubicBezTo>
                  <a:pt x="596" y="1029"/>
                  <a:pt x="596" y="1030"/>
                  <a:pt x="596" y="1031"/>
                </a:cubicBezTo>
                <a:cubicBezTo>
                  <a:pt x="595" y="1031"/>
                  <a:pt x="595" y="1031"/>
                  <a:pt x="595" y="1031"/>
                </a:cubicBezTo>
                <a:cubicBezTo>
                  <a:pt x="594" y="1032"/>
                  <a:pt x="594" y="1033"/>
                  <a:pt x="593" y="1035"/>
                </a:cubicBezTo>
                <a:cubicBezTo>
                  <a:pt x="594" y="1035"/>
                  <a:pt x="595" y="1035"/>
                  <a:pt x="595" y="1034"/>
                </a:cubicBezTo>
                <a:cubicBezTo>
                  <a:pt x="597" y="1033"/>
                  <a:pt x="597" y="1032"/>
                  <a:pt x="598" y="1031"/>
                </a:cubicBezTo>
                <a:cubicBezTo>
                  <a:pt x="603" y="1025"/>
                  <a:pt x="608" y="1021"/>
                  <a:pt x="616" y="1019"/>
                </a:cubicBezTo>
                <a:cubicBezTo>
                  <a:pt x="619" y="1019"/>
                  <a:pt x="623" y="1017"/>
                  <a:pt x="625" y="1015"/>
                </a:cubicBezTo>
                <a:cubicBezTo>
                  <a:pt x="625" y="1014"/>
                  <a:pt x="626" y="1014"/>
                  <a:pt x="626" y="1014"/>
                </a:cubicBezTo>
                <a:cubicBezTo>
                  <a:pt x="629" y="1013"/>
                  <a:pt x="630" y="1011"/>
                  <a:pt x="632" y="1009"/>
                </a:cubicBezTo>
                <a:cubicBezTo>
                  <a:pt x="640" y="1002"/>
                  <a:pt x="652" y="1001"/>
                  <a:pt x="659" y="1008"/>
                </a:cubicBezTo>
                <a:cubicBezTo>
                  <a:pt x="662" y="1010"/>
                  <a:pt x="665" y="1012"/>
                  <a:pt x="667" y="1014"/>
                </a:cubicBezTo>
                <a:cubicBezTo>
                  <a:pt x="668" y="1015"/>
                  <a:pt x="670" y="1017"/>
                  <a:pt x="671" y="1019"/>
                </a:cubicBezTo>
                <a:cubicBezTo>
                  <a:pt x="672" y="1020"/>
                  <a:pt x="672" y="1020"/>
                  <a:pt x="674" y="1019"/>
                </a:cubicBezTo>
                <a:cubicBezTo>
                  <a:pt x="674" y="1019"/>
                  <a:pt x="675" y="1018"/>
                  <a:pt x="676" y="1017"/>
                </a:cubicBezTo>
                <a:cubicBezTo>
                  <a:pt x="678" y="1014"/>
                  <a:pt x="681" y="1014"/>
                  <a:pt x="682" y="1017"/>
                </a:cubicBezTo>
                <a:cubicBezTo>
                  <a:pt x="683" y="1021"/>
                  <a:pt x="684" y="1023"/>
                  <a:pt x="685" y="1026"/>
                </a:cubicBezTo>
                <a:cubicBezTo>
                  <a:pt x="685" y="1031"/>
                  <a:pt x="685" y="1035"/>
                  <a:pt x="683" y="1040"/>
                </a:cubicBezTo>
                <a:cubicBezTo>
                  <a:pt x="681" y="1046"/>
                  <a:pt x="676" y="1049"/>
                  <a:pt x="670" y="1049"/>
                </a:cubicBezTo>
                <a:cubicBezTo>
                  <a:pt x="669" y="1049"/>
                  <a:pt x="668" y="1049"/>
                  <a:pt x="668" y="1049"/>
                </a:cubicBezTo>
                <a:cubicBezTo>
                  <a:pt x="665" y="1049"/>
                  <a:pt x="664" y="1049"/>
                  <a:pt x="663" y="1052"/>
                </a:cubicBezTo>
                <a:cubicBezTo>
                  <a:pt x="662" y="1056"/>
                  <a:pt x="656" y="1058"/>
                  <a:pt x="653" y="1055"/>
                </a:cubicBezTo>
                <a:cubicBezTo>
                  <a:pt x="652" y="1053"/>
                  <a:pt x="651" y="1053"/>
                  <a:pt x="650" y="1051"/>
                </a:cubicBezTo>
                <a:cubicBezTo>
                  <a:pt x="649" y="1052"/>
                  <a:pt x="649" y="1052"/>
                  <a:pt x="649" y="1052"/>
                </a:cubicBezTo>
                <a:close/>
                <a:moveTo>
                  <a:pt x="643" y="1047"/>
                </a:moveTo>
                <a:cubicBezTo>
                  <a:pt x="647" y="1049"/>
                  <a:pt x="650" y="1050"/>
                  <a:pt x="653" y="1053"/>
                </a:cubicBezTo>
                <a:cubicBezTo>
                  <a:pt x="655" y="1055"/>
                  <a:pt x="657" y="1055"/>
                  <a:pt x="659" y="1055"/>
                </a:cubicBezTo>
                <a:cubicBezTo>
                  <a:pt x="661" y="1054"/>
                  <a:pt x="663" y="1052"/>
                  <a:pt x="663" y="1049"/>
                </a:cubicBezTo>
                <a:cubicBezTo>
                  <a:pt x="663" y="1049"/>
                  <a:pt x="662" y="1049"/>
                  <a:pt x="662" y="1049"/>
                </a:cubicBezTo>
                <a:cubicBezTo>
                  <a:pt x="661" y="1051"/>
                  <a:pt x="660" y="1052"/>
                  <a:pt x="659" y="1053"/>
                </a:cubicBezTo>
                <a:cubicBezTo>
                  <a:pt x="658" y="1054"/>
                  <a:pt x="657" y="1054"/>
                  <a:pt x="656" y="1053"/>
                </a:cubicBezTo>
                <a:cubicBezTo>
                  <a:pt x="655" y="1053"/>
                  <a:pt x="655" y="1052"/>
                  <a:pt x="655" y="1051"/>
                </a:cubicBezTo>
                <a:cubicBezTo>
                  <a:pt x="655" y="1049"/>
                  <a:pt x="655" y="1047"/>
                  <a:pt x="656" y="1045"/>
                </a:cubicBezTo>
                <a:cubicBezTo>
                  <a:pt x="659" y="1046"/>
                  <a:pt x="662" y="1047"/>
                  <a:pt x="666" y="1047"/>
                </a:cubicBezTo>
                <a:cubicBezTo>
                  <a:pt x="673" y="1049"/>
                  <a:pt x="679" y="1047"/>
                  <a:pt x="682" y="1038"/>
                </a:cubicBezTo>
                <a:cubicBezTo>
                  <a:pt x="684" y="1034"/>
                  <a:pt x="683" y="1029"/>
                  <a:pt x="683" y="1024"/>
                </a:cubicBezTo>
                <a:cubicBezTo>
                  <a:pt x="682" y="1022"/>
                  <a:pt x="681" y="1020"/>
                  <a:pt x="681" y="1018"/>
                </a:cubicBezTo>
                <a:cubicBezTo>
                  <a:pt x="680" y="1017"/>
                  <a:pt x="679" y="1016"/>
                  <a:pt x="677" y="1018"/>
                </a:cubicBezTo>
                <a:cubicBezTo>
                  <a:pt x="676" y="1019"/>
                  <a:pt x="674" y="1021"/>
                  <a:pt x="672" y="1022"/>
                </a:cubicBezTo>
                <a:cubicBezTo>
                  <a:pt x="672" y="1022"/>
                  <a:pt x="671" y="1023"/>
                  <a:pt x="671" y="1024"/>
                </a:cubicBezTo>
                <a:cubicBezTo>
                  <a:pt x="672" y="1027"/>
                  <a:pt x="671" y="1030"/>
                  <a:pt x="670" y="1034"/>
                </a:cubicBezTo>
                <a:cubicBezTo>
                  <a:pt x="670" y="1032"/>
                  <a:pt x="670" y="1030"/>
                  <a:pt x="670" y="1028"/>
                </a:cubicBezTo>
                <a:cubicBezTo>
                  <a:pt x="670" y="1027"/>
                  <a:pt x="670" y="1027"/>
                  <a:pt x="670" y="1026"/>
                </a:cubicBezTo>
                <a:cubicBezTo>
                  <a:pt x="669" y="1027"/>
                  <a:pt x="668" y="1027"/>
                  <a:pt x="668" y="1027"/>
                </a:cubicBezTo>
                <a:cubicBezTo>
                  <a:pt x="668" y="1028"/>
                  <a:pt x="667" y="1030"/>
                  <a:pt x="666" y="1031"/>
                </a:cubicBezTo>
                <a:cubicBezTo>
                  <a:pt x="666" y="1031"/>
                  <a:pt x="666" y="1031"/>
                  <a:pt x="666" y="1031"/>
                </a:cubicBezTo>
                <a:cubicBezTo>
                  <a:pt x="666" y="1030"/>
                  <a:pt x="666" y="1028"/>
                  <a:pt x="667" y="1026"/>
                </a:cubicBezTo>
                <a:cubicBezTo>
                  <a:pt x="666" y="1026"/>
                  <a:pt x="665" y="1027"/>
                  <a:pt x="665" y="1028"/>
                </a:cubicBezTo>
                <a:cubicBezTo>
                  <a:pt x="664" y="1028"/>
                  <a:pt x="664" y="1029"/>
                  <a:pt x="663" y="1030"/>
                </a:cubicBezTo>
                <a:cubicBezTo>
                  <a:pt x="664" y="1026"/>
                  <a:pt x="664" y="1026"/>
                  <a:pt x="670" y="1025"/>
                </a:cubicBezTo>
                <a:cubicBezTo>
                  <a:pt x="670" y="1025"/>
                  <a:pt x="669" y="1024"/>
                  <a:pt x="669" y="1024"/>
                </a:cubicBezTo>
                <a:cubicBezTo>
                  <a:pt x="666" y="1025"/>
                  <a:pt x="665" y="1023"/>
                  <a:pt x="665" y="1021"/>
                </a:cubicBezTo>
                <a:cubicBezTo>
                  <a:pt x="666" y="1020"/>
                  <a:pt x="668" y="1020"/>
                  <a:pt x="670" y="1019"/>
                </a:cubicBezTo>
                <a:cubicBezTo>
                  <a:pt x="668" y="1017"/>
                  <a:pt x="666" y="1014"/>
                  <a:pt x="663" y="1014"/>
                </a:cubicBezTo>
                <a:cubicBezTo>
                  <a:pt x="663" y="1014"/>
                  <a:pt x="663" y="1013"/>
                  <a:pt x="663" y="1013"/>
                </a:cubicBezTo>
                <a:cubicBezTo>
                  <a:pt x="660" y="1011"/>
                  <a:pt x="658" y="1009"/>
                  <a:pt x="655" y="1007"/>
                </a:cubicBezTo>
                <a:cubicBezTo>
                  <a:pt x="653" y="1006"/>
                  <a:pt x="650" y="1005"/>
                  <a:pt x="648" y="1005"/>
                </a:cubicBezTo>
                <a:cubicBezTo>
                  <a:pt x="645" y="1005"/>
                  <a:pt x="641" y="1006"/>
                  <a:pt x="638" y="1007"/>
                </a:cubicBezTo>
                <a:cubicBezTo>
                  <a:pt x="635" y="1008"/>
                  <a:pt x="633" y="1010"/>
                  <a:pt x="631" y="1013"/>
                </a:cubicBezTo>
                <a:cubicBezTo>
                  <a:pt x="633" y="1013"/>
                  <a:pt x="634" y="1013"/>
                  <a:pt x="635" y="1013"/>
                </a:cubicBezTo>
                <a:cubicBezTo>
                  <a:pt x="635" y="1013"/>
                  <a:pt x="634" y="1014"/>
                  <a:pt x="633" y="1014"/>
                </a:cubicBezTo>
                <a:cubicBezTo>
                  <a:pt x="631" y="1015"/>
                  <a:pt x="628" y="1014"/>
                  <a:pt x="626" y="1016"/>
                </a:cubicBezTo>
                <a:cubicBezTo>
                  <a:pt x="623" y="1020"/>
                  <a:pt x="619" y="1024"/>
                  <a:pt x="615" y="1028"/>
                </a:cubicBezTo>
                <a:cubicBezTo>
                  <a:pt x="614" y="1030"/>
                  <a:pt x="613" y="1032"/>
                  <a:pt x="612" y="1035"/>
                </a:cubicBezTo>
                <a:cubicBezTo>
                  <a:pt x="612" y="1035"/>
                  <a:pt x="612" y="1036"/>
                  <a:pt x="612" y="1036"/>
                </a:cubicBezTo>
                <a:cubicBezTo>
                  <a:pt x="613" y="1038"/>
                  <a:pt x="614" y="1040"/>
                  <a:pt x="616" y="1042"/>
                </a:cubicBezTo>
                <a:cubicBezTo>
                  <a:pt x="617" y="1041"/>
                  <a:pt x="618" y="1039"/>
                  <a:pt x="619" y="1038"/>
                </a:cubicBezTo>
                <a:cubicBezTo>
                  <a:pt x="619" y="1039"/>
                  <a:pt x="619" y="1040"/>
                  <a:pt x="618" y="1042"/>
                </a:cubicBezTo>
                <a:cubicBezTo>
                  <a:pt x="617" y="1043"/>
                  <a:pt x="616" y="1044"/>
                  <a:pt x="616" y="1046"/>
                </a:cubicBezTo>
                <a:cubicBezTo>
                  <a:pt x="615" y="1047"/>
                  <a:pt x="616" y="1048"/>
                  <a:pt x="616" y="1049"/>
                </a:cubicBezTo>
                <a:cubicBezTo>
                  <a:pt x="619" y="1052"/>
                  <a:pt x="622" y="1052"/>
                  <a:pt x="626" y="1050"/>
                </a:cubicBezTo>
                <a:cubicBezTo>
                  <a:pt x="628" y="1049"/>
                  <a:pt x="631" y="1047"/>
                  <a:pt x="634" y="1047"/>
                </a:cubicBezTo>
                <a:cubicBezTo>
                  <a:pt x="635" y="1046"/>
                  <a:pt x="636" y="1045"/>
                  <a:pt x="636" y="1044"/>
                </a:cubicBezTo>
                <a:cubicBezTo>
                  <a:pt x="636" y="1041"/>
                  <a:pt x="636" y="1037"/>
                  <a:pt x="636" y="1034"/>
                </a:cubicBezTo>
                <a:cubicBezTo>
                  <a:pt x="636" y="1031"/>
                  <a:pt x="636" y="1028"/>
                  <a:pt x="636" y="1025"/>
                </a:cubicBezTo>
                <a:cubicBezTo>
                  <a:pt x="637" y="1028"/>
                  <a:pt x="637" y="1030"/>
                  <a:pt x="638" y="1033"/>
                </a:cubicBezTo>
                <a:cubicBezTo>
                  <a:pt x="639" y="1038"/>
                  <a:pt x="639" y="1042"/>
                  <a:pt x="637" y="1046"/>
                </a:cubicBezTo>
                <a:cubicBezTo>
                  <a:pt x="637" y="1047"/>
                  <a:pt x="636" y="1048"/>
                  <a:pt x="636" y="1048"/>
                </a:cubicBezTo>
                <a:cubicBezTo>
                  <a:pt x="632" y="1048"/>
                  <a:pt x="629" y="1050"/>
                  <a:pt x="626" y="1052"/>
                </a:cubicBezTo>
                <a:cubicBezTo>
                  <a:pt x="621" y="1055"/>
                  <a:pt x="617" y="1053"/>
                  <a:pt x="614" y="1049"/>
                </a:cubicBezTo>
                <a:cubicBezTo>
                  <a:pt x="614" y="1049"/>
                  <a:pt x="614" y="1047"/>
                  <a:pt x="614" y="1047"/>
                </a:cubicBezTo>
                <a:cubicBezTo>
                  <a:pt x="615" y="1045"/>
                  <a:pt x="614" y="1043"/>
                  <a:pt x="612" y="1041"/>
                </a:cubicBezTo>
                <a:cubicBezTo>
                  <a:pt x="611" y="1039"/>
                  <a:pt x="609" y="1036"/>
                  <a:pt x="610" y="1034"/>
                </a:cubicBezTo>
                <a:cubicBezTo>
                  <a:pt x="611" y="1032"/>
                  <a:pt x="612" y="1030"/>
                  <a:pt x="613" y="1028"/>
                </a:cubicBezTo>
                <a:cubicBezTo>
                  <a:pt x="615" y="1026"/>
                  <a:pt x="617" y="1023"/>
                  <a:pt x="619" y="1021"/>
                </a:cubicBezTo>
                <a:cubicBezTo>
                  <a:pt x="619" y="1021"/>
                  <a:pt x="618" y="1021"/>
                  <a:pt x="618" y="1021"/>
                </a:cubicBezTo>
                <a:cubicBezTo>
                  <a:pt x="613" y="1022"/>
                  <a:pt x="608" y="1023"/>
                  <a:pt x="605" y="1026"/>
                </a:cubicBezTo>
                <a:cubicBezTo>
                  <a:pt x="600" y="1031"/>
                  <a:pt x="597" y="1036"/>
                  <a:pt x="597" y="1043"/>
                </a:cubicBezTo>
                <a:cubicBezTo>
                  <a:pt x="596" y="1049"/>
                  <a:pt x="599" y="1055"/>
                  <a:pt x="602" y="1061"/>
                </a:cubicBezTo>
                <a:cubicBezTo>
                  <a:pt x="603" y="1062"/>
                  <a:pt x="603" y="1064"/>
                  <a:pt x="603" y="1065"/>
                </a:cubicBezTo>
                <a:cubicBezTo>
                  <a:pt x="603" y="1066"/>
                  <a:pt x="603" y="1068"/>
                  <a:pt x="602" y="1069"/>
                </a:cubicBezTo>
                <a:cubicBezTo>
                  <a:pt x="601" y="1071"/>
                  <a:pt x="602" y="1072"/>
                  <a:pt x="603" y="1072"/>
                </a:cubicBezTo>
                <a:cubicBezTo>
                  <a:pt x="606" y="1073"/>
                  <a:pt x="609" y="1074"/>
                  <a:pt x="612" y="1074"/>
                </a:cubicBezTo>
                <a:cubicBezTo>
                  <a:pt x="612" y="1074"/>
                  <a:pt x="613" y="1073"/>
                  <a:pt x="613" y="1073"/>
                </a:cubicBezTo>
                <a:cubicBezTo>
                  <a:pt x="614" y="1072"/>
                  <a:pt x="614" y="1070"/>
                  <a:pt x="614" y="1069"/>
                </a:cubicBezTo>
                <a:cubicBezTo>
                  <a:pt x="616" y="1067"/>
                  <a:pt x="616" y="1064"/>
                  <a:pt x="616" y="1061"/>
                </a:cubicBezTo>
                <a:cubicBezTo>
                  <a:pt x="616" y="1061"/>
                  <a:pt x="616" y="1061"/>
                  <a:pt x="616" y="1060"/>
                </a:cubicBezTo>
                <a:cubicBezTo>
                  <a:pt x="616" y="1060"/>
                  <a:pt x="616" y="1060"/>
                  <a:pt x="616" y="1059"/>
                </a:cubicBezTo>
                <a:cubicBezTo>
                  <a:pt x="617" y="1062"/>
                  <a:pt x="618" y="1062"/>
                  <a:pt x="620" y="1062"/>
                </a:cubicBezTo>
                <a:cubicBezTo>
                  <a:pt x="621" y="1062"/>
                  <a:pt x="622" y="1062"/>
                  <a:pt x="623" y="1062"/>
                </a:cubicBezTo>
                <a:cubicBezTo>
                  <a:pt x="625" y="1062"/>
                  <a:pt x="628" y="1063"/>
                  <a:pt x="629" y="1059"/>
                </a:cubicBezTo>
                <a:cubicBezTo>
                  <a:pt x="629" y="1061"/>
                  <a:pt x="629" y="1063"/>
                  <a:pt x="629" y="1063"/>
                </a:cubicBezTo>
                <a:cubicBezTo>
                  <a:pt x="628" y="1064"/>
                  <a:pt x="626" y="1065"/>
                  <a:pt x="625" y="1065"/>
                </a:cubicBezTo>
                <a:cubicBezTo>
                  <a:pt x="624" y="1066"/>
                  <a:pt x="623" y="1068"/>
                  <a:pt x="624" y="1068"/>
                </a:cubicBezTo>
                <a:cubicBezTo>
                  <a:pt x="625" y="1071"/>
                  <a:pt x="626" y="1073"/>
                  <a:pt x="628" y="1075"/>
                </a:cubicBezTo>
                <a:cubicBezTo>
                  <a:pt x="630" y="1076"/>
                  <a:pt x="632" y="1076"/>
                  <a:pt x="633" y="1074"/>
                </a:cubicBezTo>
                <a:cubicBezTo>
                  <a:pt x="634" y="1073"/>
                  <a:pt x="634" y="1072"/>
                  <a:pt x="635" y="1072"/>
                </a:cubicBezTo>
                <a:cubicBezTo>
                  <a:pt x="637" y="1070"/>
                  <a:pt x="638" y="1069"/>
                  <a:pt x="640" y="1068"/>
                </a:cubicBezTo>
                <a:cubicBezTo>
                  <a:pt x="644" y="1064"/>
                  <a:pt x="646" y="1058"/>
                  <a:pt x="648" y="1052"/>
                </a:cubicBezTo>
                <a:cubicBezTo>
                  <a:pt x="648" y="1051"/>
                  <a:pt x="647" y="1051"/>
                  <a:pt x="646" y="1050"/>
                </a:cubicBezTo>
                <a:cubicBezTo>
                  <a:pt x="646" y="1049"/>
                  <a:pt x="645" y="1048"/>
                  <a:pt x="643" y="1047"/>
                </a:cubicBezTo>
                <a:close/>
                <a:moveTo>
                  <a:pt x="596" y="1054"/>
                </a:moveTo>
                <a:cubicBezTo>
                  <a:pt x="595" y="1055"/>
                  <a:pt x="594" y="1055"/>
                  <a:pt x="593" y="1057"/>
                </a:cubicBezTo>
                <a:cubicBezTo>
                  <a:pt x="592" y="1057"/>
                  <a:pt x="592" y="1058"/>
                  <a:pt x="592" y="1059"/>
                </a:cubicBezTo>
                <a:cubicBezTo>
                  <a:pt x="592" y="1061"/>
                  <a:pt x="596" y="1066"/>
                  <a:pt x="599" y="1065"/>
                </a:cubicBezTo>
                <a:cubicBezTo>
                  <a:pt x="601" y="1065"/>
                  <a:pt x="602" y="1064"/>
                  <a:pt x="601" y="1063"/>
                </a:cubicBezTo>
                <a:cubicBezTo>
                  <a:pt x="599" y="1059"/>
                  <a:pt x="598" y="1057"/>
                  <a:pt x="596" y="1054"/>
                </a:cubicBezTo>
                <a:close/>
                <a:moveTo>
                  <a:pt x="649" y="1056"/>
                </a:moveTo>
                <a:cubicBezTo>
                  <a:pt x="646" y="1061"/>
                  <a:pt x="644" y="1065"/>
                  <a:pt x="642" y="1069"/>
                </a:cubicBezTo>
                <a:cubicBezTo>
                  <a:pt x="645" y="1069"/>
                  <a:pt x="647" y="1070"/>
                  <a:pt x="650" y="1069"/>
                </a:cubicBezTo>
                <a:cubicBezTo>
                  <a:pt x="650" y="1069"/>
                  <a:pt x="650" y="1068"/>
                  <a:pt x="650" y="1068"/>
                </a:cubicBezTo>
                <a:cubicBezTo>
                  <a:pt x="650" y="1065"/>
                  <a:pt x="650" y="1063"/>
                  <a:pt x="650" y="1060"/>
                </a:cubicBezTo>
                <a:cubicBezTo>
                  <a:pt x="650" y="1059"/>
                  <a:pt x="649" y="1057"/>
                  <a:pt x="649" y="1056"/>
                </a:cubicBezTo>
                <a:close/>
                <a:moveTo>
                  <a:pt x="596" y="1036"/>
                </a:moveTo>
                <a:cubicBezTo>
                  <a:pt x="595" y="1036"/>
                  <a:pt x="595" y="1036"/>
                  <a:pt x="594" y="1036"/>
                </a:cubicBezTo>
                <a:cubicBezTo>
                  <a:pt x="594" y="1036"/>
                  <a:pt x="593" y="1036"/>
                  <a:pt x="593" y="1036"/>
                </a:cubicBezTo>
                <a:cubicBezTo>
                  <a:pt x="592" y="1036"/>
                  <a:pt x="592" y="1035"/>
                  <a:pt x="592" y="1034"/>
                </a:cubicBezTo>
                <a:cubicBezTo>
                  <a:pt x="593" y="1032"/>
                  <a:pt x="593" y="1030"/>
                  <a:pt x="594" y="1028"/>
                </a:cubicBezTo>
                <a:cubicBezTo>
                  <a:pt x="594" y="1028"/>
                  <a:pt x="594" y="1028"/>
                  <a:pt x="593" y="1028"/>
                </a:cubicBezTo>
                <a:cubicBezTo>
                  <a:pt x="592" y="1029"/>
                  <a:pt x="591" y="1030"/>
                  <a:pt x="590" y="1031"/>
                </a:cubicBezTo>
                <a:cubicBezTo>
                  <a:pt x="590" y="1032"/>
                  <a:pt x="591" y="1037"/>
                  <a:pt x="593" y="1038"/>
                </a:cubicBezTo>
                <a:cubicBezTo>
                  <a:pt x="594" y="1039"/>
                  <a:pt x="596" y="1038"/>
                  <a:pt x="596" y="1036"/>
                </a:cubicBezTo>
                <a:close/>
                <a:moveTo>
                  <a:pt x="596" y="1054"/>
                </a:moveTo>
                <a:cubicBezTo>
                  <a:pt x="595" y="1055"/>
                  <a:pt x="594" y="1056"/>
                  <a:pt x="592" y="1057"/>
                </a:cubicBezTo>
                <a:cubicBezTo>
                  <a:pt x="592" y="1057"/>
                  <a:pt x="592" y="1058"/>
                  <a:pt x="592" y="1059"/>
                </a:cubicBezTo>
                <a:cubicBezTo>
                  <a:pt x="592" y="1062"/>
                  <a:pt x="596" y="1066"/>
                  <a:pt x="599" y="1066"/>
                </a:cubicBezTo>
                <a:cubicBezTo>
                  <a:pt x="601" y="1066"/>
                  <a:pt x="602" y="1064"/>
                  <a:pt x="601" y="1063"/>
                </a:cubicBezTo>
                <a:cubicBezTo>
                  <a:pt x="599" y="1060"/>
                  <a:pt x="598" y="1057"/>
                  <a:pt x="596" y="1054"/>
                </a:cubicBezTo>
                <a:close/>
                <a:moveTo>
                  <a:pt x="649" y="1056"/>
                </a:moveTo>
                <a:cubicBezTo>
                  <a:pt x="646" y="1061"/>
                  <a:pt x="644" y="1065"/>
                  <a:pt x="642" y="1069"/>
                </a:cubicBezTo>
                <a:cubicBezTo>
                  <a:pt x="644" y="1069"/>
                  <a:pt x="647" y="1070"/>
                  <a:pt x="649" y="1069"/>
                </a:cubicBezTo>
                <a:cubicBezTo>
                  <a:pt x="650" y="1069"/>
                  <a:pt x="650" y="1068"/>
                  <a:pt x="650" y="1068"/>
                </a:cubicBezTo>
                <a:cubicBezTo>
                  <a:pt x="650" y="1065"/>
                  <a:pt x="650" y="1063"/>
                  <a:pt x="650" y="1060"/>
                </a:cubicBezTo>
                <a:cubicBezTo>
                  <a:pt x="649" y="1059"/>
                  <a:pt x="649" y="1057"/>
                  <a:pt x="649" y="1056"/>
                </a:cubicBezTo>
                <a:close/>
                <a:moveTo>
                  <a:pt x="596" y="1036"/>
                </a:moveTo>
                <a:cubicBezTo>
                  <a:pt x="595" y="1036"/>
                  <a:pt x="595" y="1037"/>
                  <a:pt x="594" y="1037"/>
                </a:cubicBezTo>
                <a:cubicBezTo>
                  <a:pt x="593" y="1037"/>
                  <a:pt x="593" y="1037"/>
                  <a:pt x="593" y="1036"/>
                </a:cubicBezTo>
                <a:cubicBezTo>
                  <a:pt x="592" y="1036"/>
                  <a:pt x="592" y="1035"/>
                  <a:pt x="592" y="1034"/>
                </a:cubicBezTo>
                <a:cubicBezTo>
                  <a:pt x="593" y="1032"/>
                  <a:pt x="593" y="1030"/>
                  <a:pt x="594" y="1028"/>
                </a:cubicBezTo>
                <a:cubicBezTo>
                  <a:pt x="593" y="1028"/>
                  <a:pt x="593" y="1028"/>
                  <a:pt x="593" y="1028"/>
                </a:cubicBezTo>
                <a:cubicBezTo>
                  <a:pt x="592" y="1029"/>
                  <a:pt x="591" y="1030"/>
                  <a:pt x="591" y="1031"/>
                </a:cubicBezTo>
                <a:cubicBezTo>
                  <a:pt x="590" y="1032"/>
                  <a:pt x="591" y="1037"/>
                  <a:pt x="593" y="1038"/>
                </a:cubicBezTo>
                <a:cubicBezTo>
                  <a:pt x="594" y="1039"/>
                  <a:pt x="596" y="1038"/>
                  <a:pt x="596" y="1036"/>
                </a:cubicBezTo>
                <a:close/>
                <a:moveTo>
                  <a:pt x="648" y="1028"/>
                </a:moveTo>
                <a:cubicBezTo>
                  <a:pt x="652" y="1024"/>
                  <a:pt x="652" y="1024"/>
                  <a:pt x="656" y="1023"/>
                </a:cubicBezTo>
                <a:cubicBezTo>
                  <a:pt x="656" y="1025"/>
                  <a:pt x="657" y="1026"/>
                  <a:pt x="658" y="1026"/>
                </a:cubicBezTo>
                <a:cubicBezTo>
                  <a:pt x="656" y="1027"/>
                  <a:pt x="654" y="1029"/>
                  <a:pt x="652" y="1030"/>
                </a:cubicBezTo>
                <a:cubicBezTo>
                  <a:pt x="651" y="1029"/>
                  <a:pt x="651" y="1028"/>
                  <a:pt x="650" y="1027"/>
                </a:cubicBezTo>
                <a:cubicBezTo>
                  <a:pt x="650" y="1027"/>
                  <a:pt x="649" y="1027"/>
                  <a:pt x="648" y="1028"/>
                </a:cubicBezTo>
                <a:close/>
                <a:moveTo>
                  <a:pt x="654" y="1027"/>
                </a:moveTo>
                <a:cubicBezTo>
                  <a:pt x="654" y="1027"/>
                  <a:pt x="653" y="1026"/>
                  <a:pt x="652" y="1026"/>
                </a:cubicBezTo>
                <a:cubicBezTo>
                  <a:pt x="652" y="1026"/>
                  <a:pt x="651" y="1027"/>
                  <a:pt x="651" y="1028"/>
                </a:cubicBezTo>
                <a:cubicBezTo>
                  <a:pt x="651" y="1028"/>
                  <a:pt x="652" y="1028"/>
                  <a:pt x="652" y="1029"/>
                </a:cubicBezTo>
                <a:cubicBezTo>
                  <a:pt x="653" y="1028"/>
                  <a:pt x="653" y="1028"/>
                  <a:pt x="654" y="1027"/>
                </a:cubicBezTo>
                <a:close/>
                <a:moveTo>
                  <a:pt x="635" y="1018"/>
                </a:moveTo>
                <a:cubicBezTo>
                  <a:pt x="629" y="1017"/>
                  <a:pt x="626" y="1019"/>
                  <a:pt x="625" y="1027"/>
                </a:cubicBezTo>
                <a:cubicBezTo>
                  <a:pt x="626" y="1025"/>
                  <a:pt x="627" y="1023"/>
                  <a:pt x="628" y="1020"/>
                </a:cubicBezTo>
                <a:cubicBezTo>
                  <a:pt x="629" y="1020"/>
                  <a:pt x="629" y="1020"/>
                  <a:pt x="629" y="1020"/>
                </a:cubicBezTo>
                <a:cubicBezTo>
                  <a:pt x="629" y="1022"/>
                  <a:pt x="629" y="1022"/>
                  <a:pt x="629" y="1023"/>
                </a:cubicBezTo>
                <a:cubicBezTo>
                  <a:pt x="630" y="1020"/>
                  <a:pt x="632" y="1018"/>
                  <a:pt x="635" y="1018"/>
                </a:cubicBezTo>
                <a:close/>
                <a:moveTo>
                  <a:pt x="679" y="1019"/>
                </a:moveTo>
                <a:cubicBezTo>
                  <a:pt x="677" y="1020"/>
                  <a:pt x="675" y="1022"/>
                  <a:pt x="674" y="1023"/>
                </a:cubicBezTo>
                <a:cubicBezTo>
                  <a:pt x="676" y="1024"/>
                  <a:pt x="678" y="1022"/>
                  <a:pt x="679" y="1019"/>
                </a:cubicBezTo>
                <a:close/>
                <a:moveTo>
                  <a:pt x="646" y="1021"/>
                </a:moveTo>
                <a:cubicBezTo>
                  <a:pt x="647" y="1020"/>
                  <a:pt x="648" y="1019"/>
                  <a:pt x="649" y="1017"/>
                </a:cubicBezTo>
                <a:cubicBezTo>
                  <a:pt x="646" y="1019"/>
                  <a:pt x="645" y="1019"/>
                  <a:pt x="646" y="1021"/>
                </a:cubicBezTo>
                <a:close/>
                <a:moveTo>
                  <a:pt x="656" y="1042"/>
                </a:moveTo>
                <a:cubicBezTo>
                  <a:pt x="654" y="1043"/>
                  <a:pt x="653" y="1044"/>
                  <a:pt x="653" y="1044"/>
                </a:cubicBezTo>
                <a:cubicBezTo>
                  <a:pt x="654" y="1044"/>
                  <a:pt x="655" y="1043"/>
                  <a:pt x="656" y="1042"/>
                </a:cubicBezTo>
                <a:close/>
                <a:moveTo>
                  <a:pt x="655" y="1027"/>
                </a:moveTo>
                <a:cubicBezTo>
                  <a:pt x="654" y="1027"/>
                  <a:pt x="653" y="1026"/>
                  <a:pt x="652" y="1026"/>
                </a:cubicBezTo>
                <a:cubicBezTo>
                  <a:pt x="652" y="1026"/>
                  <a:pt x="651" y="1027"/>
                  <a:pt x="651" y="1027"/>
                </a:cubicBezTo>
                <a:cubicBezTo>
                  <a:pt x="651" y="1028"/>
                  <a:pt x="652" y="1028"/>
                  <a:pt x="652" y="1029"/>
                </a:cubicBezTo>
                <a:cubicBezTo>
                  <a:pt x="653" y="1028"/>
                  <a:pt x="653" y="1028"/>
                  <a:pt x="655" y="1027"/>
                </a:cubicBezTo>
                <a:close/>
                <a:moveTo>
                  <a:pt x="1308" y="1005"/>
                </a:moveTo>
                <a:cubicBezTo>
                  <a:pt x="1308" y="1005"/>
                  <a:pt x="1308" y="1005"/>
                  <a:pt x="1308" y="1005"/>
                </a:cubicBezTo>
                <a:cubicBezTo>
                  <a:pt x="1303" y="1005"/>
                  <a:pt x="1303" y="1005"/>
                  <a:pt x="1303" y="1005"/>
                </a:cubicBezTo>
                <a:cubicBezTo>
                  <a:pt x="1301" y="1006"/>
                  <a:pt x="1300" y="1007"/>
                  <a:pt x="1297" y="1008"/>
                </a:cubicBezTo>
                <a:cubicBezTo>
                  <a:pt x="1296" y="1010"/>
                  <a:pt x="1295" y="1010"/>
                  <a:pt x="1292" y="1011"/>
                </a:cubicBezTo>
                <a:cubicBezTo>
                  <a:pt x="1291" y="1013"/>
                  <a:pt x="1289" y="1013"/>
                  <a:pt x="1287" y="1014"/>
                </a:cubicBezTo>
                <a:cubicBezTo>
                  <a:pt x="1285" y="1015"/>
                  <a:pt x="1284" y="1015"/>
                  <a:pt x="1281" y="1015"/>
                </a:cubicBezTo>
                <a:cubicBezTo>
                  <a:pt x="1281" y="1015"/>
                  <a:pt x="1281" y="1015"/>
                  <a:pt x="1281" y="1026"/>
                </a:cubicBezTo>
                <a:cubicBezTo>
                  <a:pt x="1284" y="1025"/>
                  <a:pt x="1287" y="1024"/>
                  <a:pt x="1290" y="1023"/>
                </a:cubicBezTo>
                <a:cubicBezTo>
                  <a:pt x="1292" y="1022"/>
                  <a:pt x="1295" y="1021"/>
                  <a:pt x="1297" y="1019"/>
                </a:cubicBezTo>
                <a:cubicBezTo>
                  <a:pt x="1297" y="1019"/>
                  <a:pt x="1297" y="1019"/>
                  <a:pt x="1297" y="1078"/>
                </a:cubicBezTo>
                <a:cubicBezTo>
                  <a:pt x="1297" y="1078"/>
                  <a:pt x="1297" y="1078"/>
                  <a:pt x="1308" y="1078"/>
                </a:cubicBezTo>
                <a:cubicBezTo>
                  <a:pt x="1308" y="1078"/>
                  <a:pt x="1308" y="1078"/>
                  <a:pt x="1308" y="1005"/>
                </a:cubicBezTo>
                <a:close/>
                <a:moveTo>
                  <a:pt x="1356" y="1005"/>
                </a:moveTo>
                <a:cubicBezTo>
                  <a:pt x="1356" y="1005"/>
                  <a:pt x="1356" y="1005"/>
                  <a:pt x="1356" y="1005"/>
                </a:cubicBezTo>
                <a:cubicBezTo>
                  <a:pt x="1351" y="1005"/>
                  <a:pt x="1351" y="1005"/>
                  <a:pt x="1351" y="1005"/>
                </a:cubicBezTo>
                <a:cubicBezTo>
                  <a:pt x="1349" y="1006"/>
                  <a:pt x="1347" y="1007"/>
                  <a:pt x="1345" y="1008"/>
                </a:cubicBezTo>
                <a:cubicBezTo>
                  <a:pt x="1344" y="1010"/>
                  <a:pt x="1341" y="1010"/>
                  <a:pt x="1340" y="1011"/>
                </a:cubicBezTo>
                <a:cubicBezTo>
                  <a:pt x="1338" y="1013"/>
                  <a:pt x="1336" y="1013"/>
                  <a:pt x="1335" y="1014"/>
                </a:cubicBezTo>
                <a:cubicBezTo>
                  <a:pt x="1333" y="1015"/>
                  <a:pt x="1331" y="1015"/>
                  <a:pt x="1329" y="1015"/>
                </a:cubicBezTo>
                <a:cubicBezTo>
                  <a:pt x="1329" y="1015"/>
                  <a:pt x="1329" y="1015"/>
                  <a:pt x="1329" y="1026"/>
                </a:cubicBezTo>
                <a:cubicBezTo>
                  <a:pt x="1332" y="1025"/>
                  <a:pt x="1335" y="1024"/>
                  <a:pt x="1337" y="1023"/>
                </a:cubicBezTo>
                <a:cubicBezTo>
                  <a:pt x="1340" y="1022"/>
                  <a:pt x="1342" y="1021"/>
                  <a:pt x="1344" y="1019"/>
                </a:cubicBezTo>
                <a:cubicBezTo>
                  <a:pt x="1344" y="1019"/>
                  <a:pt x="1344" y="1019"/>
                  <a:pt x="1344" y="1078"/>
                </a:cubicBezTo>
                <a:cubicBezTo>
                  <a:pt x="1344" y="1078"/>
                  <a:pt x="1344" y="1078"/>
                  <a:pt x="1356" y="1078"/>
                </a:cubicBezTo>
                <a:cubicBezTo>
                  <a:pt x="1356" y="1078"/>
                  <a:pt x="1356" y="1078"/>
                  <a:pt x="1356" y="1005"/>
                </a:cubicBezTo>
                <a:close/>
                <a:moveTo>
                  <a:pt x="1402" y="1005"/>
                </a:moveTo>
                <a:cubicBezTo>
                  <a:pt x="1402" y="1005"/>
                  <a:pt x="1402" y="1005"/>
                  <a:pt x="1402" y="1005"/>
                </a:cubicBezTo>
                <a:cubicBezTo>
                  <a:pt x="1398" y="1005"/>
                  <a:pt x="1398" y="1005"/>
                  <a:pt x="1398" y="1005"/>
                </a:cubicBezTo>
                <a:cubicBezTo>
                  <a:pt x="1396" y="1006"/>
                  <a:pt x="1394" y="1007"/>
                  <a:pt x="1392" y="1008"/>
                </a:cubicBezTo>
                <a:cubicBezTo>
                  <a:pt x="1391" y="1010"/>
                  <a:pt x="1389" y="1010"/>
                  <a:pt x="1387" y="1011"/>
                </a:cubicBezTo>
                <a:cubicBezTo>
                  <a:pt x="1385" y="1012"/>
                  <a:pt x="1384" y="1013"/>
                  <a:pt x="1382" y="1013"/>
                </a:cubicBezTo>
                <a:cubicBezTo>
                  <a:pt x="1380" y="1014"/>
                  <a:pt x="1378" y="1015"/>
                  <a:pt x="1376" y="1015"/>
                </a:cubicBezTo>
                <a:cubicBezTo>
                  <a:pt x="1376" y="1015"/>
                  <a:pt x="1376" y="1015"/>
                  <a:pt x="1376" y="1026"/>
                </a:cubicBezTo>
                <a:cubicBezTo>
                  <a:pt x="1379" y="1025"/>
                  <a:pt x="1382" y="1023"/>
                  <a:pt x="1384" y="1023"/>
                </a:cubicBezTo>
                <a:cubicBezTo>
                  <a:pt x="1387" y="1022"/>
                  <a:pt x="1389" y="1021"/>
                  <a:pt x="1391" y="1019"/>
                </a:cubicBezTo>
                <a:cubicBezTo>
                  <a:pt x="1391" y="1019"/>
                  <a:pt x="1391" y="1019"/>
                  <a:pt x="1391" y="1078"/>
                </a:cubicBezTo>
                <a:cubicBezTo>
                  <a:pt x="1391" y="1078"/>
                  <a:pt x="1391" y="1078"/>
                  <a:pt x="1402" y="1078"/>
                </a:cubicBezTo>
                <a:cubicBezTo>
                  <a:pt x="1402" y="1078"/>
                  <a:pt x="1402" y="1078"/>
                  <a:pt x="1402" y="1005"/>
                </a:cubicBezTo>
                <a:close/>
                <a:moveTo>
                  <a:pt x="1613" y="909"/>
                </a:moveTo>
                <a:cubicBezTo>
                  <a:pt x="1613" y="909"/>
                  <a:pt x="1613" y="909"/>
                  <a:pt x="1613" y="909"/>
                </a:cubicBezTo>
                <a:cubicBezTo>
                  <a:pt x="1608" y="909"/>
                  <a:pt x="1608" y="909"/>
                  <a:pt x="1608" y="909"/>
                </a:cubicBezTo>
                <a:cubicBezTo>
                  <a:pt x="1606" y="911"/>
                  <a:pt x="1604" y="912"/>
                  <a:pt x="1602" y="913"/>
                </a:cubicBezTo>
                <a:cubicBezTo>
                  <a:pt x="1601" y="915"/>
                  <a:pt x="1599" y="915"/>
                  <a:pt x="1597" y="916"/>
                </a:cubicBezTo>
                <a:cubicBezTo>
                  <a:pt x="1595" y="917"/>
                  <a:pt x="1594" y="917"/>
                  <a:pt x="1592" y="918"/>
                </a:cubicBezTo>
                <a:cubicBezTo>
                  <a:pt x="1590" y="919"/>
                  <a:pt x="1588" y="920"/>
                  <a:pt x="1586" y="920"/>
                </a:cubicBezTo>
                <a:cubicBezTo>
                  <a:pt x="1586" y="920"/>
                  <a:pt x="1586" y="920"/>
                  <a:pt x="1586" y="931"/>
                </a:cubicBezTo>
                <a:cubicBezTo>
                  <a:pt x="1589" y="930"/>
                  <a:pt x="1592" y="928"/>
                  <a:pt x="1594" y="928"/>
                </a:cubicBezTo>
                <a:cubicBezTo>
                  <a:pt x="1597" y="927"/>
                  <a:pt x="1599" y="925"/>
                  <a:pt x="1602" y="924"/>
                </a:cubicBezTo>
                <a:cubicBezTo>
                  <a:pt x="1602" y="924"/>
                  <a:pt x="1602" y="924"/>
                  <a:pt x="1602" y="983"/>
                </a:cubicBezTo>
                <a:cubicBezTo>
                  <a:pt x="1602" y="983"/>
                  <a:pt x="1602" y="983"/>
                  <a:pt x="1613" y="983"/>
                </a:cubicBezTo>
                <a:cubicBezTo>
                  <a:pt x="1613" y="983"/>
                  <a:pt x="1613" y="983"/>
                  <a:pt x="1613" y="909"/>
                </a:cubicBezTo>
                <a:close/>
                <a:moveTo>
                  <a:pt x="1660" y="909"/>
                </a:moveTo>
                <a:cubicBezTo>
                  <a:pt x="1660" y="909"/>
                  <a:pt x="1660" y="909"/>
                  <a:pt x="1660" y="909"/>
                </a:cubicBezTo>
                <a:cubicBezTo>
                  <a:pt x="1655" y="909"/>
                  <a:pt x="1655" y="909"/>
                  <a:pt x="1655" y="909"/>
                </a:cubicBezTo>
                <a:cubicBezTo>
                  <a:pt x="1652" y="911"/>
                  <a:pt x="1651" y="912"/>
                  <a:pt x="1649" y="913"/>
                </a:cubicBezTo>
                <a:cubicBezTo>
                  <a:pt x="1647" y="915"/>
                  <a:pt x="1645" y="915"/>
                  <a:pt x="1644" y="916"/>
                </a:cubicBezTo>
                <a:cubicBezTo>
                  <a:pt x="1642" y="917"/>
                  <a:pt x="1640" y="918"/>
                  <a:pt x="1639" y="919"/>
                </a:cubicBezTo>
                <a:cubicBezTo>
                  <a:pt x="1636" y="920"/>
                  <a:pt x="1635" y="920"/>
                  <a:pt x="1633" y="920"/>
                </a:cubicBezTo>
                <a:cubicBezTo>
                  <a:pt x="1633" y="920"/>
                  <a:pt x="1633" y="920"/>
                  <a:pt x="1633" y="931"/>
                </a:cubicBezTo>
                <a:cubicBezTo>
                  <a:pt x="1636" y="930"/>
                  <a:pt x="1639" y="929"/>
                  <a:pt x="1641" y="928"/>
                </a:cubicBezTo>
                <a:cubicBezTo>
                  <a:pt x="1644" y="927"/>
                  <a:pt x="1646" y="925"/>
                  <a:pt x="1648" y="924"/>
                </a:cubicBezTo>
                <a:cubicBezTo>
                  <a:pt x="1648" y="924"/>
                  <a:pt x="1648" y="924"/>
                  <a:pt x="1648" y="983"/>
                </a:cubicBezTo>
                <a:cubicBezTo>
                  <a:pt x="1648" y="983"/>
                  <a:pt x="1648" y="983"/>
                  <a:pt x="1660" y="983"/>
                </a:cubicBezTo>
                <a:cubicBezTo>
                  <a:pt x="1660" y="983"/>
                  <a:pt x="1660" y="983"/>
                  <a:pt x="1660" y="909"/>
                </a:cubicBezTo>
                <a:close/>
                <a:moveTo>
                  <a:pt x="1705" y="909"/>
                </a:moveTo>
                <a:cubicBezTo>
                  <a:pt x="1705" y="909"/>
                  <a:pt x="1705" y="909"/>
                  <a:pt x="1705" y="909"/>
                </a:cubicBezTo>
                <a:cubicBezTo>
                  <a:pt x="1701" y="909"/>
                  <a:pt x="1701" y="909"/>
                  <a:pt x="1701" y="909"/>
                </a:cubicBezTo>
                <a:cubicBezTo>
                  <a:pt x="1699" y="911"/>
                  <a:pt x="1697" y="912"/>
                  <a:pt x="1695" y="913"/>
                </a:cubicBezTo>
                <a:cubicBezTo>
                  <a:pt x="1694" y="915"/>
                  <a:pt x="1692" y="915"/>
                  <a:pt x="1690" y="916"/>
                </a:cubicBezTo>
                <a:cubicBezTo>
                  <a:pt x="1688" y="917"/>
                  <a:pt x="1687" y="918"/>
                  <a:pt x="1684" y="919"/>
                </a:cubicBezTo>
                <a:cubicBezTo>
                  <a:pt x="1683" y="920"/>
                  <a:pt x="1681" y="920"/>
                  <a:pt x="1679" y="920"/>
                </a:cubicBezTo>
                <a:cubicBezTo>
                  <a:pt x="1679" y="920"/>
                  <a:pt x="1679" y="920"/>
                  <a:pt x="1679" y="931"/>
                </a:cubicBezTo>
                <a:cubicBezTo>
                  <a:pt x="1682" y="930"/>
                  <a:pt x="1685" y="929"/>
                  <a:pt x="1687" y="928"/>
                </a:cubicBezTo>
                <a:cubicBezTo>
                  <a:pt x="1689" y="927"/>
                  <a:pt x="1692" y="925"/>
                  <a:pt x="1694" y="924"/>
                </a:cubicBezTo>
                <a:cubicBezTo>
                  <a:pt x="1694" y="924"/>
                  <a:pt x="1694" y="924"/>
                  <a:pt x="1694" y="983"/>
                </a:cubicBezTo>
                <a:cubicBezTo>
                  <a:pt x="1694" y="983"/>
                  <a:pt x="1694" y="983"/>
                  <a:pt x="1705" y="983"/>
                </a:cubicBezTo>
                <a:cubicBezTo>
                  <a:pt x="1705" y="983"/>
                  <a:pt x="1705" y="983"/>
                  <a:pt x="1705" y="909"/>
                </a:cubicBezTo>
                <a:close/>
                <a:moveTo>
                  <a:pt x="1752" y="909"/>
                </a:moveTo>
                <a:cubicBezTo>
                  <a:pt x="1752" y="909"/>
                  <a:pt x="1752" y="909"/>
                  <a:pt x="1752" y="909"/>
                </a:cubicBezTo>
                <a:cubicBezTo>
                  <a:pt x="1747" y="909"/>
                  <a:pt x="1747" y="909"/>
                  <a:pt x="1747" y="909"/>
                </a:cubicBezTo>
                <a:cubicBezTo>
                  <a:pt x="1745" y="911"/>
                  <a:pt x="1743" y="912"/>
                  <a:pt x="1741" y="913"/>
                </a:cubicBezTo>
                <a:cubicBezTo>
                  <a:pt x="1740" y="915"/>
                  <a:pt x="1738" y="915"/>
                  <a:pt x="1736" y="916"/>
                </a:cubicBezTo>
                <a:cubicBezTo>
                  <a:pt x="1735" y="917"/>
                  <a:pt x="1732" y="918"/>
                  <a:pt x="1731" y="919"/>
                </a:cubicBezTo>
                <a:cubicBezTo>
                  <a:pt x="1729" y="920"/>
                  <a:pt x="1727" y="920"/>
                  <a:pt x="1725" y="920"/>
                </a:cubicBezTo>
                <a:cubicBezTo>
                  <a:pt x="1725" y="920"/>
                  <a:pt x="1725" y="920"/>
                  <a:pt x="1725" y="931"/>
                </a:cubicBezTo>
                <a:cubicBezTo>
                  <a:pt x="1728" y="930"/>
                  <a:pt x="1731" y="929"/>
                  <a:pt x="1733" y="928"/>
                </a:cubicBezTo>
                <a:cubicBezTo>
                  <a:pt x="1736" y="927"/>
                  <a:pt x="1738" y="925"/>
                  <a:pt x="1741" y="924"/>
                </a:cubicBezTo>
                <a:cubicBezTo>
                  <a:pt x="1741" y="924"/>
                  <a:pt x="1741" y="924"/>
                  <a:pt x="1741" y="983"/>
                </a:cubicBezTo>
                <a:cubicBezTo>
                  <a:pt x="1741" y="983"/>
                  <a:pt x="1741" y="983"/>
                  <a:pt x="1752" y="983"/>
                </a:cubicBezTo>
                <a:cubicBezTo>
                  <a:pt x="1752" y="983"/>
                  <a:pt x="1752" y="983"/>
                  <a:pt x="1752" y="909"/>
                </a:cubicBezTo>
                <a:close/>
                <a:moveTo>
                  <a:pt x="1874" y="909"/>
                </a:moveTo>
                <a:cubicBezTo>
                  <a:pt x="1874" y="909"/>
                  <a:pt x="1874" y="909"/>
                  <a:pt x="1874" y="909"/>
                </a:cubicBezTo>
                <a:cubicBezTo>
                  <a:pt x="1869" y="909"/>
                  <a:pt x="1869" y="909"/>
                  <a:pt x="1869" y="909"/>
                </a:cubicBezTo>
                <a:cubicBezTo>
                  <a:pt x="1866" y="911"/>
                  <a:pt x="1865" y="912"/>
                  <a:pt x="1863" y="913"/>
                </a:cubicBezTo>
                <a:cubicBezTo>
                  <a:pt x="1861" y="915"/>
                  <a:pt x="1860" y="915"/>
                  <a:pt x="1858" y="916"/>
                </a:cubicBezTo>
                <a:cubicBezTo>
                  <a:pt x="1856" y="917"/>
                  <a:pt x="1854" y="918"/>
                  <a:pt x="1852" y="919"/>
                </a:cubicBezTo>
                <a:cubicBezTo>
                  <a:pt x="1850" y="920"/>
                  <a:pt x="1849" y="920"/>
                  <a:pt x="1846" y="920"/>
                </a:cubicBezTo>
                <a:cubicBezTo>
                  <a:pt x="1846" y="920"/>
                  <a:pt x="1846" y="920"/>
                  <a:pt x="1846" y="931"/>
                </a:cubicBezTo>
                <a:cubicBezTo>
                  <a:pt x="1849" y="930"/>
                  <a:pt x="1852" y="929"/>
                  <a:pt x="1855" y="928"/>
                </a:cubicBezTo>
                <a:cubicBezTo>
                  <a:pt x="1858" y="927"/>
                  <a:pt x="1860" y="925"/>
                  <a:pt x="1862" y="924"/>
                </a:cubicBezTo>
                <a:cubicBezTo>
                  <a:pt x="1862" y="924"/>
                  <a:pt x="1862" y="924"/>
                  <a:pt x="1862" y="983"/>
                </a:cubicBezTo>
                <a:cubicBezTo>
                  <a:pt x="1862" y="983"/>
                  <a:pt x="1862" y="983"/>
                  <a:pt x="1874" y="983"/>
                </a:cubicBezTo>
                <a:cubicBezTo>
                  <a:pt x="1874" y="983"/>
                  <a:pt x="1874" y="983"/>
                  <a:pt x="1874" y="909"/>
                </a:cubicBezTo>
                <a:close/>
                <a:moveTo>
                  <a:pt x="1920" y="909"/>
                </a:moveTo>
                <a:cubicBezTo>
                  <a:pt x="1920" y="909"/>
                  <a:pt x="1920" y="909"/>
                  <a:pt x="1920" y="909"/>
                </a:cubicBezTo>
                <a:cubicBezTo>
                  <a:pt x="1915" y="909"/>
                  <a:pt x="1915" y="909"/>
                  <a:pt x="1915" y="909"/>
                </a:cubicBezTo>
                <a:cubicBezTo>
                  <a:pt x="1913" y="911"/>
                  <a:pt x="1912" y="912"/>
                  <a:pt x="1909" y="913"/>
                </a:cubicBezTo>
                <a:cubicBezTo>
                  <a:pt x="1908" y="915"/>
                  <a:pt x="1906" y="915"/>
                  <a:pt x="1904" y="916"/>
                </a:cubicBezTo>
                <a:cubicBezTo>
                  <a:pt x="1903" y="917"/>
                  <a:pt x="1901" y="918"/>
                  <a:pt x="1899" y="919"/>
                </a:cubicBezTo>
                <a:cubicBezTo>
                  <a:pt x="1897" y="920"/>
                  <a:pt x="1896" y="920"/>
                  <a:pt x="1893" y="920"/>
                </a:cubicBezTo>
                <a:cubicBezTo>
                  <a:pt x="1893" y="920"/>
                  <a:pt x="1893" y="920"/>
                  <a:pt x="1893" y="931"/>
                </a:cubicBezTo>
                <a:cubicBezTo>
                  <a:pt x="1896" y="930"/>
                  <a:pt x="1899" y="929"/>
                  <a:pt x="1901" y="928"/>
                </a:cubicBezTo>
                <a:cubicBezTo>
                  <a:pt x="1904" y="927"/>
                  <a:pt x="1907" y="925"/>
                  <a:pt x="1909" y="924"/>
                </a:cubicBezTo>
                <a:cubicBezTo>
                  <a:pt x="1909" y="924"/>
                  <a:pt x="1909" y="924"/>
                  <a:pt x="1909" y="983"/>
                </a:cubicBezTo>
                <a:cubicBezTo>
                  <a:pt x="1909" y="983"/>
                  <a:pt x="1909" y="983"/>
                  <a:pt x="1920" y="983"/>
                </a:cubicBezTo>
                <a:cubicBezTo>
                  <a:pt x="1920" y="983"/>
                  <a:pt x="1920" y="983"/>
                  <a:pt x="1920" y="909"/>
                </a:cubicBezTo>
                <a:close/>
                <a:moveTo>
                  <a:pt x="1772" y="942"/>
                </a:moveTo>
                <a:cubicBezTo>
                  <a:pt x="1772" y="942"/>
                  <a:pt x="1772" y="942"/>
                  <a:pt x="1772" y="942"/>
                </a:cubicBezTo>
                <a:cubicBezTo>
                  <a:pt x="1772" y="950"/>
                  <a:pt x="1772" y="950"/>
                  <a:pt x="1772" y="950"/>
                </a:cubicBezTo>
                <a:cubicBezTo>
                  <a:pt x="1778" y="950"/>
                  <a:pt x="1779" y="953"/>
                  <a:pt x="1779" y="956"/>
                </a:cubicBezTo>
                <a:cubicBezTo>
                  <a:pt x="1779" y="958"/>
                  <a:pt x="1779" y="960"/>
                  <a:pt x="1779" y="963"/>
                </a:cubicBezTo>
                <a:cubicBezTo>
                  <a:pt x="1778" y="966"/>
                  <a:pt x="1778" y="968"/>
                  <a:pt x="1778" y="970"/>
                </a:cubicBezTo>
                <a:cubicBezTo>
                  <a:pt x="1778" y="980"/>
                  <a:pt x="1784" y="983"/>
                  <a:pt x="1792" y="983"/>
                </a:cubicBezTo>
                <a:cubicBezTo>
                  <a:pt x="1792" y="983"/>
                  <a:pt x="1792" y="983"/>
                  <a:pt x="1796" y="983"/>
                </a:cubicBezTo>
                <a:cubicBezTo>
                  <a:pt x="1796" y="983"/>
                  <a:pt x="1796" y="983"/>
                  <a:pt x="1796" y="974"/>
                </a:cubicBezTo>
                <a:cubicBezTo>
                  <a:pt x="1796" y="974"/>
                  <a:pt x="1796" y="974"/>
                  <a:pt x="1795" y="974"/>
                </a:cubicBezTo>
                <a:cubicBezTo>
                  <a:pt x="1791" y="974"/>
                  <a:pt x="1790" y="971"/>
                  <a:pt x="1790" y="968"/>
                </a:cubicBezTo>
                <a:cubicBezTo>
                  <a:pt x="1790" y="966"/>
                  <a:pt x="1790" y="965"/>
                  <a:pt x="1790" y="963"/>
                </a:cubicBezTo>
                <a:cubicBezTo>
                  <a:pt x="1790" y="962"/>
                  <a:pt x="1790" y="959"/>
                  <a:pt x="1790" y="957"/>
                </a:cubicBezTo>
                <a:cubicBezTo>
                  <a:pt x="1790" y="950"/>
                  <a:pt x="1788" y="947"/>
                  <a:pt x="1782" y="946"/>
                </a:cubicBezTo>
                <a:cubicBezTo>
                  <a:pt x="1782" y="946"/>
                  <a:pt x="1782" y="946"/>
                  <a:pt x="1782" y="946"/>
                </a:cubicBezTo>
                <a:cubicBezTo>
                  <a:pt x="1788" y="944"/>
                  <a:pt x="1790" y="942"/>
                  <a:pt x="1790" y="935"/>
                </a:cubicBezTo>
                <a:cubicBezTo>
                  <a:pt x="1790" y="932"/>
                  <a:pt x="1790" y="930"/>
                  <a:pt x="1790" y="928"/>
                </a:cubicBezTo>
                <a:cubicBezTo>
                  <a:pt x="1790" y="927"/>
                  <a:pt x="1790" y="925"/>
                  <a:pt x="1790" y="924"/>
                </a:cubicBezTo>
                <a:cubicBezTo>
                  <a:pt x="1790" y="920"/>
                  <a:pt x="1791" y="918"/>
                  <a:pt x="1795" y="918"/>
                </a:cubicBezTo>
                <a:cubicBezTo>
                  <a:pt x="1795" y="918"/>
                  <a:pt x="1795" y="918"/>
                  <a:pt x="1796" y="918"/>
                </a:cubicBezTo>
                <a:cubicBezTo>
                  <a:pt x="1796" y="918"/>
                  <a:pt x="1796" y="918"/>
                  <a:pt x="1796" y="909"/>
                </a:cubicBezTo>
                <a:cubicBezTo>
                  <a:pt x="1796" y="909"/>
                  <a:pt x="1796" y="909"/>
                  <a:pt x="1792" y="909"/>
                </a:cubicBezTo>
                <a:cubicBezTo>
                  <a:pt x="1783" y="909"/>
                  <a:pt x="1778" y="913"/>
                  <a:pt x="1778" y="921"/>
                </a:cubicBezTo>
                <a:cubicBezTo>
                  <a:pt x="1778" y="923"/>
                  <a:pt x="1778" y="926"/>
                  <a:pt x="1778" y="929"/>
                </a:cubicBezTo>
                <a:cubicBezTo>
                  <a:pt x="1779" y="931"/>
                  <a:pt x="1779" y="934"/>
                  <a:pt x="1779" y="935"/>
                </a:cubicBezTo>
                <a:cubicBezTo>
                  <a:pt x="1779" y="938"/>
                  <a:pt x="1778" y="941"/>
                  <a:pt x="1772" y="942"/>
                </a:cubicBezTo>
                <a:close/>
                <a:moveTo>
                  <a:pt x="1827" y="950"/>
                </a:moveTo>
                <a:cubicBezTo>
                  <a:pt x="1827" y="950"/>
                  <a:pt x="1827" y="950"/>
                  <a:pt x="1827" y="950"/>
                </a:cubicBezTo>
                <a:cubicBezTo>
                  <a:pt x="1827" y="942"/>
                  <a:pt x="1827" y="942"/>
                  <a:pt x="1827" y="942"/>
                </a:cubicBezTo>
                <a:cubicBezTo>
                  <a:pt x="1820" y="941"/>
                  <a:pt x="1820" y="938"/>
                  <a:pt x="1820" y="935"/>
                </a:cubicBezTo>
                <a:cubicBezTo>
                  <a:pt x="1820" y="934"/>
                  <a:pt x="1820" y="931"/>
                  <a:pt x="1820" y="929"/>
                </a:cubicBezTo>
                <a:cubicBezTo>
                  <a:pt x="1821" y="926"/>
                  <a:pt x="1821" y="923"/>
                  <a:pt x="1821" y="921"/>
                </a:cubicBezTo>
                <a:cubicBezTo>
                  <a:pt x="1821" y="913"/>
                  <a:pt x="1816" y="909"/>
                  <a:pt x="1806" y="909"/>
                </a:cubicBezTo>
                <a:cubicBezTo>
                  <a:pt x="1806" y="909"/>
                  <a:pt x="1806" y="909"/>
                  <a:pt x="1803" y="909"/>
                </a:cubicBezTo>
                <a:cubicBezTo>
                  <a:pt x="1803" y="909"/>
                  <a:pt x="1803" y="909"/>
                  <a:pt x="1803" y="918"/>
                </a:cubicBezTo>
                <a:cubicBezTo>
                  <a:pt x="1803" y="918"/>
                  <a:pt x="1803" y="918"/>
                  <a:pt x="1804" y="918"/>
                </a:cubicBezTo>
                <a:cubicBezTo>
                  <a:pt x="1808" y="918"/>
                  <a:pt x="1809" y="920"/>
                  <a:pt x="1809" y="924"/>
                </a:cubicBezTo>
                <a:cubicBezTo>
                  <a:pt x="1809" y="925"/>
                  <a:pt x="1809" y="927"/>
                  <a:pt x="1809" y="928"/>
                </a:cubicBezTo>
                <a:cubicBezTo>
                  <a:pt x="1809" y="930"/>
                  <a:pt x="1809" y="932"/>
                  <a:pt x="1809" y="935"/>
                </a:cubicBezTo>
                <a:cubicBezTo>
                  <a:pt x="1809" y="942"/>
                  <a:pt x="1811" y="944"/>
                  <a:pt x="1817" y="946"/>
                </a:cubicBezTo>
                <a:cubicBezTo>
                  <a:pt x="1817" y="946"/>
                  <a:pt x="1817" y="946"/>
                  <a:pt x="1817" y="946"/>
                </a:cubicBezTo>
                <a:cubicBezTo>
                  <a:pt x="1811" y="947"/>
                  <a:pt x="1809" y="950"/>
                  <a:pt x="1809" y="957"/>
                </a:cubicBezTo>
                <a:cubicBezTo>
                  <a:pt x="1809" y="959"/>
                  <a:pt x="1809" y="962"/>
                  <a:pt x="1809" y="963"/>
                </a:cubicBezTo>
                <a:cubicBezTo>
                  <a:pt x="1809" y="965"/>
                  <a:pt x="1809" y="966"/>
                  <a:pt x="1809" y="968"/>
                </a:cubicBezTo>
                <a:cubicBezTo>
                  <a:pt x="1809" y="971"/>
                  <a:pt x="1808" y="974"/>
                  <a:pt x="1804" y="974"/>
                </a:cubicBezTo>
                <a:cubicBezTo>
                  <a:pt x="1804" y="974"/>
                  <a:pt x="1804" y="974"/>
                  <a:pt x="1803" y="974"/>
                </a:cubicBezTo>
                <a:cubicBezTo>
                  <a:pt x="1803" y="974"/>
                  <a:pt x="1803" y="974"/>
                  <a:pt x="1803" y="983"/>
                </a:cubicBezTo>
                <a:cubicBezTo>
                  <a:pt x="1803" y="983"/>
                  <a:pt x="1803" y="983"/>
                  <a:pt x="1806" y="983"/>
                </a:cubicBezTo>
                <a:cubicBezTo>
                  <a:pt x="1815" y="983"/>
                  <a:pt x="1821" y="980"/>
                  <a:pt x="1821" y="970"/>
                </a:cubicBezTo>
                <a:cubicBezTo>
                  <a:pt x="1821" y="968"/>
                  <a:pt x="1821" y="966"/>
                  <a:pt x="1820" y="963"/>
                </a:cubicBezTo>
                <a:cubicBezTo>
                  <a:pt x="1820" y="960"/>
                  <a:pt x="1820" y="958"/>
                  <a:pt x="1820" y="956"/>
                </a:cubicBezTo>
                <a:cubicBezTo>
                  <a:pt x="1820" y="953"/>
                  <a:pt x="1820" y="950"/>
                  <a:pt x="1827" y="950"/>
                </a:cubicBezTo>
                <a:close/>
                <a:moveTo>
                  <a:pt x="1214" y="983"/>
                </a:moveTo>
                <a:cubicBezTo>
                  <a:pt x="1207" y="983"/>
                  <a:pt x="1200" y="980"/>
                  <a:pt x="1196" y="974"/>
                </a:cubicBezTo>
                <a:cubicBezTo>
                  <a:pt x="1192" y="968"/>
                  <a:pt x="1190" y="959"/>
                  <a:pt x="1190" y="946"/>
                </a:cubicBezTo>
                <a:cubicBezTo>
                  <a:pt x="1190" y="933"/>
                  <a:pt x="1192" y="924"/>
                  <a:pt x="1196" y="917"/>
                </a:cubicBezTo>
                <a:cubicBezTo>
                  <a:pt x="1201" y="911"/>
                  <a:pt x="1207" y="907"/>
                  <a:pt x="1216" y="907"/>
                </a:cubicBezTo>
                <a:cubicBezTo>
                  <a:pt x="1232" y="907"/>
                  <a:pt x="1240" y="919"/>
                  <a:pt x="1240" y="945"/>
                </a:cubicBezTo>
                <a:cubicBezTo>
                  <a:pt x="1240" y="957"/>
                  <a:pt x="1238" y="967"/>
                  <a:pt x="1233" y="973"/>
                </a:cubicBezTo>
                <a:cubicBezTo>
                  <a:pt x="1228" y="980"/>
                  <a:pt x="1222" y="983"/>
                  <a:pt x="1214" y="983"/>
                </a:cubicBezTo>
                <a:close/>
                <a:moveTo>
                  <a:pt x="1215" y="917"/>
                </a:moveTo>
                <a:cubicBezTo>
                  <a:pt x="1206" y="917"/>
                  <a:pt x="1201" y="927"/>
                  <a:pt x="1201" y="946"/>
                </a:cubicBezTo>
                <a:cubicBezTo>
                  <a:pt x="1201" y="965"/>
                  <a:pt x="1206" y="973"/>
                  <a:pt x="1215" y="973"/>
                </a:cubicBezTo>
                <a:cubicBezTo>
                  <a:pt x="1223" y="973"/>
                  <a:pt x="1228" y="965"/>
                  <a:pt x="1228" y="946"/>
                </a:cubicBezTo>
                <a:cubicBezTo>
                  <a:pt x="1228" y="926"/>
                  <a:pt x="1223" y="917"/>
                  <a:pt x="1215" y="917"/>
                </a:cubicBezTo>
                <a:close/>
                <a:moveTo>
                  <a:pt x="1284" y="983"/>
                </a:moveTo>
                <a:cubicBezTo>
                  <a:pt x="1277" y="983"/>
                  <a:pt x="1270" y="980"/>
                  <a:pt x="1266" y="974"/>
                </a:cubicBezTo>
                <a:cubicBezTo>
                  <a:pt x="1262" y="968"/>
                  <a:pt x="1260" y="959"/>
                  <a:pt x="1260" y="946"/>
                </a:cubicBezTo>
                <a:cubicBezTo>
                  <a:pt x="1260" y="933"/>
                  <a:pt x="1262" y="924"/>
                  <a:pt x="1266" y="917"/>
                </a:cubicBezTo>
                <a:cubicBezTo>
                  <a:pt x="1271" y="911"/>
                  <a:pt x="1277" y="907"/>
                  <a:pt x="1286" y="907"/>
                </a:cubicBezTo>
                <a:cubicBezTo>
                  <a:pt x="1302" y="907"/>
                  <a:pt x="1310" y="919"/>
                  <a:pt x="1310" y="945"/>
                </a:cubicBezTo>
                <a:cubicBezTo>
                  <a:pt x="1310" y="957"/>
                  <a:pt x="1308" y="967"/>
                  <a:pt x="1304" y="973"/>
                </a:cubicBezTo>
                <a:cubicBezTo>
                  <a:pt x="1299" y="980"/>
                  <a:pt x="1293" y="983"/>
                  <a:pt x="1284" y="983"/>
                </a:cubicBezTo>
                <a:close/>
                <a:moveTo>
                  <a:pt x="1285" y="917"/>
                </a:moveTo>
                <a:cubicBezTo>
                  <a:pt x="1277" y="917"/>
                  <a:pt x="1272" y="927"/>
                  <a:pt x="1272" y="946"/>
                </a:cubicBezTo>
                <a:cubicBezTo>
                  <a:pt x="1272" y="965"/>
                  <a:pt x="1276" y="973"/>
                  <a:pt x="1285" y="973"/>
                </a:cubicBezTo>
                <a:cubicBezTo>
                  <a:pt x="1293" y="973"/>
                  <a:pt x="1298" y="965"/>
                  <a:pt x="1298" y="946"/>
                </a:cubicBezTo>
                <a:cubicBezTo>
                  <a:pt x="1298" y="926"/>
                  <a:pt x="1293" y="917"/>
                  <a:pt x="1285" y="917"/>
                </a:cubicBezTo>
                <a:close/>
                <a:moveTo>
                  <a:pt x="1494" y="983"/>
                </a:moveTo>
                <a:cubicBezTo>
                  <a:pt x="1486" y="983"/>
                  <a:pt x="1481" y="980"/>
                  <a:pt x="1476" y="973"/>
                </a:cubicBezTo>
                <a:cubicBezTo>
                  <a:pt x="1472" y="968"/>
                  <a:pt x="1470" y="958"/>
                  <a:pt x="1470" y="946"/>
                </a:cubicBezTo>
                <a:cubicBezTo>
                  <a:pt x="1470" y="933"/>
                  <a:pt x="1472" y="924"/>
                  <a:pt x="1476" y="917"/>
                </a:cubicBezTo>
                <a:cubicBezTo>
                  <a:pt x="1481" y="910"/>
                  <a:pt x="1487" y="907"/>
                  <a:pt x="1496" y="907"/>
                </a:cubicBezTo>
                <a:cubicBezTo>
                  <a:pt x="1512" y="907"/>
                  <a:pt x="1520" y="919"/>
                  <a:pt x="1520" y="944"/>
                </a:cubicBezTo>
                <a:cubicBezTo>
                  <a:pt x="1520" y="957"/>
                  <a:pt x="1518" y="967"/>
                  <a:pt x="1513" y="973"/>
                </a:cubicBezTo>
                <a:cubicBezTo>
                  <a:pt x="1508" y="980"/>
                  <a:pt x="1502" y="983"/>
                  <a:pt x="1494" y="983"/>
                </a:cubicBezTo>
                <a:close/>
                <a:moveTo>
                  <a:pt x="1495" y="917"/>
                </a:moveTo>
                <a:cubicBezTo>
                  <a:pt x="1486" y="917"/>
                  <a:pt x="1482" y="926"/>
                  <a:pt x="1482" y="946"/>
                </a:cubicBezTo>
                <a:cubicBezTo>
                  <a:pt x="1482" y="964"/>
                  <a:pt x="1486" y="973"/>
                  <a:pt x="1495" y="973"/>
                </a:cubicBezTo>
                <a:cubicBezTo>
                  <a:pt x="1503" y="973"/>
                  <a:pt x="1508" y="964"/>
                  <a:pt x="1508" y="946"/>
                </a:cubicBezTo>
                <a:cubicBezTo>
                  <a:pt x="1508" y="926"/>
                  <a:pt x="1504" y="917"/>
                  <a:pt x="1495" y="917"/>
                </a:cubicBezTo>
                <a:close/>
                <a:moveTo>
                  <a:pt x="1567" y="909"/>
                </a:moveTo>
                <a:cubicBezTo>
                  <a:pt x="1567" y="909"/>
                  <a:pt x="1567" y="909"/>
                  <a:pt x="1567" y="909"/>
                </a:cubicBezTo>
                <a:cubicBezTo>
                  <a:pt x="1561" y="909"/>
                  <a:pt x="1561" y="909"/>
                  <a:pt x="1561" y="909"/>
                </a:cubicBezTo>
                <a:cubicBezTo>
                  <a:pt x="1559" y="911"/>
                  <a:pt x="1558" y="912"/>
                  <a:pt x="1556" y="913"/>
                </a:cubicBezTo>
                <a:cubicBezTo>
                  <a:pt x="1554" y="915"/>
                  <a:pt x="1552" y="915"/>
                  <a:pt x="1551" y="916"/>
                </a:cubicBezTo>
                <a:cubicBezTo>
                  <a:pt x="1549" y="917"/>
                  <a:pt x="1547" y="917"/>
                  <a:pt x="1546" y="918"/>
                </a:cubicBezTo>
                <a:cubicBezTo>
                  <a:pt x="1543" y="919"/>
                  <a:pt x="1542" y="920"/>
                  <a:pt x="1540" y="920"/>
                </a:cubicBezTo>
                <a:cubicBezTo>
                  <a:pt x="1540" y="920"/>
                  <a:pt x="1540" y="920"/>
                  <a:pt x="1540" y="931"/>
                </a:cubicBezTo>
                <a:cubicBezTo>
                  <a:pt x="1543" y="930"/>
                  <a:pt x="1546" y="928"/>
                  <a:pt x="1548" y="928"/>
                </a:cubicBezTo>
                <a:cubicBezTo>
                  <a:pt x="1551" y="927"/>
                  <a:pt x="1553" y="925"/>
                  <a:pt x="1555" y="924"/>
                </a:cubicBezTo>
                <a:cubicBezTo>
                  <a:pt x="1555" y="924"/>
                  <a:pt x="1555" y="924"/>
                  <a:pt x="1555" y="983"/>
                </a:cubicBezTo>
                <a:cubicBezTo>
                  <a:pt x="1555" y="983"/>
                  <a:pt x="1555" y="983"/>
                  <a:pt x="1567" y="983"/>
                </a:cubicBezTo>
                <a:cubicBezTo>
                  <a:pt x="1567" y="983"/>
                  <a:pt x="1567" y="983"/>
                  <a:pt x="1567" y="909"/>
                </a:cubicBezTo>
                <a:close/>
                <a:moveTo>
                  <a:pt x="1357" y="909"/>
                </a:moveTo>
                <a:cubicBezTo>
                  <a:pt x="1357" y="909"/>
                  <a:pt x="1357" y="909"/>
                  <a:pt x="1357" y="909"/>
                </a:cubicBezTo>
                <a:cubicBezTo>
                  <a:pt x="1352" y="909"/>
                  <a:pt x="1352" y="909"/>
                  <a:pt x="1352" y="909"/>
                </a:cubicBezTo>
                <a:cubicBezTo>
                  <a:pt x="1350" y="911"/>
                  <a:pt x="1349" y="912"/>
                  <a:pt x="1346" y="913"/>
                </a:cubicBezTo>
                <a:cubicBezTo>
                  <a:pt x="1345" y="915"/>
                  <a:pt x="1343" y="915"/>
                  <a:pt x="1341" y="916"/>
                </a:cubicBezTo>
                <a:cubicBezTo>
                  <a:pt x="1340" y="917"/>
                  <a:pt x="1338" y="918"/>
                  <a:pt x="1336" y="919"/>
                </a:cubicBezTo>
                <a:cubicBezTo>
                  <a:pt x="1334" y="920"/>
                  <a:pt x="1333" y="920"/>
                  <a:pt x="1330" y="920"/>
                </a:cubicBezTo>
                <a:cubicBezTo>
                  <a:pt x="1330" y="920"/>
                  <a:pt x="1330" y="920"/>
                  <a:pt x="1330" y="931"/>
                </a:cubicBezTo>
                <a:cubicBezTo>
                  <a:pt x="1333" y="930"/>
                  <a:pt x="1336" y="929"/>
                  <a:pt x="1339" y="928"/>
                </a:cubicBezTo>
                <a:cubicBezTo>
                  <a:pt x="1341" y="927"/>
                  <a:pt x="1343" y="925"/>
                  <a:pt x="1346" y="924"/>
                </a:cubicBezTo>
                <a:cubicBezTo>
                  <a:pt x="1346" y="924"/>
                  <a:pt x="1346" y="924"/>
                  <a:pt x="1346" y="983"/>
                </a:cubicBezTo>
                <a:cubicBezTo>
                  <a:pt x="1346" y="983"/>
                  <a:pt x="1346" y="983"/>
                  <a:pt x="1357" y="983"/>
                </a:cubicBezTo>
                <a:cubicBezTo>
                  <a:pt x="1357" y="983"/>
                  <a:pt x="1357" y="983"/>
                  <a:pt x="1357" y="909"/>
                </a:cubicBezTo>
                <a:close/>
                <a:moveTo>
                  <a:pt x="1404" y="909"/>
                </a:moveTo>
                <a:cubicBezTo>
                  <a:pt x="1404" y="909"/>
                  <a:pt x="1404" y="909"/>
                  <a:pt x="1404" y="909"/>
                </a:cubicBezTo>
                <a:cubicBezTo>
                  <a:pt x="1399" y="909"/>
                  <a:pt x="1399" y="909"/>
                  <a:pt x="1399" y="909"/>
                </a:cubicBezTo>
                <a:cubicBezTo>
                  <a:pt x="1397" y="911"/>
                  <a:pt x="1395" y="912"/>
                  <a:pt x="1393" y="913"/>
                </a:cubicBezTo>
                <a:cubicBezTo>
                  <a:pt x="1392" y="915"/>
                  <a:pt x="1390" y="915"/>
                  <a:pt x="1388" y="916"/>
                </a:cubicBezTo>
                <a:cubicBezTo>
                  <a:pt x="1387" y="917"/>
                  <a:pt x="1384" y="918"/>
                  <a:pt x="1383" y="919"/>
                </a:cubicBezTo>
                <a:cubicBezTo>
                  <a:pt x="1381" y="920"/>
                  <a:pt x="1379" y="920"/>
                  <a:pt x="1377" y="920"/>
                </a:cubicBezTo>
                <a:cubicBezTo>
                  <a:pt x="1377" y="920"/>
                  <a:pt x="1377" y="920"/>
                  <a:pt x="1377" y="931"/>
                </a:cubicBezTo>
                <a:cubicBezTo>
                  <a:pt x="1380" y="930"/>
                  <a:pt x="1383" y="929"/>
                  <a:pt x="1385" y="928"/>
                </a:cubicBezTo>
                <a:cubicBezTo>
                  <a:pt x="1388" y="927"/>
                  <a:pt x="1390" y="925"/>
                  <a:pt x="1393" y="924"/>
                </a:cubicBezTo>
                <a:cubicBezTo>
                  <a:pt x="1393" y="924"/>
                  <a:pt x="1393" y="924"/>
                  <a:pt x="1393" y="983"/>
                </a:cubicBezTo>
                <a:cubicBezTo>
                  <a:pt x="1393" y="983"/>
                  <a:pt x="1393" y="983"/>
                  <a:pt x="1404" y="983"/>
                </a:cubicBezTo>
                <a:cubicBezTo>
                  <a:pt x="1404" y="983"/>
                  <a:pt x="1404" y="983"/>
                  <a:pt x="1404" y="909"/>
                </a:cubicBezTo>
                <a:close/>
                <a:moveTo>
                  <a:pt x="1450" y="909"/>
                </a:moveTo>
                <a:cubicBezTo>
                  <a:pt x="1450" y="909"/>
                  <a:pt x="1450" y="909"/>
                  <a:pt x="1450" y="909"/>
                </a:cubicBezTo>
                <a:cubicBezTo>
                  <a:pt x="1446" y="909"/>
                  <a:pt x="1446" y="909"/>
                  <a:pt x="1446" y="909"/>
                </a:cubicBezTo>
                <a:cubicBezTo>
                  <a:pt x="1443" y="911"/>
                  <a:pt x="1442" y="912"/>
                  <a:pt x="1440" y="913"/>
                </a:cubicBezTo>
                <a:cubicBezTo>
                  <a:pt x="1438" y="915"/>
                  <a:pt x="1436" y="915"/>
                  <a:pt x="1435" y="916"/>
                </a:cubicBezTo>
                <a:cubicBezTo>
                  <a:pt x="1433" y="917"/>
                  <a:pt x="1431" y="917"/>
                  <a:pt x="1429" y="918"/>
                </a:cubicBezTo>
                <a:cubicBezTo>
                  <a:pt x="1428" y="919"/>
                  <a:pt x="1425" y="920"/>
                  <a:pt x="1424" y="920"/>
                </a:cubicBezTo>
                <a:cubicBezTo>
                  <a:pt x="1424" y="920"/>
                  <a:pt x="1424" y="920"/>
                  <a:pt x="1424" y="931"/>
                </a:cubicBezTo>
                <a:cubicBezTo>
                  <a:pt x="1427" y="930"/>
                  <a:pt x="1430" y="928"/>
                  <a:pt x="1432" y="928"/>
                </a:cubicBezTo>
                <a:cubicBezTo>
                  <a:pt x="1434" y="927"/>
                  <a:pt x="1437" y="925"/>
                  <a:pt x="1438" y="924"/>
                </a:cubicBezTo>
                <a:cubicBezTo>
                  <a:pt x="1438" y="924"/>
                  <a:pt x="1438" y="924"/>
                  <a:pt x="1438" y="983"/>
                </a:cubicBezTo>
                <a:cubicBezTo>
                  <a:pt x="1438" y="983"/>
                  <a:pt x="1438" y="983"/>
                  <a:pt x="1450" y="983"/>
                </a:cubicBezTo>
                <a:cubicBezTo>
                  <a:pt x="1450" y="983"/>
                  <a:pt x="1450" y="983"/>
                  <a:pt x="1450" y="909"/>
                </a:cubicBezTo>
                <a:close/>
                <a:moveTo>
                  <a:pt x="208" y="909"/>
                </a:moveTo>
                <a:cubicBezTo>
                  <a:pt x="208" y="909"/>
                  <a:pt x="208" y="909"/>
                  <a:pt x="208" y="909"/>
                </a:cubicBezTo>
                <a:cubicBezTo>
                  <a:pt x="203" y="909"/>
                  <a:pt x="203" y="909"/>
                  <a:pt x="203" y="909"/>
                </a:cubicBezTo>
                <a:cubicBezTo>
                  <a:pt x="200" y="911"/>
                  <a:pt x="199" y="912"/>
                  <a:pt x="197" y="913"/>
                </a:cubicBezTo>
                <a:cubicBezTo>
                  <a:pt x="195" y="915"/>
                  <a:pt x="193" y="915"/>
                  <a:pt x="191" y="916"/>
                </a:cubicBezTo>
                <a:cubicBezTo>
                  <a:pt x="190" y="917"/>
                  <a:pt x="188" y="918"/>
                  <a:pt x="186" y="919"/>
                </a:cubicBezTo>
                <a:cubicBezTo>
                  <a:pt x="184" y="920"/>
                  <a:pt x="183" y="920"/>
                  <a:pt x="180" y="920"/>
                </a:cubicBezTo>
                <a:cubicBezTo>
                  <a:pt x="180" y="920"/>
                  <a:pt x="180" y="920"/>
                  <a:pt x="180" y="931"/>
                </a:cubicBezTo>
                <a:cubicBezTo>
                  <a:pt x="183" y="930"/>
                  <a:pt x="186" y="929"/>
                  <a:pt x="188" y="928"/>
                </a:cubicBezTo>
                <a:cubicBezTo>
                  <a:pt x="191" y="927"/>
                  <a:pt x="194" y="925"/>
                  <a:pt x="196" y="924"/>
                </a:cubicBezTo>
                <a:cubicBezTo>
                  <a:pt x="196" y="924"/>
                  <a:pt x="196" y="924"/>
                  <a:pt x="196" y="983"/>
                </a:cubicBezTo>
                <a:cubicBezTo>
                  <a:pt x="196" y="983"/>
                  <a:pt x="196" y="983"/>
                  <a:pt x="208" y="983"/>
                </a:cubicBezTo>
                <a:cubicBezTo>
                  <a:pt x="208" y="983"/>
                  <a:pt x="208" y="983"/>
                  <a:pt x="208" y="909"/>
                </a:cubicBezTo>
                <a:close/>
                <a:moveTo>
                  <a:pt x="254" y="909"/>
                </a:moveTo>
                <a:cubicBezTo>
                  <a:pt x="254" y="909"/>
                  <a:pt x="254" y="909"/>
                  <a:pt x="254" y="909"/>
                </a:cubicBezTo>
                <a:cubicBezTo>
                  <a:pt x="249" y="909"/>
                  <a:pt x="249" y="909"/>
                  <a:pt x="249" y="909"/>
                </a:cubicBezTo>
                <a:cubicBezTo>
                  <a:pt x="248" y="911"/>
                  <a:pt x="246" y="912"/>
                  <a:pt x="244" y="913"/>
                </a:cubicBezTo>
                <a:cubicBezTo>
                  <a:pt x="242" y="915"/>
                  <a:pt x="240" y="915"/>
                  <a:pt x="238" y="916"/>
                </a:cubicBezTo>
                <a:cubicBezTo>
                  <a:pt x="237" y="917"/>
                  <a:pt x="235" y="918"/>
                  <a:pt x="233" y="919"/>
                </a:cubicBezTo>
                <a:cubicBezTo>
                  <a:pt x="231" y="920"/>
                  <a:pt x="230" y="920"/>
                  <a:pt x="227" y="920"/>
                </a:cubicBezTo>
                <a:cubicBezTo>
                  <a:pt x="227" y="920"/>
                  <a:pt x="227" y="920"/>
                  <a:pt x="227" y="931"/>
                </a:cubicBezTo>
                <a:cubicBezTo>
                  <a:pt x="230" y="930"/>
                  <a:pt x="233" y="929"/>
                  <a:pt x="236" y="928"/>
                </a:cubicBezTo>
                <a:cubicBezTo>
                  <a:pt x="238" y="927"/>
                  <a:pt x="240" y="925"/>
                  <a:pt x="243" y="924"/>
                </a:cubicBezTo>
                <a:cubicBezTo>
                  <a:pt x="243" y="924"/>
                  <a:pt x="243" y="924"/>
                  <a:pt x="243" y="983"/>
                </a:cubicBezTo>
                <a:cubicBezTo>
                  <a:pt x="243" y="983"/>
                  <a:pt x="243" y="983"/>
                  <a:pt x="254" y="983"/>
                </a:cubicBezTo>
                <a:cubicBezTo>
                  <a:pt x="254" y="983"/>
                  <a:pt x="254" y="983"/>
                  <a:pt x="254" y="909"/>
                </a:cubicBezTo>
                <a:close/>
                <a:moveTo>
                  <a:pt x="300" y="909"/>
                </a:moveTo>
                <a:cubicBezTo>
                  <a:pt x="300" y="909"/>
                  <a:pt x="300" y="909"/>
                  <a:pt x="300" y="909"/>
                </a:cubicBezTo>
                <a:cubicBezTo>
                  <a:pt x="296" y="909"/>
                  <a:pt x="296" y="909"/>
                  <a:pt x="296" y="909"/>
                </a:cubicBezTo>
                <a:cubicBezTo>
                  <a:pt x="293" y="911"/>
                  <a:pt x="292" y="912"/>
                  <a:pt x="290" y="913"/>
                </a:cubicBezTo>
                <a:cubicBezTo>
                  <a:pt x="288" y="915"/>
                  <a:pt x="286" y="915"/>
                  <a:pt x="285" y="916"/>
                </a:cubicBezTo>
                <a:cubicBezTo>
                  <a:pt x="283" y="917"/>
                  <a:pt x="281" y="917"/>
                  <a:pt x="279" y="918"/>
                </a:cubicBezTo>
                <a:cubicBezTo>
                  <a:pt x="278" y="919"/>
                  <a:pt x="275" y="920"/>
                  <a:pt x="274" y="920"/>
                </a:cubicBezTo>
                <a:cubicBezTo>
                  <a:pt x="274" y="920"/>
                  <a:pt x="274" y="920"/>
                  <a:pt x="274" y="931"/>
                </a:cubicBezTo>
                <a:cubicBezTo>
                  <a:pt x="277" y="930"/>
                  <a:pt x="280" y="928"/>
                  <a:pt x="282" y="928"/>
                </a:cubicBezTo>
                <a:cubicBezTo>
                  <a:pt x="284" y="927"/>
                  <a:pt x="287" y="925"/>
                  <a:pt x="288" y="924"/>
                </a:cubicBezTo>
                <a:cubicBezTo>
                  <a:pt x="288" y="924"/>
                  <a:pt x="288" y="924"/>
                  <a:pt x="288" y="983"/>
                </a:cubicBezTo>
                <a:cubicBezTo>
                  <a:pt x="288" y="983"/>
                  <a:pt x="288" y="983"/>
                  <a:pt x="300" y="983"/>
                </a:cubicBezTo>
                <a:cubicBezTo>
                  <a:pt x="300" y="983"/>
                  <a:pt x="300" y="983"/>
                  <a:pt x="300" y="909"/>
                </a:cubicBezTo>
                <a:close/>
                <a:moveTo>
                  <a:pt x="437" y="942"/>
                </a:moveTo>
                <a:cubicBezTo>
                  <a:pt x="437" y="942"/>
                  <a:pt x="437" y="942"/>
                  <a:pt x="437" y="942"/>
                </a:cubicBezTo>
                <a:cubicBezTo>
                  <a:pt x="436" y="950"/>
                  <a:pt x="436" y="950"/>
                  <a:pt x="436" y="950"/>
                </a:cubicBezTo>
                <a:cubicBezTo>
                  <a:pt x="442" y="950"/>
                  <a:pt x="443" y="953"/>
                  <a:pt x="443" y="956"/>
                </a:cubicBezTo>
                <a:cubicBezTo>
                  <a:pt x="443" y="958"/>
                  <a:pt x="443" y="960"/>
                  <a:pt x="443" y="963"/>
                </a:cubicBezTo>
                <a:cubicBezTo>
                  <a:pt x="442" y="966"/>
                  <a:pt x="442" y="968"/>
                  <a:pt x="442" y="970"/>
                </a:cubicBezTo>
                <a:cubicBezTo>
                  <a:pt x="442" y="980"/>
                  <a:pt x="448" y="983"/>
                  <a:pt x="456" y="983"/>
                </a:cubicBezTo>
                <a:cubicBezTo>
                  <a:pt x="456" y="983"/>
                  <a:pt x="456" y="983"/>
                  <a:pt x="460" y="983"/>
                </a:cubicBezTo>
                <a:cubicBezTo>
                  <a:pt x="460" y="983"/>
                  <a:pt x="460" y="983"/>
                  <a:pt x="460" y="974"/>
                </a:cubicBezTo>
                <a:cubicBezTo>
                  <a:pt x="460" y="974"/>
                  <a:pt x="460" y="974"/>
                  <a:pt x="459" y="974"/>
                </a:cubicBezTo>
                <a:cubicBezTo>
                  <a:pt x="455" y="974"/>
                  <a:pt x="454" y="971"/>
                  <a:pt x="454" y="968"/>
                </a:cubicBezTo>
                <a:cubicBezTo>
                  <a:pt x="454" y="966"/>
                  <a:pt x="454" y="965"/>
                  <a:pt x="454" y="963"/>
                </a:cubicBezTo>
                <a:cubicBezTo>
                  <a:pt x="454" y="962"/>
                  <a:pt x="455" y="959"/>
                  <a:pt x="455" y="957"/>
                </a:cubicBezTo>
                <a:cubicBezTo>
                  <a:pt x="455" y="950"/>
                  <a:pt x="452" y="947"/>
                  <a:pt x="446" y="946"/>
                </a:cubicBezTo>
                <a:cubicBezTo>
                  <a:pt x="446" y="946"/>
                  <a:pt x="446" y="946"/>
                  <a:pt x="446" y="946"/>
                </a:cubicBezTo>
                <a:cubicBezTo>
                  <a:pt x="452" y="944"/>
                  <a:pt x="455" y="942"/>
                  <a:pt x="455" y="935"/>
                </a:cubicBezTo>
                <a:cubicBezTo>
                  <a:pt x="455" y="932"/>
                  <a:pt x="454" y="930"/>
                  <a:pt x="454" y="928"/>
                </a:cubicBezTo>
                <a:cubicBezTo>
                  <a:pt x="454" y="927"/>
                  <a:pt x="454" y="925"/>
                  <a:pt x="454" y="924"/>
                </a:cubicBezTo>
                <a:cubicBezTo>
                  <a:pt x="454" y="920"/>
                  <a:pt x="455" y="918"/>
                  <a:pt x="459" y="918"/>
                </a:cubicBezTo>
                <a:cubicBezTo>
                  <a:pt x="459" y="918"/>
                  <a:pt x="459" y="918"/>
                  <a:pt x="460" y="918"/>
                </a:cubicBezTo>
                <a:cubicBezTo>
                  <a:pt x="460" y="918"/>
                  <a:pt x="460" y="918"/>
                  <a:pt x="460" y="909"/>
                </a:cubicBezTo>
                <a:cubicBezTo>
                  <a:pt x="460" y="909"/>
                  <a:pt x="460" y="909"/>
                  <a:pt x="456" y="909"/>
                </a:cubicBezTo>
                <a:cubicBezTo>
                  <a:pt x="448" y="909"/>
                  <a:pt x="442" y="913"/>
                  <a:pt x="442" y="921"/>
                </a:cubicBezTo>
                <a:cubicBezTo>
                  <a:pt x="442" y="923"/>
                  <a:pt x="442" y="926"/>
                  <a:pt x="442" y="929"/>
                </a:cubicBezTo>
                <a:cubicBezTo>
                  <a:pt x="443" y="931"/>
                  <a:pt x="443" y="934"/>
                  <a:pt x="443" y="935"/>
                </a:cubicBezTo>
                <a:cubicBezTo>
                  <a:pt x="443" y="938"/>
                  <a:pt x="442" y="941"/>
                  <a:pt x="437" y="942"/>
                </a:cubicBezTo>
                <a:close/>
                <a:moveTo>
                  <a:pt x="491" y="950"/>
                </a:moveTo>
                <a:cubicBezTo>
                  <a:pt x="491" y="950"/>
                  <a:pt x="491" y="950"/>
                  <a:pt x="491" y="950"/>
                </a:cubicBezTo>
                <a:cubicBezTo>
                  <a:pt x="491" y="942"/>
                  <a:pt x="491" y="942"/>
                  <a:pt x="491" y="942"/>
                </a:cubicBezTo>
                <a:cubicBezTo>
                  <a:pt x="485" y="941"/>
                  <a:pt x="485" y="938"/>
                  <a:pt x="485" y="935"/>
                </a:cubicBezTo>
                <a:cubicBezTo>
                  <a:pt x="485" y="934"/>
                  <a:pt x="485" y="931"/>
                  <a:pt x="485" y="929"/>
                </a:cubicBezTo>
                <a:cubicBezTo>
                  <a:pt x="485" y="926"/>
                  <a:pt x="485" y="923"/>
                  <a:pt x="485" y="921"/>
                </a:cubicBezTo>
                <a:cubicBezTo>
                  <a:pt x="485" y="913"/>
                  <a:pt x="480" y="909"/>
                  <a:pt x="471" y="909"/>
                </a:cubicBezTo>
                <a:cubicBezTo>
                  <a:pt x="471" y="909"/>
                  <a:pt x="471" y="909"/>
                  <a:pt x="467" y="909"/>
                </a:cubicBezTo>
                <a:cubicBezTo>
                  <a:pt x="467" y="909"/>
                  <a:pt x="467" y="909"/>
                  <a:pt x="467" y="918"/>
                </a:cubicBezTo>
                <a:cubicBezTo>
                  <a:pt x="467" y="918"/>
                  <a:pt x="467" y="918"/>
                  <a:pt x="468" y="918"/>
                </a:cubicBezTo>
                <a:cubicBezTo>
                  <a:pt x="472" y="918"/>
                  <a:pt x="474" y="920"/>
                  <a:pt x="474" y="924"/>
                </a:cubicBezTo>
                <a:cubicBezTo>
                  <a:pt x="474" y="925"/>
                  <a:pt x="473" y="927"/>
                  <a:pt x="473" y="928"/>
                </a:cubicBezTo>
                <a:cubicBezTo>
                  <a:pt x="473" y="930"/>
                  <a:pt x="473" y="932"/>
                  <a:pt x="473" y="935"/>
                </a:cubicBezTo>
                <a:cubicBezTo>
                  <a:pt x="473" y="942"/>
                  <a:pt x="476" y="944"/>
                  <a:pt x="482" y="946"/>
                </a:cubicBezTo>
                <a:cubicBezTo>
                  <a:pt x="482" y="946"/>
                  <a:pt x="482" y="946"/>
                  <a:pt x="482" y="946"/>
                </a:cubicBezTo>
                <a:cubicBezTo>
                  <a:pt x="476" y="947"/>
                  <a:pt x="473" y="950"/>
                  <a:pt x="473" y="957"/>
                </a:cubicBezTo>
                <a:cubicBezTo>
                  <a:pt x="473" y="959"/>
                  <a:pt x="473" y="962"/>
                  <a:pt x="473" y="963"/>
                </a:cubicBezTo>
                <a:cubicBezTo>
                  <a:pt x="473" y="965"/>
                  <a:pt x="474" y="966"/>
                  <a:pt x="474" y="968"/>
                </a:cubicBezTo>
                <a:cubicBezTo>
                  <a:pt x="474" y="971"/>
                  <a:pt x="473" y="974"/>
                  <a:pt x="468" y="974"/>
                </a:cubicBezTo>
                <a:cubicBezTo>
                  <a:pt x="468" y="974"/>
                  <a:pt x="468" y="974"/>
                  <a:pt x="467" y="974"/>
                </a:cubicBezTo>
                <a:cubicBezTo>
                  <a:pt x="467" y="974"/>
                  <a:pt x="467" y="974"/>
                  <a:pt x="467" y="983"/>
                </a:cubicBezTo>
                <a:cubicBezTo>
                  <a:pt x="467" y="983"/>
                  <a:pt x="467" y="983"/>
                  <a:pt x="471" y="983"/>
                </a:cubicBezTo>
                <a:cubicBezTo>
                  <a:pt x="480" y="983"/>
                  <a:pt x="485" y="980"/>
                  <a:pt x="485" y="970"/>
                </a:cubicBezTo>
                <a:cubicBezTo>
                  <a:pt x="485" y="968"/>
                  <a:pt x="485" y="966"/>
                  <a:pt x="485" y="963"/>
                </a:cubicBezTo>
                <a:cubicBezTo>
                  <a:pt x="485" y="960"/>
                  <a:pt x="485" y="958"/>
                  <a:pt x="485" y="956"/>
                </a:cubicBezTo>
                <a:cubicBezTo>
                  <a:pt x="485" y="953"/>
                  <a:pt x="485" y="950"/>
                  <a:pt x="491" y="950"/>
                </a:cubicBezTo>
                <a:close/>
                <a:moveTo>
                  <a:pt x="538" y="909"/>
                </a:moveTo>
                <a:cubicBezTo>
                  <a:pt x="538" y="909"/>
                  <a:pt x="538" y="909"/>
                  <a:pt x="538" y="909"/>
                </a:cubicBezTo>
                <a:cubicBezTo>
                  <a:pt x="533" y="909"/>
                  <a:pt x="533" y="909"/>
                  <a:pt x="533" y="909"/>
                </a:cubicBezTo>
                <a:cubicBezTo>
                  <a:pt x="531" y="911"/>
                  <a:pt x="529" y="912"/>
                  <a:pt x="527" y="913"/>
                </a:cubicBezTo>
                <a:cubicBezTo>
                  <a:pt x="526" y="915"/>
                  <a:pt x="523" y="915"/>
                  <a:pt x="522" y="916"/>
                </a:cubicBezTo>
                <a:cubicBezTo>
                  <a:pt x="520" y="917"/>
                  <a:pt x="518" y="917"/>
                  <a:pt x="517" y="918"/>
                </a:cubicBezTo>
                <a:cubicBezTo>
                  <a:pt x="515" y="919"/>
                  <a:pt x="513" y="920"/>
                  <a:pt x="511" y="920"/>
                </a:cubicBezTo>
                <a:cubicBezTo>
                  <a:pt x="511" y="920"/>
                  <a:pt x="511" y="920"/>
                  <a:pt x="511" y="931"/>
                </a:cubicBezTo>
                <a:cubicBezTo>
                  <a:pt x="514" y="930"/>
                  <a:pt x="517" y="928"/>
                  <a:pt x="519" y="928"/>
                </a:cubicBezTo>
                <a:cubicBezTo>
                  <a:pt x="522" y="927"/>
                  <a:pt x="524" y="925"/>
                  <a:pt x="526" y="924"/>
                </a:cubicBezTo>
                <a:cubicBezTo>
                  <a:pt x="526" y="924"/>
                  <a:pt x="526" y="924"/>
                  <a:pt x="526" y="983"/>
                </a:cubicBezTo>
                <a:cubicBezTo>
                  <a:pt x="526" y="983"/>
                  <a:pt x="526" y="983"/>
                  <a:pt x="538" y="983"/>
                </a:cubicBezTo>
                <a:cubicBezTo>
                  <a:pt x="538" y="983"/>
                  <a:pt x="538" y="983"/>
                  <a:pt x="538" y="909"/>
                </a:cubicBezTo>
                <a:close/>
                <a:moveTo>
                  <a:pt x="584" y="909"/>
                </a:moveTo>
                <a:cubicBezTo>
                  <a:pt x="584" y="909"/>
                  <a:pt x="584" y="909"/>
                  <a:pt x="584" y="909"/>
                </a:cubicBezTo>
                <a:cubicBezTo>
                  <a:pt x="579" y="909"/>
                  <a:pt x="579" y="909"/>
                  <a:pt x="579" y="909"/>
                </a:cubicBezTo>
                <a:cubicBezTo>
                  <a:pt x="577" y="911"/>
                  <a:pt x="576" y="912"/>
                  <a:pt x="574" y="913"/>
                </a:cubicBezTo>
                <a:cubicBezTo>
                  <a:pt x="572" y="915"/>
                  <a:pt x="570" y="915"/>
                  <a:pt x="569" y="916"/>
                </a:cubicBezTo>
                <a:cubicBezTo>
                  <a:pt x="567" y="917"/>
                  <a:pt x="565" y="918"/>
                  <a:pt x="563" y="919"/>
                </a:cubicBezTo>
                <a:cubicBezTo>
                  <a:pt x="561" y="920"/>
                  <a:pt x="560" y="920"/>
                  <a:pt x="558" y="920"/>
                </a:cubicBezTo>
                <a:cubicBezTo>
                  <a:pt x="558" y="920"/>
                  <a:pt x="558" y="920"/>
                  <a:pt x="558" y="931"/>
                </a:cubicBezTo>
                <a:cubicBezTo>
                  <a:pt x="561" y="930"/>
                  <a:pt x="563" y="929"/>
                  <a:pt x="566" y="928"/>
                </a:cubicBezTo>
                <a:cubicBezTo>
                  <a:pt x="569" y="927"/>
                  <a:pt x="571" y="925"/>
                  <a:pt x="573" y="924"/>
                </a:cubicBezTo>
                <a:cubicBezTo>
                  <a:pt x="573" y="924"/>
                  <a:pt x="573" y="924"/>
                  <a:pt x="573" y="983"/>
                </a:cubicBezTo>
                <a:cubicBezTo>
                  <a:pt x="573" y="983"/>
                  <a:pt x="573" y="983"/>
                  <a:pt x="584" y="983"/>
                </a:cubicBezTo>
                <a:cubicBezTo>
                  <a:pt x="584" y="983"/>
                  <a:pt x="584" y="983"/>
                  <a:pt x="584" y="909"/>
                </a:cubicBezTo>
                <a:close/>
                <a:moveTo>
                  <a:pt x="630" y="909"/>
                </a:moveTo>
                <a:cubicBezTo>
                  <a:pt x="630" y="909"/>
                  <a:pt x="630" y="909"/>
                  <a:pt x="630" y="909"/>
                </a:cubicBezTo>
                <a:cubicBezTo>
                  <a:pt x="626" y="909"/>
                  <a:pt x="626" y="909"/>
                  <a:pt x="626" y="909"/>
                </a:cubicBezTo>
                <a:cubicBezTo>
                  <a:pt x="624" y="911"/>
                  <a:pt x="622" y="912"/>
                  <a:pt x="620" y="913"/>
                </a:cubicBezTo>
                <a:cubicBezTo>
                  <a:pt x="619" y="915"/>
                  <a:pt x="616" y="915"/>
                  <a:pt x="615" y="916"/>
                </a:cubicBezTo>
                <a:cubicBezTo>
                  <a:pt x="613" y="917"/>
                  <a:pt x="611" y="918"/>
                  <a:pt x="609" y="919"/>
                </a:cubicBezTo>
                <a:cubicBezTo>
                  <a:pt x="608" y="920"/>
                  <a:pt x="606" y="920"/>
                  <a:pt x="604" y="920"/>
                </a:cubicBezTo>
                <a:cubicBezTo>
                  <a:pt x="604" y="920"/>
                  <a:pt x="604" y="920"/>
                  <a:pt x="604" y="931"/>
                </a:cubicBezTo>
                <a:cubicBezTo>
                  <a:pt x="607" y="930"/>
                  <a:pt x="610" y="929"/>
                  <a:pt x="612" y="928"/>
                </a:cubicBezTo>
                <a:cubicBezTo>
                  <a:pt x="614" y="927"/>
                  <a:pt x="617" y="925"/>
                  <a:pt x="619" y="924"/>
                </a:cubicBezTo>
                <a:cubicBezTo>
                  <a:pt x="619" y="924"/>
                  <a:pt x="619" y="924"/>
                  <a:pt x="619" y="983"/>
                </a:cubicBezTo>
                <a:cubicBezTo>
                  <a:pt x="619" y="983"/>
                  <a:pt x="619" y="983"/>
                  <a:pt x="630" y="983"/>
                </a:cubicBezTo>
                <a:cubicBezTo>
                  <a:pt x="630" y="983"/>
                  <a:pt x="630" y="983"/>
                  <a:pt x="630" y="909"/>
                </a:cubicBezTo>
                <a:close/>
                <a:moveTo>
                  <a:pt x="380" y="957"/>
                </a:moveTo>
                <a:cubicBezTo>
                  <a:pt x="380" y="958"/>
                  <a:pt x="381" y="960"/>
                  <a:pt x="382" y="961"/>
                </a:cubicBezTo>
                <a:cubicBezTo>
                  <a:pt x="382" y="963"/>
                  <a:pt x="382" y="965"/>
                  <a:pt x="383" y="966"/>
                </a:cubicBezTo>
                <a:cubicBezTo>
                  <a:pt x="383" y="968"/>
                  <a:pt x="383" y="969"/>
                  <a:pt x="383" y="971"/>
                </a:cubicBezTo>
                <a:cubicBezTo>
                  <a:pt x="384" y="974"/>
                  <a:pt x="383" y="976"/>
                  <a:pt x="380" y="976"/>
                </a:cubicBezTo>
                <a:cubicBezTo>
                  <a:pt x="377" y="976"/>
                  <a:pt x="374" y="975"/>
                  <a:pt x="371" y="975"/>
                </a:cubicBezTo>
                <a:cubicBezTo>
                  <a:pt x="371" y="975"/>
                  <a:pt x="370" y="975"/>
                  <a:pt x="370" y="976"/>
                </a:cubicBezTo>
                <a:cubicBezTo>
                  <a:pt x="368" y="977"/>
                  <a:pt x="367" y="979"/>
                  <a:pt x="366" y="980"/>
                </a:cubicBezTo>
                <a:cubicBezTo>
                  <a:pt x="364" y="983"/>
                  <a:pt x="360" y="983"/>
                  <a:pt x="358" y="981"/>
                </a:cubicBezTo>
                <a:cubicBezTo>
                  <a:pt x="356" y="979"/>
                  <a:pt x="355" y="976"/>
                  <a:pt x="353" y="973"/>
                </a:cubicBezTo>
                <a:cubicBezTo>
                  <a:pt x="353" y="972"/>
                  <a:pt x="353" y="970"/>
                  <a:pt x="355" y="969"/>
                </a:cubicBezTo>
                <a:cubicBezTo>
                  <a:pt x="353" y="969"/>
                  <a:pt x="351" y="969"/>
                  <a:pt x="349" y="969"/>
                </a:cubicBezTo>
                <a:cubicBezTo>
                  <a:pt x="349" y="971"/>
                  <a:pt x="347" y="973"/>
                  <a:pt x="347" y="975"/>
                </a:cubicBezTo>
                <a:cubicBezTo>
                  <a:pt x="347" y="975"/>
                  <a:pt x="346" y="976"/>
                  <a:pt x="346" y="977"/>
                </a:cubicBezTo>
                <a:cubicBezTo>
                  <a:pt x="346" y="980"/>
                  <a:pt x="345" y="981"/>
                  <a:pt x="342" y="981"/>
                </a:cubicBezTo>
                <a:cubicBezTo>
                  <a:pt x="339" y="981"/>
                  <a:pt x="336" y="980"/>
                  <a:pt x="333" y="979"/>
                </a:cubicBezTo>
                <a:cubicBezTo>
                  <a:pt x="331" y="978"/>
                  <a:pt x="331" y="977"/>
                  <a:pt x="331" y="975"/>
                </a:cubicBezTo>
                <a:cubicBezTo>
                  <a:pt x="331" y="974"/>
                  <a:pt x="331" y="973"/>
                  <a:pt x="332" y="973"/>
                </a:cubicBezTo>
                <a:cubicBezTo>
                  <a:pt x="329" y="972"/>
                  <a:pt x="327" y="971"/>
                  <a:pt x="325" y="969"/>
                </a:cubicBezTo>
                <a:cubicBezTo>
                  <a:pt x="324" y="969"/>
                  <a:pt x="323" y="967"/>
                  <a:pt x="322" y="965"/>
                </a:cubicBezTo>
                <a:cubicBezTo>
                  <a:pt x="321" y="963"/>
                  <a:pt x="321" y="962"/>
                  <a:pt x="323" y="960"/>
                </a:cubicBezTo>
                <a:cubicBezTo>
                  <a:pt x="326" y="958"/>
                  <a:pt x="327" y="955"/>
                  <a:pt x="326" y="951"/>
                </a:cubicBezTo>
                <a:cubicBezTo>
                  <a:pt x="326" y="949"/>
                  <a:pt x="326" y="947"/>
                  <a:pt x="326" y="945"/>
                </a:cubicBezTo>
                <a:cubicBezTo>
                  <a:pt x="325" y="944"/>
                  <a:pt x="323" y="944"/>
                  <a:pt x="322" y="943"/>
                </a:cubicBezTo>
                <a:cubicBezTo>
                  <a:pt x="321" y="941"/>
                  <a:pt x="320" y="939"/>
                  <a:pt x="320" y="937"/>
                </a:cubicBezTo>
                <a:cubicBezTo>
                  <a:pt x="320" y="934"/>
                  <a:pt x="324" y="931"/>
                  <a:pt x="326" y="931"/>
                </a:cubicBezTo>
                <a:cubicBezTo>
                  <a:pt x="327" y="931"/>
                  <a:pt x="327" y="932"/>
                  <a:pt x="327" y="933"/>
                </a:cubicBezTo>
                <a:cubicBezTo>
                  <a:pt x="327" y="934"/>
                  <a:pt x="327" y="935"/>
                  <a:pt x="327" y="936"/>
                </a:cubicBezTo>
                <a:cubicBezTo>
                  <a:pt x="327" y="936"/>
                  <a:pt x="326" y="936"/>
                  <a:pt x="326" y="936"/>
                </a:cubicBezTo>
                <a:cubicBezTo>
                  <a:pt x="326" y="937"/>
                  <a:pt x="325" y="938"/>
                  <a:pt x="324" y="940"/>
                </a:cubicBezTo>
                <a:cubicBezTo>
                  <a:pt x="326" y="940"/>
                  <a:pt x="326" y="940"/>
                  <a:pt x="327" y="939"/>
                </a:cubicBezTo>
                <a:cubicBezTo>
                  <a:pt x="328" y="938"/>
                  <a:pt x="329" y="937"/>
                  <a:pt x="329" y="936"/>
                </a:cubicBezTo>
                <a:cubicBezTo>
                  <a:pt x="334" y="929"/>
                  <a:pt x="340" y="926"/>
                  <a:pt x="347" y="924"/>
                </a:cubicBezTo>
                <a:cubicBezTo>
                  <a:pt x="351" y="924"/>
                  <a:pt x="354" y="922"/>
                  <a:pt x="356" y="920"/>
                </a:cubicBezTo>
                <a:cubicBezTo>
                  <a:pt x="356" y="919"/>
                  <a:pt x="357" y="919"/>
                  <a:pt x="357" y="919"/>
                </a:cubicBezTo>
                <a:cubicBezTo>
                  <a:pt x="360" y="918"/>
                  <a:pt x="362" y="916"/>
                  <a:pt x="364" y="914"/>
                </a:cubicBezTo>
                <a:cubicBezTo>
                  <a:pt x="371" y="907"/>
                  <a:pt x="383" y="906"/>
                  <a:pt x="391" y="913"/>
                </a:cubicBezTo>
                <a:cubicBezTo>
                  <a:pt x="393" y="915"/>
                  <a:pt x="396" y="917"/>
                  <a:pt x="398" y="919"/>
                </a:cubicBezTo>
                <a:cubicBezTo>
                  <a:pt x="400" y="920"/>
                  <a:pt x="401" y="922"/>
                  <a:pt x="402" y="924"/>
                </a:cubicBezTo>
                <a:cubicBezTo>
                  <a:pt x="403" y="925"/>
                  <a:pt x="404" y="925"/>
                  <a:pt x="405" y="924"/>
                </a:cubicBezTo>
                <a:cubicBezTo>
                  <a:pt x="406" y="924"/>
                  <a:pt x="406" y="923"/>
                  <a:pt x="407" y="922"/>
                </a:cubicBezTo>
                <a:cubicBezTo>
                  <a:pt x="409" y="919"/>
                  <a:pt x="412" y="919"/>
                  <a:pt x="413" y="922"/>
                </a:cubicBezTo>
                <a:cubicBezTo>
                  <a:pt x="415" y="926"/>
                  <a:pt x="415" y="928"/>
                  <a:pt x="416" y="931"/>
                </a:cubicBezTo>
                <a:cubicBezTo>
                  <a:pt x="416" y="936"/>
                  <a:pt x="416" y="940"/>
                  <a:pt x="415" y="945"/>
                </a:cubicBezTo>
                <a:cubicBezTo>
                  <a:pt x="412" y="951"/>
                  <a:pt x="407" y="954"/>
                  <a:pt x="401" y="954"/>
                </a:cubicBezTo>
                <a:cubicBezTo>
                  <a:pt x="400" y="954"/>
                  <a:pt x="400" y="954"/>
                  <a:pt x="399" y="954"/>
                </a:cubicBezTo>
                <a:cubicBezTo>
                  <a:pt x="396" y="954"/>
                  <a:pt x="395" y="954"/>
                  <a:pt x="395" y="957"/>
                </a:cubicBezTo>
                <a:cubicBezTo>
                  <a:pt x="393" y="961"/>
                  <a:pt x="387" y="963"/>
                  <a:pt x="384" y="960"/>
                </a:cubicBezTo>
                <a:cubicBezTo>
                  <a:pt x="383" y="958"/>
                  <a:pt x="382" y="958"/>
                  <a:pt x="381" y="956"/>
                </a:cubicBezTo>
                <a:cubicBezTo>
                  <a:pt x="380" y="957"/>
                  <a:pt x="380" y="957"/>
                  <a:pt x="380" y="957"/>
                </a:cubicBezTo>
                <a:close/>
                <a:moveTo>
                  <a:pt x="375" y="952"/>
                </a:moveTo>
                <a:cubicBezTo>
                  <a:pt x="378" y="954"/>
                  <a:pt x="382" y="955"/>
                  <a:pt x="384" y="958"/>
                </a:cubicBezTo>
                <a:cubicBezTo>
                  <a:pt x="386" y="960"/>
                  <a:pt x="388" y="960"/>
                  <a:pt x="390" y="960"/>
                </a:cubicBezTo>
                <a:cubicBezTo>
                  <a:pt x="393" y="959"/>
                  <a:pt x="394" y="957"/>
                  <a:pt x="394" y="954"/>
                </a:cubicBezTo>
                <a:cubicBezTo>
                  <a:pt x="394" y="954"/>
                  <a:pt x="393" y="954"/>
                  <a:pt x="393" y="954"/>
                </a:cubicBezTo>
                <a:cubicBezTo>
                  <a:pt x="393" y="956"/>
                  <a:pt x="391" y="957"/>
                  <a:pt x="391" y="958"/>
                </a:cubicBezTo>
                <a:cubicBezTo>
                  <a:pt x="389" y="959"/>
                  <a:pt x="388" y="959"/>
                  <a:pt x="387" y="958"/>
                </a:cubicBezTo>
                <a:cubicBezTo>
                  <a:pt x="387" y="958"/>
                  <a:pt x="386" y="957"/>
                  <a:pt x="386" y="956"/>
                </a:cubicBezTo>
                <a:cubicBezTo>
                  <a:pt x="386" y="954"/>
                  <a:pt x="387" y="952"/>
                  <a:pt x="387" y="950"/>
                </a:cubicBezTo>
                <a:cubicBezTo>
                  <a:pt x="390" y="951"/>
                  <a:pt x="393" y="952"/>
                  <a:pt x="397" y="952"/>
                </a:cubicBezTo>
                <a:cubicBezTo>
                  <a:pt x="404" y="954"/>
                  <a:pt x="410" y="952"/>
                  <a:pt x="413" y="943"/>
                </a:cubicBezTo>
                <a:cubicBezTo>
                  <a:pt x="415" y="939"/>
                  <a:pt x="415" y="934"/>
                  <a:pt x="414" y="929"/>
                </a:cubicBezTo>
                <a:cubicBezTo>
                  <a:pt x="413" y="927"/>
                  <a:pt x="413" y="925"/>
                  <a:pt x="412" y="923"/>
                </a:cubicBezTo>
                <a:cubicBezTo>
                  <a:pt x="411" y="922"/>
                  <a:pt x="410" y="921"/>
                  <a:pt x="409" y="923"/>
                </a:cubicBezTo>
                <a:cubicBezTo>
                  <a:pt x="407" y="924"/>
                  <a:pt x="406" y="926"/>
                  <a:pt x="404" y="927"/>
                </a:cubicBezTo>
                <a:cubicBezTo>
                  <a:pt x="403" y="927"/>
                  <a:pt x="402" y="928"/>
                  <a:pt x="402" y="929"/>
                </a:cubicBezTo>
                <a:cubicBezTo>
                  <a:pt x="403" y="932"/>
                  <a:pt x="402" y="935"/>
                  <a:pt x="401" y="939"/>
                </a:cubicBezTo>
                <a:cubicBezTo>
                  <a:pt x="401" y="937"/>
                  <a:pt x="402" y="935"/>
                  <a:pt x="402" y="933"/>
                </a:cubicBezTo>
                <a:cubicBezTo>
                  <a:pt x="402" y="932"/>
                  <a:pt x="401" y="932"/>
                  <a:pt x="401" y="931"/>
                </a:cubicBezTo>
                <a:cubicBezTo>
                  <a:pt x="400" y="932"/>
                  <a:pt x="400" y="932"/>
                  <a:pt x="400" y="932"/>
                </a:cubicBezTo>
                <a:cubicBezTo>
                  <a:pt x="399" y="933"/>
                  <a:pt x="398" y="935"/>
                  <a:pt x="397" y="936"/>
                </a:cubicBezTo>
                <a:cubicBezTo>
                  <a:pt x="397" y="936"/>
                  <a:pt x="397" y="936"/>
                  <a:pt x="397" y="936"/>
                </a:cubicBezTo>
                <a:cubicBezTo>
                  <a:pt x="397" y="935"/>
                  <a:pt x="398" y="933"/>
                  <a:pt x="398" y="931"/>
                </a:cubicBezTo>
                <a:cubicBezTo>
                  <a:pt x="397" y="931"/>
                  <a:pt x="396" y="932"/>
                  <a:pt x="396" y="933"/>
                </a:cubicBezTo>
                <a:cubicBezTo>
                  <a:pt x="395" y="933"/>
                  <a:pt x="395" y="934"/>
                  <a:pt x="395" y="935"/>
                </a:cubicBezTo>
                <a:cubicBezTo>
                  <a:pt x="395" y="931"/>
                  <a:pt x="395" y="931"/>
                  <a:pt x="401" y="930"/>
                </a:cubicBezTo>
                <a:cubicBezTo>
                  <a:pt x="401" y="929"/>
                  <a:pt x="400" y="929"/>
                  <a:pt x="400" y="929"/>
                </a:cubicBezTo>
                <a:cubicBezTo>
                  <a:pt x="397" y="929"/>
                  <a:pt x="396" y="928"/>
                  <a:pt x="396" y="926"/>
                </a:cubicBezTo>
                <a:cubicBezTo>
                  <a:pt x="398" y="925"/>
                  <a:pt x="399" y="925"/>
                  <a:pt x="401" y="924"/>
                </a:cubicBezTo>
                <a:cubicBezTo>
                  <a:pt x="399" y="922"/>
                  <a:pt x="398" y="919"/>
                  <a:pt x="395" y="919"/>
                </a:cubicBezTo>
                <a:cubicBezTo>
                  <a:pt x="394" y="919"/>
                  <a:pt x="394" y="918"/>
                  <a:pt x="394" y="918"/>
                </a:cubicBezTo>
                <a:cubicBezTo>
                  <a:pt x="391" y="916"/>
                  <a:pt x="389" y="914"/>
                  <a:pt x="386" y="912"/>
                </a:cubicBezTo>
                <a:cubicBezTo>
                  <a:pt x="384" y="910"/>
                  <a:pt x="381" y="910"/>
                  <a:pt x="379" y="910"/>
                </a:cubicBezTo>
                <a:cubicBezTo>
                  <a:pt x="376" y="910"/>
                  <a:pt x="373" y="911"/>
                  <a:pt x="369" y="912"/>
                </a:cubicBezTo>
                <a:cubicBezTo>
                  <a:pt x="367" y="913"/>
                  <a:pt x="364" y="915"/>
                  <a:pt x="362" y="918"/>
                </a:cubicBezTo>
                <a:cubicBezTo>
                  <a:pt x="364" y="918"/>
                  <a:pt x="365" y="918"/>
                  <a:pt x="366" y="918"/>
                </a:cubicBezTo>
                <a:cubicBezTo>
                  <a:pt x="366" y="918"/>
                  <a:pt x="365" y="919"/>
                  <a:pt x="364" y="919"/>
                </a:cubicBezTo>
                <a:cubicBezTo>
                  <a:pt x="362" y="920"/>
                  <a:pt x="359" y="919"/>
                  <a:pt x="357" y="921"/>
                </a:cubicBezTo>
                <a:cubicBezTo>
                  <a:pt x="354" y="925"/>
                  <a:pt x="350" y="929"/>
                  <a:pt x="346" y="933"/>
                </a:cubicBezTo>
                <a:cubicBezTo>
                  <a:pt x="345" y="935"/>
                  <a:pt x="344" y="937"/>
                  <a:pt x="343" y="940"/>
                </a:cubicBezTo>
                <a:cubicBezTo>
                  <a:pt x="343" y="940"/>
                  <a:pt x="343" y="941"/>
                  <a:pt x="343" y="941"/>
                </a:cubicBezTo>
                <a:cubicBezTo>
                  <a:pt x="344" y="943"/>
                  <a:pt x="346" y="945"/>
                  <a:pt x="347" y="947"/>
                </a:cubicBezTo>
                <a:cubicBezTo>
                  <a:pt x="348" y="946"/>
                  <a:pt x="349" y="944"/>
                  <a:pt x="351" y="943"/>
                </a:cubicBezTo>
                <a:cubicBezTo>
                  <a:pt x="350" y="944"/>
                  <a:pt x="350" y="945"/>
                  <a:pt x="349" y="947"/>
                </a:cubicBezTo>
                <a:cubicBezTo>
                  <a:pt x="348" y="948"/>
                  <a:pt x="347" y="949"/>
                  <a:pt x="347" y="951"/>
                </a:cubicBezTo>
                <a:cubicBezTo>
                  <a:pt x="347" y="952"/>
                  <a:pt x="347" y="953"/>
                  <a:pt x="347" y="954"/>
                </a:cubicBezTo>
                <a:cubicBezTo>
                  <a:pt x="350" y="957"/>
                  <a:pt x="353" y="957"/>
                  <a:pt x="357" y="955"/>
                </a:cubicBezTo>
                <a:cubicBezTo>
                  <a:pt x="359" y="954"/>
                  <a:pt x="362" y="952"/>
                  <a:pt x="365" y="952"/>
                </a:cubicBezTo>
                <a:cubicBezTo>
                  <a:pt x="366" y="951"/>
                  <a:pt x="367" y="950"/>
                  <a:pt x="367" y="949"/>
                </a:cubicBezTo>
                <a:cubicBezTo>
                  <a:pt x="367" y="946"/>
                  <a:pt x="367" y="942"/>
                  <a:pt x="367" y="939"/>
                </a:cubicBezTo>
                <a:cubicBezTo>
                  <a:pt x="367" y="936"/>
                  <a:pt x="367" y="933"/>
                  <a:pt x="367" y="930"/>
                </a:cubicBezTo>
                <a:cubicBezTo>
                  <a:pt x="368" y="933"/>
                  <a:pt x="369" y="935"/>
                  <a:pt x="369" y="938"/>
                </a:cubicBezTo>
                <a:cubicBezTo>
                  <a:pt x="370" y="943"/>
                  <a:pt x="370" y="947"/>
                  <a:pt x="369" y="951"/>
                </a:cubicBezTo>
                <a:cubicBezTo>
                  <a:pt x="368" y="952"/>
                  <a:pt x="367" y="953"/>
                  <a:pt x="367" y="953"/>
                </a:cubicBezTo>
                <a:cubicBezTo>
                  <a:pt x="364" y="953"/>
                  <a:pt x="360" y="955"/>
                  <a:pt x="357" y="957"/>
                </a:cubicBezTo>
                <a:cubicBezTo>
                  <a:pt x="352" y="960"/>
                  <a:pt x="349" y="958"/>
                  <a:pt x="345" y="954"/>
                </a:cubicBezTo>
                <a:cubicBezTo>
                  <a:pt x="345" y="954"/>
                  <a:pt x="345" y="952"/>
                  <a:pt x="345" y="952"/>
                </a:cubicBezTo>
                <a:cubicBezTo>
                  <a:pt x="346" y="950"/>
                  <a:pt x="345" y="948"/>
                  <a:pt x="344" y="946"/>
                </a:cubicBezTo>
                <a:cubicBezTo>
                  <a:pt x="342" y="944"/>
                  <a:pt x="340" y="941"/>
                  <a:pt x="342" y="939"/>
                </a:cubicBezTo>
                <a:cubicBezTo>
                  <a:pt x="342" y="937"/>
                  <a:pt x="343" y="935"/>
                  <a:pt x="344" y="933"/>
                </a:cubicBezTo>
                <a:cubicBezTo>
                  <a:pt x="346" y="931"/>
                  <a:pt x="348" y="928"/>
                  <a:pt x="350" y="926"/>
                </a:cubicBezTo>
                <a:cubicBezTo>
                  <a:pt x="350" y="926"/>
                  <a:pt x="349" y="926"/>
                  <a:pt x="349" y="926"/>
                </a:cubicBezTo>
                <a:cubicBezTo>
                  <a:pt x="344" y="927"/>
                  <a:pt x="340" y="928"/>
                  <a:pt x="336" y="931"/>
                </a:cubicBezTo>
                <a:cubicBezTo>
                  <a:pt x="331" y="936"/>
                  <a:pt x="328" y="941"/>
                  <a:pt x="328" y="948"/>
                </a:cubicBezTo>
                <a:cubicBezTo>
                  <a:pt x="327" y="954"/>
                  <a:pt x="330" y="960"/>
                  <a:pt x="333" y="966"/>
                </a:cubicBezTo>
                <a:cubicBezTo>
                  <a:pt x="334" y="967"/>
                  <a:pt x="335" y="969"/>
                  <a:pt x="334" y="970"/>
                </a:cubicBezTo>
                <a:cubicBezTo>
                  <a:pt x="334" y="971"/>
                  <a:pt x="334" y="973"/>
                  <a:pt x="333" y="974"/>
                </a:cubicBezTo>
                <a:cubicBezTo>
                  <a:pt x="333" y="976"/>
                  <a:pt x="333" y="977"/>
                  <a:pt x="334" y="977"/>
                </a:cubicBezTo>
                <a:cubicBezTo>
                  <a:pt x="337" y="978"/>
                  <a:pt x="340" y="979"/>
                  <a:pt x="343" y="979"/>
                </a:cubicBezTo>
                <a:cubicBezTo>
                  <a:pt x="344" y="979"/>
                  <a:pt x="344" y="978"/>
                  <a:pt x="344" y="978"/>
                </a:cubicBezTo>
                <a:cubicBezTo>
                  <a:pt x="345" y="977"/>
                  <a:pt x="345" y="975"/>
                  <a:pt x="346" y="974"/>
                </a:cubicBezTo>
                <a:cubicBezTo>
                  <a:pt x="347" y="972"/>
                  <a:pt x="347" y="969"/>
                  <a:pt x="347" y="966"/>
                </a:cubicBezTo>
                <a:cubicBezTo>
                  <a:pt x="347" y="966"/>
                  <a:pt x="347" y="966"/>
                  <a:pt x="347" y="965"/>
                </a:cubicBezTo>
                <a:cubicBezTo>
                  <a:pt x="347" y="965"/>
                  <a:pt x="347" y="965"/>
                  <a:pt x="347" y="964"/>
                </a:cubicBezTo>
                <a:cubicBezTo>
                  <a:pt x="348" y="967"/>
                  <a:pt x="349" y="967"/>
                  <a:pt x="351" y="967"/>
                </a:cubicBezTo>
                <a:cubicBezTo>
                  <a:pt x="352" y="967"/>
                  <a:pt x="353" y="967"/>
                  <a:pt x="354" y="967"/>
                </a:cubicBezTo>
                <a:cubicBezTo>
                  <a:pt x="356" y="967"/>
                  <a:pt x="360" y="968"/>
                  <a:pt x="360" y="964"/>
                </a:cubicBezTo>
                <a:cubicBezTo>
                  <a:pt x="360" y="966"/>
                  <a:pt x="360" y="967"/>
                  <a:pt x="360" y="968"/>
                </a:cubicBezTo>
                <a:cubicBezTo>
                  <a:pt x="359" y="969"/>
                  <a:pt x="358" y="970"/>
                  <a:pt x="356" y="970"/>
                </a:cubicBezTo>
                <a:cubicBezTo>
                  <a:pt x="355" y="971"/>
                  <a:pt x="355" y="973"/>
                  <a:pt x="355" y="973"/>
                </a:cubicBezTo>
                <a:cubicBezTo>
                  <a:pt x="356" y="976"/>
                  <a:pt x="358" y="978"/>
                  <a:pt x="359" y="980"/>
                </a:cubicBezTo>
                <a:cubicBezTo>
                  <a:pt x="361" y="981"/>
                  <a:pt x="363" y="981"/>
                  <a:pt x="364" y="979"/>
                </a:cubicBezTo>
                <a:cubicBezTo>
                  <a:pt x="365" y="978"/>
                  <a:pt x="366" y="977"/>
                  <a:pt x="366" y="977"/>
                </a:cubicBezTo>
                <a:cubicBezTo>
                  <a:pt x="368" y="975"/>
                  <a:pt x="369" y="974"/>
                  <a:pt x="371" y="973"/>
                </a:cubicBezTo>
                <a:cubicBezTo>
                  <a:pt x="375" y="969"/>
                  <a:pt x="377" y="963"/>
                  <a:pt x="379" y="957"/>
                </a:cubicBezTo>
                <a:cubicBezTo>
                  <a:pt x="379" y="956"/>
                  <a:pt x="378" y="956"/>
                  <a:pt x="378" y="955"/>
                </a:cubicBezTo>
                <a:cubicBezTo>
                  <a:pt x="377" y="954"/>
                  <a:pt x="376" y="953"/>
                  <a:pt x="375" y="952"/>
                </a:cubicBezTo>
                <a:close/>
                <a:moveTo>
                  <a:pt x="327" y="959"/>
                </a:moveTo>
                <a:cubicBezTo>
                  <a:pt x="327" y="960"/>
                  <a:pt x="325" y="960"/>
                  <a:pt x="324" y="962"/>
                </a:cubicBezTo>
                <a:cubicBezTo>
                  <a:pt x="324" y="962"/>
                  <a:pt x="323" y="963"/>
                  <a:pt x="323" y="964"/>
                </a:cubicBezTo>
                <a:cubicBezTo>
                  <a:pt x="323" y="966"/>
                  <a:pt x="327" y="971"/>
                  <a:pt x="331" y="970"/>
                </a:cubicBezTo>
                <a:cubicBezTo>
                  <a:pt x="332" y="970"/>
                  <a:pt x="333" y="969"/>
                  <a:pt x="332" y="967"/>
                </a:cubicBezTo>
                <a:cubicBezTo>
                  <a:pt x="331" y="964"/>
                  <a:pt x="329" y="962"/>
                  <a:pt x="327" y="959"/>
                </a:cubicBezTo>
                <a:close/>
                <a:moveTo>
                  <a:pt x="380" y="961"/>
                </a:moveTo>
                <a:cubicBezTo>
                  <a:pt x="378" y="966"/>
                  <a:pt x="375" y="970"/>
                  <a:pt x="373" y="974"/>
                </a:cubicBezTo>
                <a:cubicBezTo>
                  <a:pt x="376" y="974"/>
                  <a:pt x="378" y="975"/>
                  <a:pt x="381" y="974"/>
                </a:cubicBezTo>
                <a:cubicBezTo>
                  <a:pt x="381" y="974"/>
                  <a:pt x="382" y="973"/>
                  <a:pt x="382" y="973"/>
                </a:cubicBezTo>
                <a:cubicBezTo>
                  <a:pt x="382" y="970"/>
                  <a:pt x="382" y="967"/>
                  <a:pt x="381" y="965"/>
                </a:cubicBezTo>
                <a:cubicBezTo>
                  <a:pt x="381" y="964"/>
                  <a:pt x="380" y="962"/>
                  <a:pt x="380" y="961"/>
                </a:cubicBezTo>
                <a:close/>
                <a:moveTo>
                  <a:pt x="327" y="941"/>
                </a:moveTo>
                <a:cubicBezTo>
                  <a:pt x="327" y="941"/>
                  <a:pt x="326" y="941"/>
                  <a:pt x="326" y="941"/>
                </a:cubicBezTo>
                <a:cubicBezTo>
                  <a:pt x="325" y="941"/>
                  <a:pt x="324" y="941"/>
                  <a:pt x="324" y="941"/>
                </a:cubicBezTo>
                <a:cubicBezTo>
                  <a:pt x="324" y="941"/>
                  <a:pt x="323" y="940"/>
                  <a:pt x="323" y="939"/>
                </a:cubicBezTo>
                <a:cubicBezTo>
                  <a:pt x="324" y="937"/>
                  <a:pt x="324" y="935"/>
                  <a:pt x="325" y="933"/>
                </a:cubicBezTo>
                <a:cubicBezTo>
                  <a:pt x="325" y="933"/>
                  <a:pt x="325" y="933"/>
                  <a:pt x="324" y="933"/>
                </a:cubicBezTo>
                <a:cubicBezTo>
                  <a:pt x="324" y="934"/>
                  <a:pt x="322" y="935"/>
                  <a:pt x="322" y="936"/>
                </a:cubicBezTo>
                <a:cubicBezTo>
                  <a:pt x="321" y="937"/>
                  <a:pt x="322" y="942"/>
                  <a:pt x="324" y="943"/>
                </a:cubicBezTo>
                <a:cubicBezTo>
                  <a:pt x="326" y="944"/>
                  <a:pt x="327" y="943"/>
                  <a:pt x="327" y="941"/>
                </a:cubicBezTo>
                <a:close/>
                <a:moveTo>
                  <a:pt x="327" y="959"/>
                </a:moveTo>
                <a:cubicBezTo>
                  <a:pt x="327" y="960"/>
                  <a:pt x="325" y="961"/>
                  <a:pt x="324" y="962"/>
                </a:cubicBezTo>
                <a:cubicBezTo>
                  <a:pt x="323" y="962"/>
                  <a:pt x="323" y="963"/>
                  <a:pt x="323" y="964"/>
                </a:cubicBezTo>
                <a:cubicBezTo>
                  <a:pt x="323" y="967"/>
                  <a:pt x="327" y="971"/>
                  <a:pt x="331" y="971"/>
                </a:cubicBezTo>
                <a:cubicBezTo>
                  <a:pt x="332" y="971"/>
                  <a:pt x="333" y="969"/>
                  <a:pt x="332" y="968"/>
                </a:cubicBezTo>
                <a:cubicBezTo>
                  <a:pt x="331" y="965"/>
                  <a:pt x="329" y="962"/>
                  <a:pt x="327" y="959"/>
                </a:cubicBezTo>
                <a:close/>
                <a:moveTo>
                  <a:pt x="380" y="961"/>
                </a:moveTo>
                <a:cubicBezTo>
                  <a:pt x="378" y="966"/>
                  <a:pt x="375" y="970"/>
                  <a:pt x="373" y="974"/>
                </a:cubicBezTo>
                <a:cubicBezTo>
                  <a:pt x="376" y="974"/>
                  <a:pt x="378" y="975"/>
                  <a:pt x="381" y="974"/>
                </a:cubicBezTo>
                <a:cubicBezTo>
                  <a:pt x="381" y="974"/>
                  <a:pt x="381" y="973"/>
                  <a:pt x="381" y="973"/>
                </a:cubicBezTo>
                <a:cubicBezTo>
                  <a:pt x="381" y="970"/>
                  <a:pt x="381" y="968"/>
                  <a:pt x="381" y="965"/>
                </a:cubicBezTo>
                <a:cubicBezTo>
                  <a:pt x="381" y="964"/>
                  <a:pt x="380" y="962"/>
                  <a:pt x="380" y="961"/>
                </a:cubicBezTo>
                <a:close/>
                <a:moveTo>
                  <a:pt x="327" y="941"/>
                </a:moveTo>
                <a:cubicBezTo>
                  <a:pt x="326" y="941"/>
                  <a:pt x="326" y="942"/>
                  <a:pt x="325" y="942"/>
                </a:cubicBezTo>
                <a:cubicBezTo>
                  <a:pt x="324" y="942"/>
                  <a:pt x="324" y="942"/>
                  <a:pt x="324" y="941"/>
                </a:cubicBezTo>
                <a:cubicBezTo>
                  <a:pt x="323" y="941"/>
                  <a:pt x="323" y="940"/>
                  <a:pt x="323" y="939"/>
                </a:cubicBezTo>
                <a:cubicBezTo>
                  <a:pt x="324" y="937"/>
                  <a:pt x="324" y="935"/>
                  <a:pt x="325" y="933"/>
                </a:cubicBezTo>
                <a:cubicBezTo>
                  <a:pt x="324" y="933"/>
                  <a:pt x="324" y="933"/>
                  <a:pt x="324" y="933"/>
                </a:cubicBezTo>
                <a:cubicBezTo>
                  <a:pt x="323" y="934"/>
                  <a:pt x="322" y="935"/>
                  <a:pt x="321" y="936"/>
                </a:cubicBezTo>
                <a:cubicBezTo>
                  <a:pt x="320" y="937"/>
                  <a:pt x="322" y="942"/>
                  <a:pt x="324" y="943"/>
                </a:cubicBezTo>
                <a:cubicBezTo>
                  <a:pt x="325" y="944"/>
                  <a:pt x="327" y="943"/>
                  <a:pt x="327" y="941"/>
                </a:cubicBezTo>
                <a:close/>
                <a:moveTo>
                  <a:pt x="380" y="933"/>
                </a:moveTo>
                <a:cubicBezTo>
                  <a:pt x="383" y="929"/>
                  <a:pt x="383" y="929"/>
                  <a:pt x="386" y="928"/>
                </a:cubicBezTo>
                <a:cubicBezTo>
                  <a:pt x="386" y="930"/>
                  <a:pt x="388" y="931"/>
                  <a:pt x="389" y="931"/>
                </a:cubicBezTo>
                <a:cubicBezTo>
                  <a:pt x="387" y="932"/>
                  <a:pt x="385" y="934"/>
                  <a:pt x="383" y="935"/>
                </a:cubicBezTo>
                <a:cubicBezTo>
                  <a:pt x="382" y="934"/>
                  <a:pt x="382" y="933"/>
                  <a:pt x="381" y="932"/>
                </a:cubicBezTo>
                <a:cubicBezTo>
                  <a:pt x="381" y="932"/>
                  <a:pt x="380" y="932"/>
                  <a:pt x="380" y="933"/>
                </a:cubicBezTo>
                <a:close/>
                <a:moveTo>
                  <a:pt x="385" y="932"/>
                </a:moveTo>
                <a:cubicBezTo>
                  <a:pt x="385" y="932"/>
                  <a:pt x="384" y="931"/>
                  <a:pt x="383" y="931"/>
                </a:cubicBezTo>
                <a:cubicBezTo>
                  <a:pt x="383" y="931"/>
                  <a:pt x="382" y="932"/>
                  <a:pt x="382" y="933"/>
                </a:cubicBezTo>
                <a:cubicBezTo>
                  <a:pt x="382" y="933"/>
                  <a:pt x="383" y="933"/>
                  <a:pt x="383" y="934"/>
                </a:cubicBezTo>
                <a:cubicBezTo>
                  <a:pt x="384" y="933"/>
                  <a:pt x="384" y="933"/>
                  <a:pt x="385" y="932"/>
                </a:cubicBezTo>
                <a:close/>
                <a:moveTo>
                  <a:pt x="367" y="922"/>
                </a:moveTo>
                <a:cubicBezTo>
                  <a:pt x="360" y="921"/>
                  <a:pt x="357" y="924"/>
                  <a:pt x="356" y="932"/>
                </a:cubicBezTo>
                <a:cubicBezTo>
                  <a:pt x="357" y="930"/>
                  <a:pt x="358" y="928"/>
                  <a:pt x="360" y="925"/>
                </a:cubicBezTo>
                <a:cubicBezTo>
                  <a:pt x="360" y="925"/>
                  <a:pt x="360" y="925"/>
                  <a:pt x="360" y="925"/>
                </a:cubicBezTo>
                <a:cubicBezTo>
                  <a:pt x="360" y="926"/>
                  <a:pt x="360" y="927"/>
                  <a:pt x="360" y="928"/>
                </a:cubicBezTo>
                <a:cubicBezTo>
                  <a:pt x="361" y="925"/>
                  <a:pt x="363" y="923"/>
                  <a:pt x="367" y="922"/>
                </a:cubicBezTo>
                <a:close/>
                <a:moveTo>
                  <a:pt x="410" y="924"/>
                </a:moveTo>
                <a:cubicBezTo>
                  <a:pt x="408" y="925"/>
                  <a:pt x="406" y="927"/>
                  <a:pt x="404" y="928"/>
                </a:cubicBezTo>
                <a:cubicBezTo>
                  <a:pt x="407" y="928"/>
                  <a:pt x="409" y="927"/>
                  <a:pt x="410" y="924"/>
                </a:cubicBezTo>
                <a:close/>
                <a:moveTo>
                  <a:pt x="377" y="926"/>
                </a:moveTo>
                <a:cubicBezTo>
                  <a:pt x="378" y="925"/>
                  <a:pt x="379" y="923"/>
                  <a:pt x="380" y="922"/>
                </a:cubicBezTo>
                <a:cubicBezTo>
                  <a:pt x="377" y="923"/>
                  <a:pt x="376" y="924"/>
                  <a:pt x="377" y="926"/>
                </a:cubicBezTo>
                <a:close/>
                <a:moveTo>
                  <a:pt x="387" y="947"/>
                </a:moveTo>
                <a:cubicBezTo>
                  <a:pt x="385" y="948"/>
                  <a:pt x="384" y="949"/>
                  <a:pt x="384" y="949"/>
                </a:cubicBezTo>
                <a:cubicBezTo>
                  <a:pt x="385" y="949"/>
                  <a:pt x="386" y="948"/>
                  <a:pt x="387" y="947"/>
                </a:cubicBezTo>
                <a:close/>
                <a:moveTo>
                  <a:pt x="385" y="932"/>
                </a:moveTo>
                <a:cubicBezTo>
                  <a:pt x="385" y="931"/>
                  <a:pt x="384" y="931"/>
                  <a:pt x="383" y="931"/>
                </a:cubicBezTo>
                <a:cubicBezTo>
                  <a:pt x="383" y="931"/>
                  <a:pt x="382" y="932"/>
                  <a:pt x="382" y="932"/>
                </a:cubicBezTo>
                <a:cubicBezTo>
                  <a:pt x="382" y="933"/>
                  <a:pt x="383" y="933"/>
                  <a:pt x="383" y="933"/>
                </a:cubicBezTo>
                <a:cubicBezTo>
                  <a:pt x="384" y="933"/>
                  <a:pt x="384" y="933"/>
                  <a:pt x="385" y="932"/>
                </a:cubicBezTo>
                <a:close/>
                <a:moveTo>
                  <a:pt x="676" y="909"/>
                </a:moveTo>
                <a:cubicBezTo>
                  <a:pt x="676" y="909"/>
                  <a:pt x="676" y="909"/>
                  <a:pt x="676" y="909"/>
                </a:cubicBezTo>
                <a:cubicBezTo>
                  <a:pt x="671" y="909"/>
                  <a:pt x="671" y="909"/>
                  <a:pt x="671" y="909"/>
                </a:cubicBezTo>
                <a:cubicBezTo>
                  <a:pt x="669" y="911"/>
                  <a:pt x="668" y="912"/>
                  <a:pt x="666" y="913"/>
                </a:cubicBezTo>
                <a:cubicBezTo>
                  <a:pt x="664" y="915"/>
                  <a:pt x="662" y="915"/>
                  <a:pt x="661" y="916"/>
                </a:cubicBezTo>
                <a:cubicBezTo>
                  <a:pt x="658" y="917"/>
                  <a:pt x="657" y="918"/>
                  <a:pt x="655" y="919"/>
                </a:cubicBezTo>
                <a:cubicBezTo>
                  <a:pt x="653" y="920"/>
                  <a:pt x="651" y="920"/>
                  <a:pt x="650" y="920"/>
                </a:cubicBezTo>
                <a:cubicBezTo>
                  <a:pt x="650" y="920"/>
                  <a:pt x="650" y="920"/>
                  <a:pt x="650" y="931"/>
                </a:cubicBezTo>
                <a:cubicBezTo>
                  <a:pt x="653" y="930"/>
                  <a:pt x="656" y="929"/>
                  <a:pt x="658" y="928"/>
                </a:cubicBezTo>
                <a:cubicBezTo>
                  <a:pt x="660" y="927"/>
                  <a:pt x="663" y="925"/>
                  <a:pt x="664" y="924"/>
                </a:cubicBezTo>
                <a:cubicBezTo>
                  <a:pt x="664" y="924"/>
                  <a:pt x="664" y="924"/>
                  <a:pt x="664" y="983"/>
                </a:cubicBezTo>
                <a:cubicBezTo>
                  <a:pt x="664" y="983"/>
                  <a:pt x="664" y="983"/>
                  <a:pt x="676" y="983"/>
                </a:cubicBezTo>
                <a:cubicBezTo>
                  <a:pt x="676" y="983"/>
                  <a:pt x="676" y="983"/>
                  <a:pt x="676" y="909"/>
                </a:cubicBezTo>
                <a:close/>
                <a:moveTo>
                  <a:pt x="798" y="909"/>
                </a:moveTo>
                <a:cubicBezTo>
                  <a:pt x="798" y="909"/>
                  <a:pt x="798" y="909"/>
                  <a:pt x="798" y="909"/>
                </a:cubicBezTo>
                <a:cubicBezTo>
                  <a:pt x="792" y="909"/>
                  <a:pt x="792" y="909"/>
                  <a:pt x="792" y="909"/>
                </a:cubicBezTo>
                <a:cubicBezTo>
                  <a:pt x="790" y="911"/>
                  <a:pt x="789" y="912"/>
                  <a:pt x="787" y="913"/>
                </a:cubicBezTo>
                <a:cubicBezTo>
                  <a:pt x="785" y="915"/>
                  <a:pt x="784" y="915"/>
                  <a:pt x="781" y="916"/>
                </a:cubicBezTo>
                <a:cubicBezTo>
                  <a:pt x="780" y="917"/>
                  <a:pt x="778" y="918"/>
                  <a:pt x="776" y="919"/>
                </a:cubicBezTo>
                <a:cubicBezTo>
                  <a:pt x="774" y="920"/>
                  <a:pt x="772" y="920"/>
                  <a:pt x="770" y="920"/>
                </a:cubicBezTo>
                <a:cubicBezTo>
                  <a:pt x="770" y="920"/>
                  <a:pt x="770" y="920"/>
                  <a:pt x="770" y="931"/>
                </a:cubicBezTo>
                <a:cubicBezTo>
                  <a:pt x="773" y="930"/>
                  <a:pt x="776" y="929"/>
                  <a:pt x="779" y="928"/>
                </a:cubicBezTo>
                <a:cubicBezTo>
                  <a:pt x="781" y="927"/>
                  <a:pt x="784" y="925"/>
                  <a:pt x="786" y="924"/>
                </a:cubicBezTo>
                <a:cubicBezTo>
                  <a:pt x="786" y="924"/>
                  <a:pt x="786" y="924"/>
                  <a:pt x="786" y="983"/>
                </a:cubicBezTo>
                <a:cubicBezTo>
                  <a:pt x="786" y="983"/>
                  <a:pt x="786" y="983"/>
                  <a:pt x="798" y="983"/>
                </a:cubicBezTo>
                <a:cubicBezTo>
                  <a:pt x="798" y="983"/>
                  <a:pt x="798" y="983"/>
                  <a:pt x="798" y="909"/>
                </a:cubicBezTo>
                <a:close/>
                <a:moveTo>
                  <a:pt x="844" y="909"/>
                </a:moveTo>
                <a:cubicBezTo>
                  <a:pt x="844" y="909"/>
                  <a:pt x="844" y="909"/>
                  <a:pt x="844" y="909"/>
                </a:cubicBezTo>
                <a:cubicBezTo>
                  <a:pt x="839" y="909"/>
                  <a:pt x="839" y="909"/>
                  <a:pt x="839" y="909"/>
                </a:cubicBezTo>
                <a:cubicBezTo>
                  <a:pt x="837" y="911"/>
                  <a:pt x="835" y="912"/>
                  <a:pt x="833" y="913"/>
                </a:cubicBezTo>
                <a:cubicBezTo>
                  <a:pt x="832" y="915"/>
                  <a:pt x="830" y="915"/>
                  <a:pt x="828" y="916"/>
                </a:cubicBezTo>
                <a:cubicBezTo>
                  <a:pt x="827" y="917"/>
                  <a:pt x="825" y="918"/>
                  <a:pt x="823" y="919"/>
                </a:cubicBezTo>
                <a:cubicBezTo>
                  <a:pt x="821" y="920"/>
                  <a:pt x="819" y="920"/>
                  <a:pt x="817" y="920"/>
                </a:cubicBezTo>
                <a:cubicBezTo>
                  <a:pt x="817" y="920"/>
                  <a:pt x="817" y="920"/>
                  <a:pt x="817" y="931"/>
                </a:cubicBezTo>
                <a:cubicBezTo>
                  <a:pt x="820" y="930"/>
                  <a:pt x="823" y="929"/>
                  <a:pt x="825" y="928"/>
                </a:cubicBezTo>
                <a:cubicBezTo>
                  <a:pt x="828" y="927"/>
                  <a:pt x="830" y="925"/>
                  <a:pt x="833" y="924"/>
                </a:cubicBezTo>
                <a:cubicBezTo>
                  <a:pt x="833" y="924"/>
                  <a:pt x="833" y="924"/>
                  <a:pt x="833" y="983"/>
                </a:cubicBezTo>
                <a:cubicBezTo>
                  <a:pt x="833" y="983"/>
                  <a:pt x="833" y="983"/>
                  <a:pt x="844" y="983"/>
                </a:cubicBezTo>
                <a:cubicBezTo>
                  <a:pt x="844" y="983"/>
                  <a:pt x="844" y="983"/>
                  <a:pt x="844" y="909"/>
                </a:cubicBezTo>
                <a:close/>
                <a:moveTo>
                  <a:pt x="890" y="909"/>
                </a:moveTo>
                <a:cubicBezTo>
                  <a:pt x="890" y="909"/>
                  <a:pt x="890" y="909"/>
                  <a:pt x="890" y="909"/>
                </a:cubicBezTo>
                <a:cubicBezTo>
                  <a:pt x="886" y="909"/>
                  <a:pt x="886" y="909"/>
                  <a:pt x="886" y="909"/>
                </a:cubicBezTo>
                <a:cubicBezTo>
                  <a:pt x="884" y="911"/>
                  <a:pt x="882" y="912"/>
                  <a:pt x="880" y="913"/>
                </a:cubicBezTo>
                <a:cubicBezTo>
                  <a:pt x="879" y="915"/>
                  <a:pt x="876" y="915"/>
                  <a:pt x="875" y="916"/>
                </a:cubicBezTo>
                <a:cubicBezTo>
                  <a:pt x="873" y="917"/>
                  <a:pt x="871" y="917"/>
                  <a:pt x="869" y="918"/>
                </a:cubicBezTo>
                <a:cubicBezTo>
                  <a:pt x="868" y="919"/>
                  <a:pt x="865" y="920"/>
                  <a:pt x="864" y="920"/>
                </a:cubicBezTo>
                <a:cubicBezTo>
                  <a:pt x="864" y="920"/>
                  <a:pt x="864" y="920"/>
                  <a:pt x="864" y="931"/>
                </a:cubicBezTo>
                <a:cubicBezTo>
                  <a:pt x="867" y="930"/>
                  <a:pt x="870" y="928"/>
                  <a:pt x="872" y="928"/>
                </a:cubicBezTo>
                <a:cubicBezTo>
                  <a:pt x="874" y="927"/>
                  <a:pt x="877" y="925"/>
                  <a:pt x="879" y="924"/>
                </a:cubicBezTo>
                <a:cubicBezTo>
                  <a:pt x="879" y="924"/>
                  <a:pt x="879" y="924"/>
                  <a:pt x="879" y="983"/>
                </a:cubicBezTo>
                <a:cubicBezTo>
                  <a:pt x="879" y="983"/>
                  <a:pt x="879" y="983"/>
                  <a:pt x="890" y="983"/>
                </a:cubicBezTo>
                <a:cubicBezTo>
                  <a:pt x="890" y="983"/>
                  <a:pt x="890" y="983"/>
                  <a:pt x="890" y="909"/>
                </a:cubicBezTo>
                <a:close/>
                <a:moveTo>
                  <a:pt x="696" y="942"/>
                </a:moveTo>
                <a:cubicBezTo>
                  <a:pt x="696" y="942"/>
                  <a:pt x="696" y="942"/>
                  <a:pt x="696" y="942"/>
                </a:cubicBezTo>
                <a:cubicBezTo>
                  <a:pt x="696" y="950"/>
                  <a:pt x="696" y="950"/>
                  <a:pt x="696" y="950"/>
                </a:cubicBezTo>
                <a:cubicBezTo>
                  <a:pt x="702" y="950"/>
                  <a:pt x="703" y="953"/>
                  <a:pt x="703" y="956"/>
                </a:cubicBezTo>
                <a:cubicBezTo>
                  <a:pt x="703" y="958"/>
                  <a:pt x="702" y="960"/>
                  <a:pt x="702" y="963"/>
                </a:cubicBezTo>
                <a:cubicBezTo>
                  <a:pt x="702" y="966"/>
                  <a:pt x="702" y="968"/>
                  <a:pt x="702" y="970"/>
                </a:cubicBezTo>
                <a:cubicBezTo>
                  <a:pt x="702" y="980"/>
                  <a:pt x="708" y="983"/>
                  <a:pt x="716" y="983"/>
                </a:cubicBezTo>
                <a:cubicBezTo>
                  <a:pt x="716" y="983"/>
                  <a:pt x="716" y="983"/>
                  <a:pt x="720" y="983"/>
                </a:cubicBezTo>
                <a:cubicBezTo>
                  <a:pt x="720" y="983"/>
                  <a:pt x="720" y="983"/>
                  <a:pt x="720" y="974"/>
                </a:cubicBezTo>
                <a:cubicBezTo>
                  <a:pt x="720" y="974"/>
                  <a:pt x="720" y="974"/>
                  <a:pt x="718" y="974"/>
                </a:cubicBezTo>
                <a:cubicBezTo>
                  <a:pt x="715" y="974"/>
                  <a:pt x="714" y="971"/>
                  <a:pt x="714" y="968"/>
                </a:cubicBezTo>
                <a:cubicBezTo>
                  <a:pt x="714" y="966"/>
                  <a:pt x="714" y="965"/>
                  <a:pt x="714" y="963"/>
                </a:cubicBezTo>
                <a:cubicBezTo>
                  <a:pt x="714" y="962"/>
                  <a:pt x="714" y="959"/>
                  <a:pt x="714" y="957"/>
                </a:cubicBezTo>
                <a:cubicBezTo>
                  <a:pt x="714" y="950"/>
                  <a:pt x="711" y="947"/>
                  <a:pt x="706" y="946"/>
                </a:cubicBezTo>
                <a:cubicBezTo>
                  <a:pt x="706" y="946"/>
                  <a:pt x="706" y="946"/>
                  <a:pt x="706" y="946"/>
                </a:cubicBezTo>
                <a:cubicBezTo>
                  <a:pt x="711" y="944"/>
                  <a:pt x="714" y="942"/>
                  <a:pt x="714" y="935"/>
                </a:cubicBezTo>
                <a:cubicBezTo>
                  <a:pt x="714" y="932"/>
                  <a:pt x="714" y="930"/>
                  <a:pt x="714" y="928"/>
                </a:cubicBezTo>
                <a:cubicBezTo>
                  <a:pt x="714" y="927"/>
                  <a:pt x="714" y="925"/>
                  <a:pt x="714" y="924"/>
                </a:cubicBezTo>
                <a:cubicBezTo>
                  <a:pt x="714" y="920"/>
                  <a:pt x="715" y="918"/>
                  <a:pt x="718" y="918"/>
                </a:cubicBezTo>
                <a:cubicBezTo>
                  <a:pt x="718" y="918"/>
                  <a:pt x="718" y="918"/>
                  <a:pt x="720" y="918"/>
                </a:cubicBezTo>
                <a:cubicBezTo>
                  <a:pt x="720" y="918"/>
                  <a:pt x="720" y="918"/>
                  <a:pt x="720" y="909"/>
                </a:cubicBezTo>
                <a:cubicBezTo>
                  <a:pt x="720" y="909"/>
                  <a:pt x="720" y="909"/>
                  <a:pt x="716" y="909"/>
                </a:cubicBezTo>
                <a:cubicBezTo>
                  <a:pt x="707" y="909"/>
                  <a:pt x="702" y="913"/>
                  <a:pt x="702" y="921"/>
                </a:cubicBezTo>
                <a:cubicBezTo>
                  <a:pt x="702" y="923"/>
                  <a:pt x="702" y="926"/>
                  <a:pt x="702" y="929"/>
                </a:cubicBezTo>
                <a:cubicBezTo>
                  <a:pt x="702" y="931"/>
                  <a:pt x="703" y="934"/>
                  <a:pt x="703" y="935"/>
                </a:cubicBezTo>
                <a:cubicBezTo>
                  <a:pt x="703" y="938"/>
                  <a:pt x="702" y="941"/>
                  <a:pt x="696" y="942"/>
                </a:cubicBezTo>
                <a:close/>
                <a:moveTo>
                  <a:pt x="751" y="950"/>
                </a:moveTo>
                <a:cubicBezTo>
                  <a:pt x="751" y="950"/>
                  <a:pt x="751" y="950"/>
                  <a:pt x="751" y="950"/>
                </a:cubicBezTo>
                <a:cubicBezTo>
                  <a:pt x="751" y="942"/>
                  <a:pt x="751" y="942"/>
                  <a:pt x="751" y="942"/>
                </a:cubicBezTo>
                <a:cubicBezTo>
                  <a:pt x="744" y="941"/>
                  <a:pt x="744" y="938"/>
                  <a:pt x="744" y="935"/>
                </a:cubicBezTo>
                <a:cubicBezTo>
                  <a:pt x="744" y="934"/>
                  <a:pt x="744" y="931"/>
                  <a:pt x="744" y="929"/>
                </a:cubicBezTo>
                <a:cubicBezTo>
                  <a:pt x="745" y="926"/>
                  <a:pt x="745" y="923"/>
                  <a:pt x="745" y="921"/>
                </a:cubicBezTo>
                <a:cubicBezTo>
                  <a:pt x="745" y="913"/>
                  <a:pt x="739" y="909"/>
                  <a:pt x="730" y="909"/>
                </a:cubicBezTo>
                <a:cubicBezTo>
                  <a:pt x="730" y="909"/>
                  <a:pt x="730" y="909"/>
                  <a:pt x="727" y="909"/>
                </a:cubicBezTo>
                <a:cubicBezTo>
                  <a:pt x="727" y="909"/>
                  <a:pt x="727" y="909"/>
                  <a:pt x="727" y="918"/>
                </a:cubicBezTo>
                <a:cubicBezTo>
                  <a:pt x="727" y="918"/>
                  <a:pt x="727" y="918"/>
                  <a:pt x="728" y="918"/>
                </a:cubicBezTo>
                <a:cubicBezTo>
                  <a:pt x="732" y="918"/>
                  <a:pt x="733" y="920"/>
                  <a:pt x="733" y="924"/>
                </a:cubicBezTo>
                <a:cubicBezTo>
                  <a:pt x="733" y="925"/>
                  <a:pt x="733" y="927"/>
                  <a:pt x="733" y="928"/>
                </a:cubicBezTo>
                <a:cubicBezTo>
                  <a:pt x="732" y="930"/>
                  <a:pt x="732" y="932"/>
                  <a:pt x="732" y="935"/>
                </a:cubicBezTo>
                <a:cubicBezTo>
                  <a:pt x="732" y="942"/>
                  <a:pt x="735" y="944"/>
                  <a:pt x="741" y="946"/>
                </a:cubicBezTo>
                <a:cubicBezTo>
                  <a:pt x="741" y="946"/>
                  <a:pt x="741" y="946"/>
                  <a:pt x="741" y="946"/>
                </a:cubicBezTo>
                <a:cubicBezTo>
                  <a:pt x="735" y="947"/>
                  <a:pt x="732" y="950"/>
                  <a:pt x="732" y="957"/>
                </a:cubicBezTo>
                <a:cubicBezTo>
                  <a:pt x="732" y="959"/>
                  <a:pt x="732" y="962"/>
                  <a:pt x="733" y="963"/>
                </a:cubicBezTo>
                <a:cubicBezTo>
                  <a:pt x="733" y="965"/>
                  <a:pt x="733" y="966"/>
                  <a:pt x="733" y="968"/>
                </a:cubicBezTo>
                <a:cubicBezTo>
                  <a:pt x="733" y="971"/>
                  <a:pt x="732" y="974"/>
                  <a:pt x="728" y="974"/>
                </a:cubicBezTo>
                <a:cubicBezTo>
                  <a:pt x="728" y="974"/>
                  <a:pt x="728" y="974"/>
                  <a:pt x="727" y="974"/>
                </a:cubicBezTo>
                <a:cubicBezTo>
                  <a:pt x="727" y="974"/>
                  <a:pt x="727" y="974"/>
                  <a:pt x="727" y="983"/>
                </a:cubicBezTo>
                <a:cubicBezTo>
                  <a:pt x="727" y="983"/>
                  <a:pt x="727" y="983"/>
                  <a:pt x="730" y="983"/>
                </a:cubicBezTo>
                <a:cubicBezTo>
                  <a:pt x="739" y="983"/>
                  <a:pt x="745" y="980"/>
                  <a:pt x="745" y="970"/>
                </a:cubicBezTo>
                <a:cubicBezTo>
                  <a:pt x="745" y="968"/>
                  <a:pt x="745" y="966"/>
                  <a:pt x="744" y="963"/>
                </a:cubicBezTo>
                <a:cubicBezTo>
                  <a:pt x="744" y="960"/>
                  <a:pt x="744" y="958"/>
                  <a:pt x="744" y="956"/>
                </a:cubicBezTo>
                <a:cubicBezTo>
                  <a:pt x="744" y="953"/>
                  <a:pt x="744" y="950"/>
                  <a:pt x="751" y="950"/>
                </a:cubicBezTo>
                <a:close/>
                <a:moveTo>
                  <a:pt x="934" y="983"/>
                </a:moveTo>
                <a:cubicBezTo>
                  <a:pt x="927" y="983"/>
                  <a:pt x="920" y="980"/>
                  <a:pt x="916" y="974"/>
                </a:cubicBezTo>
                <a:cubicBezTo>
                  <a:pt x="912" y="968"/>
                  <a:pt x="910" y="959"/>
                  <a:pt x="910" y="946"/>
                </a:cubicBezTo>
                <a:cubicBezTo>
                  <a:pt x="910" y="933"/>
                  <a:pt x="912" y="924"/>
                  <a:pt x="917" y="917"/>
                </a:cubicBezTo>
                <a:cubicBezTo>
                  <a:pt x="921" y="911"/>
                  <a:pt x="927" y="907"/>
                  <a:pt x="936" y="907"/>
                </a:cubicBezTo>
                <a:cubicBezTo>
                  <a:pt x="952" y="907"/>
                  <a:pt x="960" y="919"/>
                  <a:pt x="960" y="945"/>
                </a:cubicBezTo>
                <a:cubicBezTo>
                  <a:pt x="960" y="957"/>
                  <a:pt x="958" y="967"/>
                  <a:pt x="953" y="973"/>
                </a:cubicBezTo>
                <a:cubicBezTo>
                  <a:pt x="949" y="980"/>
                  <a:pt x="942" y="983"/>
                  <a:pt x="934" y="983"/>
                </a:cubicBezTo>
                <a:close/>
                <a:moveTo>
                  <a:pt x="935" y="917"/>
                </a:moveTo>
                <a:cubicBezTo>
                  <a:pt x="926" y="917"/>
                  <a:pt x="922" y="927"/>
                  <a:pt x="922" y="946"/>
                </a:cubicBezTo>
                <a:cubicBezTo>
                  <a:pt x="922" y="965"/>
                  <a:pt x="926" y="973"/>
                  <a:pt x="935" y="973"/>
                </a:cubicBezTo>
                <a:cubicBezTo>
                  <a:pt x="944" y="973"/>
                  <a:pt x="948" y="965"/>
                  <a:pt x="948" y="946"/>
                </a:cubicBezTo>
                <a:cubicBezTo>
                  <a:pt x="948" y="926"/>
                  <a:pt x="944" y="917"/>
                  <a:pt x="935" y="917"/>
                </a:cubicBezTo>
                <a:close/>
                <a:moveTo>
                  <a:pt x="1004" y="983"/>
                </a:moveTo>
                <a:cubicBezTo>
                  <a:pt x="997" y="983"/>
                  <a:pt x="990" y="980"/>
                  <a:pt x="987" y="974"/>
                </a:cubicBezTo>
                <a:cubicBezTo>
                  <a:pt x="982" y="968"/>
                  <a:pt x="980" y="959"/>
                  <a:pt x="980" y="946"/>
                </a:cubicBezTo>
                <a:cubicBezTo>
                  <a:pt x="980" y="933"/>
                  <a:pt x="982" y="924"/>
                  <a:pt x="987" y="917"/>
                </a:cubicBezTo>
                <a:cubicBezTo>
                  <a:pt x="991" y="911"/>
                  <a:pt x="998" y="907"/>
                  <a:pt x="1006" y="907"/>
                </a:cubicBezTo>
                <a:cubicBezTo>
                  <a:pt x="1022" y="907"/>
                  <a:pt x="1030" y="919"/>
                  <a:pt x="1030" y="945"/>
                </a:cubicBezTo>
                <a:cubicBezTo>
                  <a:pt x="1030" y="957"/>
                  <a:pt x="1028" y="967"/>
                  <a:pt x="1024" y="973"/>
                </a:cubicBezTo>
                <a:cubicBezTo>
                  <a:pt x="1019" y="980"/>
                  <a:pt x="1013" y="983"/>
                  <a:pt x="1004" y="983"/>
                </a:cubicBezTo>
                <a:close/>
                <a:moveTo>
                  <a:pt x="1006" y="917"/>
                </a:moveTo>
                <a:cubicBezTo>
                  <a:pt x="997" y="917"/>
                  <a:pt x="992" y="927"/>
                  <a:pt x="992" y="946"/>
                </a:cubicBezTo>
                <a:cubicBezTo>
                  <a:pt x="992" y="965"/>
                  <a:pt x="996" y="973"/>
                  <a:pt x="1005" y="973"/>
                </a:cubicBezTo>
                <a:cubicBezTo>
                  <a:pt x="1014" y="973"/>
                  <a:pt x="1018" y="965"/>
                  <a:pt x="1018" y="946"/>
                </a:cubicBezTo>
                <a:cubicBezTo>
                  <a:pt x="1018" y="926"/>
                  <a:pt x="1014" y="917"/>
                  <a:pt x="1006" y="917"/>
                </a:cubicBezTo>
                <a:close/>
                <a:moveTo>
                  <a:pt x="1077" y="909"/>
                </a:moveTo>
                <a:cubicBezTo>
                  <a:pt x="1077" y="909"/>
                  <a:pt x="1077" y="909"/>
                  <a:pt x="1077" y="909"/>
                </a:cubicBezTo>
                <a:cubicBezTo>
                  <a:pt x="1072" y="909"/>
                  <a:pt x="1072" y="909"/>
                  <a:pt x="1072" y="909"/>
                </a:cubicBezTo>
                <a:cubicBezTo>
                  <a:pt x="1070" y="911"/>
                  <a:pt x="1069" y="912"/>
                  <a:pt x="1066" y="913"/>
                </a:cubicBezTo>
                <a:cubicBezTo>
                  <a:pt x="1065" y="915"/>
                  <a:pt x="1063" y="915"/>
                  <a:pt x="1061" y="916"/>
                </a:cubicBezTo>
                <a:cubicBezTo>
                  <a:pt x="1060" y="917"/>
                  <a:pt x="1057" y="918"/>
                  <a:pt x="1056" y="919"/>
                </a:cubicBezTo>
                <a:cubicBezTo>
                  <a:pt x="1054" y="920"/>
                  <a:pt x="1052" y="920"/>
                  <a:pt x="1050" y="920"/>
                </a:cubicBezTo>
                <a:cubicBezTo>
                  <a:pt x="1050" y="920"/>
                  <a:pt x="1050" y="920"/>
                  <a:pt x="1050" y="931"/>
                </a:cubicBezTo>
                <a:cubicBezTo>
                  <a:pt x="1053" y="930"/>
                  <a:pt x="1056" y="929"/>
                  <a:pt x="1059" y="928"/>
                </a:cubicBezTo>
                <a:cubicBezTo>
                  <a:pt x="1061" y="927"/>
                  <a:pt x="1063" y="925"/>
                  <a:pt x="1066" y="924"/>
                </a:cubicBezTo>
                <a:cubicBezTo>
                  <a:pt x="1066" y="924"/>
                  <a:pt x="1066" y="924"/>
                  <a:pt x="1066" y="983"/>
                </a:cubicBezTo>
                <a:cubicBezTo>
                  <a:pt x="1066" y="983"/>
                  <a:pt x="1066" y="983"/>
                  <a:pt x="1077" y="983"/>
                </a:cubicBezTo>
                <a:cubicBezTo>
                  <a:pt x="1077" y="983"/>
                  <a:pt x="1077" y="983"/>
                  <a:pt x="1077" y="909"/>
                </a:cubicBezTo>
                <a:close/>
                <a:moveTo>
                  <a:pt x="1124" y="909"/>
                </a:moveTo>
                <a:cubicBezTo>
                  <a:pt x="1124" y="909"/>
                  <a:pt x="1124" y="909"/>
                  <a:pt x="1124" y="909"/>
                </a:cubicBezTo>
                <a:cubicBezTo>
                  <a:pt x="1119" y="909"/>
                  <a:pt x="1119" y="909"/>
                  <a:pt x="1119" y="909"/>
                </a:cubicBezTo>
                <a:cubicBezTo>
                  <a:pt x="1117" y="911"/>
                  <a:pt x="1115" y="912"/>
                  <a:pt x="1113" y="913"/>
                </a:cubicBezTo>
                <a:cubicBezTo>
                  <a:pt x="1112" y="915"/>
                  <a:pt x="1109" y="915"/>
                  <a:pt x="1108" y="916"/>
                </a:cubicBezTo>
                <a:cubicBezTo>
                  <a:pt x="1107" y="917"/>
                  <a:pt x="1104" y="918"/>
                  <a:pt x="1103" y="919"/>
                </a:cubicBezTo>
                <a:cubicBezTo>
                  <a:pt x="1101" y="920"/>
                  <a:pt x="1099" y="920"/>
                  <a:pt x="1097" y="920"/>
                </a:cubicBezTo>
                <a:cubicBezTo>
                  <a:pt x="1097" y="920"/>
                  <a:pt x="1097" y="920"/>
                  <a:pt x="1097" y="931"/>
                </a:cubicBezTo>
                <a:cubicBezTo>
                  <a:pt x="1100" y="930"/>
                  <a:pt x="1103" y="929"/>
                  <a:pt x="1105" y="928"/>
                </a:cubicBezTo>
                <a:cubicBezTo>
                  <a:pt x="1108" y="927"/>
                  <a:pt x="1110" y="925"/>
                  <a:pt x="1112" y="924"/>
                </a:cubicBezTo>
                <a:cubicBezTo>
                  <a:pt x="1112" y="924"/>
                  <a:pt x="1112" y="924"/>
                  <a:pt x="1112" y="983"/>
                </a:cubicBezTo>
                <a:cubicBezTo>
                  <a:pt x="1112" y="983"/>
                  <a:pt x="1112" y="983"/>
                  <a:pt x="1124" y="983"/>
                </a:cubicBezTo>
                <a:cubicBezTo>
                  <a:pt x="1124" y="983"/>
                  <a:pt x="1124" y="983"/>
                  <a:pt x="1124" y="909"/>
                </a:cubicBezTo>
                <a:close/>
                <a:moveTo>
                  <a:pt x="1170" y="909"/>
                </a:moveTo>
                <a:cubicBezTo>
                  <a:pt x="1170" y="909"/>
                  <a:pt x="1170" y="909"/>
                  <a:pt x="1170" y="909"/>
                </a:cubicBezTo>
                <a:cubicBezTo>
                  <a:pt x="1166" y="909"/>
                  <a:pt x="1166" y="909"/>
                  <a:pt x="1166" y="909"/>
                </a:cubicBezTo>
                <a:cubicBezTo>
                  <a:pt x="1164" y="911"/>
                  <a:pt x="1162" y="912"/>
                  <a:pt x="1160" y="913"/>
                </a:cubicBezTo>
                <a:cubicBezTo>
                  <a:pt x="1159" y="915"/>
                  <a:pt x="1156" y="915"/>
                  <a:pt x="1155" y="916"/>
                </a:cubicBezTo>
                <a:cubicBezTo>
                  <a:pt x="1153" y="917"/>
                  <a:pt x="1151" y="917"/>
                  <a:pt x="1149" y="918"/>
                </a:cubicBezTo>
                <a:cubicBezTo>
                  <a:pt x="1148" y="919"/>
                  <a:pt x="1146" y="920"/>
                  <a:pt x="1144" y="920"/>
                </a:cubicBezTo>
                <a:cubicBezTo>
                  <a:pt x="1144" y="920"/>
                  <a:pt x="1144" y="920"/>
                  <a:pt x="1144" y="931"/>
                </a:cubicBezTo>
                <a:cubicBezTo>
                  <a:pt x="1147" y="930"/>
                  <a:pt x="1150" y="928"/>
                  <a:pt x="1152" y="928"/>
                </a:cubicBezTo>
                <a:cubicBezTo>
                  <a:pt x="1154" y="927"/>
                  <a:pt x="1157" y="925"/>
                  <a:pt x="1159" y="924"/>
                </a:cubicBezTo>
                <a:cubicBezTo>
                  <a:pt x="1159" y="924"/>
                  <a:pt x="1159" y="924"/>
                  <a:pt x="1159" y="983"/>
                </a:cubicBezTo>
                <a:cubicBezTo>
                  <a:pt x="1159" y="983"/>
                  <a:pt x="1159" y="983"/>
                  <a:pt x="1170" y="983"/>
                </a:cubicBezTo>
                <a:cubicBezTo>
                  <a:pt x="1170" y="983"/>
                  <a:pt x="1170" y="983"/>
                  <a:pt x="1170" y="909"/>
                </a:cubicBezTo>
                <a:close/>
                <a:moveTo>
                  <a:pt x="979" y="874"/>
                </a:moveTo>
                <a:cubicBezTo>
                  <a:pt x="972" y="874"/>
                  <a:pt x="965" y="872"/>
                  <a:pt x="961" y="866"/>
                </a:cubicBezTo>
                <a:cubicBezTo>
                  <a:pt x="957" y="859"/>
                  <a:pt x="955" y="850"/>
                  <a:pt x="955" y="838"/>
                </a:cubicBezTo>
                <a:cubicBezTo>
                  <a:pt x="955" y="825"/>
                  <a:pt x="957" y="815"/>
                  <a:pt x="962" y="808"/>
                </a:cubicBezTo>
                <a:cubicBezTo>
                  <a:pt x="966" y="802"/>
                  <a:pt x="973" y="798"/>
                  <a:pt x="981" y="798"/>
                </a:cubicBezTo>
                <a:cubicBezTo>
                  <a:pt x="997" y="798"/>
                  <a:pt x="1005" y="811"/>
                  <a:pt x="1005" y="836"/>
                </a:cubicBezTo>
                <a:cubicBezTo>
                  <a:pt x="1005" y="849"/>
                  <a:pt x="1003" y="858"/>
                  <a:pt x="998" y="865"/>
                </a:cubicBezTo>
                <a:cubicBezTo>
                  <a:pt x="994" y="872"/>
                  <a:pt x="987" y="874"/>
                  <a:pt x="979" y="874"/>
                </a:cubicBezTo>
                <a:close/>
                <a:moveTo>
                  <a:pt x="981" y="808"/>
                </a:moveTo>
                <a:cubicBezTo>
                  <a:pt x="971" y="808"/>
                  <a:pt x="967" y="818"/>
                  <a:pt x="967" y="838"/>
                </a:cubicBezTo>
                <a:cubicBezTo>
                  <a:pt x="967" y="856"/>
                  <a:pt x="971" y="865"/>
                  <a:pt x="980" y="865"/>
                </a:cubicBezTo>
                <a:cubicBezTo>
                  <a:pt x="989" y="865"/>
                  <a:pt x="993" y="856"/>
                  <a:pt x="993" y="837"/>
                </a:cubicBezTo>
                <a:cubicBezTo>
                  <a:pt x="993" y="817"/>
                  <a:pt x="989" y="808"/>
                  <a:pt x="981" y="808"/>
                </a:cubicBezTo>
                <a:close/>
                <a:moveTo>
                  <a:pt x="1053" y="801"/>
                </a:moveTo>
                <a:cubicBezTo>
                  <a:pt x="1053" y="801"/>
                  <a:pt x="1053" y="801"/>
                  <a:pt x="1053" y="801"/>
                </a:cubicBezTo>
                <a:cubicBezTo>
                  <a:pt x="1048" y="801"/>
                  <a:pt x="1048" y="801"/>
                  <a:pt x="1048" y="801"/>
                </a:cubicBezTo>
                <a:cubicBezTo>
                  <a:pt x="1046" y="802"/>
                  <a:pt x="1044" y="804"/>
                  <a:pt x="1042" y="805"/>
                </a:cubicBezTo>
                <a:cubicBezTo>
                  <a:pt x="1041" y="806"/>
                  <a:pt x="1038" y="807"/>
                  <a:pt x="1037" y="808"/>
                </a:cubicBezTo>
                <a:cubicBezTo>
                  <a:pt x="1035" y="808"/>
                  <a:pt x="1033" y="809"/>
                  <a:pt x="1032" y="810"/>
                </a:cubicBezTo>
                <a:cubicBezTo>
                  <a:pt x="1030" y="810"/>
                  <a:pt x="1028" y="811"/>
                  <a:pt x="1026" y="812"/>
                </a:cubicBezTo>
                <a:cubicBezTo>
                  <a:pt x="1026" y="812"/>
                  <a:pt x="1026" y="812"/>
                  <a:pt x="1026" y="822"/>
                </a:cubicBezTo>
                <a:cubicBezTo>
                  <a:pt x="1029" y="821"/>
                  <a:pt x="1032" y="820"/>
                  <a:pt x="1034" y="819"/>
                </a:cubicBezTo>
                <a:cubicBezTo>
                  <a:pt x="1037" y="818"/>
                  <a:pt x="1039" y="817"/>
                  <a:pt x="1041" y="816"/>
                </a:cubicBezTo>
                <a:cubicBezTo>
                  <a:pt x="1041" y="816"/>
                  <a:pt x="1041" y="816"/>
                  <a:pt x="1041" y="874"/>
                </a:cubicBezTo>
                <a:cubicBezTo>
                  <a:pt x="1041" y="874"/>
                  <a:pt x="1041" y="874"/>
                  <a:pt x="1053" y="874"/>
                </a:cubicBezTo>
                <a:cubicBezTo>
                  <a:pt x="1053" y="874"/>
                  <a:pt x="1053" y="874"/>
                  <a:pt x="1053" y="801"/>
                </a:cubicBezTo>
                <a:close/>
                <a:moveTo>
                  <a:pt x="1100" y="801"/>
                </a:moveTo>
                <a:cubicBezTo>
                  <a:pt x="1100" y="801"/>
                  <a:pt x="1100" y="801"/>
                  <a:pt x="1100" y="801"/>
                </a:cubicBezTo>
                <a:cubicBezTo>
                  <a:pt x="1095" y="801"/>
                  <a:pt x="1095" y="801"/>
                  <a:pt x="1095" y="801"/>
                </a:cubicBezTo>
                <a:cubicBezTo>
                  <a:pt x="1093" y="802"/>
                  <a:pt x="1091" y="804"/>
                  <a:pt x="1089" y="805"/>
                </a:cubicBezTo>
                <a:cubicBezTo>
                  <a:pt x="1088" y="806"/>
                  <a:pt x="1086" y="807"/>
                  <a:pt x="1084" y="808"/>
                </a:cubicBezTo>
                <a:cubicBezTo>
                  <a:pt x="1083" y="809"/>
                  <a:pt x="1081" y="810"/>
                  <a:pt x="1079" y="810"/>
                </a:cubicBezTo>
                <a:cubicBezTo>
                  <a:pt x="1077" y="811"/>
                  <a:pt x="1076" y="812"/>
                  <a:pt x="1074" y="812"/>
                </a:cubicBezTo>
                <a:cubicBezTo>
                  <a:pt x="1074" y="812"/>
                  <a:pt x="1074" y="812"/>
                  <a:pt x="1074" y="822"/>
                </a:cubicBezTo>
                <a:cubicBezTo>
                  <a:pt x="1076" y="821"/>
                  <a:pt x="1079" y="821"/>
                  <a:pt x="1081" y="819"/>
                </a:cubicBezTo>
                <a:cubicBezTo>
                  <a:pt x="1084" y="818"/>
                  <a:pt x="1086" y="817"/>
                  <a:pt x="1089" y="816"/>
                </a:cubicBezTo>
                <a:cubicBezTo>
                  <a:pt x="1089" y="816"/>
                  <a:pt x="1089" y="816"/>
                  <a:pt x="1089" y="874"/>
                </a:cubicBezTo>
                <a:cubicBezTo>
                  <a:pt x="1089" y="874"/>
                  <a:pt x="1089" y="874"/>
                  <a:pt x="1100" y="874"/>
                </a:cubicBezTo>
                <a:cubicBezTo>
                  <a:pt x="1100" y="874"/>
                  <a:pt x="1100" y="874"/>
                  <a:pt x="1100" y="801"/>
                </a:cubicBezTo>
                <a:close/>
                <a:moveTo>
                  <a:pt x="1147" y="801"/>
                </a:moveTo>
                <a:cubicBezTo>
                  <a:pt x="1147" y="801"/>
                  <a:pt x="1147" y="801"/>
                  <a:pt x="1147" y="801"/>
                </a:cubicBezTo>
                <a:cubicBezTo>
                  <a:pt x="1142" y="801"/>
                  <a:pt x="1142" y="801"/>
                  <a:pt x="1142" y="801"/>
                </a:cubicBezTo>
                <a:cubicBezTo>
                  <a:pt x="1140" y="802"/>
                  <a:pt x="1139" y="804"/>
                  <a:pt x="1136" y="805"/>
                </a:cubicBezTo>
                <a:cubicBezTo>
                  <a:pt x="1135" y="806"/>
                  <a:pt x="1133" y="807"/>
                  <a:pt x="1131" y="808"/>
                </a:cubicBezTo>
                <a:cubicBezTo>
                  <a:pt x="1129" y="809"/>
                  <a:pt x="1128" y="810"/>
                  <a:pt x="1126" y="810"/>
                </a:cubicBezTo>
                <a:cubicBezTo>
                  <a:pt x="1124" y="811"/>
                  <a:pt x="1122" y="812"/>
                  <a:pt x="1121" y="812"/>
                </a:cubicBezTo>
                <a:cubicBezTo>
                  <a:pt x="1121" y="812"/>
                  <a:pt x="1121" y="812"/>
                  <a:pt x="1121" y="822"/>
                </a:cubicBezTo>
                <a:cubicBezTo>
                  <a:pt x="1124" y="821"/>
                  <a:pt x="1126" y="821"/>
                  <a:pt x="1129" y="819"/>
                </a:cubicBezTo>
                <a:cubicBezTo>
                  <a:pt x="1131" y="818"/>
                  <a:pt x="1134" y="817"/>
                  <a:pt x="1135" y="816"/>
                </a:cubicBezTo>
                <a:cubicBezTo>
                  <a:pt x="1135" y="816"/>
                  <a:pt x="1135" y="816"/>
                  <a:pt x="1135" y="874"/>
                </a:cubicBezTo>
                <a:cubicBezTo>
                  <a:pt x="1135" y="874"/>
                  <a:pt x="1135" y="874"/>
                  <a:pt x="1147" y="874"/>
                </a:cubicBezTo>
                <a:cubicBezTo>
                  <a:pt x="1147" y="874"/>
                  <a:pt x="1147" y="874"/>
                  <a:pt x="1147" y="801"/>
                </a:cubicBezTo>
                <a:close/>
                <a:moveTo>
                  <a:pt x="1194" y="801"/>
                </a:moveTo>
                <a:cubicBezTo>
                  <a:pt x="1194" y="801"/>
                  <a:pt x="1194" y="801"/>
                  <a:pt x="1194" y="801"/>
                </a:cubicBezTo>
                <a:cubicBezTo>
                  <a:pt x="1189" y="801"/>
                  <a:pt x="1189" y="801"/>
                  <a:pt x="1189" y="801"/>
                </a:cubicBezTo>
                <a:cubicBezTo>
                  <a:pt x="1187" y="802"/>
                  <a:pt x="1185" y="804"/>
                  <a:pt x="1183" y="805"/>
                </a:cubicBezTo>
                <a:cubicBezTo>
                  <a:pt x="1182" y="806"/>
                  <a:pt x="1180" y="807"/>
                  <a:pt x="1178" y="808"/>
                </a:cubicBezTo>
                <a:cubicBezTo>
                  <a:pt x="1177" y="809"/>
                  <a:pt x="1174" y="810"/>
                  <a:pt x="1173" y="810"/>
                </a:cubicBezTo>
                <a:cubicBezTo>
                  <a:pt x="1171" y="811"/>
                  <a:pt x="1169" y="812"/>
                  <a:pt x="1167" y="812"/>
                </a:cubicBezTo>
                <a:cubicBezTo>
                  <a:pt x="1167" y="812"/>
                  <a:pt x="1167" y="812"/>
                  <a:pt x="1167" y="822"/>
                </a:cubicBezTo>
                <a:cubicBezTo>
                  <a:pt x="1170" y="821"/>
                  <a:pt x="1173" y="821"/>
                  <a:pt x="1175" y="819"/>
                </a:cubicBezTo>
                <a:cubicBezTo>
                  <a:pt x="1178" y="818"/>
                  <a:pt x="1180" y="817"/>
                  <a:pt x="1182" y="816"/>
                </a:cubicBezTo>
                <a:cubicBezTo>
                  <a:pt x="1182" y="816"/>
                  <a:pt x="1182" y="816"/>
                  <a:pt x="1182" y="874"/>
                </a:cubicBezTo>
                <a:cubicBezTo>
                  <a:pt x="1182" y="874"/>
                  <a:pt x="1182" y="874"/>
                  <a:pt x="1194" y="874"/>
                </a:cubicBezTo>
                <a:cubicBezTo>
                  <a:pt x="1194" y="874"/>
                  <a:pt x="1194" y="874"/>
                  <a:pt x="1194" y="801"/>
                </a:cubicBezTo>
                <a:close/>
                <a:moveTo>
                  <a:pt x="1317" y="801"/>
                </a:moveTo>
                <a:cubicBezTo>
                  <a:pt x="1317" y="801"/>
                  <a:pt x="1317" y="801"/>
                  <a:pt x="1317" y="801"/>
                </a:cubicBezTo>
                <a:cubicBezTo>
                  <a:pt x="1312" y="801"/>
                  <a:pt x="1312" y="801"/>
                  <a:pt x="1312" y="801"/>
                </a:cubicBezTo>
                <a:cubicBezTo>
                  <a:pt x="1310" y="802"/>
                  <a:pt x="1309" y="804"/>
                  <a:pt x="1306" y="805"/>
                </a:cubicBezTo>
                <a:cubicBezTo>
                  <a:pt x="1305" y="806"/>
                  <a:pt x="1303" y="807"/>
                  <a:pt x="1301" y="808"/>
                </a:cubicBezTo>
                <a:cubicBezTo>
                  <a:pt x="1300" y="809"/>
                  <a:pt x="1297" y="810"/>
                  <a:pt x="1296" y="810"/>
                </a:cubicBezTo>
                <a:cubicBezTo>
                  <a:pt x="1294" y="811"/>
                  <a:pt x="1292" y="812"/>
                  <a:pt x="1290" y="812"/>
                </a:cubicBezTo>
                <a:cubicBezTo>
                  <a:pt x="1290" y="812"/>
                  <a:pt x="1290" y="812"/>
                  <a:pt x="1290" y="822"/>
                </a:cubicBezTo>
                <a:cubicBezTo>
                  <a:pt x="1293" y="821"/>
                  <a:pt x="1296" y="821"/>
                  <a:pt x="1299" y="819"/>
                </a:cubicBezTo>
                <a:cubicBezTo>
                  <a:pt x="1301" y="818"/>
                  <a:pt x="1303" y="817"/>
                  <a:pt x="1306" y="816"/>
                </a:cubicBezTo>
                <a:cubicBezTo>
                  <a:pt x="1306" y="816"/>
                  <a:pt x="1306" y="816"/>
                  <a:pt x="1306" y="874"/>
                </a:cubicBezTo>
                <a:cubicBezTo>
                  <a:pt x="1306" y="874"/>
                  <a:pt x="1306" y="874"/>
                  <a:pt x="1317" y="874"/>
                </a:cubicBezTo>
                <a:cubicBezTo>
                  <a:pt x="1317" y="874"/>
                  <a:pt x="1317" y="874"/>
                  <a:pt x="1317" y="801"/>
                </a:cubicBezTo>
                <a:close/>
                <a:moveTo>
                  <a:pt x="1365" y="801"/>
                </a:moveTo>
                <a:cubicBezTo>
                  <a:pt x="1365" y="801"/>
                  <a:pt x="1365" y="801"/>
                  <a:pt x="1365" y="801"/>
                </a:cubicBezTo>
                <a:cubicBezTo>
                  <a:pt x="1360" y="801"/>
                  <a:pt x="1360" y="801"/>
                  <a:pt x="1360" y="801"/>
                </a:cubicBezTo>
                <a:cubicBezTo>
                  <a:pt x="1358" y="802"/>
                  <a:pt x="1356" y="804"/>
                  <a:pt x="1354" y="805"/>
                </a:cubicBezTo>
                <a:cubicBezTo>
                  <a:pt x="1353" y="806"/>
                  <a:pt x="1350" y="807"/>
                  <a:pt x="1349" y="808"/>
                </a:cubicBezTo>
                <a:cubicBezTo>
                  <a:pt x="1348" y="809"/>
                  <a:pt x="1345" y="810"/>
                  <a:pt x="1344" y="810"/>
                </a:cubicBezTo>
                <a:cubicBezTo>
                  <a:pt x="1342" y="811"/>
                  <a:pt x="1340" y="812"/>
                  <a:pt x="1338" y="812"/>
                </a:cubicBezTo>
                <a:cubicBezTo>
                  <a:pt x="1338" y="812"/>
                  <a:pt x="1338" y="812"/>
                  <a:pt x="1338" y="822"/>
                </a:cubicBezTo>
                <a:cubicBezTo>
                  <a:pt x="1341" y="821"/>
                  <a:pt x="1344" y="821"/>
                  <a:pt x="1346" y="819"/>
                </a:cubicBezTo>
                <a:cubicBezTo>
                  <a:pt x="1349" y="818"/>
                  <a:pt x="1351" y="817"/>
                  <a:pt x="1353" y="816"/>
                </a:cubicBezTo>
                <a:cubicBezTo>
                  <a:pt x="1353" y="816"/>
                  <a:pt x="1353" y="816"/>
                  <a:pt x="1353" y="874"/>
                </a:cubicBezTo>
                <a:cubicBezTo>
                  <a:pt x="1353" y="874"/>
                  <a:pt x="1353" y="874"/>
                  <a:pt x="1365" y="874"/>
                </a:cubicBezTo>
                <a:cubicBezTo>
                  <a:pt x="1365" y="874"/>
                  <a:pt x="1365" y="874"/>
                  <a:pt x="1365" y="801"/>
                </a:cubicBezTo>
                <a:close/>
                <a:moveTo>
                  <a:pt x="1412" y="801"/>
                </a:moveTo>
                <a:cubicBezTo>
                  <a:pt x="1412" y="801"/>
                  <a:pt x="1412" y="801"/>
                  <a:pt x="1412" y="801"/>
                </a:cubicBezTo>
                <a:cubicBezTo>
                  <a:pt x="1407" y="801"/>
                  <a:pt x="1407" y="801"/>
                  <a:pt x="1407" y="801"/>
                </a:cubicBezTo>
                <a:cubicBezTo>
                  <a:pt x="1406" y="802"/>
                  <a:pt x="1404" y="804"/>
                  <a:pt x="1402" y="805"/>
                </a:cubicBezTo>
                <a:cubicBezTo>
                  <a:pt x="1400" y="806"/>
                  <a:pt x="1399" y="807"/>
                  <a:pt x="1397" y="808"/>
                </a:cubicBezTo>
                <a:cubicBezTo>
                  <a:pt x="1395" y="809"/>
                  <a:pt x="1393" y="810"/>
                  <a:pt x="1391" y="810"/>
                </a:cubicBezTo>
                <a:cubicBezTo>
                  <a:pt x="1389" y="811"/>
                  <a:pt x="1388" y="812"/>
                  <a:pt x="1386" y="812"/>
                </a:cubicBezTo>
                <a:cubicBezTo>
                  <a:pt x="1386" y="812"/>
                  <a:pt x="1386" y="812"/>
                  <a:pt x="1386" y="822"/>
                </a:cubicBezTo>
                <a:cubicBezTo>
                  <a:pt x="1389" y="821"/>
                  <a:pt x="1391" y="821"/>
                  <a:pt x="1394" y="819"/>
                </a:cubicBezTo>
                <a:cubicBezTo>
                  <a:pt x="1397" y="818"/>
                  <a:pt x="1399" y="817"/>
                  <a:pt x="1401" y="816"/>
                </a:cubicBezTo>
                <a:cubicBezTo>
                  <a:pt x="1401" y="816"/>
                  <a:pt x="1401" y="816"/>
                  <a:pt x="1401" y="874"/>
                </a:cubicBezTo>
                <a:cubicBezTo>
                  <a:pt x="1401" y="874"/>
                  <a:pt x="1401" y="874"/>
                  <a:pt x="1412" y="874"/>
                </a:cubicBezTo>
                <a:cubicBezTo>
                  <a:pt x="1412" y="874"/>
                  <a:pt x="1412" y="874"/>
                  <a:pt x="1412" y="801"/>
                </a:cubicBezTo>
                <a:close/>
                <a:moveTo>
                  <a:pt x="1459" y="801"/>
                </a:moveTo>
                <a:cubicBezTo>
                  <a:pt x="1459" y="801"/>
                  <a:pt x="1459" y="801"/>
                  <a:pt x="1459" y="801"/>
                </a:cubicBezTo>
                <a:cubicBezTo>
                  <a:pt x="1455" y="801"/>
                  <a:pt x="1455" y="801"/>
                  <a:pt x="1455" y="801"/>
                </a:cubicBezTo>
                <a:cubicBezTo>
                  <a:pt x="1453" y="802"/>
                  <a:pt x="1451" y="804"/>
                  <a:pt x="1449" y="805"/>
                </a:cubicBezTo>
                <a:cubicBezTo>
                  <a:pt x="1448" y="806"/>
                  <a:pt x="1445" y="807"/>
                  <a:pt x="1444" y="808"/>
                </a:cubicBezTo>
                <a:cubicBezTo>
                  <a:pt x="1442" y="808"/>
                  <a:pt x="1440" y="809"/>
                  <a:pt x="1438" y="810"/>
                </a:cubicBezTo>
                <a:cubicBezTo>
                  <a:pt x="1437" y="810"/>
                  <a:pt x="1435" y="811"/>
                  <a:pt x="1433" y="812"/>
                </a:cubicBezTo>
                <a:cubicBezTo>
                  <a:pt x="1433" y="812"/>
                  <a:pt x="1433" y="812"/>
                  <a:pt x="1433" y="822"/>
                </a:cubicBezTo>
                <a:cubicBezTo>
                  <a:pt x="1436" y="821"/>
                  <a:pt x="1439" y="820"/>
                  <a:pt x="1441" y="819"/>
                </a:cubicBezTo>
                <a:cubicBezTo>
                  <a:pt x="1443" y="818"/>
                  <a:pt x="1446" y="817"/>
                  <a:pt x="1448" y="816"/>
                </a:cubicBezTo>
                <a:cubicBezTo>
                  <a:pt x="1448" y="816"/>
                  <a:pt x="1448" y="816"/>
                  <a:pt x="1448" y="874"/>
                </a:cubicBezTo>
                <a:cubicBezTo>
                  <a:pt x="1448" y="874"/>
                  <a:pt x="1448" y="874"/>
                  <a:pt x="1459" y="874"/>
                </a:cubicBezTo>
                <a:cubicBezTo>
                  <a:pt x="1459" y="874"/>
                  <a:pt x="1459" y="874"/>
                  <a:pt x="1459" y="801"/>
                </a:cubicBezTo>
                <a:close/>
                <a:moveTo>
                  <a:pt x="1215" y="833"/>
                </a:moveTo>
                <a:cubicBezTo>
                  <a:pt x="1215" y="833"/>
                  <a:pt x="1215" y="833"/>
                  <a:pt x="1215" y="833"/>
                </a:cubicBezTo>
                <a:cubicBezTo>
                  <a:pt x="1215" y="842"/>
                  <a:pt x="1215" y="842"/>
                  <a:pt x="1215" y="842"/>
                </a:cubicBezTo>
                <a:cubicBezTo>
                  <a:pt x="1221" y="842"/>
                  <a:pt x="1222" y="845"/>
                  <a:pt x="1222" y="848"/>
                </a:cubicBezTo>
                <a:cubicBezTo>
                  <a:pt x="1222" y="850"/>
                  <a:pt x="1221" y="852"/>
                  <a:pt x="1221" y="855"/>
                </a:cubicBezTo>
                <a:cubicBezTo>
                  <a:pt x="1221" y="857"/>
                  <a:pt x="1221" y="859"/>
                  <a:pt x="1221" y="862"/>
                </a:cubicBezTo>
                <a:cubicBezTo>
                  <a:pt x="1221" y="871"/>
                  <a:pt x="1227" y="874"/>
                  <a:pt x="1235" y="874"/>
                </a:cubicBezTo>
                <a:cubicBezTo>
                  <a:pt x="1235" y="874"/>
                  <a:pt x="1235" y="874"/>
                  <a:pt x="1239" y="874"/>
                </a:cubicBezTo>
                <a:cubicBezTo>
                  <a:pt x="1239" y="874"/>
                  <a:pt x="1239" y="874"/>
                  <a:pt x="1239" y="865"/>
                </a:cubicBezTo>
                <a:cubicBezTo>
                  <a:pt x="1239" y="865"/>
                  <a:pt x="1239" y="865"/>
                  <a:pt x="1237" y="865"/>
                </a:cubicBezTo>
                <a:cubicBezTo>
                  <a:pt x="1234" y="865"/>
                  <a:pt x="1232" y="863"/>
                  <a:pt x="1232" y="859"/>
                </a:cubicBezTo>
                <a:cubicBezTo>
                  <a:pt x="1232" y="858"/>
                  <a:pt x="1232" y="856"/>
                  <a:pt x="1233" y="855"/>
                </a:cubicBezTo>
                <a:cubicBezTo>
                  <a:pt x="1233" y="853"/>
                  <a:pt x="1233" y="851"/>
                  <a:pt x="1233" y="849"/>
                </a:cubicBezTo>
                <a:cubicBezTo>
                  <a:pt x="1233" y="841"/>
                  <a:pt x="1230" y="839"/>
                  <a:pt x="1225" y="837"/>
                </a:cubicBezTo>
                <a:cubicBezTo>
                  <a:pt x="1225" y="837"/>
                  <a:pt x="1225" y="837"/>
                  <a:pt x="1225" y="837"/>
                </a:cubicBezTo>
                <a:cubicBezTo>
                  <a:pt x="1230" y="836"/>
                  <a:pt x="1233" y="834"/>
                  <a:pt x="1233" y="826"/>
                </a:cubicBezTo>
                <a:cubicBezTo>
                  <a:pt x="1233" y="824"/>
                  <a:pt x="1233" y="822"/>
                  <a:pt x="1233" y="820"/>
                </a:cubicBezTo>
                <a:cubicBezTo>
                  <a:pt x="1232" y="818"/>
                  <a:pt x="1232" y="816"/>
                  <a:pt x="1232" y="815"/>
                </a:cubicBezTo>
                <a:cubicBezTo>
                  <a:pt x="1232" y="812"/>
                  <a:pt x="1234" y="809"/>
                  <a:pt x="1237" y="809"/>
                </a:cubicBezTo>
                <a:cubicBezTo>
                  <a:pt x="1237" y="809"/>
                  <a:pt x="1237" y="809"/>
                  <a:pt x="1239" y="809"/>
                </a:cubicBezTo>
                <a:cubicBezTo>
                  <a:pt x="1239" y="809"/>
                  <a:pt x="1239" y="809"/>
                  <a:pt x="1239" y="800"/>
                </a:cubicBezTo>
                <a:cubicBezTo>
                  <a:pt x="1239" y="800"/>
                  <a:pt x="1239" y="800"/>
                  <a:pt x="1235" y="800"/>
                </a:cubicBezTo>
                <a:cubicBezTo>
                  <a:pt x="1226" y="800"/>
                  <a:pt x="1221" y="804"/>
                  <a:pt x="1221" y="813"/>
                </a:cubicBezTo>
                <a:cubicBezTo>
                  <a:pt x="1221" y="815"/>
                  <a:pt x="1221" y="818"/>
                  <a:pt x="1221" y="820"/>
                </a:cubicBezTo>
                <a:cubicBezTo>
                  <a:pt x="1221" y="822"/>
                  <a:pt x="1222" y="825"/>
                  <a:pt x="1222" y="827"/>
                </a:cubicBezTo>
                <a:cubicBezTo>
                  <a:pt x="1222" y="830"/>
                  <a:pt x="1221" y="833"/>
                  <a:pt x="1215" y="833"/>
                </a:cubicBezTo>
                <a:close/>
                <a:moveTo>
                  <a:pt x="1270" y="842"/>
                </a:moveTo>
                <a:cubicBezTo>
                  <a:pt x="1270" y="842"/>
                  <a:pt x="1270" y="842"/>
                  <a:pt x="1270" y="842"/>
                </a:cubicBezTo>
                <a:cubicBezTo>
                  <a:pt x="1270" y="833"/>
                  <a:pt x="1270" y="833"/>
                  <a:pt x="1270" y="833"/>
                </a:cubicBezTo>
                <a:cubicBezTo>
                  <a:pt x="1264" y="833"/>
                  <a:pt x="1263" y="830"/>
                  <a:pt x="1263" y="827"/>
                </a:cubicBezTo>
                <a:cubicBezTo>
                  <a:pt x="1263" y="825"/>
                  <a:pt x="1263" y="822"/>
                  <a:pt x="1264" y="820"/>
                </a:cubicBezTo>
                <a:cubicBezTo>
                  <a:pt x="1264" y="818"/>
                  <a:pt x="1264" y="815"/>
                  <a:pt x="1264" y="813"/>
                </a:cubicBezTo>
                <a:cubicBezTo>
                  <a:pt x="1264" y="804"/>
                  <a:pt x="1259" y="800"/>
                  <a:pt x="1249" y="800"/>
                </a:cubicBezTo>
                <a:cubicBezTo>
                  <a:pt x="1249" y="800"/>
                  <a:pt x="1249" y="800"/>
                  <a:pt x="1245" y="800"/>
                </a:cubicBezTo>
                <a:cubicBezTo>
                  <a:pt x="1245" y="800"/>
                  <a:pt x="1245" y="800"/>
                  <a:pt x="1245" y="809"/>
                </a:cubicBezTo>
                <a:cubicBezTo>
                  <a:pt x="1245" y="809"/>
                  <a:pt x="1245" y="809"/>
                  <a:pt x="1247" y="809"/>
                </a:cubicBezTo>
                <a:cubicBezTo>
                  <a:pt x="1251" y="809"/>
                  <a:pt x="1252" y="812"/>
                  <a:pt x="1252" y="815"/>
                </a:cubicBezTo>
                <a:cubicBezTo>
                  <a:pt x="1252" y="816"/>
                  <a:pt x="1252" y="818"/>
                  <a:pt x="1252" y="820"/>
                </a:cubicBezTo>
                <a:cubicBezTo>
                  <a:pt x="1251" y="822"/>
                  <a:pt x="1251" y="824"/>
                  <a:pt x="1251" y="826"/>
                </a:cubicBezTo>
                <a:cubicBezTo>
                  <a:pt x="1251" y="834"/>
                  <a:pt x="1254" y="836"/>
                  <a:pt x="1260" y="837"/>
                </a:cubicBezTo>
                <a:cubicBezTo>
                  <a:pt x="1260" y="837"/>
                  <a:pt x="1260" y="837"/>
                  <a:pt x="1260" y="837"/>
                </a:cubicBezTo>
                <a:cubicBezTo>
                  <a:pt x="1254" y="839"/>
                  <a:pt x="1251" y="841"/>
                  <a:pt x="1251" y="849"/>
                </a:cubicBezTo>
                <a:cubicBezTo>
                  <a:pt x="1251" y="851"/>
                  <a:pt x="1251" y="853"/>
                  <a:pt x="1252" y="855"/>
                </a:cubicBezTo>
                <a:cubicBezTo>
                  <a:pt x="1252" y="856"/>
                  <a:pt x="1252" y="858"/>
                  <a:pt x="1252" y="859"/>
                </a:cubicBezTo>
                <a:cubicBezTo>
                  <a:pt x="1252" y="863"/>
                  <a:pt x="1251" y="865"/>
                  <a:pt x="1247" y="865"/>
                </a:cubicBezTo>
                <a:cubicBezTo>
                  <a:pt x="1247" y="865"/>
                  <a:pt x="1247" y="865"/>
                  <a:pt x="1245" y="865"/>
                </a:cubicBezTo>
                <a:cubicBezTo>
                  <a:pt x="1245" y="865"/>
                  <a:pt x="1245" y="865"/>
                  <a:pt x="1245" y="874"/>
                </a:cubicBezTo>
                <a:cubicBezTo>
                  <a:pt x="1245" y="874"/>
                  <a:pt x="1245" y="874"/>
                  <a:pt x="1249" y="874"/>
                </a:cubicBezTo>
                <a:cubicBezTo>
                  <a:pt x="1258" y="874"/>
                  <a:pt x="1264" y="871"/>
                  <a:pt x="1264" y="862"/>
                </a:cubicBezTo>
                <a:cubicBezTo>
                  <a:pt x="1264" y="859"/>
                  <a:pt x="1264" y="857"/>
                  <a:pt x="1264" y="855"/>
                </a:cubicBezTo>
                <a:cubicBezTo>
                  <a:pt x="1263" y="852"/>
                  <a:pt x="1263" y="850"/>
                  <a:pt x="1263" y="848"/>
                </a:cubicBezTo>
                <a:cubicBezTo>
                  <a:pt x="1263" y="845"/>
                  <a:pt x="1264" y="842"/>
                  <a:pt x="1270" y="842"/>
                </a:cubicBezTo>
                <a:close/>
                <a:moveTo>
                  <a:pt x="1597" y="833"/>
                </a:moveTo>
                <a:cubicBezTo>
                  <a:pt x="1597" y="833"/>
                  <a:pt x="1597" y="833"/>
                  <a:pt x="1597" y="833"/>
                </a:cubicBezTo>
                <a:cubicBezTo>
                  <a:pt x="1597" y="842"/>
                  <a:pt x="1597" y="842"/>
                  <a:pt x="1597" y="842"/>
                </a:cubicBezTo>
                <a:cubicBezTo>
                  <a:pt x="1603" y="842"/>
                  <a:pt x="1604" y="845"/>
                  <a:pt x="1604" y="848"/>
                </a:cubicBezTo>
                <a:cubicBezTo>
                  <a:pt x="1604" y="850"/>
                  <a:pt x="1603" y="852"/>
                  <a:pt x="1603" y="855"/>
                </a:cubicBezTo>
                <a:cubicBezTo>
                  <a:pt x="1603" y="857"/>
                  <a:pt x="1603" y="859"/>
                  <a:pt x="1603" y="862"/>
                </a:cubicBezTo>
                <a:cubicBezTo>
                  <a:pt x="1603" y="871"/>
                  <a:pt x="1609" y="874"/>
                  <a:pt x="1617" y="874"/>
                </a:cubicBezTo>
                <a:cubicBezTo>
                  <a:pt x="1617" y="874"/>
                  <a:pt x="1617" y="874"/>
                  <a:pt x="1621" y="874"/>
                </a:cubicBezTo>
                <a:cubicBezTo>
                  <a:pt x="1621" y="874"/>
                  <a:pt x="1621" y="874"/>
                  <a:pt x="1621" y="865"/>
                </a:cubicBezTo>
                <a:cubicBezTo>
                  <a:pt x="1621" y="865"/>
                  <a:pt x="1621" y="865"/>
                  <a:pt x="1619" y="865"/>
                </a:cubicBezTo>
                <a:cubicBezTo>
                  <a:pt x="1616" y="865"/>
                  <a:pt x="1615" y="863"/>
                  <a:pt x="1615" y="859"/>
                </a:cubicBezTo>
                <a:cubicBezTo>
                  <a:pt x="1615" y="858"/>
                  <a:pt x="1615" y="856"/>
                  <a:pt x="1615" y="855"/>
                </a:cubicBezTo>
                <a:cubicBezTo>
                  <a:pt x="1615" y="853"/>
                  <a:pt x="1615" y="851"/>
                  <a:pt x="1615" y="849"/>
                </a:cubicBezTo>
                <a:cubicBezTo>
                  <a:pt x="1615" y="841"/>
                  <a:pt x="1612" y="839"/>
                  <a:pt x="1607" y="837"/>
                </a:cubicBezTo>
                <a:cubicBezTo>
                  <a:pt x="1607" y="837"/>
                  <a:pt x="1607" y="837"/>
                  <a:pt x="1607" y="837"/>
                </a:cubicBezTo>
                <a:cubicBezTo>
                  <a:pt x="1612" y="836"/>
                  <a:pt x="1615" y="834"/>
                  <a:pt x="1615" y="826"/>
                </a:cubicBezTo>
                <a:cubicBezTo>
                  <a:pt x="1615" y="824"/>
                  <a:pt x="1615" y="822"/>
                  <a:pt x="1615" y="820"/>
                </a:cubicBezTo>
                <a:cubicBezTo>
                  <a:pt x="1615" y="818"/>
                  <a:pt x="1615" y="816"/>
                  <a:pt x="1615" y="815"/>
                </a:cubicBezTo>
                <a:cubicBezTo>
                  <a:pt x="1615" y="812"/>
                  <a:pt x="1616" y="809"/>
                  <a:pt x="1619" y="809"/>
                </a:cubicBezTo>
                <a:cubicBezTo>
                  <a:pt x="1619" y="809"/>
                  <a:pt x="1619" y="809"/>
                  <a:pt x="1621" y="809"/>
                </a:cubicBezTo>
                <a:cubicBezTo>
                  <a:pt x="1621" y="809"/>
                  <a:pt x="1621" y="809"/>
                  <a:pt x="1621" y="800"/>
                </a:cubicBezTo>
                <a:cubicBezTo>
                  <a:pt x="1621" y="800"/>
                  <a:pt x="1621" y="800"/>
                  <a:pt x="1617" y="800"/>
                </a:cubicBezTo>
                <a:cubicBezTo>
                  <a:pt x="1608" y="800"/>
                  <a:pt x="1603" y="804"/>
                  <a:pt x="1603" y="813"/>
                </a:cubicBezTo>
                <a:cubicBezTo>
                  <a:pt x="1603" y="815"/>
                  <a:pt x="1603" y="818"/>
                  <a:pt x="1603" y="820"/>
                </a:cubicBezTo>
                <a:cubicBezTo>
                  <a:pt x="1603" y="822"/>
                  <a:pt x="1604" y="825"/>
                  <a:pt x="1604" y="827"/>
                </a:cubicBezTo>
                <a:cubicBezTo>
                  <a:pt x="1604" y="830"/>
                  <a:pt x="1603" y="833"/>
                  <a:pt x="1597" y="833"/>
                </a:cubicBezTo>
                <a:close/>
                <a:moveTo>
                  <a:pt x="1652" y="842"/>
                </a:moveTo>
                <a:cubicBezTo>
                  <a:pt x="1652" y="842"/>
                  <a:pt x="1652" y="842"/>
                  <a:pt x="1652" y="842"/>
                </a:cubicBezTo>
                <a:cubicBezTo>
                  <a:pt x="1652" y="833"/>
                  <a:pt x="1652" y="833"/>
                  <a:pt x="1652" y="833"/>
                </a:cubicBezTo>
                <a:cubicBezTo>
                  <a:pt x="1646" y="833"/>
                  <a:pt x="1645" y="830"/>
                  <a:pt x="1645" y="827"/>
                </a:cubicBezTo>
                <a:cubicBezTo>
                  <a:pt x="1645" y="825"/>
                  <a:pt x="1645" y="822"/>
                  <a:pt x="1646" y="820"/>
                </a:cubicBezTo>
                <a:cubicBezTo>
                  <a:pt x="1646" y="818"/>
                  <a:pt x="1646" y="815"/>
                  <a:pt x="1646" y="813"/>
                </a:cubicBezTo>
                <a:cubicBezTo>
                  <a:pt x="1646" y="804"/>
                  <a:pt x="1641" y="800"/>
                  <a:pt x="1631" y="800"/>
                </a:cubicBezTo>
                <a:cubicBezTo>
                  <a:pt x="1631" y="800"/>
                  <a:pt x="1631" y="800"/>
                  <a:pt x="1628" y="800"/>
                </a:cubicBezTo>
                <a:cubicBezTo>
                  <a:pt x="1628" y="800"/>
                  <a:pt x="1628" y="800"/>
                  <a:pt x="1628" y="809"/>
                </a:cubicBezTo>
                <a:cubicBezTo>
                  <a:pt x="1628" y="809"/>
                  <a:pt x="1628" y="809"/>
                  <a:pt x="1629" y="809"/>
                </a:cubicBezTo>
                <a:cubicBezTo>
                  <a:pt x="1633" y="809"/>
                  <a:pt x="1634" y="812"/>
                  <a:pt x="1634" y="815"/>
                </a:cubicBezTo>
                <a:cubicBezTo>
                  <a:pt x="1634" y="816"/>
                  <a:pt x="1634" y="818"/>
                  <a:pt x="1634" y="820"/>
                </a:cubicBezTo>
                <a:cubicBezTo>
                  <a:pt x="1634" y="822"/>
                  <a:pt x="1634" y="824"/>
                  <a:pt x="1634" y="826"/>
                </a:cubicBezTo>
                <a:cubicBezTo>
                  <a:pt x="1634" y="834"/>
                  <a:pt x="1636" y="836"/>
                  <a:pt x="1642" y="837"/>
                </a:cubicBezTo>
                <a:cubicBezTo>
                  <a:pt x="1642" y="837"/>
                  <a:pt x="1642" y="837"/>
                  <a:pt x="1642" y="837"/>
                </a:cubicBezTo>
                <a:cubicBezTo>
                  <a:pt x="1636" y="839"/>
                  <a:pt x="1634" y="841"/>
                  <a:pt x="1634" y="849"/>
                </a:cubicBezTo>
                <a:cubicBezTo>
                  <a:pt x="1634" y="851"/>
                  <a:pt x="1634" y="853"/>
                  <a:pt x="1634" y="855"/>
                </a:cubicBezTo>
                <a:cubicBezTo>
                  <a:pt x="1634" y="856"/>
                  <a:pt x="1634" y="858"/>
                  <a:pt x="1634" y="859"/>
                </a:cubicBezTo>
                <a:cubicBezTo>
                  <a:pt x="1634" y="863"/>
                  <a:pt x="1633" y="865"/>
                  <a:pt x="1629" y="865"/>
                </a:cubicBezTo>
                <a:cubicBezTo>
                  <a:pt x="1629" y="865"/>
                  <a:pt x="1629" y="865"/>
                  <a:pt x="1628" y="865"/>
                </a:cubicBezTo>
                <a:cubicBezTo>
                  <a:pt x="1628" y="865"/>
                  <a:pt x="1628" y="865"/>
                  <a:pt x="1628" y="874"/>
                </a:cubicBezTo>
                <a:cubicBezTo>
                  <a:pt x="1628" y="874"/>
                  <a:pt x="1628" y="874"/>
                  <a:pt x="1631" y="874"/>
                </a:cubicBezTo>
                <a:cubicBezTo>
                  <a:pt x="1640" y="874"/>
                  <a:pt x="1646" y="871"/>
                  <a:pt x="1646" y="862"/>
                </a:cubicBezTo>
                <a:cubicBezTo>
                  <a:pt x="1646" y="859"/>
                  <a:pt x="1646" y="857"/>
                  <a:pt x="1646" y="855"/>
                </a:cubicBezTo>
                <a:cubicBezTo>
                  <a:pt x="1645" y="852"/>
                  <a:pt x="1645" y="850"/>
                  <a:pt x="1645" y="848"/>
                </a:cubicBezTo>
                <a:cubicBezTo>
                  <a:pt x="1645" y="845"/>
                  <a:pt x="1646" y="842"/>
                  <a:pt x="1652" y="842"/>
                </a:cubicBezTo>
                <a:close/>
                <a:moveTo>
                  <a:pt x="1700" y="801"/>
                </a:moveTo>
                <a:cubicBezTo>
                  <a:pt x="1700" y="801"/>
                  <a:pt x="1700" y="801"/>
                  <a:pt x="1700" y="801"/>
                </a:cubicBezTo>
                <a:cubicBezTo>
                  <a:pt x="1694" y="801"/>
                  <a:pt x="1694" y="801"/>
                  <a:pt x="1694" y="801"/>
                </a:cubicBezTo>
                <a:cubicBezTo>
                  <a:pt x="1692" y="802"/>
                  <a:pt x="1691" y="804"/>
                  <a:pt x="1688" y="805"/>
                </a:cubicBezTo>
                <a:cubicBezTo>
                  <a:pt x="1687" y="806"/>
                  <a:pt x="1685" y="807"/>
                  <a:pt x="1683" y="808"/>
                </a:cubicBezTo>
                <a:cubicBezTo>
                  <a:pt x="1681" y="808"/>
                  <a:pt x="1680" y="809"/>
                  <a:pt x="1678" y="810"/>
                </a:cubicBezTo>
                <a:cubicBezTo>
                  <a:pt x="1676" y="810"/>
                  <a:pt x="1674" y="811"/>
                  <a:pt x="1672" y="812"/>
                </a:cubicBezTo>
                <a:cubicBezTo>
                  <a:pt x="1672" y="812"/>
                  <a:pt x="1672" y="812"/>
                  <a:pt x="1672" y="822"/>
                </a:cubicBezTo>
                <a:cubicBezTo>
                  <a:pt x="1675" y="821"/>
                  <a:pt x="1678" y="820"/>
                  <a:pt x="1680" y="819"/>
                </a:cubicBezTo>
                <a:cubicBezTo>
                  <a:pt x="1683" y="818"/>
                  <a:pt x="1685" y="817"/>
                  <a:pt x="1688" y="816"/>
                </a:cubicBezTo>
                <a:cubicBezTo>
                  <a:pt x="1688" y="816"/>
                  <a:pt x="1688" y="816"/>
                  <a:pt x="1688" y="874"/>
                </a:cubicBezTo>
                <a:cubicBezTo>
                  <a:pt x="1688" y="874"/>
                  <a:pt x="1688" y="874"/>
                  <a:pt x="1700" y="874"/>
                </a:cubicBezTo>
                <a:cubicBezTo>
                  <a:pt x="1700" y="874"/>
                  <a:pt x="1700" y="874"/>
                  <a:pt x="1700" y="801"/>
                </a:cubicBezTo>
                <a:close/>
                <a:moveTo>
                  <a:pt x="1747" y="801"/>
                </a:moveTo>
                <a:cubicBezTo>
                  <a:pt x="1747" y="801"/>
                  <a:pt x="1747" y="801"/>
                  <a:pt x="1747" y="801"/>
                </a:cubicBezTo>
                <a:cubicBezTo>
                  <a:pt x="1742" y="801"/>
                  <a:pt x="1742" y="801"/>
                  <a:pt x="1742" y="801"/>
                </a:cubicBezTo>
                <a:cubicBezTo>
                  <a:pt x="1739" y="802"/>
                  <a:pt x="1738" y="804"/>
                  <a:pt x="1736" y="805"/>
                </a:cubicBezTo>
                <a:cubicBezTo>
                  <a:pt x="1734" y="806"/>
                  <a:pt x="1732" y="807"/>
                  <a:pt x="1731" y="808"/>
                </a:cubicBezTo>
                <a:cubicBezTo>
                  <a:pt x="1729" y="809"/>
                  <a:pt x="1727" y="810"/>
                  <a:pt x="1726" y="810"/>
                </a:cubicBezTo>
                <a:cubicBezTo>
                  <a:pt x="1724" y="811"/>
                  <a:pt x="1722" y="812"/>
                  <a:pt x="1720" y="812"/>
                </a:cubicBezTo>
                <a:cubicBezTo>
                  <a:pt x="1720" y="812"/>
                  <a:pt x="1720" y="812"/>
                  <a:pt x="1720" y="822"/>
                </a:cubicBezTo>
                <a:cubicBezTo>
                  <a:pt x="1723" y="821"/>
                  <a:pt x="1726" y="821"/>
                  <a:pt x="1728" y="819"/>
                </a:cubicBezTo>
                <a:cubicBezTo>
                  <a:pt x="1731" y="818"/>
                  <a:pt x="1733" y="817"/>
                  <a:pt x="1735" y="816"/>
                </a:cubicBezTo>
                <a:cubicBezTo>
                  <a:pt x="1735" y="816"/>
                  <a:pt x="1735" y="816"/>
                  <a:pt x="1735" y="874"/>
                </a:cubicBezTo>
                <a:cubicBezTo>
                  <a:pt x="1735" y="874"/>
                  <a:pt x="1735" y="874"/>
                  <a:pt x="1747" y="874"/>
                </a:cubicBezTo>
                <a:cubicBezTo>
                  <a:pt x="1747" y="874"/>
                  <a:pt x="1747" y="874"/>
                  <a:pt x="1747" y="801"/>
                </a:cubicBezTo>
                <a:close/>
                <a:moveTo>
                  <a:pt x="1793" y="801"/>
                </a:moveTo>
                <a:cubicBezTo>
                  <a:pt x="1793" y="801"/>
                  <a:pt x="1793" y="801"/>
                  <a:pt x="1793" y="801"/>
                </a:cubicBezTo>
                <a:cubicBezTo>
                  <a:pt x="1789" y="801"/>
                  <a:pt x="1789" y="801"/>
                  <a:pt x="1789" y="801"/>
                </a:cubicBezTo>
                <a:cubicBezTo>
                  <a:pt x="1787" y="802"/>
                  <a:pt x="1785" y="804"/>
                  <a:pt x="1783" y="805"/>
                </a:cubicBezTo>
                <a:cubicBezTo>
                  <a:pt x="1782" y="806"/>
                  <a:pt x="1779" y="807"/>
                  <a:pt x="1778" y="808"/>
                </a:cubicBezTo>
                <a:cubicBezTo>
                  <a:pt x="1776" y="809"/>
                  <a:pt x="1774" y="810"/>
                  <a:pt x="1772" y="810"/>
                </a:cubicBezTo>
                <a:cubicBezTo>
                  <a:pt x="1771" y="811"/>
                  <a:pt x="1769" y="812"/>
                  <a:pt x="1767" y="812"/>
                </a:cubicBezTo>
                <a:cubicBezTo>
                  <a:pt x="1767" y="812"/>
                  <a:pt x="1767" y="812"/>
                  <a:pt x="1767" y="822"/>
                </a:cubicBezTo>
                <a:cubicBezTo>
                  <a:pt x="1770" y="821"/>
                  <a:pt x="1773" y="821"/>
                  <a:pt x="1775" y="819"/>
                </a:cubicBezTo>
                <a:cubicBezTo>
                  <a:pt x="1777" y="818"/>
                  <a:pt x="1780" y="817"/>
                  <a:pt x="1782" y="816"/>
                </a:cubicBezTo>
                <a:cubicBezTo>
                  <a:pt x="1782" y="816"/>
                  <a:pt x="1782" y="816"/>
                  <a:pt x="1782" y="874"/>
                </a:cubicBezTo>
                <a:cubicBezTo>
                  <a:pt x="1782" y="874"/>
                  <a:pt x="1782" y="874"/>
                  <a:pt x="1793" y="874"/>
                </a:cubicBezTo>
                <a:cubicBezTo>
                  <a:pt x="1793" y="874"/>
                  <a:pt x="1793" y="874"/>
                  <a:pt x="1793" y="801"/>
                </a:cubicBezTo>
                <a:close/>
                <a:moveTo>
                  <a:pt x="1916" y="801"/>
                </a:moveTo>
                <a:cubicBezTo>
                  <a:pt x="1916" y="801"/>
                  <a:pt x="1916" y="801"/>
                  <a:pt x="1916" y="801"/>
                </a:cubicBezTo>
                <a:cubicBezTo>
                  <a:pt x="1911" y="801"/>
                  <a:pt x="1911" y="801"/>
                  <a:pt x="1911" y="801"/>
                </a:cubicBezTo>
                <a:cubicBezTo>
                  <a:pt x="1909" y="802"/>
                  <a:pt x="1908" y="804"/>
                  <a:pt x="1905" y="805"/>
                </a:cubicBezTo>
                <a:cubicBezTo>
                  <a:pt x="1904" y="806"/>
                  <a:pt x="1902" y="807"/>
                  <a:pt x="1900" y="808"/>
                </a:cubicBezTo>
                <a:cubicBezTo>
                  <a:pt x="1899" y="809"/>
                  <a:pt x="1897" y="810"/>
                  <a:pt x="1895" y="810"/>
                </a:cubicBezTo>
                <a:cubicBezTo>
                  <a:pt x="1893" y="811"/>
                  <a:pt x="1891" y="812"/>
                  <a:pt x="1889" y="812"/>
                </a:cubicBezTo>
                <a:cubicBezTo>
                  <a:pt x="1889" y="812"/>
                  <a:pt x="1889" y="812"/>
                  <a:pt x="1889" y="822"/>
                </a:cubicBezTo>
                <a:cubicBezTo>
                  <a:pt x="1892" y="821"/>
                  <a:pt x="1895" y="821"/>
                  <a:pt x="1898" y="819"/>
                </a:cubicBezTo>
                <a:cubicBezTo>
                  <a:pt x="1900" y="818"/>
                  <a:pt x="1902" y="817"/>
                  <a:pt x="1905" y="816"/>
                </a:cubicBezTo>
                <a:cubicBezTo>
                  <a:pt x="1905" y="816"/>
                  <a:pt x="1905" y="816"/>
                  <a:pt x="1905" y="874"/>
                </a:cubicBezTo>
                <a:cubicBezTo>
                  <a:pt x="1905" y="874"/>
                  <a:pt x="1905" y="874"/>
                  <a:pt x="1916" y="874"/>
                </a:cubicBezTo>
                <a:cubicBezTo>
                  <a:pt x="1916" y="874"/>
                  <a:pt x="1916" y="874"/>
                  <a:pt x="1916" y="801"/>
                </a:cubicBezTo>
                <a:close/>
                <a:moveTo>
                  <a:pt x="1814" y="833"/>
                </a:moveTo>
                <a:cubicBezTo>
                  <a:pt x="1814" y="833"/>
                  <a:pt x="1814" y="833"/>
                  <a:pt x="1814" y="833"/>
                </a:cubicBezTo>
                <a:cubicBezTo>
                  <a:pt x="1814" y="842"/>
                  <a:pt x="1814" y="842"/>
                  <a:pt x="1814" y="842"/>
                </a:cubicBezTo>
                <a:cubicBezTo>
                  <a:pt x="1820" y="842"/>
                  <a:pt x="1821" y="845"/>
                  <a:pt x="1821" y="848"/>
                </a:cubicBezTo>
                <a:cubicBezTo>
                  <a:pt x="1821" y="850"/>
                  <a:pt x="1820" y="852"/>
                  <a:pt x="1820" y="855"/>
                </a:cubicBezTo>
                <a:cubicBezTo>
                  <a:pt x="1820" y="857"/>
                  <a:pt x="1820" y="859"/>
                  <a:pt x="1820" y="862"/>
                </a:cubicBezTo>
                <a:cubicBezTo>
                  <a:pt x="1820" y="871"/>
                  <a:pt x="1826" y="874"/>
                  <a:pt x="1834" y="874"/>
                </a:cubicBezTo>
                <a:cubicBezTo>
                  <a:pt x="1834" y="874"/>
                  <a:pt x="1834" y="874"/>
                  <a:pt x="1838" y="874"/>
                </a:cubicBezTo>
                <a:cubicBezTo>
                  <a:pt x="1838" y="874"/>
                  <a:pt x="1838" y="874"/>
                  <a:pt x="1838" y="865"/>
                </a:cubicBezTo>
                <a:cubicBezTo>
                  <a:pt x="1838" y="865"/>
                  <a:pt x="1838" y="865"/>
                  <a:pt x="1836" y="865"/>
                </a:cubicBezTo>
                <a:cubicBezTo>
                  <a:pt x="1833" y="865"/>
                  <a:pt x="1831" y="863"/>
                  <a:pt x="1831" y="859"/>
                </a:cubicBezTo>
                <a:cubicBezTo>
                  <a:pt x="1831" y="858"/>
                  <a:pt x="1831" y="856"/>
                  <a:pt x="1832" y="855"/>
                </a:cubicBezTo>
                <a:cubicBezTo>
                  <a:pt x="1832" y="853"/>
                  <a:pt x="1832" y="851"/>
                  <a:pt x="1832" y="849"/>
                </a:cubicBezTo>
                <a:cubicBezTo>
                  <a:pt x="1832" y="841"/>
                  <a:pt x="1829" y="839"/>
                  <a:pt x="1824" y="837"/>
                </a:cubicBezTo>
                <a:cubicBezTo>
                  <a:pt x="1824" y="837"/>
                  <a:pt x="1824" y="837"/>
                  <a:pt x="1824" y="837"/>
                </a:cubicBezTo>
                <a:cubicBezTo>
                  <a:pt x="1829" y="836"/>
                  <a:pt x="1832" y="834"/>
                  <a:pt x="1832" y="826"/>
                </a:cubicBezTo>
                <a:cubicBezTo>
                  <a:pt x="1832" y="824"/>
                  <a:pt x="1832" y="822"/>
                  <a:pt x="1832" y="820"/>
                </a:cubicBezTo>
                <a:cubicBezTo>
                  <a:pt x="1831" y="818"/>
                  <a:pt x="1831" y="816"/>
                  <a:pt x="1831" y="815"/>
                </a:cubicBezTo>
                <a:cubicBezTo>
                  <a:pt x="1831" y="812"/>
                  <a:pt x="1833" y="809"/>
                  <a:pt x="1836" y="809"/>
                </a:cubicBezTo>
                <a:cubicBezTo>
                  <a:pt x="1836" y="809"/>
                  <a:pt x="1836" y="809"/>
                  <a:pt x="1838" y="809"/>
                </a:cubicBezTo>
                <a:cubicBezTo>
                  <a:pt x="1838" y="809"/>
                  <a:pt x="1838" y="809"/>
                  <a:pt x="1838" y="800"/>
                </a:cubicBezTo>
                <a:cubicBezTo>
                  <a:pt x="1838" y="800"/>
                  <a:pt x="1838" y="800"/>
                  <a:pt x="1834" y="800"/>
                </a:cubicBezTo>
                <a:cubicBezTo>
                  <a:pt x="1825" y="800"/>
                  <a:pt x="1820" y="804"/>
                  <a:pt x="1820" y="813"/>
                </a:cubicBezTo>
                <a:cubicBezTo>
                  <a:pt x="1820" y="815"/>
                  <a:pt x="1820" y="818"/>
                  <a:pt x="1820" y="820"/>
                </a:cubicBezTo>
                <a:cubicBezTo>
                  <a:pt x="1820" y="822"/>
                  <a:pt x="1821" y="825"/>
                  <a:pt x="1821" y="827"/>
                </a:cubicBezTo>
                <a:cubicBezTo>
                  <a:pt x="1821" y="830"/>
                  <a:pt x="1820" y="833"/>
                  <a:pt x="1814" y="833"/>
                </a:cubicBezTo>
                <a:close/>
                <a:moveTo>
                  <a:pt x="1868" y="842"/>
                </a:moveTo>
                <a:cubicBezTo>
                  <a:pt x="1868" y="842"/>
                  <a:pt x="1868" y="842"/>
                  <a:pt x="1868" y="842"/>
                </a:cubicBezTo>
                <a:cubicBezTo>
                  <a:pt x="1868" y="833"/>
                  <a:pt x="1868" y="833"/>
                  <a:pt x="1868" y="833"/>
                </a:cubicBezTo>
                <a:cubicBezTo>
                  <a:pt x="1862" y="833"/>
                  <a:pt x="1862" y="830"/>
                  <a:pt x="1862" y="827"/>
                </a:cubicBezTo>
                <a:cubicBezTo>
                  <a:pt x="1862" y="825"/>
                  <a:pt x="1862" y="822"/>
                  <a:pt x="1862" y="820"/>
                </a:cubicBezTo>
                <a:cubicBezTo>
                  <a:pt x="1863" y="818"/>
                  <a:pt x="1863" y="815"/>
                  <a:pt x="1863" y="813"/>
                </a:cubicBezTo>
                <a:cubicBezTo>
                  <a:pt x="1863" y="804"/>
                  <a:pt x="1857" y="800"/>
                  <a:pt x="1848" y="800"/>
                </a:cubicBezTo>
                <a:cubicBezTo>
                  <a:pt x="1848" y="800"/>
                  <a:pt x="1848" y="800"/>
                  <a:pt x="1844" y="800"/>
                </a:cubicBezTo>
                <a:cubicBezTo>
                  <a:pt x="1844" y="800"/>
                  <a:pt x="1844" y="800"/>
                  <a:pt x="1844" y="809"/>
                </a:cubicBezTo>
                <a:cubicBezTo>
                  <a:pt x="1844" y="809"/>
                  <a:pt x="1844" y="809"/>
                  <a:pt x="1846" y="809"/>
                </a:cubicBezTo>
                <a:cubicBezTo>
                  <a:pt x="1850" y="809"/>
                  <a:pt x="1851" y="812"/>
                  <a:pt x="1851" y="815"/>
                </a:cubicBezTo>
                <a:cubicBezTo>
                  <a:pt x="1851" y="816"/>
                  <a:pt x="1851" y="818"/>
                  <a:pt x="1851" y="820"/>
                </a:cubicBezTo>
                <a:cubicBezTo>
                  <a:pt x="1850" y="822"/>
                  <a:pt x="1850" y="824"/>
                  <a:pt x="1850" y="826"/>
                </a:cubicBezTo>
                <a:cubicBezTo>
                  <a:pt x="1850" y="834"/>
                  <a:pt x="1853" y="836"/>
                  <a:pt x="1859" y="837"/>
                </a:cubicBezTo>
                <a:cubicBezTo>
                  <a:pt x="1859" y="837"/>
                  <a:pt x="1859" y="837"/>
                  <a:pt x="1859" y="837"/>
                </a:cubicBezTo>
                <a:cubicBezTo>
                  <a:pt x="1853" y="839"/>
                  <a:pt x="1850" y="841"/>
                  <a:pt x="1850" y="849"/>
                </a:cubicBezTo>
                <a:cubicBezTo>
                  <a:pt x="1850" y="851"/>
                  <a:pt x="1850" y="853"/>
                  <a:pt x="1851" y="855"/>
                </a:cubicBezTo>
                <a:cubicBezTo>
                  <a:pt x="1851" y="856"/>
                  <a:pt x="1851" y="858"/>
                  <a:pt x="1851" y="859"/>
                </a:cubicBezTo>
                <a:cubicBezTo>
                  <a:pt x="1851" y="863"/>
                  <a:pt x="1850" y="865"/>
                  <a:pt x="1846" y="865"/>
                </a:cubicBezTo>
                <a:cubicBezTo>
                  <a:pt x="1846" y="865"/>
                  <a:pt x="1846" y="865"/>
                  <a:pt x="1844" y="865"/>
                </a:cubicBezTo>
                <a:cubicBezTo>
                  <a:pt x="1844" y="865"/>
                  <a:pt x="1844" y="865"/>
                  <a:pt x="1844" y="874"/>
                </a:cubicBezTo>
                <a:cubicBezTo>
                  <a:pt x="1844" y="874"/>
                  <a:pt x="1844" y="874"/>
                  <a:pt x="1848" y="874"/>
                </a:cubicBezTo>
                <a:cubicBezTo>
                  <a:pt x="1857" y="874"/>
                  <a:pt x="1863" y="871"/>
                  <a:pt x="1863" y="862"/>
                </a:cubicBezTo>
                <a:cubicBezTo>
                  <a:pt x="1863" y="859"/>
                  <a:pt x="1863" y="857"/>
                  <a:pt x="1862" y="855"/>
                </a:cubicBezTo>
                <a:cubicBezTo>
                  <a:pt x="1862" y="852"/>
                  <a:pt x="1862" y="850"/>
                  <a:pt x="1862" y="848"/>
                </a:cubicBezTo>
                <a:cubicBezTo>
                  <a:pt x="1862" y="845"/>
                  <a:pt x="1862" y="842"/>
                  <a:pt x="1868" y="842"/>
                </a:cubicBezTo>
                <a:close/>
                <a:moveTo>
                  <a:pt x="1010" y="752"/>
                </a:moveTo>
                <a:cubicBezTo>
                  <a:pt x="1010" y="754"/>
                  <a:pt x="1011" y="755"/>
                  <a:pt x="1011" y="757"/>
                </a:cubicBezTo>
                <a:cubicBezTo>
                  <a:pt x="1012" y="758"/>
                  <a:pt x="1012" y="760"/>
                  <a:pt x="1013" y="762"/>
                </a:cubicBezTo>
                <a:cubicBezTo>
                  <a:pt x="1013" y="763"/>
                  <a:pt x="1013" y="765"/>
                  <a:pt x="1013" y="767"/>
                </a:cubicBezTo>
                <a:cubicBezTo>
                  <a:pt x="1014" y="770"/>
                  <a:pt x="1013" y="771"/>
                  <a:pt x="1009" y="771"/>
                </a:cubicBezTo>
                <a:cubicBezTo>
                  <a:pt x="1007" y="771"/>
                  <a:pt x="1004" y="771"/>
                  <a:pt x="1001" y="771"/>
                </a:cubicBezTo>
                <a:cubicBezTo>
                  <a:pt x="1001" y="771"/>
                  <a:pt x="1000" y="771"/>
                  <a:pt x="1000" y="771"/>
                </a:cubicBezTo>
                <a:cubicBezTo>
                  <a:pt x="998" y="773"/>
                  <a:pt x="996" y="774"/>
                  <a:pt x="995" y="776"/>
                </a:cubicBezTo>
                <a:cubicBezTo>
                  <a:pt x="993" y="778"/>
                  <a:pt x="990" y="778"/>
                  <a:pt x="988" y="776"/>
                </a:cubicBezTo>
                <a:cubicBezTo>
                  <a:pt x="986" y="774"/>
                  <a:pt x="985" y="772"/>
                  <a:pt x="983" y="769"/>
                </a:cubicBezTo>
                <a:cubicBezTo>
                  <a:pt x="982" y="767"/>
                  <a:pt x="983" y="766"/>
                  <a:pt x="985" y="764"/>
                </a:cubicBezTo>
                <a:cubicBezTo>
                  <a:pt x="982" y="764"/>
                  <a:pt x="981" y="764"/>
                  <a:pt x="979" y="764"/>
                </a:cubicBezTo>
                <a:cubicBezTo>
                  <a:pt x="978" y="766"/>
                  <a:pt x="977" y="768"/>
                  <a:pt x="976" y="770"/>
                </a:cubicBezTo>
                <a:cubicBezTo>
                  <a:pt x="976" y="771"/>
                  <a:pt x="976" y="772"/>
                  <a:pt x="976" y="773"/>
                </a:cubicBezTo>
                <a:cubicBezTo>
                  <a:pt x="976" y="776"/>
                  <a:pt x="975" y="777"/>
                  <a:pt x="972" y="776"/>
                </a:cubicBezTo>
                <a:cubicBezTo>
                  <a:pt x="969" y="776"/>
                  <a:pt x="966" y="775"/>
                  <a:pt x="963" y="774"/>
                </a:cubicBezTo>
                <a:cubicBezTo>
                  <a:pt x="961" y="774"/>
                  <a:pt x="960" y="772"/>
                  <a:pt x="961" y="770"/>
                </a:cubicBezTo>
                <a:cubicBezTo>
                  <a:pt x="961" y="769"/>
                  <a:pt x="961" y="769"/>
                  <a:pt x="962" y="769"/>
                </a:cubicBezTo>
                <a:cubicBezTo>
                  <a:pt x="959" y="767"/>
                  <a:pt x="957" y="767"/>
                  <a:pt x="955" y="765"/>
                </a:cubicBezTo>
                <a:cubicBezTo>
                  <a:pt x="954" y="764"/>
                  <a:pt x="953" y="762"/>
                  <a:pt x="952" y="761"/>
                </a:cubicBezTo>
                <a:cubicBezTo>
                  <a:pt x="951" y="759"/>
                  <a:pt x="951" y="757"/>
                  <a:pt x="953" y="755"/>
                </a:cubicBezTo>
                <a:cubicBezTo>
                  <a:pt x="956" y="753"/>
                  <a:pt x="957" y="750"/>
                  <a:pt x="956" y="746"/>
                </a:cubicBezTo>
                <a:cubicBezTo>
                  <a:pt x="956" y="744"/>
                  <a:pt x="956" y="742"/>
                  <a:pt x="956" y="740"/>
                </a:cubicBezTo>
                <a:cubicBezTo>
                  <a:pt x="955" y="740"/>
                  <a:pt x="953" y="739"/>
                  <a:pt x="952" y="738"/>
                </a:cubicBezTo>
                <a:cubicBezTo>
                  <a:pt x="951" y="736"/>
                  <a:pt x="950" y="734"/>
                  <a:pt x="950" y="733"/>
                </a:cubicBezTo>
                <a:cubicBezTo>
                  <a:pt x="950" y="730"/>
                  <a:pt x="953" y="727"/>
                  <a:pt x="956" y="726"/>
                </a:cubicBezTo>
                <a:cubicBezTo>
                  <a:pt x="956" y="727"/>
                  <a:pt x="956" y="728"/>
                  <a:pt x="957" y="729"/>
                </a:cubicBezTo>
                <a:cubicBezTo>
                  <a:pt x="957" y="730"/>
                  <a:pt x="957" y="731"/>
                  <a:pt x="957" y="732"/>
                </a:cubicBezTo>
                <a:cubicBezTo>
                  <a:pt x="956" y="731"/>
                  <a:pt x="956" y="731"/>
                  <a:pt x="956" y="731"/>
                </a:cubicBezTo>
                <a:cubicBezTo>
                  <a:pt x="955" y="733"/>
                  <a:pt x="955" y="734"/>
                  <a:pt x="954" y="736"/>
                </a:cubicBezTo>
                <a:cubicBezTo>
                  <a:pt x="955" y="735"/>
                  <a:pt x="956" y="735"/>
                  <a:pt x="956" y="735"/>
                </a:cubicBezTo>
                <a:cubicBezTo>
                  <a:pt x="958" y="734"/>
                  <a:pt x="958" y="733"/>
                  <a:pt x="959" y="732"/>
                </a:cubicBezTo>
                <a:cubicBezTo>
                  <a:pt x="964" y="725"/>
                  <a:pt x="969" y="721"/>
                  <a:pt x="977" y="719"/>
                </a:cubicBezTo>
                <a:cubicBezTo>
                  <a:pt x="980" y="719"/>
                  <a:pt x="984" y="718"/>
                  <a:pt x="986" y="715"/>
                </a:cubicBezTo>
                <a:cubicBezTo>
                  <a:pt x="986" y="715"/>
                  <a:pt x="987" y="714"/>
                  <a:pt x="987" y="714"/>
                </a:cubicBezTo>
                <a:cubicBezTo>
                  <a:pt x="990" y="714"/>
                  <a:pt x="991" y="712"/>
                  <a:pt x="993" y="710"/>
                </a:cubicBezTo>
                <a:cubicBezTo>
                  <a:pt x="1001" y="702"/>
                  <a:pt x="1013" y="702"/>
                  <a:pt x="1020" y="708"/>
                </a:cubicBezTo>
                <a:cubicBezTo>
                  <a:pt x="1023" y="710"/>
                  <a:pt x="1025" y="712"/>
                  <a:pt x="1028" y="714"/>
                </a:cubicBezTo>
                <a:cubicBezTo>
                  <a:pt x="1029" y="715"/>
                  <a:pt x="1031" y="717"/>
                  <a:pt x="1032" y="719"/>
                </a:cubicBezTo>
                <a:cubicBezTo>
                  <a:pt x="1033" y="721"/>
                  <a:pt x="1033" y="721"/>
                  <a:pt x="1034" y="719"/>
                </a:cubicBezTo>
                <a:cubicBezTo>
                  <a:pt x="1035" y="719"/>
                  <a:pt x="1036" y="718"/>
                  <a:pt x="1037" y="717"/>
                </a:cubicBezTo>
                <a:cubicBezTo>
                  <a:pt x="1039" y="715"/>
                  <a:pt x="1042" y="715"/>
                  <a:pt x="1043" y="718"/>
                </a:cubicBezTo>
                <a:cubicBezTo>
                  <a:pt x="1044" y="721"/>
                  <a:pt x="1045" y="724"/>
                  <a:pt x="1045" y="727"/>
                </a:cubicBezTo>
                <a:cubicBezTo>
                  <a:pt x="1046" y="731"/>
                  <a:pt x="1046" y="736"/>
                  <a:pt x="1044" y="740"/>
                </a:cubicBezTo>
                <a:cubicBezTo>
                  <a:pt x="1042" y="746"/>
                  <a:pt x="1037" y="750"/>
                  <a:pt x="1031" y="750"/>
                </a:cubicBezTo>
                <a:cubicBezTo>
                  <a:pt x="1030" y="750"/>
                  <a:pt x="1029" y="750"/>
                  <a:pt x="1029" y="750"/>
                </a:cubicBezTo>
                <a:cubicBezTo>
                  <a:pt x="1026" y="750"/>
                  <a:pt x="1025" y="750"/>
                  <a:pt x="1024" y="752"/>
                </a:cubicBezTo>
                <a:cubicBezTo>
                  <a:pt x="1023" y="757"/>
                  <a:pt x="1017" y="758"/>
                  <a:pt x="1014" y="755"/>
                </a:cubicBezTo>
                <a:cubicBezTo>
                  <a:pt x="1013" y="754"/>
                  <a:pt x="1012" y="753"/>
                  <a:pt x="1011" y="752"/>
                </a:cubicBezTo>
                <a:cubicBezTo>
                  <a:pt x="1010" y="752"/>
                  <a:pt x="1010" y="752"/>
                  <a:pt x="1010" y="752"/>
                </a:cubicBezTo>
                <a:close/>
                <a:moveTo>
                  <a:pt x="1004" y="748"/>
                </a:moveTo>
                <a:cubicBezTo>
                  <a:pt x="1008" y="750"/>
                  <a:pt x="1011" y="751"/>
                  <a:pt x="1014" y="754"/>
                </a:cubicBezTo>
                <a:cubicBezTo>
                  <a:pt x="1016" y="755"/>
                  <a:pt x="1018" y="756"/>
                  <a:pt x="1020" y="755"/>
                </a:cubicBezTo>
                <a:cubicBezTo>
                  <a:pt x="1022" y="754"/>
                  <a:pt x="1024" y="752"/>
                  <a:pt x="1024" y="749"/>
                </a:cubicBezTo>
                <a:cubicBezTo>
                  <a:pt x="1024" y="750"/>
                  <a:pt x="1023" y="750"/>
                  <a:pt x="1023" y="750"/>
                </a:cubicBezTo>
                <a:cubicBezTo>
                  <a:pt x="1022" y="752"/>
                  <a:pt x="1021" y="752"/>
                  <a:pt x="1020" y="754"/>
                </a:cubicBezTo>
                <a:cubicBezTo>
                  <a:pt x="1019" y="755"/>
                  <a:pt x="1018" y="754"/>
                  <a:pt x="1017" y="754"/>
                </a:cubicBezTo>
                <a:cubicBezTo>
                  <a:pt x="1016" y="754"/>
                  <a:pt x="1016" y="753"/>
                  <a:pt x="1016" y="752"/>
                </a:cubicBezTo>
                <a:cubicBezTo>
                  <a:pt x="1016" y="750"/>
                  <a:pt x="1016" y="748"/>
                  <a:pt x="1017" y="746"/>
                </a:cubicBezTo>
                <a:cubicBezTo>
                  <a:pt x="1020" y="746"/>
                  <a:pt x="1023" y="748"/>
                  <a:pt x="1027" y="748"/>
                </a:cubicBezTo>
                <a:cubicBezTo>
                  <a:pt x="1034" y="749"/>
                  <a:pt x="1040" y="748"/>
                  <a:pt x="1043" y="739"/>
                </a:cubicBezTo>
                <a:cubicBezTo>
                  <a:pt x="1045" y="734"/>
                  <a:pt x="1044" y="729"/>
                  <a:pt x="1044" y="724"/>
                </a:cubicBezTo>
                <a:cubicBezTo>
                  <a:pt x="1043" y="722"/>
                  <a:pt x="1042" y="721"/>
                  <a:pt x="1042" y="719"/>
                </a:cubicBezTo>
                <a:cubicBezTo>
                  <a:pt x="1041" y="717"/>
                  <a:pt x="1040" y="717"/>
                  <a:pt x="1038" y="718"/>
                </a:cubicBezTo>
                <a:cubicBezTo>
                  <a:pt x="1037" y="720"/>
                  <a:pt x="1035" y="721"/>
                  <a:pt x="1033" y="722"/>
                </a:cubicBezTo>
                <a:cubicBezTo>
                  <a:pt x="1033" y="723"/>
                  <a:pt x="1032" y="723"/>
                  <a:pt x="1032" y="725"/>
                </a:cubicBezTo>
                <a:cubicBezTo>
                  <a:pt x="1033" y="728"/>
                  <a:pt x="1032" y="731"/>
                  <a:pt x="1031" y="734"/>
                </a:cubicBezTo>
                <a:cubicBezTo>
                  <a:pt x="1031" y="732"/>
                  <a:pt x="1031" y="730"/>
                  <a:pt x="1031" y="729"/>
                </a:cubicBezTo>
                <a:cubicBezTo>
                  <a:pt x="1031" y="728"/>
                  <a:pt x="1031" y="727"/>
                  <a:pt x="1031" y="727"/>
                </a:cubicBezTo>
                <a:cubicBezTo>
                  <a:pt x="1030" y="727"/>
                  <a:pt x="1029" y="727"/>
                  <a:pt x="1029" y="728"/>
                </a:cubicBezTo>
                <a:cubicBezTo>
                  <a:pt x="1029" y="729"/>
                  <a:pt x="1028" y="731"/>
                  <a:pt x="1027" y="732"/>
                </a:cubicBezTo>
                <a:cubicBezTo>
                  <a:pt x="1027" y="732"/>
                  <a:pt x="1027" y="732"/>
                  <a:pt x="1027" y="732"/>
                </a:cubicBezTo>
                <a:cubicBezTo>
                  <a:pt x="1027" y="730"/>
                  <a:pt x="1027" y="729"/>
                  <a:pt x="1028" y="726"/>
                </a:cubicBezTo>
                <a:cubicBezTo>
                  <a:pt x="1027" y="727"/>
                  <a:pt x="1026" y="727"/>
                  <a:pt x="1025" y="728"/>
                </a:cubicBezTo>
                <a:cubicBezTo>
                  <a:pt x="1025" y="729"/>
                  <a:pt x="1025" y="729"/>
                  <a:pt x="1024" y="730"/>
                </a:cubicBezTo>
                <a:cubicBezTo>
                  <a:pt x="1025" y="727"/>
                  <a:pt x="1025" y="727"/>
                  <a:pt x="1031" y="725"/>
                </a:cubicBezTo>
                <a:cubicBezTo>
                  <a:pt x="1031" y="725"/>
                  <a:pt x="1030" y="724"/>
                  <a:pt x="1030" y="724"/>
                </a:cubicBezTo>
                <a:cubicBezTo>
                  <a:pt x="1027" y="725"/>
                  <a:pt x="1026" y="723"/>
                  <a:pt x="1026" y="721"/>
                </a:cubicBezTo>
                <a:cubicBezTo>
                  <a:pt x="1027" y="721"/>
                  <a:pt x="1029" y="720"/>
                  <a:pt x="1031" y="720"/>
                </a:cubicBezTo>
                <a:cubicBezTo>
                  <a:pt x="1029" y="717"/>
                  <a:pt x="1027" y="715"/>
                  <a:pt x="1024" y="714"/>
                </a:cubicBezTo>
                <a:cubicBezTo>
                  <a:pt x="1024" y="714"/>
                  <a:pt x="1024" y="714"/>
                  <a:pt x="1024" y="714"/>
                </a:cubicBezTo>
                <a:cubicBezTo>
                  <a:pt x="1021" y="712"/>
                  <a:pt x="1019" y="709"/>
                  <a:pt x="1016" y="707"/>
                </a:cubicBezTo>
                <a:cubicBezTo>
                  <a:pt x="1014" y="706"/>
                  <a:pt x="1011" y="705"/>
                  <a:pt x="1009" y="705"/>
                </a:cubicBezTo>
                <a:cubicBezTo>
                  <a:pt x="1005" y="706"/>
                  <a:pt x="1002" y="707"/>
                  <a:pt x="999" y="708"/>
                </a:cubicBezTo>
                <a:cubicBezTo>
                  <a:pt x="996" y="709"/>
                  <a:pt x="994" y="710"/>
                  <a:pt x="992" y="714"/>
                </a:cubicBezTo>
                <a:cubicBezTo>
                  <a:pt x="994" y="714"/>
                  <a:pt x="995" y="714"/>
                  <a:pt x="996" y="714"/>
                </a:cubicBezTo>
                <a:cubicBezTo>
                  <a:pt x="996" y="714"/>
                  <a:pt x="995" y="714"/>
                  <a:pt x="994" y="714"/>
                </a:cubicBezTo>
                <a:cubicBezTo>
                  <a:pt x="992" y="715"/>
                  <a:pt x="989" y="714"/>
                  <a:pt x="987" y="717"/>
                </a:cubicBezTo>
                <a:cubicBezTo>
                  <a:pt x="984" y="721"/>
                  <a:pt x="980" y="724"/>
                  <a:pt x="976" y="729"/>
                </a:cubicBezTo>
                <a:cubicBezTo>
                  <a:pt x="974" y="731"/>
                  <a:pt x="974" y="733"/>
                  <a:pt x="973" y="735"/>
                </a:cubicBezTo>
                <a:cubicBezTo>
                  <a:pt x="973" y="736"/>
                  <a:pt x="973" y="736"/>
                  <a:pt x="973" y="737"/>
                </a:cubicBezTo>
                <a:cubicBezTo>
                  <a:pt x="974" y="739"/>
                  <a:pt x="975" y="741"/>
                  <a:pt x="977" y="743"/>
                </a:cubicBezTo>
                <a:cubicBezTo>
                  <a:pt x="978" y="741"/>
                  <a:pt x="979" y="740"/>
                  <a:pt x="980" y="738"/>
                </a:cubicBezTo>
                <a:cubicBezTo>
                  <a:pt x="980" y="740"/>
                  <a:pt x="980" y="741"/>
                  <a:pt x="979" y="742"/>
                </a:cubicBezTo>
                <a:cubicBezTo>
                  <a:pt x="978" y="744"/>
                  <a:pt x="977" y="745"/>
                  <a:pt x="977" y="746"/>
                </a:cubicBezTo>
                <a:cubicBezTo>
                  <a:pt x="976" y="747"/>
                  <a:pt x="977" y="748"/>
                  <a:pt x="977" y="749"/>
                </a:cubicBezTo>
                <a:cubicBezTo>
                  <a:pt x="980" y="753"/>
                  <a:pt x="983" y="753"/>
                  <a:pt x="987" y="751"/>
                </a:cubicBezTo>
                <a:cubicBezTo>
                  <a:pt x="989" y="749"/>
                  <a:pt x="992" y="748"/>
                  <a:pt x="994" y="747"/>
                </a:cubicBezTo>
                <a:cubicBezTo>
                  <a:pt x="996" y="747"/>
                  <a:pt x="997" y="746"/>
                  <a:pt x="997" y="744"/>
                </a:cubicBezTo>
                <a:cubicBezTo>
                  <a:pt x="997" y="741"/>
                  <a:pt x="997" y="738"/>
                  <a:pt x="997" y="734"/>
                </a:cubicBezTo>
                <a:cubicBezTo>
                  <a:pt x="997" y="731"/>
                  <a:pt x="997" y="729"/>
                  <a:pt x="997" y="725"/>
                </a:cubicBezTo>
                <a:cubicBezTo>
                  <a:pt x="998" y="728"/>
                  <a:pt x="998" y="731"/>
                  <a:pt x="999" y="733"/>
                </a:cubicBezTo>
                <a:cubicBezTo>
                  <a:pt x="1000" y="738"/>
                  <a:pt x="1000" y="742"/>
                  <a:pt x="998" y="747"/>
                </a:cubicBezTo>
                <a:cubicBezTo>
                  <a:pt x="998" y="748"/>
                  <a:pt x="997" y="748"/>
                  <a:pt x="997" y="748"/>
                </a:cubicBezTo>
                <a:cubicBezTo>
                  <a:pt x="993" y="749"/>
                  <a:pt x="990" y="751"/>
                  <a:pt x="987" y="752"/>
                </a:cubicBezTo>
                <a:cubicBezTo>
                  <a:pt x="982" y="755"/>
                  <a:pt x="978" y="754"/>
                  <a:pt x="975" y="750"/>
                </a:cubicBezTo>
                <a:cubicBezTo>
                  <a:pt x="974" y="749"/>
                  <a:pt x="974" y="748"/>
                  <a:pt x="975" y="748"/>
                </a:cubicBezTo>
                <a:cubicBezTo>
                  <a:pt x="976" y="745"/>
                  <a:pt x="975" y="743"/>
                  <a:pt x="973" y="741"/>
                </a:cubicBezTo>
                <a:cubicBezTo>
                  <a:pt x="972" y="739"/>
                  <a:pt x="970" y="737"/>
                  <a:pt x="971" y="734"/>
                </a:cubicBezTo>
                <a:cubicBezTo>
                  <a:pt x="972" y="732"/>
                  <a:pt x="973" y="731"/>
                  <a:pt x="974" y="729"/>
                </a:cubicBezTo>
                <a:cubicBezTo>
                  <a:pt x="976" y="726"/>
                  <a:pt x="978" y="724"/>
                  <a:pt x="980" y="721"/>
                </a:cubicBezTo>
                <a:cubicBezTo>
                  <a:pt x="980" y="721"/>
                  <a:pt x="979" y="721"/>
                  <a:pt x="979" y="721"/>
                </a:cubicBezTo>
                <a:cubicBezTo>
                  <a:pt x="974" y="722"/>
                  <a:pt x="969" y="724"/>
                  <a:pt x="965" y="727"/>
                </a:cubicBezTo>
                <a:cubicBezTo>
                  <a:pt x="961" y="731"/>
                  <a:pt x="958" y="736"/>
                  <a:pt x="958" y="743"/>
                </a:cubicBezTo>
                <a:cubicBezTo>
                  <a:pt x="957" y="750"/>
                  <a:pt x="960" y="756"/>
                  <a:pt x="963" y="762"/>
                </a:cubicBezTo>
                <a:cubicBezTo>
                  <a:pt x="964" y="763"/>
                  <a:pt x="964" y="764"/>
                  <a:pt x="964" y="765"/>
                </a:cubicBezTo>
                <a:cubicBezTo>
                  <a:pt x="964" y="767"/>
                  <a:pt x="964" y="769"/>
                  <a:pt x="963" y="770"/>
                </a:cubicBezTo>
                <a:cubicBezTo>
                  <a:pt x="962" y="772"/>
                  <a:pt x="963" y="773"/>
                  <a:pt x="964" y="773"/>
                </a:cubicBezTo>
                <a:cubicBezTo>
                  <a:pt x="967" y="774"/>
                  <a:pt x="970" y="774"/>
                  <a:pt x="973" y="774"/>
                </a:cubicBezTo>
                <a:cubicBezTo>
                  <a:pt x="973" y="774"/>
                  <a:pt x="974" y="774"/>
                  <a:pt x="974" y="773"/>
                </a:cubicBezTo>
                <a:cubicBezTo>
                  <a:pt x="974" y="772"/>
                  <a:pt x="974" y="771"/>
                  <a:pt x="975" y="770"/>
                </a:cubicBezTo>
                <a:cubicBezTo>
                  <a:pt x="977" y="767"/>
                  <a:pt x="977" y="765"/>
                  <a:pt x="977" y="762"/>
                </a:cubicBezTo>
                <a:cubicBezTo>
                  <a:pt x="977" y="761"/>
                  <a:pt x="977" y="761"/>
                  <a:pt x="977" y="761"/>
                </a:cubicBezTo>
                <a:cubicBezTo>
                  <a:pt x="977" y="760"/>
                  <a:pt x="977" y="760"/>
                  <a:pt x="977" y="760"/>
                </a:cubicBezTo>
                <a:cubicBezTo>
                  <a:pt x="978" y="763"/>
                  <a:pt x="979" y="763"/>
                  <a:pt x="981" y="763"/>
                </a:cubicBezTo>
                <a:cubicBezTo>
                  <a:pt x="982" y="763"/>
                  <a:pt x="983" y="763"/>
                  <a:pt x="984" y="763"/>
                </a:cubicBezTo>
                <a:cubicBezTo>
                  <a:pt x="986" y="763"/>
                  <a:pt x="989" y="763"/>
                  <a:pt x="990" y="759"/>
                </a:cubicBezTo>
                <a:cubicBezTo>
                  <a:pt x="990" y="761"/>
                  <a:pt x="990" y="763"/>
                  <a:pt x="990" y="764"/>
                </a:cubicBezTo>
                <a:cubicBezTo>
                  <a:pt x="989" y="765"/>
                  <a:pt x="987" y="765"/>
                  <a:pt x="986" y="766"/>
                </a:cubicBezTo>
                <a:cubicBezTo>
                  <a:pt x="985" y="767"/>
                  <a:pt x="984" y="768"/>
                  <a:pt x="985" y="769"/>
                </a:cubicBezTo>
                <a:cubicBezTo>
                  <a:pt x="986" y="771"/>
                  <a:pt x="987" y="773"/>
                  <a:pt x="989" y="775"/>
                </a:cubicBezTo>
                <a:cubicBezTo>
                  <a:pt x="991" y="776"/>
                  <a:pt x="993" y="776"/>
                  <a:pt x="994" y="774"/>
                </a:cubicBezTo>
                <a:cubicBezTo>
                  <a:pt x="994" y="774"/>
                  <a:pt x="995" y="773"/>
                  <a:pt x="996" y="773"/>
                </a:cubicBezTo>
                <a:cubicBezTo>
                  <a:pt x="998" y="771"/>
                  <a:pt x="999" y="770"/>
                  <a:pt x="1001" y="769"/>
                </a:cubicBezTo>
                <a:cubicBezTo>
                  <a:pt x="1005" y="764"/>
                  <a:pt x="1007" y="758"/>
                  <a:pt x="1009" y="752"/>
                </a:cubicBezTo>
                <a:cubicBezTo>
                  <a:pt x="1009" y="752"/>
                  <a:pt x="1008" y="751"/>
                  <a:pt x="1007" y="751"/>
                </a:cubicBezTo>
                <a:cubicBezTo>
                  <a:pt x="1007" y="750"/>
                  <a:pt x="1005" y="749"/>
                  <a:pt x="1004" y="748"/>
                </a:cubicBezTo>
                <a:close/>
                <a:moveTo>
                  <a:pt x="957" y="754"/>
                </a:moveTo>
                <a:cubicBezTo>
                  <a:pt x="956" y="755"/>
                  <a:pt x="955" y="756"/>
                  <a:pt x="954" y="757"/>
                </a:cubicBezTo>
                <a:cubicBezTo>
                  <a:pt x="953" y="757"/>
                  <a:pt x="953" y="758"/>
                  <a:pt x="953" y="759"/>
                </a:cubicBezTo>
                <a:cubicBezTo>
                  <a:pt x="953" y="762"/>
                  <a:pt x="957" y="766"/>
                  <a:pt x="960" y="766"/>
                </a:cubicBezTo>
                <a:cubicBezTo>
                  <a:pt x="962" y="766"/>
                  <a:pt x="963" y="765"/>
                  <a:pt x="962" y="763"/>
                </a:cubicBezTo>
                <a:cubicBezTo>
                  <a:pt x="960" y="760"/>
                  <a:pt x="959" y="757"/>
                  <a:pt x="957" y="754"/>
                </a:cubicBezTo>
                <a:close/>
                <a:moveTo>
                  <a:pt x="1010" y="756"/>
                </a:moveTo>
                <a:cubicBezTo>
                  <a:pt x="1007" y="761"/>
                  <a:pt x="1005" y="765"/>
                  <a:pt x="1003" y="770"/>
                </a:cubicBezTo>
                <a:cubicBezTo>
                  <a:pt x="1005" y="770"/>
                  <a:pt x="1008" y="770"/>
                  <a:pt x="1011" y="770"/>
                </a:cubicBezTo>
                <a:cubicBezTo>
                  <a:pt x="1011" y="770"/>
                  <a:pt x="1011" y="769"/>
                  <a:pt x="1011" y="768"/>
                </a:cubicBezTo>
                <a:cubicBezTo>
                  <a:pt x="1011" y="765"/>
                  <a:pt x="1011" y="763"/>
                  <a:pt x="1011" y="761"/>
                </a:cubicBezTo>
                <a:cubicBezTo>
                  <a:pt x="1011" y="759"/>
                  <a:pt x="1010" y="758"/>
                  <a:pt x="1010" y="756"/>
                </a:cubicBezTo>
                <a:close/>
                <a:moveTo>
                  <a:pt x="957" y="736"/>
                </a:moveTo>
                <a:cubicBezTo>
                  <a:pt x="956" y="736"/>
                  <a:pt x="956" y="737"/>
                  <a:pt x="955" y="737"/>
                </a:cubicBezTo>
                <a:cubicBezTo>
                  <a:pt x="954" y="737"/>
                  <a:pt x="954" y="737"/>
                  <a:pt x="954" y="736"/>
                </a:cubicBezTo>
                <a:cubicBezTo>
                  <a:pt x="953" y="736"/>
                  <a:pt x="953" y="735"/>
                  <a:pt x="953" y="734"/>
                </a:cubicBezTo>
                <a:cubicBezTo>
                  <a:pt x="954" y="733"/>
                  <a:pt x="954" y="731"/>
                  <a:pt x="955" y="729"/>
                </a:cubicBezTo>
                <a:cubicBezTo>
                  <a:pt x="954" y="729"/>
                  <a:pt x="954" y="729"/>
                  <a:pt x="954" y="729"/>
                </a:cubicBezTo>
                <a:cubicBezTo>
                  <a:pt x="953" y="729"/>
                  <a:pt x="952" y="730"/>
                  <a:pt x="951" y="731"/>
                </a:cubicBezTo>
                <a:cubicBezTo>
                  <a:pt x="951" y="733"/>
                  <a:pt x="952" y="738"/>
                  <a:pt x="954" y="738"/>
                </a:cubicBezTo>
                <a:cubicBezTo>
                  <a:pt x="955" y="739"/>
                  <a:pt x="957" y="738"/>
                  <a:pt x="957" y="736"/>
                </a:cubicBezTo>
                <a:close/>
                <a:moveTo>
                  <a:pt x="957" y="754"/>
                </a:moveTo>
                <a:cubicBezTo>
                  <a:pt x="956" y="755"/>
                  <a:pt x="955" y="756"/>
                  <a:pt x="953" y="757"/>
                </a:cubicBezTo>
                <a:cubicBezTo>
                  <a:pt x="953" y="757"/>
                  <a:pt x="953" y="758"/>
                  <a:pt x="953" y="759"/>
                </a:cubicBezTo>
                <a:cubicBezTo>
                  <a:pt x="953" y="762"/>
                  <a:pt x="957" y="766"/>
                  <a:pt x="960" y="766"/>
                </a:cubicBezTo>
                <a:cubicBezTo>
                  <a:pt x="962" y="766"/>
                  <a:pt x="963" y="764"/>
                  <a:pt x="962" y="763"/>
                </a:cubicBezTo>
                <a:cubicBezTo>
                  <a:pt x="960" y="760"/>
                  <a:pt x="959" y="757"/>
                  <a:pt x="957" y="754"/>
                </a:cubicBezTo>
                <a:close/>
                <a:moveTo>
                  <a:pt x="1010" y="756"/>
                </a:moveTo>
                <a:cubicBezTo>
                  <a:pt x="1007" y="761"/>
                  <a:pt x="1005" y="766"/>
                  <a:pt x="1003" y="770"/>
                </a:cubicBezTo>
                <a:cubicBezTo>
                  <a:pt x="1005" y="770"/>
                  <a:pt x="1008" y="770"/>
                  <a:pt x="1010" y="770"/>
                </a:cubicBezTo>
                <a:cubicBezTo>
                  <a:pt x="1011" y="770"/>
                  <a:pt x="1011" y="769"/>
                  <a:pt x="1011" y="768"/>
                </a:cubicBezTo>
                <a:cubicBezTo>
                  <a:pt x="1011" y="766"/>
                  <a:pt x="1011" y="763"/>
                  <a:pt x="1011" y="761"/>
                </a:cubicBezTo>
                <a:cubicBezTo>
                  <a:pt x="1010" y="759"/>
                  <a:pt x="1010" y="758"/>
                  <a:pt x="1010" y="756"/>
                </a:cubicBezTo>
                <a:close/>
                <a:moveTo>
                  <a:pt x="957" y="736"/>
                </a:moveTo>
                <a:cubicBezTo>
                  <a:pt x="956" y="736"/>
                  <a:pt x="956" y="737"/>
                  <a:pt x="955" y="737"/>
                </a:cubicBezTo>
                <a:cubicBezTo>
                  <a:pt x="954" y="737"/>
                  <a:pt x="954" y="737"/>
                  <a:pt x="954" y="736"/>
                </a:cubicBezTo>
                <a:cubicBezTo>
                  <a:pt x="953" y="736"/>
                  <a:pt x="953" y="735"/>
                  <a:pt x="953" y="734"/>
                </a:cubicBezTo>
                <a:cubicBezTo>
                  <a:pt x="954" y="732"/>
                  <a:pt x="954" y="730"/>
                  <a:pt x="955" y="729"/>
                </a:cubicBezTo>
                <a:cubicBezTo>
                  <a:pt x="954" y="729"/>
                  <a:pt x="954" y="729"/>
                  <a:pt x="954" y="729"/>
                </a:cubicBezTo>
                <a:cubicBezTo>
                  <a:pt x="953" y="729"/>
                  <a:pt x="952" y="730"/>
                  <a:pt x="951" y="731"/>
                </a:cubicBezTo>
                <a:cubicBezTo>
                  <a:pt x="951" y="732"/>
                  <a:pt x="952" y="738"/>
                  <a:pt x="954" y="738"/>
                </a:cubicBezTo>
                <a:cubicBezTo>
                  <a:pt x="955" y="739"/>
                  <a:pt x="957" y="738"/>
                  <a:pt x="957" y="736"/>
                </a:cubicBezTo>
                <a:close/>
                <a:moveTo>
                  <a:pt x="1009" y="728"/>
                </a:moveTo>
                <a:cubicBezTo>
                  <a:pt x="1013" y="724"/>
                  <a:pt x="1013" y="724"/>
                  <a:pt x="1017" y="723"/>
                </a:cubicBezTo>
                <a:cubicBezTo>
                  <a:pt x="1017" y="725"/>
                  <a:pt x="1018" y="726"/>
                  <a:pt x="1019" y="726"/>
                </a:cubicBezTo>
                <a:cubicBezTo>
                  <a:pt x="1017" y="727"/>
                  <a:pt x="1015" y="729"/>
                  <a:pt x="1013" y="730"/>
                </a:cubicBezTo>
                <a:cubicBezTo>
                  <a:pt x="1012" y="729"/>
                  <a:pt x="1012" y="728"/>
                  <a:pt x="1011" y="727"/>
                </a:cubicBezTo>
                <a:cubicBezTo>
                  <a:pt x="1011" y="727"/>
                  <a:pt x="1010" y="727"/>
                  <a:pt x="1009" y="728"/>
                </a:cubicBezTo>
                <a:close/>
                <a:moveTo>
                  <a:pt x="1015" y="727"/>
                </a:moveTo>
                <a:cubicBezTo>
                  <a:pt x="1015" y="727"/>
                  <a:pt x="1014" y="727"/>
                  <a:pt x="1013" y="727"/>
                </a:cubicBezTo>
                <a:cubicBezTo>
                  <a:pt x="1013" y="727"/>
                  <a:pt x="1012" y="727"/>
                  <a:pt x="1012" y="728"/>
                </a:cubicBezTo>
                <a:cubicBezTo>
                  <a:pt x="1012" y="728"/>
                  <a:pt x="1013" y="728"/>
                  <a:pt x="1013" y="729"/>
                </a:cubicBezTo>
                <a:cubicBezTo>
                  <a:pt x="1014" y="728"/>
                  <a:pt x="1014" y="728"/>
                  <a:pt x="1015" y="727"/>
                </a:cubicBezTo>
                <a:close/>
                <a:moveTo>
                  <a:pt x="996" y="718"/>
                </a:moveTo>
                <a:cubicBezTo>
                  <a:pt x="990" y="717"/>
                  <a:pt x="987" y="719"/>
                  <a:pt x="986" y="728"/>
                </a:cubicBezTo>
                <a:cubicBezTo>
                  <a:pt x="987" y="726"/>
                  <a:pt x="988" y="723"/>
                  <a:pt x="989" y="721"/>
                </a:cubicBezTo>
                <a:cubicBezTo>
                  <a:pt x="990" y="721"/>
                  <a:pt x="990" y="721"/>
                  <a:pt x="990" y="721"/>
                </a:cubicBezTo>
                <a:cubicBezTo>
                  <a:pt x="990" y="722"/>
                  <a:pt x="990" y="723"/>
                  <a:pt x="990" y="723"/>
                </a:cubicBezTo>
                <a:cubicBezTo>
                  <a:pt x="991" y="720"/>
                  <a:pt x="993" y="718"/>
                  <a:pt x="996" y="718"/>
                </a:cubicBezTo>
                <a:close/>
                <a:moveTo>
                  <a:pt x="1040" y="719"/>
                </a:moveTo>
                <a:cubicBezTo>
                  <a:pt x="1038" y="721"/>
                  <a:pt x="1036" y="722"/>
                  <a:pt x="1035" y="723"/>
                </a:cubicBezTo>
                <a:cubicBezTo>
                  <a:pt x="1037" y="724"/>
                  <a:pt x="1039" y="722"/>
                  <a:pt x="1040" y="719"/>
                </a:cubicBezTo>
                <a:close/>
                <a:moveTo>
                  <a:pt x="1007" y="721"/>
                </a:moveTo>
                <a:cubicBezTo>
                  <a:pt x="1008" y="720"/>
                  <a:pt x="1009" y="719"/>
                  <a:pt x="1010" y="717"/>
                </a:cubicBezTo>
                <a:cubicBezTo>
                  <a:pt x="1007" y="719"/>
                  <a:pt x="1006" y="719"/>
                  <a:pt x="1007" y="721"/>
                </a:cubicBezTo>
                <a:close/>
                <a:moveTo>
                  <a:pt x="1016" y="743"/>
                </a:moveTo>
                <a:cubicBezTo>
                  <a:pt x="1015" y="743"/>
                  <a:pt x="1014" y="744"/>
                  <a:pt x="1014" y="745"/>
                </a:cubicBezTo>
                <a:cubicBezTo>
                  <a:pt x="1014" y="744"/>
                  <a:pt x="1016" y="744"/>
                  <a:pt x="1016" y="743"/>
                </a:cubicBezTo>
                <a:close/>
                <a:moveTo>
                  <a:pt x="1016" y="727"/>
                </a:moveTo>
                <a:cubicBezTo>
                  <a:pt x="1015" y="727"/>
                  <a:pt x="1014" y="727"/>
                  <a:pt x="1013" y="727"/>
                </a:cubicBezTo>
                <a:cubicBezTo>
                  <a:pt x="1013" y="727"/>
                  <a:pt x="1012" y="727"/>
                  <a:pt x="1012" y="728"/>
                </a:cubicBezTo>
                <a:cubicBezTo>
                  <a:pt x="1012" y="728"/>
                  <a:pt x="1013" y="729"/>
                  <a:pt x="1013" y="729"/>
                </a:cubicBezTo>
                <a:cubicBezTo>
                  <a:pt x="1014" y="729"/>
                  <a:pt x="1014" y="728"/>
                  <a:pt x="1016" y="727"/>
                </a:cubicBezTo>
                <a:close/>
                <a:moveTo>
                  <a:pt x="1540" y="848"/>
                </a:moveTo>
                <a:cubicBezTo>
                  <a:pt x="1540" y="850"/>
                  <a:pt x="1541" y="851"/>
                  <a:pt x="1541" y="853"/>
                </a:cubicBezTo>
                <a:cubicBezTo>
                  <a:pt x="1542" y="854"/>
                  <a:pt x="1542" y="856"/>
                  <a:pt x="1542" y="858"/>
                </a:cubicBezTo>
                <a:cubicBezTo>
                  <a:pt x="1542" y="859"/>
                  <a:pt x="1543" y="861"/>
                  <a:pt x="1543" y="863"/>
                </a:cubicBezTo>
                <a:cubicBezTo>
                  <a:pt x="1544" y="866"/>
                  <a:pt x="1542" y="867"/>
                  <a:pt x="1539" y="867"/>
                </a:cubicBezTo>
                <a:cubicBezTo>
                  <a:pt x="1537" y="867"/>
                  <a:pt x="1534" y="867"/>
                  <a:pt x="1531" y="867"/>
                </a:cubicBezTo>
                <a:cubicBezTo>
                  <a:pt x="1531" y="867"/>
                  <a:pt x="1530" y="867"/>
                  <a:pt x="1530" y="867"/>
                </a:cubicBezTo>
                <a:cubicBezTo>
                  <a:pt x="1528" y="869"/>
                  <a:pt x="1526" y="870"/>
                  <a:pt x="1525" y="872"/>
                </a:cubicBezTo>
                <a:cubicBezTo>
                  <a:pt x="1523" y="874"/>
                  <a:pt x="1520" y="874"/>
                  <a:pt x="1518" y="872"/>
                </a:cubicBezTo>
                <a:cubicBezTo>
                  <a:pt x="1516" y="870"/>
                  <a:pt x="1515" y="868"/>
                  <a:pt x="1513" y="865"/>
                </a:cubicBezTo>
                <a:cubicBezTo>
                  <a:pt x="1512" y="863"/>
                  <a:pt x="1513" y="862"/>
                  <a:pt x="1515" y="860"/>
                </a:cubicBezTo>
                <a:cubicBezTo>
                  <a:pt x="1512" y="860"/>
                  <a:pt x="1511" y="860"/>
                  <a:pt x="1509" y="860"/>
                </a:cubicBezTo>
                <a:cubicBezTo>
                  <a:pt x="1508" y="862"/>
                  <a:pt x="1507" y="864"/>
                  <a:pt x="1506" y="866"/>
                </a:cubicBezTo>
                <a:cubicBezTo>
                  <a:pt x="1506" y="867"/>
                  <a:pt x="1506" y="868"/>
                  <a:pt x="1506" y="869"/>
                </a:cubicBezTo>
                <a:cubicBezTo>
                  <a:pt x="1506" y="872"/>
                  <a:pt x="1505" y="873"/>
                  <a:pt x="1502" y="872"/>
                </a:cubicBezTo>
                <a:cubicBezTo>
                  <a:pt x="1499" y="872"/>
                  <a:pt x="1496" y="871"/>
                  <a:pt x="1493" y="870"/>
                </a:cubicBezTo>
                <a:cubicBezTo>
                  <a:pt x="1491" y="870"/>
                  <a:pt x="1490" y="868"/>
                  <a:pt x="1491" y="866"/>
                </a:cubicBezTo>
                <a:cubicBezTo>
                  <a:pt x="1491" y="865"/>
                  <a:pt x="1491" y="865"/>
                  <a:pt x="1491" y="865"/>
                </a:cubicBezTo>
                <a:cubicBezTo>
                  <a:pt x="1489" y="863"/>
                  <a:pt x="1487" y="863"/>
                  <a:pt x="1485" y="861"/>
                </a:cubicBezTo>
                <a:cubicBezTo>
                  <a:pt x="1484" y="860"/>
                  <a:pt x="1482" y="858"/>
                  <a:pt x="1482" y="857"/>
                </a:cubicBezTo>
                <a:cubicBezTo>
                  <a:pt x="1481" y="855"/>
                  <a:pt x="1481" y="853"/>
                  <a:pt x="1483" y="851"/>
                </a:cubicBezTo>
                <a:cubicBezTo>
                  <a:pt x="1486" y="849"/>
                  <a:pt x="1487" y="846"/>
                  <a:pt x="1486" y="842"/>
                </a:cubicBezTo>
                <a:cubicBezTo>
                  <a:pt x="1486" y="840"/>
                  <a:pt x="1486" y="838"/>
                  <a:pt x="1486" y="836"/>
                </a:cubicBezTo>
                <a:cubicBezTo>
                  <a:pt x="1485" y="836"/>
                  <a:pt x="1483" y="835"/>
                  <a:pt x="1482" y="834"/>
                </a:cubicBezTo>
                <a:cubicBezTo>
                  <a:pt x="1481" y="832"/>
                  <a:pt x="1480" y="830"/>
                  <a:pt x="1480" y="829"/>
                </a:cubicBezTo>
                <a:cubicBezTo>
                  <a:pt x="1480" y="826"/>
                  <a:pt x="1483" y="823"/>
                  <a:pt x="1486" y="822"/>
                </a:cubicBezTo>
                <a:cubicBezTo>
                  <a:pt x="1486" y="823"/>
                  <a:pt x="1486" y="824"/>
                  <a:pt x="1487" y="825"/>
                </a:cubicBezTo>
                <a:cubicBezTo>
                  <a:pt x="1487" y="826"/>
                  <a:pt x="1487" y="827"/>
                  <a:pt x="1487" y="828"/>
                </a:cubicBezTo>
                <a:cubicBezTo>
                  <a:pt x="1486" y="827"/>
                  <a:pt x="1486" y="827"/>
                  <a:pt x="1486" y="827"/>
                </a:cubicBezTo>
                <a:cubicBezTo>
                  <a:pt x="1485" y="829"/>
                  <a:pt x="1485" y="830"/>
                  <a:pt x="1484" y="832"/>
                </a:cubicBezTo>
                <a:cubicBezTo>
                  <a:pt x="1485" y="831"/>
                  <a:pt x="1486" y="831"/>
                  <a:pt x="1486" y="831"/>
                </a:cubicBezTo>
                <a:cubicBezTo>
                  <a:pt x="1488" y="830"/>
                  <a:pt x="1488" y="829"/>
                  <a:pt x="1489" y="828"/>
                </a:cubicBezTo>
                <a:cubicBezTo>
                  <a:pt x="1493" y="821"/>
                  <a:pt x="1499" y="817"/>
                  <a:pt x="1507" y="815"/>
                </a:cubicBezTo>
                <a:cubicBezTo>
                  <a:pt x="1510" y="815"/>
                  <a:pt x="1513" y="814"/>
                  <a:pt x="1516" y="811"/>
                </a:cubicBezTo>
                <a:cubicBezTo>
                  <a:pt x="1516" y="811"/>
                  <a:pt x="1517" y="810"/>
                  <a:pt x="1517" y="810"/>
                </a:cubicBezTo>
                <a:cubicBezTo>
                  <a:pt x="1520" y="810"/>
                  <a:pt x="1521" y="808"/>
                  <a:pt x="1523" y="806"/>
                </a:cubicBezTo>
                <a:cubicBezTo>
                  <a:pt x="1531" y="798"/>
                  <a:pt x="1542" y="798"/>
                  <a:pt x="1550" y="804"/>
                </a:cubicBezTo>
                <a:cubicBezTo>
                  <a:pt x="1553" y="806"/>
                  <a:pt x="1555" y="808"/>
                  <a:pt x="1558" y="810"/>
                </a:cubicBezTo>
                <a:cubicBezTo>
                  <a:pt x="1559" y="811"/>
                  <a:pt x="1560" y="813"/>
                  <a:pt x="1562" y="815"/>
                </a:cubicBezTo>
                <a:cubicBezTo>
                  <a:pt x="1562" y="817"/>
                  <a:pt x="1563" y="817"/>
                  <a:pt x="1564" y="815"/>
                </a:cubicBezTo>
                <a:cubicBezTo>
                  <a:pt x="1565" y="815"/>
                  <a:pt x="1566" y="814"/>
                  <a:pt x="1567" y="813"/>
                </a:cubicBezTo>
                <a:cubicBezTo>
                  <a:pt x="1569" y="811"/>
                  <a:pt x="1572" y="811"/>
                  <a:pt x="1573" y="814"/>
                </a:cubicBezTo>
                <a:cubicBezTo>
                  <a:pt x="1574" y="817"/>
                  <a:pt x="1575" y="820"/>
                  <a:pt x="1575" y="823"/>
                </a:cubicBezTo>
                <a:cubicBezTo>
                  <a:pt x="1576" y="827"/>
                  <a:pt x="1576" y="832"/>
                  <a:pt x="1574" y="836"/>
                </a:cubicBezTo>
                <a:cubicBezTo>
                  <a:pt x="1572" y="842"/>
                  <a:pt x="1567" y="846"/>
                  <a:pt x="1560" y="846"/>
                </a:cubicBezTo>
                <a:cubicBezTo>
                  <a:pt x="1560" y="846"/>
                  <a:pt x="1559" y="846"/>
                  <a:pt x="1559" y="846"/>
                </a:cubicBezTo>
                <a:cubicBezTo>
                  <a:pt x="1556" y="846"/>
                  <a:pt x="1555" y="846"/>
                  <a:pt x="1554" y="848"/>
                </a:cubicBezTo>
                <a:cubicBezTo>
                  <a:pt x="1553" y="853"/>
                  <a:pt x="1547" y="854"/>
                  <a:pt x="1544" y="851"/>
                </a:cubicBezTo>
                <a:cubicBezTo>
                  <a:pt x="1542" y="850"/>
                  <a:pt x="1542" y="849"/>
                  <a:pt x="1540" y="848"/>
                </a:cubicBezTo>
                <a:cubicBezTo>
                  <a:pt x="1540" y="848"/>
                  <a:pt x="1540" y="848"/>
                  <a:pt x="1540" y="848"/>
                </a:cubicBezTo>
                <a:close/>
                <a:moveTo>
                  <a:pt x="1534" y="844"/>
                </a:moveTo>
                <a:cubicBezTo>
                  <a:pt x="1538" y="846"/>
                  <a:pt x="1541" y="847"/>
                  <a:pt x="1544" y="850"/>
                </a:cubicBezTo>
                <a:cubicBezTo>
                  <a:pt x="1546" y="851"/>
                  <a:pt x="1548" y="852"/>
                  <a:pt x="1550" y="851"/>
                </a:cubicBezTo>
                <a:cubicBezTo>
                  <a:pt x="1552" y="850"/>
                  <a:pt x="1554" y="848"/>
                  <a:pt x="1554" y="845"/>
                </a:cubicBezTo>
                <a:cubicBezTo>
                  <a:pt x="1553" y="846"/>
                  <a:pt x="1553" y="846"/>
                  <a:pt x="1553" y="846"/>
                </a:cubicBezTo>
                <a:cubicBezTo>
                  <a:pt x="1552" y="848"/>
                  <a:pt x="1551" y="848"/>
                  <a:pt x="1550" y="850"/>
                </a:cubicBezTo>
                <a:cubicBezTo>
                  <a:pt x="1549" y="851"/>
                  <a:pt x="1548" y="850"/>
                  <a:pt x="1547" y="850"/>
                </a:cubicBezTo>
                <a:cubicBezTo>
                  <a:pt x="1546" y="850"/>
                  <a:pt x="1546" y="849"/>
                  <a:pt x="1546" y="848"/>
                </a:cubicBezTo>
                <a:cubicBezTo>
                  <a:pt x="1546" y="846"/>
                  <a:pt x="1546" y="844"/>
                  <a:pt x="1547" y="842"/>
                </a:cubicBezTo>
                <a:cubicBezTo>
                  <a:pt x="1550" y="842"/>
                  <a:pt x="1553" y="844"/>
                  <a:pt x="1557" y="844"/>
                </a:cubicBezTo>
                <a:cubicBezTo>
                  <a:pt x="1564" y="845"/>
                  <a:pt x="1570" y="844"/>
                  <a:pt x="1573" y="835"/>
                </a:cubicBezTo>
                <a:cubicBezTo>
                  <a:pt x="1575" y="830"/>
                  <a:pt x="1574" y="825"/>
                  <a:pt x="1573" y="820"/>
                </a:cubicBezTo>
                <a:cubicBezTo>
                  <a:pt x="1573" y="818"/>
                  <a:pt x="1572" y="817"/>
                  <a:pt x="1571" y="815"/>
                </a:cubicBezTo>
                <a:cubicBezTo>
                  <a:pt x="1571" y="813"/>
                  <a:pt x="1570" y="813"/>
                  <a:pt x="1568" y="814"/>
                </a:cubicBezTo>
                <a:cubicBezTo>
                  <a:pt x="1567" y="816"/>
                  <a:pt x="1565" y="817"/>
                  <a:pt x="1563" y="818"/>
                </a:cubicBezTo>
                <a:cubicBezTo>
                  <a:pt x="1562" y="819"/>
                  <a:pt x="1562" y="819"/>
                  <a:pt x="1562" y="821"/>
                </a:cubicBezTo>
                <a:cubicBezTo>
                  <a:pt x="1563" y="824"/>
                  <a:pt x="1562" y="827"/>
                  <a:pt x="1561" y="830"/>
                </a:cubicBezTo>
                <a:cubicBezTo>
                  <a:pt x="1561" y="828"/>
                  <a:pt x="1561" y="826"/>
                  <a:pt x="1561" y="825"/>
                </a:cubicBezTo>
                <a:cubicBezTo>
                  <a:pt x="1561" y="824"/>
                  <a:pt x="1561" y="823"/>
                  <a:pt x="1560" y="823"/>
                </a:cubicBezTo>
                <a:cubicBezTo>
                  <a:pt x="1560" y="823"/>
                  <a:pt x="1559" y="823"/>
                  <a:pt x="1559" y="824"/>
                </a:cubicBezTo>
                <a:cubicBezTo>
                  <a:pt x="1559" y="825"/>
                  <a:pt x="1558" y="827"/>
                  <a:pt x="1557" y="828"/>
                </a:cubicBezTo>
                <a:cubicBezTo>
                  <a:pt x="1557" y="828"/>
                  <a:pt x="1557" y="828"/>
                  <a:pt x="1557" y="828"/>
                </a:cubicBezTo>
                <a:cubicBezTo>
                  <a:pt x="1557" y="826"/>
                  <a:pt x="1557" y="825"/>
                  <a:pt x="1558" y="822"/>
                </a:cubicBezTo>
                <a:cubicBezTo>
                  <a:pt x="1557" y="823"/>
                  <a:pt x="1556" y="823"/>
                  <a:pt x="1555" y="824"/>
                </a:cubicBezTo>
                <a:cubicBezTo>
                  <a:pt x="1555" y="825"/>
                  <a:pt x="1555" y="825"/>
                  <a:pt x="1554" y="826"/>
                </a:cubicBezTo>
                <a:cubicBezTo>
                  <a:pt x="1555" y="823"/>
                  <a:pt x="1555" y="823"/>
                  <a:pt x="1561" y="821"/>
                </a:cubicBezTo>
                <a:cubicBezTo>
                  <a:pt x="1560" y="821"/>
                  <a:pt x="1560" y="820"/>
                  <a:pt x="1560" y="820"/>
                </a:cubicBezTo>
                <a:cubicBezTo>
                  <a:pt x="1557" y="821"/>
                  <a:pt x="1556" y="819"/>
                  <a:pt x="1556" y="817"/>
                </a:cubicBezTo>
                <a:cubicBezTo>
                  <a:pt x="1557" y="817"/>
                  <a:pt x="1559" y="816"/>
                  <a:pt x="1560" y="816"/>
                </a:cubicBezTo>
                <a:cubicBezTo>
                  <a:pt x="1559" y="813"/>
                  <a:pt x="1557" y="811"/>
                  <a:pt x="1554" y="810"/>
                </a:cubicBezTo>
                <a:cubicBezTo>
                  <a:pt x="1554" y="810"/>
                  <a:pt x="1553" y="810"/>
                  <a:pt x="1553" y="810"/>
                </a:cubicBezTo>
                <a:cubicBezTo>
                  <a:pt x="1551" y="808"/>
                  <a:pt x="1549" y="805"/>
                  <a:pt x="1546" y="803"/>
                </a:cubicBezTo>
                <a:cubicBezTo>
                  <a:pt x="1544" y="802"/>
                  <a:pt x="1541" y="801"/>
                  <a:pt x="1539" y="801"/>
                </a:cubicBezTo>
                <a:cubicBezTo>
                  <a:pt x="1535" y="802"/>
                  <a:pt x="1532" y="803"/>
                  <a:pt x="1529" y="804"/>
                </a:cubicBezTo>
                <a:cubicBezTo>
                  <a:pt x="1526" y="805"/>
                  <a:pt x="1524" y="806"/>
                  <a:pt x="1522" y="810"/>
                </a:cubicBezTo>
                <a:cubicBezTo>
                  <a:pt x="1524" y="810"/>
                  <a:pt x="1525" y="810"/>
                  <a:pt x="1526" y="810"/>
                </a:cubicBezTo>
                <a:cubicBezTo>
                  <a:pt x="1526" y="810"/>
                  <a:pt x="1525" y="810"/>
                  <a:pt x="1524" y="810"/>
                </a:cubicBezTo>
                <a:cubicBezTo>
                  <a:pt x="1522" y="811"/>
                  <a:pt x="1519" y="810"/>
                  <a:pt x="1517" y="813"/>
                </a:cubicBezTo>
                <a:cubicBezTo>
                  <a:pt x="1513" y="817"/>
                  <a:pt x="1510" y="820"/>
                  <a:pt x="1506" y="825"/>
                </a:cubicBezTo>
                <a:cubicBezTo>
                  <a:pt x="1504" y="827"/>
                  <a:pt x="1504" y="829"/>
                  <a:pt x="1502" y="831"/>
                </a:cubicBezTo>
                <a:cubicBezTo>
                  <a:pt x="1502" y="832"/>
                  <a:pt x="1502" y="832"/>
                  <a:pt x="1503" y="833"/>
                </a:cubicBezTo>
                <a:cubicBezTo>
                  <a:pt x="1504" y="835"/>
                  <a:pt x="1505" y="837"/>
                  <a:pt x="1507" y="839"/>
                </a:cubicBezTo>
                <a:cubicBezTo>
                  <a:pt x="1508" y="837"/>
                  <a:pt x="1509" y="836"/>
                  <a:pt x="1510" y="834"/>
                </a:cubicBezTo>
                <a:cubicBezTo>
                  <a:pt x="1510" y="836"/>
                  <a:pt x="1510" y="837"/>
                  <a:pt x="1509" y="838"/>
                </a:cubicBezTo>
                <a:cubicBezTo>
                  <a:pt x="1508" y="840"/>
                  <a:pt x="1507" y="841"/>
                  <a:pt x="1507" y="842"/>
                </a:cubicBezTo>
                <a:cubicBezTo>
                  <a:pt x="1506" y="843"/>
                  <a:pt x="1507" y="844"/>
                  <a:pt x="1507" y="845"/>
                </a:cubicBezTo>
                <a:cubicBezTo>
                  <a:pt x="1510" y="849"/>
                  <a:pt x="1513" y="849"/>
                  <a:pt x="1517" y="847"/>
                </a:cubicBezTo>
                <a:cubicBezTo>
                  <a:pt x="1519" y="845"/>
                  <a:pt x="1522" y="844"/>
                  <a:pt x="1524" y="843"/>
                </a:cubicBezTo>
                <a:cubicBezTo>
                  <a:pt x="1526" y="843"/>
                  <a:pt x="1527" y="842"/>
                  <a:pt x="1527" y="840"/>
                </a:cubicBezTo>
                <a:cubicBezTo>
                  <a:pt x="1527" y="837"/>
                  <a:pt x="1527" y="834"/>
                  <a:pt x="1527" y="830"/>
                </a:cubicBezTo>
                <a:cubicBezTo>
                  <a:pt x="1527" y="827"/>
                  <a:pt x="1527" y="825"/>
                  <a:pt x="1527" y="821"/>
                </a:cubicBezTo>
                <a:cubicBezTo>
                  <a:pt x="1528" y="824"/>
                  <a:pt x="1528" y="827"/>
                  <a:pt x="1529" y="829"/>
                </a:cubicBezTo>
                <a:cubicBezTo>
                  <a:pt x="1530" y="834"/>
                  <a:pt x="1530" y="838"/>
                  <a:pt x="1528" y="843"/>
                </a:cubicBezTo>
                <a:cubicBezTo>
                  <a:pt x="1528" y="844"/>
                  <a:pt x="1527" y="844"/>
                  <a:pt x="1527" y="844"/>
                </a:cubicBezTo>
                <a:cubicBezTo>
                  <a:pt x="1523" y="845"/>
                  <a:pt x="1520" y="847"/>
                  <a:pt x="1517" y="848"/>
                </a:cubicBezTo>
                <a:cubicBezTo>
                  <a:pt x="1512" y="851"/>
                  <a:pt x="1508" y="850"/>
                  <a:pt x="1505" y="846"/>
                </a:cubicBezTo>
                <a:cubicBezTo>
                  <a:pt x="1504" y="845"/>
                  <a:pt x="1504" y="844"/>
                  <a:pt x="1505" y="844"/>
                </a:cubicBezTo>
                <a:cubicBezTo>
                  <a:pt x="1506" y="841"/>
                  <a:pt x="1505" y="839"/>
                  <a:pt x="1503" y="837"/>
                </a:cubicBezTo>
                <a:cubicBezTo>
                  <a:pt x="1502" y="835"/>
                  <a:pt x="1500" y="833"/>
                  <a:pt x="1501" y="830"/>
                </a:cubicBezTo>
                <a:cubicBezTo>
                  <a:pt x="1502" y="828"/>
                  <a:pt x="1503" y="827"/>
                  <a:pt x="1504" y="825"/>
                </a:cubicBezTo>
                <a:cubicBezTo>
                  <a:pt x="1506" y="822"/>
                  <a:pt x="1508" y="820"/>
                  <a:pt x="1510" y="817"/>
                </a:cubicBezTo>
                <a:cubicBezTo>
                  <a:pt x="1510" y="817"/>
                  <a:pt x="1509" y="817"/>
                  <a:pt x="1509" y="817"/>
                </a:cubicBezTo>
                <a:cubicBezTo>
                  <a:pt x="1504" y="818"/>
                  <a:pt x="1499" y="820"/>
                  <a:pt x="1495" y="823"/>
                </a:cubicBezTo>
                <a:cubicBezTo>
                  <a:pt x="1491" y="827"/>
                  <a:pt x="1488" y="832"/>
                  <a:pt x="1488" y="839"/>
                </a:cubicBezTo>
                <a:cubicBezTo>
                  <a:pt x="1487" y="846"/>
                  <a:pt x="1489" y="852"/>
                  <a:pt x="1493" y="858"/>
                </a:cubicBezTo>
                <a:cubicBezTo>
                  <a:pt x="1493" y="859"/>
                  <a:pt x="1494" y="860"/>
                  <a:pt x="1494" y="861"/>
                </a:cubicBezTo>
                <a:cubicBezTo>
                  <a:pt x="1494" y="863"/>
                  <a:pt x="1493" y="865"/>
                  <a:pt x="1493" y="866"/>
                </a:cubicBezTo>
                <a:cubicBezTo>
                  <a:pt x="1492" y="868"/>
                  <a:pt x="1493" y="869"/>
                  <a:pt x="1494" y="869"/>
                </a:cubicBezTo>
                <a:cubicBezTo>
                  <a:pt x="1497" y="870"/>
                  <a:pt x="1500" y="870"/>
                  <a:pt x="1502" y="870"/>
                </a:cubicBezTo>
                <a:cubicBezTo>
                  <a:pt x="1503" y="870"/>
                  <a:pt x="1504" y="870"/>
                  <a:pt x="1504" y="869"/>
                </a:cubicBezTo>
                <a:cubicBezTo>
                  <a:pt x="1504" y="868"/>
                  <a:pt x="1504" y="867"/>
                  <a:pt x="1505" y="866"/>
                </a:cubicBezTo>
                <a:cubicBezTo>
                  <a:pt x="1507" y="863"/>
                  <a:pt x="1507" y="861"/>
                  <a:pt x="1507" y="858"/>
                </a:cubicBezTo>
                <a:cubicBezTo>
                  <a:pt x="1507" y="857"/>
                  <a:pt x="1507" y="857"/>
                  <a:pt x="1507" y="857"/>
                </a:cubicBezTo>
                <a:cubicBezTo>
                  <a:pt x="1507" y="856"/>
                  <a:pt x="1507" y="856"/>
                  <a:pt x="1507" y="856"/>
                </a:cubicBezTo>
                <a:cubicBezTo>
                  <a:pt x="1508" y="859"/>
                  <a:pt x="1509" y="859"/>
                  <a:pt x="1511" y="859"/>
                </a:cubicBezTo>
                <a:cubicBezTo>
                  <a:pt x="1512" y="859"/>
                  <a:pt x="1513" y="859"/>
                  <a:pt x="1514" y="859"/>
                </a:cubicBezTo>
                <a:cubicBezTo>
                  <a:pt x="1516" y="859"/>
                  <a:pt x="1519" y="859"/>
                  <a:pt x="1520" y="855"/>
                </a:cubicBezTo>
                <a:cubicBezTo>
                  <a:pt x="1520" y="857"/>
                  <a:pt x="1520" y="859"/>
                  <a:pt x="1520" y="860"/>
                </a:cubicBezTo>
                <a:cubicBezTo>
                  <a:pt x="1519" y="861"/>
                  <a:pt x="1517" y="861"/>
                  <a:pt x="1516" y="862"/>
                </a:cubicBezTo>
                <a:cubicBezTo>
                  <a:pt x="1515" y="863"/>
                  <a:pt x="1514" y="864"/>
                  <a:pt x="1515" y="865"/>
                </a:cubicBezTo>
                <a:cubicBezTo>
                  <a:pt x="1516" y="867"/>
                  <a:pt x="1517" y="869"/>
                  <a:pt x="1519" y="871"/>
                </a:cubicBezTo>
                <a:cubicBezTo>
                  <a:pt x="1520" y="872"/>
                  <a:pt x="1522" y="872"/>
                  <a:pt x="1524" y="870"/>
                </a:cubicBezTo>
                <a:cubicBezTo>
                  <a:pt x="1524" y="870"/>
                  <a:pt x="1525" y="869"/>
                  <a:pt x="1526" y="869"/>
                </a:cubicBezTo>
                <a:cubicBezTo>
                  <a:pt x="1528" y="867"/>
                  <a:pt x="1529" y="866"/>
                  <a:pt x="1531" y="865"/>
                </a:cubicBezTo>
                <a:cubicBezTo>
                  <a:pt x="1535" y="860"/>
                  <a:pt x="1537" y="854"/>
                  <a:pt x="1539" y="848"/>
                </a:cubicBezTo>
                <a:cubicBezTo>
                  <a:pt x="1539" y="848"/>
                  <a:pt x="1538" y="847"/>
                  <a:pt x="1537" y="847"/>
                </a:cubicBezTo>
                <a:cubicBezTo>
                  <a:pt x="1537" y="846"/>
                  <a:pt x="1535" y="845"/>
                  <a:pt x="1534" y="844"/>
                </a:cubicBezTo>
                <a:close/>
                <a:moveTo>
                  <a:pt x="1487" y="850"/>
                </a:moveTo>
                <a:cubicBezTo>
                  <a:pt x="1486" y="851"/>
                  <a:pt x="1485" y="852"/>
                  <a:pt x="1484" y="853"/>
                </a:cubicBezTo>
                <a:cubicBezTo>
                  <a:pt x="1483" y="853"/>
                  <a:pt x="1483" y="854"/>
                  <a:pt x="1483" y="855"/>
                </a:cubicBezTo>
                <a:cubicBezTo>
                  <a:pt x="1483" y="858"/>
                  <a:pt x="1487" y="862"/>
                  <a:pt x="1490" y="862"/>
                </a:cubicBezTo>
                <a:cubicBezTo>
                  <a:pt x="1492" y="862"/>
                  <a:pt x="1493" y="861"/>
                  <a:pt x="1492" y="859"/>
                </a:cubicBezTo>
                <a:cubicBezTo>
                  <a:pt x="1490" y="856"/>
                  <a:pt x="1489" y="853"/>
                  <a:pt x="1487" y="850"/>
                </a:cubicBezTo>
                <a:close/>
                <a:moveTo>
                  <a:pt x="1540" y="852"/>
                </a:moveTo>
                <a:cubicBezTo>
                  <a:pt x="1537" y="857"/>
                  <a:pt x="1535" y="861"/>
                  <a:pt x="1533" y="866"/>
                </a:cubicBezTo>
                <a:cubicBezTo>
                  <a:pt x="1535" y="866"/>
                  <a:pt x="1538" y="866"/>
                  <a:pt x="1540" y="866"/>
                </a:cubicBezTo>
                <a:cubicBezTo>
                  <a:pt x="1541" y="866"/>
                  <a:pt x="1541" y="865"/>
                  <a:pt x="1541" y="864"/>
                </a:cubicBezTo>
                <a:cubicBezTo>
                  <a:pt x="1541" y="861"/>
                  <a:pt x="1541" y="859"/>
                  <a:pt x="1541" y="857"/>
                </a:cubicBezTo>
                <a:cubicBezTo>
                  <a:pt x="1540" y="855"/>
                  <a:pt x="1540" y="854"/>
                  <a:pt x="1540" y="852"/>
                </a:cubicBezTo>
                <a:close/>
                <a:moveTo>
                  <a:pt x="1487" y="832"/>
                </a:moveTo>
                <a:cubicBezTo>
                  <a:pt x="1486" y="832"/>
                  <a:pt x="1486" y="833"/>
                  <a:pt x="1485" y="833"/>
                </a:cubicBezTo>
                <a:cubicBezTo>
                  <a:pt x="1484" y="833"/>
                  <a:pt x="1484" y="833"/>
                  <a:pt x="1484" y="832"/>
                </a:cubicBezTo>
                <a:cubicBezTo>
                  <a:pt x="1483" y="832"/>
                  <a:pt x="1483" y="831"/>
                  <a:pt x="1483" y="830"/>
                </a:cubicBezTo>
                <a:cubicBezTo>
                  <a:pt x="1484" y="829"/>
                  <a:pt x="1484" y="827"/>
                  <a:pt x="1485" y="825"/>
                </a:cubicBezTo>
                <a:cubicBezTo>
                  <a:pt x="1484" y="825"/>
                  <a:pt x="1484" y="825"/>
                  <a:pt x="1484" y="825"/>
                </a:cubicBezTo>
                <a:cubicBezTo>
                  <a:pt x="1483" y="825"/>
                  <a:pt x="1482" y="826"/>
                  <a:pt x="1481" y="827"/>
                </a:cubicBezTo>
                <a:cubicBezTo>
                  <a:pt x="1480" y="829"/>
                  <a:pt x="1482" y="834"/>
                  <a:pt x="1484" y="834"/>
                </a:cubicBezTo>
                <a:cubicBezTo>
                  <a:pt x="1485" y="835"/>
                  <a:pt x="1487" y="834"/>
                  <a:pt x="1487" y="832"/>
                </a:cubicBezTo>
                <a:close/>
                <a:moveTo>
                  <a:pt x="1487" y="850"/>
                </a:moveTo>
                <a:cubicBezTo>
                  <a:pt x="1486" y="851"/>
                  <a:pt x="1485" y="852"/>
                  <a:pt x="1483" y="853"/>
                </a:cubicBezTo>
                <a:cubicBezTo>
                  <a:pt x="1483" y="853"/>
                  <a:pt x="1483" y="854"/>
                  <a:pt x="1483" y="855"/>
                </a:cubicBezTo>
                <a:cubicBezTo>
                  <a:pt x="1483" y="858"/>
                  <a:pt x="1487" y="862"/>
                  <a:pt x="1490" y="862"/>
                </a:cubicBezTo>
                <a:cubicBezTo>
                  <a:pt x="1492" y="862"/>
                  <a:pt x="1493" y="860"/>
                  <a:pt x="1492" y="859"/>
                </a:cubicBezTo>
                <a:cubicBezTo>
                  <a:pt x="1490" y="856"/>
                  <a:pt x="1489" y="853"/>
                  <a:pt x="1487" y="850"/>
                </a:cubicBezTo>
                <a:close/>
                <a:moveTo>
                  <a:pt x="1540" y="852"/>
                </a:moveTo>
                <a:cubicBezTo>
                  <a:pt x="1537" y="857"/>
                  <a:pt x="1535" y="862"/>
                  <a:pt x="1532" y="866"/>
                </a:cubicBezTo>
                <a:cubicBezTo>
                  <a:pt x="1535" y="866"/>
                  <a:pt x="1538" y="866"/>
                  <a:pt x="1540" y="866"/>
                </a:cubicBezTo>
                <a:cubicBezTo>
                  <a:pt x="1541" y="866"/>
                  <a:pt x="1541" y="865"/>
                  <a:pt x="1541" y="864"/>
                </a:cubicBezTo>
                <a:cubicBezTo>
                  <a:pt x="1541" y="862"/>
                  <a:pt x="1541" y="859"/>
                  <a:pt x="1541" y="857"/>
                </a:cubicBezTo>
                <a:cubicBezTo>
                  <a:pt x="1540" y="855"/>
                  <a:pt x="1540" y="854"/>
                  <a:pt x="1540" y="852"/>
                </a:cubicBezTo>
                <a:close/>
                <a:moveTo>
                  <a:pt x="1487" y="832"/>
                </a:moveTo>
                <a:cubicBezTo>
                  <a:pt x="1486" y="832"/>
                  <a:pt x="1485" y="833"/>
                  <a:pt x="1485" y="833"/>
                </a:cubicBezTo>
                <a:cubicBezTo>
                  <a:pt x="1484" y="833"/>
                  <a:pt x="1484" y="833"/>
                  <a:pt x="1484" y="832"/>
                </a:cubicBezTo>
                <a:cubicBezTo>
                  <a:pt x="1483" y="832"/>
                  <a:pt x="1483" y="831"/>
                  <a:pt x="1483" y="830"/>
                </a:cubicBezTo>
                <a:cubicBezTo>
                  <a:pt x="1484" y="828"/>
                  <a:pt x="1484" y="826"/>
                  <a:pt x="1485" y="825"/>
                </a:cubicBezTo>
                <a:cubicBezTo>
                  <a:pt x="1484" y="825"/>
                  <a:pt x="1484" y="825"/>
                  <a:pt x="1484" y="825"/>
                </a:cubicBezTo>
                <a:cubicBezTo>
                  <a:pt x="1483" y="825"/>
                  <a:pt x="1482" y="826"/>
                  <a:pt x="1481" y="827"/>
                </a:cubicBezTo>
                <a:cubicBezTo>
                  <a:pt x="1481" y="828"/>
                  <a:pt x="1482" y="834"/>
                  <a:pt x="1484" y="834"/>
                </a:cubicBezTo>
                <a:cubicBezTo>
                  <a:pt x="1485" y="835"/>
                  <a:pt x="1487" y="834"/>
                  <a:pt x="1487" y="832"/>
                </a:cubicBezTo>
                <a:close/>
                <a:moveTo>
                  <a:pt x="1539" y="824"/>
                </a:moveTo>
                <a:cubicBezTo>
                  <a:pt x="1542" y="820"/>
                  <a:pt x="1542" y="820"/>
                  <a:pt x="1546" y="819"/>
                </a:cubicBezTo>
                <a:cubicBezTo>
                  <a:pt x="1546" y="821"/>
                  <a:pt x="1548" y="822"/>
                  <a:pt x="1549" y="822"/>
                </a:cubicBezTo>
                <a:cubicBezTo>
                  <a:pt x="1547" y="823"/>
                  <a:pt x="1545" y="825"/>
                  <a:pt x="1543" y="826"/>
                </a:cubicBezTo>
                <a:cubicBezTo>
                  <a:pt x="1542" y="825"/>
                  <a:pt x="1542" y="824"/>
                  <a:pt x="1541" y="823"/>
                </a:cubicBezTo>
                <a:cubicBezTo>
                  <a:pt x="1540" y="823"/>
                  <a:pt x="1540" y="823"/>
                  <a:pt x="1539" y="824"/>
                </a:cubicBezTo>
                <a:close/>
                <a:moveTo>
                  <a:pt x="1545" y="823"/>
                </a:moveTo>
                <a:cubicBezTo>
                  <a:pt x="1544" y="823"/>
                  <a:pt x="1544" y="822"/>
                  <a:pt x="1543" y="822"/>
                </a:cubicBezTo>
                <a:cubicBezTo>
                  <a:pt x="1543" y="822"/>
                  <a:pt x="1542" y="823"/>
                  <a:pt x="1542" y="824"/>
                </a:cubicBezTo>
                <a:cubicBezTo>
                  <a:pt x="1542" y="824"/>
                  <a:pt x="1542" y="824"/>
                  <a:pt x="1543" y="825"/>
                </a:cubicBezTo>
                <a:cubicBezTo>
                  <a:pt x="1544" y="824"/>
                  <a:pt x="1544" y="824"/>
                  <a:pt x="1545" y="823"/>
                </a:cubicBezTo>
                <a:close/>
                <a:moveTo>
                  <a:pt x="1526" y="814"/>
                </a:moveTo>
                <a:cubicBezTo>
                  <a:pt x="1520" y="813"/>
                  <a:pt x="1517" y="815"/>
                  <a:pt x="1516" y="823"/>
                </a:cubicBezTo>
                <a:cubicBezTo>
                  <a:pt x="1517" y="821"/>
                  <a:pt x="1518" y="819"/>
                  <a:pt x="1519" y="816"/>
                </a:cubicBezTo>
                <a:cubicBezTo>
                  <a:pt x="1520" y="816"/>
                  <a:pt x="1520" y="816"/>
                  <a:pt x="1520" y="816"/>
                </a:cubicBezTo>
                <a:cubicBezTo>
                  <a:pt x="1520" y="818"/>
                  <a:pt x="1520" y="818"/>
                  <a:pt x="1520" y="819"/>
                </a:cubicBezTo>
                <a:cubicBezTo>
                  <a:pt x="1521" y="816"/>
                  <a:pt x="1523" y="814"/>
                  <a:pt x="1526" y="814"/>
                </a:cubicBezTo>
                <a:close/>
                <a:moveTo>
                  <a:pt x="1570" y="815"/>
                </a:moveTo>
                <a:cubicBezTo>
                  <a:pt x="1568" y="817"/>
                  <a:pt x="1566" y="818"/>
                  <a:pt x="1565" y="819"/>
                </a:cubicBezTo>
                <a:cubicBezTo>
                  <a:pt x="1567" y="820"/>
                  <a:pt x="1569" y="818"/>
                  <a:pt x="1570" y="815"/>
                </a:cubicBezTo>
                <a:close/>
                <a:moveTo>
                  <a:pt x="1537" y="817"/>
                </a:moveTo>
                <a:cubicBezTo>
                  <a:pt x="1538" y="816"/>
                  <a:pt x="1539" y="815"/>
                  <a:pt x="1540" y="813"/>
                </a:cubicBezTo>
                <a:cubicBezTo>
                  <a:pt x="1537" y="815"/>
                  <a:pt x="1536" y="815"/>
                  <a:pt x="1537" y="817"/>
                </a:cubicBezTo>
                <a:close/>
                <a:moveTo>
                  <a:pt x="1546" y="839"/>
                </a:moveTo>
                <a:cubicBezTo>
                  <a:pt x="1545" y="839"/>
                  <a:pt x="1544" y="840"/>
                  <a:pt x="1544" y="841"/>
                </a:cubicBezTo>
                <a:cubicBezTo>
                  <a:pt x="1544" y="840"/>
                  <a:pt x="1546" y="840"/>
                  <a:pt x="1546" y="839"/>
                </a:cubicBezTo>
                <a:close/>
                <a:moveTo>
                  <a:pt x="1545" y="823"/>
                </a:moveTo>
                <a:cubicBezTo>
                  <a:pt x="1545" y="823"/>
                  <a:pt x="1544" y="823"/>
                  <a:pt x="1543" y="823"/>
                </a:cubicBezTo>
                <a:cubicBezTo>
                  <a:pt x="1543" y="823"/>
                  <a:pt x="1542" y="823"/>
                  <a:pt x="1542" y="824"/>
                </a:cubicBezTo>
                <a:cubicBezTo>
                  <a:pt x="1542" y="824"/>
                  <a:pt x="1543" y="825"/>
                  <a:pt x="1543" y="825"/>
                </a:cubicBezTo>
                <a:cubicBezTo>
                  <a:pt x="1544" y="825"/>
                  <a:pt x="1544" y="824"/>
                  <a:pt x="1545" y="823"/>
                </a:cubicBezTo>
                <a:close/>
                <a:moveTo>
                  <a:pt x="1093" y="705"/>
                </a:moveTo>
                <a:cubicBezTo>
                  <a:pt x="1093" y="705"/>
                  <a:pt x="1093" y="705"/>
                  <a:pt x="1093" y="705"/>
                </a:cubicBezTo>
                <a:cubicBezTo>
                  <a:pt x="1088" y="705"/>
                  <a:pt x="1088" y="705"/>
                  <a:pt x="1088" y="705"/>
                </a:cubicBezTo>
                <a:cubicBezTo>
                  <a:pt x="1086" y="706"/>
                  <a:pt x="1085" y="708"/>
                  <a:pt x="1082" y="709"/>
                </a:cubicBezTo>
                <a:cubicBezTo>
                  <a:pt x="1081" y="710"/>
                  <a:pt x="1079" y="711"/>
                  <a:pt x="1077" y="712"/>
                </a:cubicBezTo>
                <a:cubicBezTo>
                  <a:pt x="1076" y="713"/>
                  <a:pt x="1074" y="714"/>
                  <a:pt x="1072" y="714"/>
                </a:cubicBezTo>
                <a:cubicBezTo>
                  <a:pt x="1070" y="715"/>
                  <a:pt x="1069" y="716"/>
                  <a:pt x="1066" y="716"/>
                </a:cubicBezTo>
                <a:cubicBezTo>
                  <a:pt x="1066" y="716"/>
                  <a:pt x="1066" y="716"/>
                  <a:pt x="1066" y="726"/>
                </a:cubicBezTo>
                <a:cubicBezTo>
                  <a:pt x="1069" y="725"/>
                  <a:pt x="1072" y="725"/>
                  <a:pt x="1074" y="723"/>
                </a:cubicBezTo>
                <a:cubicBezTo>
                  <a:pt x="1077" y="722"/>
                  <a:pt x="1079" y="721"/>
                  <a:pt x="1082" y="720"/>
                </a:cubicBezTo>
                <a:cubicBezTo>
                  <a:pt x="1082" y="720"/>
                  <a:pt x="1082" y="720"/>
                  <a:pt x="1082" y="778"/>
                </a:cubicBezTo>
                <a:cubicBezTo>
                  <a:pt x="1082" y="778"/>
                  <a:pt x="1082" y="778"/>
                  <a:pt x="1093" y="778"/>
                </a:cubicBezTo>
                <a:cubicBezTo>
                  <a:pt x="1093" y="778"/>
                  <a:pt x="1093" y="778"/>
                  <a:pt x="1093" y="705"/>
                </a:cubicBezTo>
                <a:close/>
                <a:moveTo>
                  <a:pt x="1140" y="705"/>
                </a:moveTo>
                <a:cubicBezTo>
                  <a:pt x="1140" y="705"/>
                  <a:pt x="1140" y="705"/>
                  <a:pt x="1140" y="705"/>
                </a:cubicBezTo>
                <a:cubicBezTo>
                  <a:pt x="1135" y="705"/>
                  <a:pt x="1135" y="705"/>
                  <a:pt x="1135" y="705"/>
                </a:cubicBezTo>
                <a:cubicBezTo>
                  <a:pt x="1134" y="706"/>
                  <a:pt x="1131" y="708"/>
                  <a:pt x="1130" y="709"/>
                </a:cubicBezTo>
                <a:cubicBezTo>
                  <a:pt x="1128" y="710"/>
                  <a:pt x="1126" y="711"/>
                  <a:pt x="1124" y="712"/>
                </a:cubicBezTo>
                <a:cubicBezTo>
                  <a:pt x="1123" y="713"/>
                  <a:pt x="1120" y="714"/>
                  <a:pt x="1119" y="714"/>
                </a:cubicBezTo>
                <a:cubicBezTo>
                  <a:pt x="1117" y="715"/>
                  <a:pt x="1115" y="716"/>
                  <a:pt x="1113" y="716"/>
                </a:cubicBezTo>
                <a:cubicBezTo>
                  <a:pt x="1113" y="716"/>
                  <a:pt x="1113" y="716"/>
                  <a:pt x="1113" y="726"/>
                </a:cubicBezTo>
                <a:cubicBezTo>
                  <a:pt x="1116" y="725"/>
                  <a:pt x="1119" y="725"/>
                  <a:pt x="1122" y="723"/>
                </a:cubicBezTo>
                <a:cubicBezTo>
                  <a:pt x="1124" y="722"/>
                  <a:pt x="1126" y="721"/>
                  <a:pt x="1129" y="720"/>
                </a:cubicBezTo>
                <a:cubicBezTo>
                  <a:pt x="1129" y="720"/>
                  <a:pt x="1129" y="720"/>
                  <a:pt x="1129" y="778"/>
                </a:cubicBezTo>
                <a:cubicBezTo>
                  <a:pt x="1129" y="778"/>
                  <a:pt x="1129" y="778"/>
                  <a:pt x="1140" y="778"/>
                </a:cubicBezTo>
                <a:cubicBezTo>
                  <a:pt x="1140" y="778"/>
                  <a:pt x="1140" y="778"/>
                  <a:pt x="1140" y="705"/>
                </a:cubicBezTo>
                <a:close/>
                <a:moveTo>
                  <a:pt x="1186" y="705"/>
                </a:moveTo>
                <a:cubicBezTo>
                  <a:pt x="1186" y="705"/>
                  <a:pt x="1186" y="705"/>
                  <a:pt x="1186" y="705"/>
                </a:cubicBezTo>
                <a:cubicBezTo>
                  <a:pt x="1182" y="705"/>
                  <a:pt x="1182" y="705"/>
                  <a:pt x="1182" y="705"/>
                </a:cubicBezTo>
                <a:cubicBezTo>
                  <a:pt x="1179" y="706"/>
                  <a:pt x="1178" y="708"/>
                  <a:pt x="1176" y="709"/>
                </a:cubicBezTo>
                <a:cubicBezTo>
                  <a:pt x="1174" y="710"/>
                  <a:pt x="1172" y="711"/>
                  <a:pt x="1171" y="712"/>
                </a:cubicBezTo>
                <a:cubicBezTo>
                  <a:pt x="1169" y="712"/>
                  <a:pt x="1167" y="713"/>
                  <a:pt x="1165" y="714"/>
                </a:cubicBezTo>
                <a:cubicBezTo>
                  <a:pt x="1164" y="714"/>
                  <a:pt x="1161" y="715"/>
                  <a:pt x="1160" y="716"/>
                </a:cubicBezTo>
                <a:cubicBezTo>
                  <a:pt x="1160" y="716"/>
                  <a:pt x="1160" y="716"/>
                  <a:pt x="1160" y="726"/>
                </a:cubicBezTo>
                <a:cubicBezTo>
                  <a:pt x="1163" y="725"/>
                  <a:pt x="1166" y="724"/>
                  <a:pt x="1168" y="723"/>
                </a:cubicBezTo>
                <a:cubicBezTo>
                  <a:pt x="1170" y="722"/>
                  <a:pt x="1173" y="721"/>
                  <a:pt x="1174" y="720"/>
                </a:cubicBezTo>
                <a:cubicBezTo>
                  <a:pt x="1174" y="720"/>
                  <a:pt x="1174" y="720"/>
                  <a:pt x="1174" y="778"/>
                </a:cubicBezTo>
                <a:cubicBezTo>
                  <a:pt x="1174" y="778"/>
                  <a:pt x="1174" y="778"/>
                  <a:pt x="1186" y="778"/>
                </a:cubicBezTo>
                <a:cubicBezTo>
                  <a:pt x="1186" y="778"/>
                  <a:pt x="1186" y="778"/>
                  <a:pt x="1186" y="705"/>
                </a:cubicBezTo>
                <a:close/>
                <a:moveTo>
                  <a:pt x="1323" y="737"/>
                </a:moveTo>
                <a:cubicBezTo>
                  <a:pt x="1323" y="737"/>
                  <a:pt x="1323" y="737"/>
                  <a:pt x="1323" y="737"/>
                </a:cubicBezTo>
                <a:cubicBezTo>
                  <a:pt x="1322" y="746"/>
                  <a:pt x="1322" y="746"/>
                  <a:pt x="1322" y="746"/>
                </a:cubicBezTo>
                <a:cubicBezTo>
                  <a:pt x="1329" y="746"/>
                  <a:pt x="1329" y="749"/>
                  <a:pt x="1329" y="752"/>
                </a:cubicBezTo>
                <a:cubicBezTo>
                  <a:pt x="1329" y="754"/>
                  <a:pt x="1329" y="756"/>
                  <a:pt x="1329" y="759"/>
                </a:cubicBezTo>
                <a:cubicBezTo>
                  <a:pt x="1329" y="761"/>
                  <a:pt x="1328" y="763"/>
                  <a:pt x="1328" y="766"/>
                </a:cubicBezTo>
                <a:cubicBezTo>
                  <a:pt x="1328" y="775"/>
                  <a:pt x="1334" y="778"/>
                  <a:pt x="1343" y="778"/>
                </a:cubicBezTo>
                <a:cubicBezTo>
                  <a:pt x="1343" y="778"/>
                  <a:pt x="1343" y="778"/>
                  <a:pt x="1347" y="778"/>
                </a:cubicBezTo>
                <a:cubicBezTo>
                  <a:pt x="1347" y="778"/>
                  <a:pt x="1347" y="778"/>
                  <a:pt x="1347" y="769"/>
                </a:cubicBezTo>
                <a:cubicBezTo>
                  <a:pt x="1347" y="769"/>
                  <a:pt x="1347" y="769"/>
                  <a:pt x="1345" y="769"/>
                </a:cubicBezTo>
                <a:cubicBezTo>
                  <a:pt x="1341" y="769"/>
                  <a:pt x="1340" y="767"/>
                  <a:pt x="1340" y="763"/>
                </a:cubicBezTo>
                <a:cubicBezTo>
                  <a:pt x="1340" y="762"/>
                  <a:pt x="1340" y="760"/>
                  <a:pt x="1341" y="759"/>
                </a:cubicBezTo>
                <a:cubicBezTo>
                  <a:pt x="1341" y="757"/>
                  <a:pt x="1341" y="755"/>
                  <a:pt x="1341" y="753"/>
                </a:cubicBezTo>
                <a:cubicBezTo>
                  <a:pt x="1341" y="745"/>
                  <a:pt x="1338" y="743"/>
                  <a:pt x="1332" y="741"/>
                </a:cubicBezTo>
                <a:cubicBezTo>
                  <a:pt x="1332" y="741"/>
                  <a:pt x="1332" y="741"/>
                  <a:pt x="1332" y="741"/>
                </a:cubicBezTo>
                <a:cubicBezTo>
                  <a:pt x="1338" y="740"/>
                  <a:pt x="1341" y="738"/>
                  <a:pt x="1341" y="730"/>
                </a:cubicBezTo>
                <a:cubicBezTo>
                  <a:pt x="1341" y="728"/>
                  <a:pt x="1341" y="726"/>
                  <a:pt x="1341" y="724"/>
                </a:cubicBezTo>
                <a:cubicBezTo>
                  <a:pt x="1340" y="722"/>
                  <a:pt x="1340" y="720"/>
                  <a:pt x="1340" y="719"/>
                </a:cubicBezTo>
                <a:cubicBezTo>
                  <a:pt x="1340" y="716"/>
                  <a:pt x="1341" y="713"/>
                  <a:pt x="1345" y="713"/>
                </a:cubicBezTo>
                <a:cubicBezTo>
                  <a:pt x="1345" y="713"/>
                  <a:pt x="1345" y="713"/>
                  <a:pt x="1347" y="713"/>
                </a:cubicBezTo>
                <a:cubicBezTo>
                  <a:pt x="1347" y="713"/>
                  <a:pt x="1347" y="713"/>
                  <a:pt x="1347" y="704"/>
                </a:cubicBezTo>
                <a:cubicBezTo>
                  <a:pt x="1347" y="704"/>
                  <a:pt x="1347" y="704"/>
                  <a:pt x="1343" y="704"/>
                </a:cubicBezTo>
                <a:cubicBezTo>
                  <a:pt x="1334" y="704"/>
                  <a:pt x="1328" y="708"/>
                  <a:pt x="1328" y="717"/>
                </a:cubicBezTo>
                <a:cubicBezTo>
                  <a:pt x="1328" y="719"/>
                  <a:pt x="1329" y="722"/>
                  <a:pt x="1329" y="724"/>
                </a:cubicBezTo>
                <a:cubicBezTo>
                  <a:pt x="1329" y="726"/>
                  <a:pt x="1329" y="729"/>
                  <a:pt x="1329" y="731"/>
                </a:cubicBezTo>
                <a:cubicBezTo>
                  <a:pt x="1329" y="734"/>
                  <a:pt x="1329" y="737"/>
                  <a:pt x="1323" y="737"/>
                </a:cubicBezTo>
                <a:close/>
                <a:moveTo>
                  <a:pt x="1377" y="746"/>
                </a:moveTo>
                <a:cubicBezTo>
                  <a:pt x="1377" y="746"/>
                  <a:pt x="1377" y="746"/>
                  <a:pt x="1377" y="746"/>
                </a:cubicBezTo>
                <a:cubicBezTo>
                  <a:pt x="1377" y="737"/>
                  <a:pt x="1377" y="737"/>
                  <a:pt x="1377" y="737"/>
                </a:cubicBezTo>
                <a:cubicBezTo>
                  <a:pt x="1371" y="737"/>
                  <a:pt x="1371" y="734"/>
                  <a:pt x="1371" y="731"/>
                </a:cubicBezTo>
                <a:cubicBezTo>
                  <a:pt x="1371" y="729"/>
                  <a:pt x="1371" y="726"/>
                  <a:pt x="1371" y="724"/>
                </a:cubicBezTo>
                <a:cubicBezTo>
                  <a:pt x="1372" y="722"/>
                  <a:pt x="1372" y="719"/>
                  <a:pt x="1372" y="717"/>
                </a:cubicBezTo>
                <a:cubicBezTo>
                  <a:pt x="1372" y="708"/>
                  <a:pt x="1366" y="704"/>
                  <a:pt x="1357" y="704"/>
                </a:cubicBezTo>
                <a:cubicBezTo>
                  <a:pt x="1357" y="704"/>
                  <a:pt x="1357" y="704"/>
                  <a:pt x="1353" y="704"/>
                </a:cubicBezTo>
                <a:cubicBezTo>
                  <a:pt x="1353" y="704"/>
                  <a:pt x="1353" y="704"/>
                  <a:pt x="1353" y="713"/>
                </a:cubicBezTo>
                <a:cubicBezTo>
                  <a:pt x="1353" y="713"/>
                  <a:pt x="1353" y="713"/>
                  <a:pt x="1355" y="713"/>
                </a:cubicBezTo>
                <a:cubicBezTo>
                  <a:pt x="1359" y="713"/>
                  <a:pt x="1360" y="716"/>
                  <a:pt x="1360" y="719"/>
                </a:cubicBezTo>
                <a:cubicBezTo>
                  <a:pt x="1360" y="720"/>
                  <a:pt x="1360" y="722"/>
                  <a:pt x="1360" y="724"/>
                </a:cubicBezTo>
                <a:cubicBezTo>
                  <a:pt x="1359" y="726"/>
                  <a:pt x="1359" y="728"/>
                  <a:pt x="1359" y="730"/>
                </a:cubicBezTo>
                <a:cubicBezTo>
                  <a:pt x="1359" y="738"/>
                  <a:pt x="1362" y="740"/>
                  <a:pt x="1368" y="741"/>
                </a:cubicBezTo>
                <a:cubicBezTo>
                  <a:pt x="1368" y="741"/>
                  <a:pt x="1368" y="741"/>
                  <a:pt x="1368" y="741"/>
                </a:cubicBezTo>
                <a:cubicBezTo>
                  <a:pt x="1362" y="743"/>
                  <a:pt x="1359" y="745"/>
                  <a:pt x="1359" y="753"/>
                </a:cubicBezTo>
                <a:cubicBezTo>
                  <a:pt x="1359" y="755"/>
                  <a:pt x="1359" y="757"/>
                  <a:pt x="1360" y="759"/>
                </a:cubicBezTo>
                <a:cubicBezTo>
                  <a:pt x="1360" y="760"/>
                  <a:pt x="1360" y="762"/>
                  <a:pt x="1360" y="763"/>
                </a:cubicBezTo>
                <a:cubicBezTo>
                  <a:pt x="1360" y="767"/>
                  <a:pt x="1359" y="769"/>
                  <a:pt x="1355" y="769"/>
                </a:cubicBezTo>
                <a:cubicBezTo>
                  <a:pt x="1355" y="769"/>
                  <a:pt x="1355" y="769"/>
                  <a:pt x="1353" y="769"/>
                </a:cubicBezTo>
                <a:cubicBezTo>
                  <a:pt x="1353" y="769"/>
                  <a:pt x="1353" y="769"/>
                  <a:pt x="1353" y="778"/>
                </a:cubicBezTo>
                <a:cubicBezTo>
                  <a:pt x="1353" y="778"/>
                  <a:pt x="1353" y="778"/>
                  <a:pt x="1357" y="778"/>
                </a:cubicBezTo>
                <a:cubicBezTo>
                  <a:pt x="1366" y="778"/>
                  <a:pt x="1372" y="775"/>
                  <a:pt x="1372" y="766"/>
                </a:cubicBezTo>
                <a:cubicBezTo>
                  <a:pt x="1372" y="763"/>
                  <a:pt x="1372" y="761"/>
                  <a:pt x="1371" y="759"/>
                </a:cubicBezTo>
                <a:cubicBezTo>
                  <a:pt x="1371" y="756"/>
                  <a:pt x="1371" y="754"/>
                  <a:pt x="1371" y="752"/>
                </a:cubicBezTo>
                <a:cubicBezTo>
                  <a:pt x="1371" y="749"/>
                  <a:pt x="1371" y="746"/>
                  <a:pt x="1377" y="746"/>
                </a:cubicBezTo>
                <a:close/>
                <a:moveTo>
                  <a:pt x="1424" y="705"/>
                </a:moveTo>
                <a:cubicBezTo>
                  <a:pt x="1424" y="705"/>
                  <a:pt x="1424" y="705"/>
                  <a:pt x="1424" y="705"/>
                </a:cubicBezTo>
                <a:cubicBezTo>
                  <a:pt x="1419" y="705"/>
                  <a:pt x="1419" y="705"/>
                  <a:pt x="1419" y="705"/>
                </a:cubicBezTo>
                <a:cubicBezTo>
                  <a:pt x="1417" y="706"/>
                  <a:pt x="1416" y="708"/>
                  <a:pt x="1413" y="709"/>
                </a:cubicBezTo>
                <a:cubicBezTo>
                  <a:pt x="1412" y="710"/>
                  <a:pt x="1410" y="711"/>
                  <a:pt x="1408" y="712"/>
                </a:cubicBezTo>
                <a:cubicBezTo>
                  <a:pt x="1406" y="712"/>
                  <a:pt x="1405" y="713"/>
                  <a:pt x="1403" y="714"/>
                </a:cubicBezTo>
                <a:cubicBezTo>
                  <a:pt x="1401" y="714"/>
                  <a:pt x="1399" y="715"/>
                  <a:pt x="1397" y="716"/>
                </a:cubicBezTo>
                <a:cubicBezTo>
                  <a:pt x="1397" y="716"/>
                  <a:pt x="1397" y="716"/>
                  <a:pt x="1397" y="726"/>
                </a:cubicBezTo>
                <a:cubicBezTo>
                  <a:pt x="1400" y="725"/>
                  <a:pt x="1403" y="724"/>
                  <a:pt x="1405" y="723"/>
                </a:cubicBezTo>
                <a:cubicBezTo>
                  <a:pt x="1408" y="722"/>
                  <a:pt x="1410" y="721"/>
                  <a:pt x="1413" y="720"/>
                </a:cubicBezTo>
                <a:cubicBezTo>
                  <a:pt x="1413" y="720"/>
                  <a:pt x="1413" y="720"/>
                  <a:pt x="1413" y="778"/>
                </a:cubicBezTo>
                <a:cubicBezTo>
                  <a:pt x="1413" y="778"/>
                  <a:pt x="1413" y="778"/>
                  <a:pt x="1424" y="778"/>
                </a:cubicBezTo>
                <a:cubicBezTo>
                  <a:pt x="1424" y="778"/>
                  <a:pt x="1424" y="778"/>
                  <a:pt x="1424" y="705"/>
                </a:cubicBezTo>
                <a:close/>
                <a:moveTo>
                  <a:pt x="1471" y="705"/>
                </a:moveTo>
                <a:cubicBezTo>
                  <a:pt x="1471" y="705"/>
                  <a:pt x="1471" y="705"/>
                  <a:pt x="1471" y="705"/>
                </a:cubicBezTo>
                <a:cubicBezTo>
                  <a:pt x="1466" y="705"/>
                  <a:pt x="1466" y="705"/>
                  <a:pt x="1466" y="705"/>
                </a:cubicBezTo>
                <a:cubicBezTo>
                  <a:pt x="1463" y="706"/>
                  <a:pt x="1462" y="708"/>
                  <a:pt x="1460" y="709"/>
                </a:cubicBezTo>
                <a:cubicBezTo>
                  <a:pt x="1458" y="710"/>
                  <a:pt x="1456" y="711"/>
                  <a:pt x="1455" y="712"/>
                </a:cubicBezTo>
                <a:cubicBezTo>
                  <a:pt x="1453" y="713"/>
                  <a:pt x="1451" y="714"/>
                  <a:pt x="1450" y="714"/>
                </a:cubicBezTo>
                <a:cubicBezTo>
                  <a:pt x="1448" y="715"/>
                  <a:pt x="1446" y="716"/>
                  <a:pt x="1444" y="716"/>
                </a:cubicBezTo>
                <a:cubicBezTo>
                  <a:pt x="1444" y="716"/>
                  <a:pt x="1444" y="716"/>
                  <a:pt x="1444" y="726"/>
                </a:cubicBezTo>
                <a:cubicBezTo>
                  <a:pt x="1447" y="725"/>
                  <a:pt x="1450" y="725"/>
                  <a:pt x="1452" y="723"/>
                </a:cubicBezTo>
                <a:cubicBezTo>
                  <a:pt x="1455" y="722"/>
                  <a:pt x="1457" y="721"/>
                  <a:pt x="1459" y="720"/>
                </a:cubicBezTo>
                <a:cubicBezTo>
                  <a:pt x="1459" y="720"/>
                  <a:pt x="1459" y="720"/>
                  <a:pt x="1459" y="778"/>
                </a:cubicBezTo>
                <a:cubicBezTo>
                  <a:pt x="1459" y="778"/>
                  <a:pt x="1459" y="778"/>
                  <a:pt x="1471" y="778"/>
                </a:cubicBezTo>
                <a:cubicBezTo>
                  <a:pt x="1471" y="778"/>
                  <a:pt x="1471" y="778"/>
                  <a:pt x="1471" y="705"/>
                </a:cubicBezTo>
                <a:close/>
                <a:moveTo>
                  <a:pt x="1517" y="705"/>
                </a:moveTo>
                <a:cubicBezTo>
                  <a:pt x="1517" y="705"/>
                  <a:pt x="1517" y="705"/>
                  <a:pt x="1517" y="705"/>
                </a:cubicBezTo>
                <a:cubicBezTo>
                  <a:pt x="1512" y="705"/>
                  <a:pt x="1512" y="705"/>
                  <a:pt x="1512" y="705"/>
                </a:cubicBezTo>
                <a:cubicBezTo>
                  <a:pt x="1510" y="706"/>
                  <a:pt x="1509" y="708"/>
                  <a:pt x="1507" y="709"/>
                </a:cubicBezTo>
                <a:cubicBezTo>
                  <a:pt x="1505" y="710"/>
                  <a:pt x="1503" y="711"/>
                  <a:pt x="1502" y="712"/>
                </a:cubicBezTo>
                <a:cubicBezTo>
                  <a:pt x="1499" y="713"/>
                  <a:pt x="1498" y="714"/>
                  <a:pt x="1496" y="714"/>
                </a:cubicBezTo>
                <a:cubicBezTo>
                  <a:pt x="1494" y="715"/>
                  <a:pt x="1492" y="716"/>
                  <a:pt x="1491" y="716"/>
                </a:cubicBezTo>
                <a:cubicBezTo>
                  <a:pt x="1491" y="716"/>
                  <a:pt x="1491" y="716"/>
                  <a:pt x="1491" y="726"/>
                </a:cubicBezTo>
                <a:cubicBezTo>
                  <a:pt x="1494" y="725"/>
                  <a:pt x="1496" y="725"/>
                  <a:pt x="1499" y="723"/>
                </a:cubicBezTo>
                <a:cubicBezTo>
                  <a:pt x="1501" y="722"/>
                  <a:pt x="1504" y="721"/>
                  <a:pt x="1505" y="720"/>
                </a:cubicBezTo>
                <a:cubicBezTo>
                  <a:pt x="1505" y="720"/>
                  <a:pt x="1505" y="720"/>
                  <a:pt x="1505" y="778"/>
                </a:cubicBezTo>
                <a:cubicBezTo>
                  <a:pt x="1505" y="778"/>
                  <a:pt x="1505" y="778"/>
                  <a:pt x="1517" y="778"/>
                </a:cubicBezTo>
                <a:cubicBezTo>
                  <a:pt x="1517" y="778"/>
                  <a:pt x="1517" y="778"/>
                  <a:pt x="1517" y="705"/>
                </a:cubicBezTo>
                <a:close/>
                <a:moveTo>
                  <a:pt x="1266" y="752"/>
                </a:moveTo>
                <a:cubicBezTo>
                  <a:pt x="1266" y="754"/>
                  <a:pt x="1267" y="755"/>
                  <a:pt x="1268" y="757"/>
                </a:cubicBezTo>
                <a:cubicBezTo>
                  <a:pt x="1268" y="758"/>
                  <a:pt x="1268" y="760"/>
                  <a:pt x="1269" y="762"/>
                </a:cubicBezTo>
                <a:cubicBezTo>
                  <a:pt x="1269" y="763"/>
                  <a:pt x="1269" y="765"/>
                  <a:pt x="1269" y="767"/>
                </a:cubicBezTo>
                <a:cubicBezTo>
                  <a:pt x="1270" y="770"/>
                  <a:pt x="1269" y="771"/>
                  <a:pt x="1266" y="771"/>
                </a:cubicBezTo>
                <a:cubicBezTo>
                  <a:pt x="1263" y="771"/>
                  <a:pt x="1260" y="771"/>
                  <a:pt x="1257" y="771"/>
                </a:cubicBezTo>
                <a:cubicBezTo>
                  <a:pt x="1257" y="771"/>
                  <a:pt x="1256" y="771"/>
                  <a:pt x="1256" y="771"/>
                </a:cubicBezTo>
                <a:cubicBezTo>
                  <a:pt x="1254" y="773"/>
                  <a:pt x="1253" y="774"/>
                  <a:pt x="1252" y="776"/>
                </a:cubicBezTo>
                <a:cubicBezTo>
                  <a:pt x="1250" y="778"/>
                  <a:pt x="1246" y="778"/>
                  <a:pt x="1244" y="776"/>
                </a:cubicBezTo>
                <a:cubicBezTo>
                  <a:pt x="1242" y="774"/>
                  <a:pt x="1241" y="772"/>
                  <a:pt x="1239" y="769"/>
                </a:cubicBezTo>
                <a:cubicBezTo>
                  <a:pt x="1239" y="767"/>
                  <a:pt x="1239" y="766"/>
                  <a:pt x="1241" y="764"/>
                </a:cubicBezTo>
                <a:cubicBezTo>
                  <a:pt x="1239" y="764"/>
                  <a:pt x="1237" y="764"/>
                  <a:pt x="1236" y="764"/>
                </a:cubicBezTo>
                <a:cubicBezTo>
                  <a:pt x="1235" y="766"/>
                  <a:pt x="1234" y="768"/>
                  <a:pt x="1233" y="770"/>
                </a:cubicBezTo>
                <a:cubicBezTo>
                  <a:pt x="1233" y="771"/>
                  <a:pt x="1232" y="772"/>
                  <a:pt x="1232" y="773"/>
                </a:cubicBezTo>
                <a:cubicBezTo>
                  <a:pt x="1232" y="776"/>
                  <a:pt x="1231" y="777"/>
                  <a:pt x="1228" y="776"/>
                </a:cubicBezTo>
                <a:cubicBezTo>
                  <a:pt x="1225" y="776"/>
                  <a:pt x="1222" y="775"/>
                  <a:pt x="1219" y="774"/>
                </a:cubicBezTo>
                <a:cubicBezTo>
                  <a:pt x="1217" y="774"/>
                  <a:pt x="1217" y="772"/>
                  <a:pt x="1217" y="770"/>
                </a:cubicBezTo>
                <a:cubicBezTo>
                  <a:pt x="1217" y="769"/>
                  <a:pt x="1217" y="769"/>
                  <a:pt x="1218" y="769"/>
                </a:cubicBezTo>
                <a:cubicBezTo>
                  <a:pt x="1216" y="767"/>
                  <a:pt x="1213" y="767"/>
                  <a:pt x="1211" y="765"/>
                </a:cubicBezTo>
                <a:cubicBezTo>
                  <a:pt x="1210" y="764"/>
                  <a:pt x="1209" y="762"/>
                  <a:pt x="1208" y="761"/>
                </a:cubicBezTo>
                <a:cubicBezTo>
                  <a:pt x="1207" y="759"/>
                  <a:pt x="1207" y="757"/>
                  <a:pt x="1209" y="755"/>
                </a:cubicBezTo>
                <a:cubicBezTo>
                  <a:pt x="1212" y="753"/>
                  <a:pt x="1213" y="750"/>
                  <a:pt x="1212" y="746"/>
                </a:cubicBezTo>
                <a:cubicBezTo>
                  <a:pt x="1212" y="744"/>
                  <a:pt x="1212" y="742"/>
                  <a:pt x="1212" y="740"/>
                </a:cubicBezTo>
                <a:cubicBezTo>
                  <a:pt x="1211" y="740"/>
                  <a:pt x="1209" y="739"/>
                  <a:pt x="1208" y="738"/>
                </a:cubicBezTo>
                <a:cubicBezTo>
                  <a:pt x="1207" y="736"/>
                  <a:pt x="1206" y="734"/>
                  <a:pt x="1206" y="733"/>
                </a:cubicBezTo>
                <a:cubicBezTo>
                  <a:pt x="1206" y="730"/>
                  <a:pt x="1210" y="727"/>
                  <a:pt x="1212" y="726"/>
                </a:cubicBezTo>
                <a:cubicBezTo>
                  <a:pt x="1213" y="727"/>
                  <a:pt x="1213" y="728"/>
                  <a:pt x="1213" y="729"/>
                </a:cubicBezTo>
                <a:cubicBezTo>
                  <a:pt x="1213" y="730"/>
                  <a:pt x="1213" y="731"/>
                  <a:pt x="1214" y="732"/>
                </a:cubicBezTo>
                <a:cubicBezTo>
                  <a:pt x="1213" y="731"/>
                  <a:pt x="1212" y="731"/>
                  <a:pt x="1212" y="731"/>
                </a:cubicBezTo>
                <a:cubicBezTo>
                  <a:pt x="1212" y="733"/>
                  <a:pt x="1211" y="734"/>
                  <a:pt x="1210" y="736"/>
                </a:cubicBezTo>
                <a:cubicBezTo>
                  <a:pt x="1212" y="735"/>
                  <a:pt x="1212" y="735"/>
                  <a:pt x="1213" y="735"/>
                </a:cubicBezTo>
                <a:cubicBezTo>
                  <a:pt x="1214" y="734"/>
                  <a:pt x="1215" y="733"/>
                  <a:pt x="1216" y="732"/>
                </a:cubicBezTo>
                <a:cubicBezTo>
                  <a:pt x="1220" y="725"/>
                  <a:pt x="1226" y="721"/>
                  <a:pt x="1234" y="719"/>
                </a:cubicBezTo>
                <a:cubicBezTo>
                  <a:pt x="1237" y="719"/>
                  <a:pt x="1240" y="718"/>
                  <a:pt x="1242" y="715"/>
                </a:cubicBezTo>
                <a:cubicBezTo>
                  <a:pt x="1242" y="715"/>
                  <a:pt x="1243" y="714"/>
                  <a:pt x="1243" y="714"/>
                </a:cubicBezTo>
                <a:cubicBezTo>
                  <a:pt x="1246" y="714"/>
                  <a:pt x="1248" y="712"/>
                  <a:pt x="1250" y="710"/>
                </a:cubicBezTo>
                <a:cubicBezTo>
                  <a:pt x="1257" y="702"/>
                  <a:pt x="1269" y="702"/>
                  <a:pt x="1277" y="708"/>
                </a:cubicBezTo>
                <a:cubicBezTo>
                  <a:pt x="1279" y="710"/>
                  <a:pt x="1282" y="712"/>
                  <a:pt x="1284" y="714"/>
                </a:cubicBezTo>
                <a:cubicBezTo>
                  <a:pt x="1286" y="715"/>
                  <a:pt x="1287" y="717"/>
                  <a:pt x="1288" y="719"/>
                </a:cubicBezTo>
                <a:cubicBezTo>
                  <a:pt x="1289" y="721"/>
                  <a:pt x="1290" y="721"/>
                  <a:pt x="1291" y="719"/>
                </a:cubicBezTo>
                <a:cubicBezTo>
                  <a:pt x="1292" y="719"/>
                  <a:pt x="1292" y="718"/>
                  <a:pt x="1293" y="717"/>
                </a:cubicBezTo>
                <a:cubicBezTo>
                  <a:pt x="1295" y="715"/>
                  <a:pt x="1298" y="715"/>
                  <a:pt x="1299" y="718"/>
                </a:cubicBezTo>
                <a:cubicBezTo>
                  <a:pt x="1301" y="721"/>
                  <a:pt x="1301" y="724"/>
                  <a:pt x="1302" y="727"/>
                </a:cubicBezTo>
                <a:cubicBezTo>
                  <a:pt x="1303" y="731"/>
                  <a:pt x="1302" y="736"/>
                  <a:pt x="1301" y="740"/>
                </a:cubicBezTo>
                <a:cubicBezTo>
                  <a:pt x="1298" y="746"/>
                  <a:pt x="1294" y="750"/>
                  <a:pt x="1287" y="750"/>
                </a:cubicBezTo>
                <a:cubicBezTo>
                  <a:pt x="1286" y="750"/>
                  <a:pt x="1286" y="750"/>
                  <a:pt x="1285" y="750"/>
                </a:cubicBezTo>
                <a:cubicBezTo>
                  <a:pt x="1283" y="750"/>
                  <a:pt x="1281" y="750"/>
                  <a:pt x="1281" y="752"/>
                </a:cubicBezTo>
                <a:cubicBezTo>
                  <a:pt x="1279" y="757"/>
                  <a:pt x="1274" y="758"/>
                  <a:pt x="1270" y="755"/>
                </a:cubicBezTo>
                <a:cubicBezTo>
                  <a:pt x="1269" y="754"/>
                  <a:pt x="1268" y="753"/>
                  <a:pt x="1267" y="752"/>
                </a:cubicBezTo>
                <a:cubicBezTo>
                  <a:pt x="1266" y="752"/>
                  <a:pt x="1266" y="752"/>
                  <a:pt x="1266" y="752"/>
                </a:cubicBezTo>
                <a:close/>
                <a:moveTo>
                  <a:pt x="1261" y="748"/>
                </a:moveTo>
                <a:cubicBezTo>
                  <a:pt x="1264" y="750"/>
                  <a:pt x="1268" y="751"/>
                  <a:pt x="1270" y="754"/>
                </a:cubicBezTo>
                <a:cubicBezTo>
                  <a:pt x="1272" y="755"/>
                  <a:pt x="1274" y="756"/>
                  <a:pt x="1276" y="755"/>
                </a:cubicBezTo>
                <a:cubicBezTo>
                  <a:pt x="1279" y="754"/>
                  <a:pt x="1280" y="752"/>
                  <a:pt x="1280" y="749"/>
                </a:cubicBezTo>
                <a:cubicBezTo>
                  <a:pt x="1280" y="750"/>
                  <a:pt x="1279" y="750"/>
                  <a:pt x="1279" y="750"/>
                </a:cubicBezTo>
                <a:cubicBezTo>
                  <a:pt x="1279" y="752"/>
                  <a:pt x="1277" y="752"/>
                  <a:pt x="1277" y="754"/>
                </a:cubicBezTo>
                <a:cubicBezTo>
                  <a:pt x="1276" y="755"/>
                  <a:pt x="1274" y="754"/>
                  <a:pt x="1274" y="754"/>
                </a:cubicBezTo>
                <a:cubicBezTo>
                  <a:pt x="1273" y="754"/>
                  <a:pt x="1272" y="753"/>
                  <a:pt x="1272" y="752"/>
                </a:cubicBezTo>
                <a:cubicBezTo>
                  <a:pt x="1272" y="750"/>
                  <a:pt x="1273" y="748"/>
                  <a:pt x="1273" y="746"/>
                </a:cubicBezTo>
                <a:cubicBezTo>
                  <a:pt x="1276" y="746"/>
                  <a:pt x="1279" y="748"/>
                  <a:pt x="1283" y="748"/>
                </a:cubicBezTo>
                <a:cubicBezTo>
                  <a:pt x="1290" y="749"/>
                  <a:pt x="1296" y="748"/>
                  <a:pt x="1299" y="739"/>
                </a:cubicBezTo>
                <a:cubicBezTo>
                  <a:pt x="1301" y="734"/>
                  <a:pt x="1301" y="729"/>
                  <a:pt x="1300" y="724"/>
                </a:cubicBezTo>
                <a:cubicBezTo>
                  <a:pt x="1299" y="722"/>
                  <a:pt x="1299" y="721"/>
                  <a:pt x="1298" y="719"/>
                </a:cubicBezTo>
                <a:cubicBezTo>
                  <a:pt x="1297" y="717"/>
                  <a:pt x="1296" y="717"/>
                  <a:pt x="1295" y="718"/>
                </a:cubicBezTo>
                <a:cubicBezTo>
                  <a:pt x="1293" y="720"/>
                  <a:pt x="1292" y="721"/>
                  <a:pt x="1290" y="722"/>
                </a:cubicBezTo>
                <a:cubicBezTo>
                  <a:pt x="1289" y="723"/>
                  <a:pt x="1288" y="723"/>
                  <a:pt x="1288" y="725"/>
                </a:cubicBezTo>
                <a:cubicBezTo>
                  <a:pt x="1289" y="728"/>
                  <a:pt x="1288" y="731"/>
                  <a:pt x="1287" y="734"/>
                </a:cubicBezTo>
                <a:cubicBezTo>
                  <a:pt x="1287" y="732"/>
                  <a:pt x="1288" y="730"/>
                  <a:pt x="1288" y="729"/>
                </a:cubicBezTo>
                <a:cubicBezTo>
                  <a:pt x="1288" y="728"/>
                  <a:pt x="1287" y="727"/>
                  <a:pt x="1287" y="727"/>
                </a:cubicBezTo>
                <a:cubicBezTo>
                  <a:pt x="1286" y="727"/>
                  <a:pt x="1286" y="727"/>
                  <a:pt x="1286" y="728"/>
                </a:cubicBezTo>
                <a:cubicBezTo>
                  <a:pt x="1285" y="729"/>
                  <a:pt x="1284" y="731"/>
                  <a:pt x="1283" y="732"/>
                </a:cubicBezTo>
                <a:cubicBezTo>
                  <a:pt x="1283" y="732"/>
                  <a:pt x="1283" y="732"/>
                  <a:pt x="1283" y="732"/>
                </a:cubicBezTo>
                <a:cubicBezTo>
                  <a:pt x="1283" y="730"/>
                  <a:pt x="1284" y="729"/>
                  <a:pt x="1284" y="726"/>
                </a:cubicBezTo>
                <a:cubicBezTo>
                  <a:pt x="1283" y="727"/>
                  <a:pt x="1283" y="727"/>
                  <a:pt x="1282" y="728"/>
                </a:cubicBezTo>
                <a:cubicBezTo>
                  <a:pt x="1281" y="729"/>
                  <a:pt x="1281" y="729"/>
                  <a:pt x="1281" y="730"/>
                </a:cubicBezTo>
                <a:cubicBezTo>
                  <a:pt x="1281" y="727"/>
                  <a:pt x="1281" y="727"/>
                  <a:pt x="1287" y="725"/>
                </a:cubicBezTo>
                <a:cubicBezTo>
                  <a:pt x="1287" y="725"/>
                  <a:pt x="1286" y="724"/>
                  <a:pt x="1286" y="724"/>
                </a:cubicBezTo>
                <a:cubicBezTo>
                  <a:pt x="1283" y="725"/>
                  <a:pt x="1283" y="723"/>
                  <a:pt x="1282" y="721"/>
                </a:cubicBezTo>
                <a:cubicBezTo>
                  <a:pt x="1284" y="721"/>
                  <a:pt x="1285" y="720"/>
                  <a:pt x="1287" y="720"/>
                </a:cubicBezTo>
                <a:cubicBezTo>
                  <a:pt x="1285" y="717"/>
                  <a:pt x="1284" y="715"/>
                  <a:pt x="1281" y="714"/>
                </a:cubicBezTo>
                <a:cubicBezTo>
                  <a:pt x="1280" y="714"/>
                  <a:pt x="1280" y="714"/>
                  <a:pt x="1280" y="714"/>
                </a:cubicBezTo>
                <a:cubicBezTo>
                  <a:pt x="1277" y="712"/>
                  <a:pt x="1275" y="709"/>
                  <a:pt x="1272" y="707"/>
                </a:cubicBezTo>
                <a:cubicBezTo>
                  <a:pt x="1270" y="706"/>
                  <a:pt x="1267" y="705"/>
                  <a:pt x="1265" y="705"/>
                </a:cubicBezTo>
                <a:cubicBezTo>
                  <a:pt x="1262" y="706"/>
                  <a:pt x="1259" y="707"/>
                  <a:pt x="1256" y="708"/>
                </a:cubicBezTo>
                <a:cubicBezTo>
                  <a:pt x="1253" y="709"/>
                  <a:pt x="1250" y="710"/>
                  <a:pt x="1248" y="714"/>
                </a:cubicBezTo>
                <a:cubicBezTo>
                  <a:pt x="1250" y="714"/>
                  <a:pt x="1251" y="714"/>
                  <a:pt x="1252" y="714"/>
                </a:cubicBezTo>
                <a:cubicBezTo>
                  <a:pt x="1252" y="714"/>
                  <a:pt x="1251" y="714"/>
                  <a:pt x="1250" y="714"/>
                </a:cubicBezTo>
                <a:cubicBezTo>
                  <a:pt x="1248" y="715"/>
                  <a:pt x="1245" y="714"/>
                  <a:pt x="1243" y="717"/>
                </a:cubicBezTo>
                <a:cubicBezTo>
                  <a:pt x="1240" y="721"/>
                  <a:pt x="1236" y="724"/>
                  <a:pt x="1232" y="729"/>
                </a:cubicBezTo>
                <a:cubicBezTo>
                  <a:pt x="1231" y="731"/>
                  <a:pt x="1230" y="733"/>
                  <a:pt x="1229" y="735"/>
                </a:cubicBezTo>
                <a:cubicBezTo>
                  <a:pt x="1229" y="736"/>
                  <a:pt x="1229" y="736"/>
                  <a:pt x="1229" y="737"/>
                </a:cubicBezTo>
                <a:cubicBezTo>
                  <a:pt x="1230" y="739"/>
                  <a:pt x="1232" y="741"/>
                  <a:pt x="1233" y="743"/>
                </a:cubicBezTo>
                <a:cubicBezTo>
                  <a:pt x="1234" y="741"/>
                  <a:pt x="1236" y="740"/>
                  <a:pt x="1237" y="738"/>
                </a:cubicBezTo>
                <a:cubicBezTo>
                  <a:pt x="1236" y="740"/>
                  <a:pt x="1236" y="741"/>
                  <a:pt x="1235" y="742"/>
                </a:cubicBezTo>
                <a:cubicBezTo>
                  <a:pt x="1234" y="744"/>
                  <a:pt x="1234" y="745"/>
                  <a:pt x="1233" y="746"/>
                </a:cubicBezTo>
                <a:cubicBezTo>
                  <a:pt x="1233" y="747"/>
                  <a:pt x="1233" y="748"/>
                  <a:pt x="1234" y="749"/>
                </a:cubicBezTo>
                <a:cubicBezTo>
                  <a:pt x="1236" y="753"/>
                  <a:pt x="1239" y="753"/>
                  <a:pt x="1243" y="751"/>
                </a:cubicBezTo>
                <a:cubicBezTo>
                  <a:pt x="1245" y="749"/>
                  <a:pt x="1248" y="748"/>
                  <a:pt x="1251" y="747"/>
                </a:cubicBezTo>
                <a:cubicBezTo>
                  <a:pt x="1252" y="747"/>
                  <a:pt x="1254" y="746"/>
                  <a:pt x="1254" y="744"/>
                </a:cubicBezTo>
                <a:cubicBezTo>
                  <a:pt x="1254" y="741"/>
                  <a:pt x="1254" y="738"/>
                  <a:pt x="1254" y="734"/>
                </a:cubicBezTo>
                <a:cubicBezTo>
                  <a:pt x="1254" y="731"/>
                  <a:pt x="1254" y="729"/>
                  <a:pt x="1254" y="725"/>
                </a:cubicBezTo>
                <a:cubicBezTo>
                  <a:pt x="1254" y="728"/>
                  <a:pt x="1255" y="731"/>
                  <a:pt x="1255" y="733"/>
                </a:cubicBezTo>
                <a:cubicBezTo>
                  <a:pt x="1256" y="738"/>
                  <a:pt x="1256" y="742"/>
                  <a:pt x="1255" y="747"/>
                </a:cubicBezTo>
                <a:cubicBezTo>
                  <a:pt x="1254" y="748"/>
                  <a:pt x="1254" y="748"/>
                  <a:pt x="1253" y="748"/>
                </a:cubicBezTo>
                <a:cubicBezTo>
                  <a:pt x="1250" y="749"/>
                  <a:pt x="1246" y="751"/>
                  <a:pt x="1243" y="752"/>
                </a:cubicBezTo>
                <a:cubicBezTo>
                  <a:pt x="1238" y="755"/>
                  <a:pt x="1235" y="754"/>
                  <a:pt x="1231" y="750"/>
                </a:cubicBezTo>
                <a:cubicBezTo>
                  <a:pt x="1231" y="749"/>
                  <a:pt x="1231" y="748"/>
                  <a:pt x="1231" y="748"/>
                </a:cubicBezTo>
                <a:cubicBezTo>
                  <a:pt x="1232" y="745"/>
                  <a:pt x="1231" y="743"/>
                  <a:pt x="1230" y="741"/>
                </a:cubicBezTo>
                <a:cubicBezTo>
                  <a:pt x="1228" y="739"/>
                  <a:pt x="1226" y="737"/>
                  <a:pt x="1228" y="734"/>
                </a:cubicBezTo>
                <a:cubicBezTo>
                  <a:pt x="1228" y="732"/>
                  <a:pt x="1229" y="731"/>
                  <a:pt x="1230" y="729"/>
                </a:cubicBezTo>
                <a:cubicBezTo>
                  <a:pt x="1232" y="726"/>
                  <a:pt x="1234" y="724"/>
                  <a:pt x="1236" y="721"/>
                </a:cubicBezTo>
                <a:cubicBezTo>
                  <a:pt x="1236" y="721"/>
                  <a:pt x="1235" y="721"/>
                  <a:pt x="1235" y="721"/>
                </a:cubicBezTo>
                <a:cubicBezTo>
                  <a:pt x="1230" y="722"/>
                  <a:pt x="1226" y="724"/>
                  <a:pt x="1222" y="727"/>
                </a:cubicBezTo>
                <a:cubicBezTo>
                  <a:pt x="1217" y="731"/>
                  <a:pt x="1214" y="736"/>
                  <a:pt x="1214" y="743"/>
                </a:cubicBezTo>
                <a:cubicBezTo>
                  <a:pt x="1214" y="750"/>
                  <a:pt x="1216" y="756"/>
                  <a:pt x="1219" y="762"/>
                </a:cubicBezTo>
                <a:cubicBezTo>
                  <a:pt x="1220" y="763"/>
                  <a:pt x="1221" y="764"/>
                  <a:pt x="1220" y="765"/>
                </a:cubicBezTo>
                <a:cubicBezTo>
                  <a:pt x="1220" y="767"/>
                  <a:pt x="1220" y="769"/>
                  <a:pt x="1219" y="770"/>
                </a:cubicBezTo>
                <a:cubicBezTo>
                  <a:pt x="1219" y="772"/>
                  <a:pt x="1219" y="773"/>
                  <a:pt x="1220" y="773"/>
                </a:cubicBezTo>
                <a:cubicBezTo>
                  <a:pt x="1223" y="774"/>
                  <a:pt x="1226" y="774"/>
                  <a:pt x="1229" y="774"/>
                </a:cubicBezTo>
                <a:cubicBezTo>
                  <a:pt x="1230" y="774"/>
                  <a:pt x="1230" y="774"/>
                  <a:pt x="1230" y="773"/>
                </a:cubicBezTo>
                <a:cubicBezTo>
                  <a:pt x="1231" y="772"/>
                  <a:pt x="1231" y="771"/>
                  <a:pt x="1232" y="770"/>
                </a:cubicBezTo>
                <a:cubicBezTo>
                  <a:pt x="1234" y="767"/>
                  <a:pt x="1234" y="765"/>
                  <a:pt x="1234" y="762"/>
                </a:cubicBezTo>
                <a:cubicBezTo>
                  <a:pt x="1234" y="761"/>
                  <a:pt x="1234" y="761"/>
                  <a:pt x="1234" y="761"/>
                </a:cubicBezTo>
                <a:cubicBezTo>
                  <a:pt x="1234" y="760"/>
                  <a:pt x="1234" y="760"/>
                  <a:pt x="1234" y="760"/>
                </a:cubicBezTo>
                <a:cubicBezTo>
                  <a:pt x="1234" y="763"/>
                  <a:pt x="1236" y="763"/>
                  <a:pt x="1237" y="763"/>
                </a:cubicBezTo>
                <a:cubicBezTo>
                  <a:pt x="1238" y="763"/>
                  <a:pt x="1239" y="763"/>
                  <a:pt x="1240" y="763"/>
                </a:cubicBezTo>
                <a:cubicBezTo>
                  <a:pt x="1243" y="763"/>
                  <a:pt x="1246" y="763"/>
                  <a:pt x="1246" y="759"/>
                </a:cubicBezTo>
                <a:cubicBezTo>
                  <a:pt x="1246" y="761"/>
                  <a:pt x="1246" y="763"/>
                  <a:pt x="1246" y="764"/>
                </a:cubicBezTo>
                <a:cubicBezTo>
                  <a:pt x="1245" y="765"/>
                  <a:pt x="1244" y="765"/>
                  <a:pt x="1243" y="766"/>
                </a:cubicBezTo>
                <a:cubicBezTo>
                  <a:pt x="1241" y="767"/>
                  <a:pt x="1241" y="768"/>
                  <a:pt x="1241" y="769"/>
                </a:cubicBezTo>
                <a:cubicBezTo>
                  <a:pt x="1243" y="771"/>
                  <a:pt x="1244" y="773"/>
                  <a:pt x="1245" y="775"/>
                </a:cubicBezTo>
                <a:cubicBezTo>
                  <a:pt x="1247" y="776"/>
                  <a:pt x="1249" y="776"/>
                  <a:pt x="1250" y="774"/>
                </a:cubicBezTo>
                <a:cubicBezTo>
                  <a:pt x="1251" y="774"/>
                  <a:pt x="1252" y="773"/>
                  <a:pt x="1252" y="773"/>
                </a:cubicBezTo>
                <a:cubicBezTo>
                  <a:pt x="1254" y="771"/>
                  <a:pt x="1256" y="770"/>
                  <a:pt x="1257" y="769"/>
                </a:cubicBezTo>
                <a:cubicBezTo>
                  <a:pt x="1261" y="764"/>
                  <a:pt x="1263" y="758"/>
                  <a:pt x="1265" y="752"/>
                </a:cubicBezTo>
                <a:cubicBezTo>
                  <a:pt x="1265" y="752"/>
                  <a:pt x="1264" y="751"/>
                  <a:pt x="1264" y="751"/>
                </a:cubicBezTo>
                <a:cubicBezTo>
                  <a:pt x="1263" y="750"/>
                  <a:pt x="1262" y="749"/>
                  <a:pt x="1261" y="748"/>
                </a:cubicBezTo>
                <a:close/>
                <a:moveTo>
                  <a:pt x="1214" y="754"/>
                </a:moveTo>
                <a:cubicBezTo>
                  <a:pt x="1213" y="755"/>
                  <a:pt x="1211" y="756"/>
                  <a:pt x="1210" y="757"/>
                </a:cubicBezTo>
                <a:cubicBezTo>
                  <a:pt x="1210" y="757"/>
                  <a:pt x="1209" y="758"/>
                  <a:pt x="1209" y="759"/>
                </a:cubicBezTo>
                <a:cubicBezTo>
                  <a:pt x="1209" y="762"/>
                  <a:pt x="1214" y="766"/>
                  <a:pt x="1217" y="766"/>
                </a:cubicBezTo>
                <a:cubicBezTo>
                  <a:pt x="1218" y="766"/>
                  <a:pt x="1219" y="765"/>
                  <a:pt x="1218" y="763"/>
                </a:cubicBezTo>
                <a:cubicBezTo>
                  <a:pt x="1217" y="760"/>
                  <a:pt x="1215" y="757"/>
                  <a:pt x="1214" y="754"/>
                </a:cubicBezTo>
                <a:close/>
                <a:moveTo>
                  <a:pt x="1266" y="756"/>
                </a:moveTo>
                <a:cubicBezTo>
                  <a:pt x="1264" y="761"/>
                  <a:pt x="1261" y="765"/>
                  <a:pt x="1259" y="770"/>
                </a:cubicBezTo>
                <a:cubicBezTo>
                  <a:pt x="1262" y="770"/>
                  <a:pt x="1264" y="770"/>
                  <a:pt x="1267" y="770"/>
                </a:cubicBezTo>
                <a:cubicBezTo>
                  <a:pt x="1267" y="770"/>
                  <a:pt x="1268" y="769"/>
                  <a:pt x="1268" y="768"/>
                </a:cubicBezTo>
                <a:cubicBezTo>
                  <a:pt x="1268" y="765"/>
                  <a:pt x="1268" y="763"/>
                  <a:pt x="1267" y="761"/>
                </a:cubicBezTo>
                <a:cubicBezTo>
                  <a:pt x="1267" y="759"/>
                  <a:pt x="1266" y="758"/>
                  <a:pt x="1266" y="756"/>
                </a:cubicBezTo>
                <a:close/>
                <a:moveTo>
                  <a:pt x="1214" y="736"/>
                </a:moveTo>
                <a:cubicBezTo>
                  <a:pt x="1213" y="736"/>
                  <a:pt x="1212" y="737"/>
                  <a:pt x="1212" y="737"/>
                </a:cubicBezTo>
                <a:cubicBezTo>
                  <a:pt x="1211" y="737"/>
                  <a:pt x="1210" y="737"/>
                  <a:pt x="1210" y="736"/>
                </a:cubicBezTo>
                <a:cubicBezTo>
                  <a:pt x="1210" y="736"/>
                  <a:pt x="1209" y="735"/>
                  <a:pt x="1209" y="734"/>
                </a:cubicBezTo>
                <a:cubicBezTo>
                  <a:pt x="1210" y="733"/>
                  <a:pt x="1210" y="731"/>
                  <a:pt x="1211" y="729"/>
                </a:cubicBezTo>
                <a:cubicBezTo>
                  <a:pt x="1211" y="729"/>
                  <a:pt x="1211" y="729"/>
                  <a:pt x="1210" y="729"/>
                </a:cubicBezTo>
                <a:cubicBezTo>
                  <a:pt x="1210" y="729"/>
                  <a:pt x="1208" y="730"/>
                  <a:pt x="1208" y="731"/>
                </a:cubicBezTo>
                <a:cubicBezTo>
                  <a:pt x="1207" y="733"/>
                  <a:pt x="1208" y="738"/>
                  <a:pt x="1210" y="738"/>
                </a:cubicBezTo>
                <a:cubicBezTo>
                  <a:pt x="1212" y="739"/>
                  <a:pt x="1214" y="738"/>
                  <a:pt x="1214" y="736"/>
                </a:cubicBezTo>
                <a:close/>
                <a:moveTo>
                  <a:pt x="1213" y="754"/>
                </a:moveTo>
                <a:cubicBezTo>
                  <a:pt x="1213" y="755"/>
                  <a:pt x="1211" y="756"/>
                  <a:pt x="1210" y="757"/>
                </a:cubicBezTo>
                <a:cubicBezTo>
                  <a:pt x="1209" y="757"/>
                  <a:pt x="1209" y="758"/>
                  <a:pt x="1209" y="759"/>
                </a:cubicBezTo>
                <a:cubicBezTo>
                  <a:pt x="1209" y="762"/>
                  <a:pt x="1213" y="766"/>
                  <a:pt x="1217" y="766"/>
                </a:cubicBezTo>
                <a:cubicBezTo>
                  <a:pt x="1218" y="766"/>
                  <a:pt x="1219" y="764"/>
                  <a:pt x="1218" y="763"/>
                </a:cubicBezTo>
                <a:cubicBezTo>
                  <a:pt x="1217" y="760"/>
                  <a:pt x="1215" y="757"/>
                  <a:pt x="1213" y="754"/>
                </a:cubicBezTo>
                <a:close/>
                <a:moveTo>
                  <a:pt x="1266" y="756"/>
                </a:moveTo>
                <a:cubicBezTo>
                  <a:pt x="1264" y="761"/>
                  <a:pt x="1261" y="766"/>
                  <a:pt x="1259" y="770"/>
                </a:cubicBezTo>
                <a:cubicBezTo>
                  <a:pt x="1262" y="770"/>
                  <a:pt x="1264" y="770"/>
                  <a:pt x="1267" y="770"/>
                </a:cubicBezTo>
                <a:cubicBezTo>
                  <a:pt x="1267" y="770"/>
                  <a:pt x="1268" y="769"/>
                  <a:pt x="1268" y="768"/>
                </a:cubicBezTo>
                <a:cubicBezTo>
                  <a:pt x="1268" y="766"/>
                  <a:pt x="1268" y="763"/>
                  <a:pt x="1267" y="761"/>
                </a:cubicBezTo>
                <a:cubicBezTo>
                  <a:pt x="1267" y="759"/>
                  <a:pt x="1266" y="758"/>
                  <a:pt x="1266" y="756"/>
                </a:cubicBezTo>
                <a:close/>
                <a:moveTo>
                  <a:pt x="1213" y="736"/>
                </a:moveTo>
                <a:cubicBezTo>
                  <a:pt x="1213" y="736"/>
                  <a:pt x="1212" y="737"/>
                  <a:pt x="1211" y="737"/>
                </a:cubicBezTo>
                <a:cubicBezTo>
                  <a:pt x="1211" y="737"/>
                  <a:pt x="1210" y="737"/>
                  <a:pt x="1210" y="736"/>
                </a:cubicBezTo>
                <a:cubicBezTo>
                  <a:pt x="1209" y="736"/>
                  <a:pt x="1209" y="735"/>
                  <a:pt x="1209" y="734"/>
                </a:cubicBezTo>
                <a:cubicBezTo>
                  <a:pt x="1210" y="732"/>
                  <a:pt x="1210" y="730"/>
                  <a:pt x="1211" y="729"/>
                </a:cubicBezTo>
                <a:cubicBezTo>
                  <a:pt x="1211" y="729"/>
                  <a:pt x="1211" y="729"/>
                  <a:pt x="1210" y="729"/>
                </a:cubicBezTo>
                <a:cubicBezTo>
                  <a:pt x="1209" y="729"/>
                  <a:pt x="1208" y="730"/>
                  <a:pt x="1207" y="731"/>
                </a:cubicBezTo>
                <a:cubicBezTo>
                  <a:pt x="1207" y="732"/>
                  <a:pt x="1208" y="738"/>
                  <a:pt x="1210" y="738"/>
                </a:cubicBezTo>
                <a:cubicBezTo>
                  <a:pt x="1211" y="739"/>
                  <a:pt x="1213" y="738"/>
                  <a:pt x="1213" y="736"/>
                </a:cubicBezTo>
                <a:close/>
                <a:moveTo>
                  <a:pt x="1266" y="728"/>
                </a:moveTo>
                <a:cubicBezTo>
                  <a:pt x="1269" y="724"/>
                  <a:pt x="1269" y="724"/>
                  <a:pt x="1273" y="723"/>
                </a:cubicBezTo>
                <a:cubicBezTo>
                  <a:pt x="1273" y="725"/>
                  <a:pt x="1274" y="726"/>
                  <a:pt x="1275" y="726"/>
                </a:cubicBezTo>
                <a:cubicBezTo>
                  <a:pt x="1273" y="727"/>
                  <a:pt x="1271" y="729"/>
                  <a:pt x="1269" y="730"/>
                </a:cubicBezTo>
                <a:cubicBezTo>
                  <a:pt x="1268" y="729"/>
                  <a:pt x="1268" y="728"/>
                  <a:pt x="1267" y="727"/>
                </a:cubicBezTo>
                <a:cubicBezTo>
                  <a:pt x="1267" y="727"/>
                  <a:pt x="1266" y="727"/>
                  <a:pt x="1266" y="728"/>
                </a:cubicBezTo>
                <a:close/>
                <a:moveTo>
                  <a:pt x="1271" y="727"/>
                </a:moveTo>
                <a:cubicBezTo>
                  <a:pt x="1271" y="727"/>
                  <a:pt x="1270" y="727"/>
                  <a:pt x="1269" y="727"/>
                </a:cubicBezTo>
                <a:cubicBezTo>
                  <a:pt x="1269" y="727"/>
                  <a:pt x="1268" y="727"/>
                  <a:pt x="1268" y="728"/>
                </a:cubicBezTo>
                <a:cubicBezTo>
                  <a:pt x="1268" y="728"/>
                  <a:pt x="1269" y="728"/>
                  <a:pt x="1269" y="729"/>
                </a:cubicBezTo>
                <a:cubicBezTo>
                  <a:pt x="1270" y="728"/>
                  <a:pt x="1270" y="728"/>
                  <a:pt x="1271" y="727"/>
                </a:cubicBezTo>
                <a:close/>
                <a:moveTo>
                  <a:pt x="1253" y="718"/>
                </a:moveTo>
                <a:cubicBezTo>
                  <a:pt x="1246" y="717"/>
                  <a:pt x="1243" y="719"/>
                  <a:pt x="1242" y="728"/>
                </a:cubicBezTo>
                <a:cubicBezTo>
                  <a:pt x="1243" y="726"/>
                  <a:pt x="1244" y="723"/>
                  <a:pt x="1246" y="721"/>
                </a:cubicBezTo>
                <a:cubicBezTo>
                  <a:pt x="1246" y="721"/>
                  <a:pt x="1246" y="721"/>
                  <a:pt x="1246" y="721"/>
                </a:cubicBezTo>
                <a:cubicBezTo>
                  <a:pt x="1246" y="722"/>
                  <a:pt x="1246" y="723"/>
                  <a:pt x="1246" y="723"/>
                </a:cubicBezTo>
                <a:cubicBezTo>
                  <a:pt x="1248" y="720"/>
                  <a:pt x="1249" y="718"/>
                  <a:pt x="1253" y="718"/>
                </a:cubicBezTo>
                <a:close/>
                <a:moveTo>
                  <a:pt x="1296" y="719"/>
                </a:moveTo>
                <a:cubicBezTo>
                  <a:pt x="1294" y="721"/>
                  <a:pt x="1292" y="722"/>
                  <a:pt x="1291" y="723"/>
                </a:cubicBezTo>
                <a:cubicBezTo>
                  <a:pt x="1293" y="724"/>
                  <a:pt x="1295" y="722"/>
                  <a:pt x="1296" y="719"/>
                </a:cubicBezTo>
                <a:close/>
                <a:moveTo>
                  <a:pt x="1263" y="721"/>
                </a:moveTo>
                <a:cubicBezTo>
                  <a:pt x="1264" y="720"/>
                  <a:pt x="1265" y="719"/>
                  <a:pt x="1267" y="717"/>
                </a:cubicBezTo>
                <a:cubicBezTo>
                  <a:pt x="1263" y="719"/>
                  <a:pt x="1262" y="719"/>
                  <a:pt x="1263" y="721"/>
                </a:cubicBezTo>
                <a:close/>
                <a:moveTo>
                  <a:pt x="1273" y="743"/>
                </a:moveTo>
                <a:cubicBezTo>
                  <a:pt x="1271" y="743"/>
                  <a:pt x="1270" y="744"/>
                  <a:pt x="1270" y="745"/>
                </a:cubicBezTo>
                <a:cubicBezTo>
                  <a:pt x="1271" y="744"/>
                  <a:pt x="1272" y="744"/>
                  <a:pt x="1273" y="743"/>
                </a:cubicBezTo>
                <a:close/>
                <a:moveTo>
                  <a:pt x="1271" y="727"/>
                </a:moveTo>
                <a:cubicBezTo>
                  <a:pt x="1271" y="727"/>
                  <a:pt x="1270" y="727"/>
                  <a:pt x="1270" y="727"/>
                </a:cubicBezTo>
                <a:cubicBezTo>
                  <a:pt x="1269" y="727"/>
                  <a:pt x="1268" y="727"/>
                  <a:pt x="1268" y="728"/>
                </a:cubicBezTo>
                <a:cubicBezTo>
                  <a:pt x="1268" y="728"/>
                  <a:pt x="1269" y="729"/>
                  <a:pt x="1269" y="729"/>
                </a:cubicBezTo>
                <a:cubicBezTo>
                  <a:pt x="1270" y="729"/>
                  <a:pt x="1270" y="728"/>
                  <a:pt x="1271" y="727"/>
                </a:cubicBezTo>
                <a:close/>
                <a:moveTo>
                  <a:pt x="1562" y="705"/>
                </a:moveTo>
                <a:cubicBezTo>
                  <a:pt x="1562" y="705"/>
                  <a:pt x="1562" y="705"/>
                  <a:pt x="1562" y="705"/>
                </a:cubicBezTo>
                <a:cubicBezTo>
                  <a:pt x="1558" y="705"/>
                  <a:pt x="1558" y="705"/>
                  <a:pt x="1558" y="705"/>
                </a:cubicBezTo>
                <a:cubicBezTo>
                  <a:pt x="1556" y="706"/>
                  <a:pt x="1554" y="708"/>
                  <a:pt x="1552" y="709"/>
                </a:cubicBezTo>
                <a:cubicBezTo>
                  <a:pt x="1551" y="710"/>
                  <a:pt x="1549" y="711"/>
                  <a:pt x="1547" y="712"/>
                </a:cubicBezTo>
                <a:cubicBezTo>
                  <a:pt x="1545" y="713"/>
                  <a:pt x="1544" y="714"/>
                  <a:pt x="1541" y="714"/>
                </a:cubicBezTo>
                <a:cubicBezTo>
                  <a:pt x="1540" y="715"/>
                  <a:pt x="1538" y="716"/>
                  <a:pt x="1536" y="716"/>
                </a:cubicBezTo>
                <a:cubicBezTo>
                  <a:pt x="1536" y="716"/>
                  <a:pt x="1536" y="716"/>
                  <a:pt x="1536" y="726"/>
                </a:cubicBezTo>
                <a:cubicBezTo>
                  <a:pt x="1539" y="725"/>
                  <a:pt x="1542" y="725"/>
                  <a:pt x="1544" y="723"/>
                </a:cubicBezTo>
                <a:cubicBezTo>
                  <a:pt x="1546" y="722"/>
                  <a:pt x="1549" y="721"/>
                  <a:pt x="1551" y="720"/>
                </a:cubicBezTo>
                <a:cubicBezTo>
                  <a:pt x="1551" y="720"/>
                  <a:pt x="1551" y="720"/>
                  <a:pt x="1551" y="778"/>
                </a:cubicBezTo>
                <a:cubicBezTo>
                  <a:pt x="1551" y="778"/>
                  <a:pt x="1551" y="778"/>
                  <a:pt x="1562" y="778"/>
                </a:cubicBezTo>
                <a:cubicBezTo>
                  <a:pt x="1562" y="778"/>
                  <a:pt x="1562" y="778"/>
                  <a:pt x="1562" y="705"/>
                </a:cubicBezTo>
                <a:close/>
                <a:moveTo>
                  <a:pt x="1684" y="705"/>
                </a:moveTo>
                <a:cubicBezTo>
                  <a:pt x="1684" y="705"/>
                  <a:pt x="1684" y="705"/>
                  <a:pt x="1684" y="705"/>
                </a:cubicBezTo>
                <a:cubicBezTo>
                  <a:pt x="1679" y="705"/>
                  <a:pt x="1679" y="705"/>
                  <a:pt x="1679" y="705"/>
                </a:cubicBezTo>
                <a:cubicBezTo>
                  <a:pt x="1677" y="706"/>
                  <a:pt x="1675" y="708"/>
                  <a:pt x="1673" y="709"/>
                </a:cubicBezTo>
                <a:cubicBezTo>
                  <a:pt x="1672" y="710"/>
                  <a:pt x="1670" y="711"/>
                  <a:pt x="1668" y="712"/>
                </a:cubicBezTo>
                <a:cubicBezTo>
                  <a:pt x="1667" y="713"/>
                  <a:pt x="1665" y="714"/>
                  <a:pt x="1663" y="714"/>
                </a:cubicBezTo>
                <a:cubicBezTo>
                  <a:pt x="1661" y="715"/>
                  <a:pt x="1659" y="716"/>
                  <a:pt x="1657" y="716"/>
                </a:cubicBezTo>
                <a:cubicBezTo>
                  <a:pt x="1657" y="716"/>
                  <a:pt x="1657" y="716"/>
                  <a:pt x="1657" y="726"/>
                </a:cubicBezTo>
                <a:cubicBezTo>
                  <a:pt x="1660" y="725"/>
                  <a:pt x="1663" y="725"/>
                  <a:pt x="1666" y="723"/>
                </a:cubicBezTo>
                <a:cubicBezTo>
                  <a:pt x="1668" y="722"/>
                  <a:pt x="1670" y="721"/>
                  <a:pt x="1673" y="720"/>
                </a:cubicBezTo>
                <a:cubicBezTo>
                  <a:pt x="1673" y="720"/>
                  <a:pt x="1673" y="720"/>
                  <a:pt x="1673" y="778"/>
                </a:cubicBezTo>
                <a:cubicBezTo>
                  <a:pt x="1673" y="778"/>
                  <a:pt x="1673" y="778"/>
                  <a:pt x="1684" y="778"/>
                </a:cubicBezTo>
                <a:cubicBezTo>
                  <a:pt x="1684" y="778"/>
                  <a:pt x="1684" y="778"/>
                  <a:pt x="1684" y="705"/>
                </a:cubicBezTo>
                <a:close/>
                <a:moveTo>
                  <a:pt x="1731" y="705"/>
                </a:moveTo>
                <a:cubicBezTo>
                  <a:pt x="1731" y="705"/>
                  <a:pt x="1731" y="705"/>
                  <a:pt x="1731" y="705"/>
                </a:cubicBezTo>
                <a:cubicBezTo>
                  <a:pt x="1726" y="705"/>
                  <a:pt x="1726" y="705"/>
                  <a:pt x="1726" y="705"/>
                </a:cubicBezTo>
                <a:cubicBezTo>
                  <a:pt x="1724" y="706"/>
                  <a:pt x="1722" y="708"/>
                  <a:pt x="1720" y="709"/>
                </a:cubicBezTo>
                <a:cubicBezTo>
                  <a:pt x="1719" y="710"/>
                  <a:pt x="1717" y="711"/>
                  <a:pt x="1715" y="712"/>
                </a:cubicBezTo>
                <a:cubicBezTo>
                  <a:pt x="1714" y="713"/>
                  <a:pt x="1712" y="714"/>
                  <a:pt x="1710" y="714"/>
                </a:cubicBezTo>
                <a:cubicBezTo>
                  <a:pt x="1708" y="715"/>
                  <a:pt x="1707" y="716"/>
                  <a:pt x="1704" y="716"/>
                </a:cubicBezTo>
                <a:cubicBezTo>
                  <a:pt x="1704" y="716"/>
                  <a:pt x="1704" y="716"/>
                  <a:pt x="1704" y="726"/>
                </a:cubicBezTo>
                <a:cubicBezTo>
                  <a:pt x="1707" y="725"/>
                  <a:pt x="1710" y="725"/>
                  <a:pt x="1712" y="723"/>
                </a:cubicBezTo>
                <a:cubicBezTo>
                  <a:pt x="1715" y="722"/>
                  <a:pt x="1717" y="721"/>
                  <a:pt x="1720" y="720"/>
                </a:cubicBezTo>
                <a:cubicBezTo>
                  <a:pt x="1720" y="720"/>
                  <a:pt x="1720" y="720"/>
                  <a:pt x="1720" y="778"/>
                </a:cubicBezTo>
                <a:cubicBezTo>
                  <a:pt x="1720" y="778"/>
                  <a:pt x="1720" y="778"/>
                  <a:pt x="1731" y="778"/>
                </a:cubicBezTo>
                <a:cubicBezTo>
                  <a:pt x="1731" y="778"/>
                  <a:pt x="1731" y="778"/>
                  <a:pt x="1731" y="705"/>
                </a:cubicBezTo>
                <a:close/>
                <a:moveTo>
                  <a:pt x="1777" y="705"/>
                </a:moveTo>
                <a:cubicBezTo>
                  <a:pt x="1777" y="705"/>
                  <a:pt x="1777" y="705"/>
                  <a:pt x="1777" y="705"/>
                </a:cubicBezTo>
                <a:cubicBezTo>
                  <a:pt x="1773" y="705"/>
                  <a:pt x="1773" y="705"/>
                  <a:pt x="1773" y="705"/>
                </a:cubicBezTo>
                <a:cubicBezTo>
                  <a:pt x="1771" y="706"/>
                  <a:pt x="1769" y="708"/>
                  <a:pt x="1767" y="709"/>
                </a:cubicBezTo>
                <a:cubicBezTo>
                  <a:pt x="1766" y="710"/>
                  <a:pt x="1763" y="711"/>
                  <a:pt x="1762" y="712"/>
                </a:cubicBezTo>
                <a:cubicBezTo>
                  <a:pt x="1760" y="712"/>
                  <a:pt x="1758" y="713"/>
                  <a:pt x="1756" y="714"/>
                </a:cubicBezTo>
                <a:cubicBezTo>
                  <a:pt x="1755" y="714"/>
                  <a:pt x="1752" y="715"/>
                  <a:pt x="1751" y="716"/>
                </a:cubicBezTo>
                <a:cubicBezTo>
                  <a:pt x="1751" y="716"/>
                  <a:pt x="1751" y="716"/>
                  <a:pt x="1751" y="726"/>
                </a:cubicBezTo>
                <a:cubicBezTo>
                  <a:pt x="1754" y="725"/>
                  <a:pt x="1757" y="724"/>
                  <a:pt x="1759" y="723"/>
                </a:cubicBezTo>
                <a:cubicBezTo>
                  <a:pt x="1761" y="722"/>
                  <a:pt x="1764" y="721"/>
                  <a:pt x="1766" y="720"/>
                </a:cubicBezTo>
                <a:cubicBezTo>
                  <a:pt x="1766" y="720"/>
                  <a:pt x="1766" y="720"/>
                  <a:pt x="1766" y="778"/>
                </a:cubicBezTo>
                <a:cubicBezTo>
                  <a:pt x="1766" y="778"/>
                  <a:pt x="1766" y="778"/>
                  <a:pt x="1777" y="778"/>
                </a:cubicBezTo>
                <a:cubicBezTo>
                  <a:pt x="1777" y="778"/>
                  <a:pt x="1777" y="778"/>
                  <a:pt x="1777" y="705"/>
                </a:cubicBezTo>
                <a:close/>
                <a:moveTo>
                  <a:pt x="1583" y="737"/>
                </a:moveTo>
                <a:cubicBezTo>
                  <a:pt x="1583" y="737"/>
                  <a:pt x="1583" y="737"/>
                  <a:pt x="1583" y="737"/>
                </a:cubicBezTo>
                <a:cubicBezTo>
                  <a:pt x="1582" y="746"/>
                  <a:pt x="1582" y="746"/>
                  <a:pt x="1582" y="746"/>
                </a:cubicBezTo>
                <a:cubicBezTo>
                  <a:pt x="1589" y="746"/>
                  <a:pt x="1589" y="749"/>
                  <a:pt x="1589" y="752"/>
                </a:cubicBezTo>
                <a:cubicBezTo>
                  <a:pt x="1589" y="754"/>
                  <a:pt x="1589" y="756"/>
                  <a:pt x="1589" y="759"/>
                </a:cubicBezTo>
                <a:cubicBezTo>
                  <a:pt x="1589" y="761"/>
                  <a:pt x="1588" y="763"/>
                  <a:pt x="1588" y="766"/>
                </a:cubicBezTo>
                <a:cubicBezTo>
                  <a:pt x="1588" y="775"/>
                  <a:pt x="1594" y="778"/>
                  <a:pt x="1603" y="778"/>
                </a:cubicBezTo>
                <a:cubicBezTo>
                  <a:pt x="1603" y="778"/>
                  <a:pt x="1603" y="778"/>
                  <a:pt x="1606" y="778"/>
                </a:cubicBezTo>
                <a:cubicBezTo>
                  <a:pt x="1606" y="778"/>
                  <a:pt x="1606" y="778"/>
                  <a:pt x="1606" y="769"/>
                </a:cubicBezTo>
                <a:cubicBezTo>
                  <a:pt x="1606" y="769"/>
                  <a:pt x="1606" y="769"/>
                  <a:pt x="1605" y="769"/>
                </a:cubicBezTo>
                <a:cubicBezTo>
                  <a:pt x="1601" y="769"/>
                  <a:pt x="1600" y="767"/>
                  <a:pt x="1600" y="763"/>
                </a:cubicBezTo>
                <a:cubicBezTo>
                  <a:pt x="1600" y="762"/>
                  <a:pt x="1600" y="760"/>
                  <a:pt x="1601" y="759"/>
                </a:cubicBezTo>
                <a:cubicBezTo>
                  <a:pt x="1601" y="757"/>
                  <a:pt x="1601" y="755"/>
                  <a:pt x="1601" y="753"/>
                </a:cubicBezTo>
                <a:cubicBezTo>
                  <a:pt x="1601" y="745"/>
                  <a:pt x="1598" y="743"/>
                  <a:pt x="1592" y="741"/>
                </a:cubicBezTo>
                <a:cubicBezTo>
                  <a:pt x="1592" y="741"/>
                  <a:pt x="1592" y="741"/>
                  <a:pt x="1592" y="741"/>
                </a:cubicBezTo>
                <a:cubicBezTo>
                  <a:pt x="1598" y="740"/>
                  <a:pt x="1601" y="738"/>
                  <a:pt x="1601" y="730"/>
                </a:cubicBezTo>
                <a:cubicBezTo>
                  <a:pt x="1601" y="728"/>
                  <a:pt x="1601" y="726"/>
                  <a:pt x="1601" y="724"/>
                </a:cubicBezTo>
                <a:cubicBezTo>
                  <a:pt x="1600" y="722"/>
                  <a:pt x="1600" y="720"/>
                  <a:pt x="1600" y="719"/>
                </a:cubicBezTo>
                <a:cubicBezTo>
                  <a:pt x="1600" y="716"/>
                  <a:pt x="1601" y="713"/>
                  <a:pt x="1605" y="713"/>
                </a:cubicBezTo>
                <a:cubicBezTo>
                  <a:pt x="1605" y="713"/>
                  <a:pt x="1605" y="713"/>
                  <a:pt x="1606" y="713"/>
                </a:cubicBezTo>
                <a:cubicBezTo>
                  <a:pt x="1606" y="713"/>
                  <a:pt x="1606" y="713"/>
                  <a:pt x="1606" y="704"/>
                </a:cubicBezTo>
                <a:cubicBezTo>
                  <a:pt x="1606" y="704"/>
                  <a:pt x="1606" y="704"/>
                  <a:pt x="1603" y="704"/>
                </a:cubicBezTo>
                <a:cubicBezTo>
                  <a:pt x="1594" y="704"/>
                  <a:pt x="1588" y="708"/>
                  <a:pt x="1588" y="717"/>
                </a:cubicBezTo>
                <a:cubicBezTo>
                  <a:pt x="1588" y="719"/>
                  <a:pt x="1589" y="722"/>
                  <a:pt x="1589" y="724"/>
                </a:cubicBezTo>
                <a:cubicBezTo>
                  <a:pt x="1589" y="726"/>
                  <a:pt x="1589" y="729"/>
                  <a:pt x="1589" y="731"/>
                </a:cubicBezTo>
                <a:cubicBezTo>
                  <a:pt x="1589" y="734"/>
                  <a:pt x="1589" y="737"/>
                  <a:pt x="1583" y="737"/>
                </a:cubicBezTo>
                <a:close/>
                <a:moveTo>
                  <a:pt x="1637" y="746"/>
                </a:moveTo>
                <a:cubicBezTo>
                  <a:pt x="1637" y="746"/>
                  <a:pt x="1637" y="746"/>
                  <a:pt x="1637" y="746"/>
                </a:cubicBezTo>
                <a:cubicBezTo>
                  <a:pt x="1637" y="737"/>
                  <a:pt x="1637" y="737"/>
                  <a:pt x="1637" y="737"/>
                </a:cubicBezTo>
                <a:cubicBezTo>
                  <a:pt x="1631" y="737"/>
                  <a:pt x="1630" y="734"/>
                  <a:pt x="1630" y="731"/>
                </a:cubicBezTo>
                <a:cubicBezTo>
                  <a:pt x="1630" y="729"/>
                  <a:pt x="1630" y="726"/>
                  <a:pt x="1631" y="724"/>
                </a:cubicBezTo>
                <a:cubicBezTo>
                  <a:pt x="1631" y="722"/>
                  <a:pt x="1631" y="719"/>
                  <a:pt x="1631" y="717"/>
                </a:cubicBezTo>
                <a:cubicBezTo>
                  <a:pt x="1631" y="708"/>
                  <a:pt x="1626" y="704"/>
                  <a:pt x="1617" y="704"/>
                </a:cubicBezTo>
                <a:cubicBezTo>
                  <a:pt x="1617" y="704"/>
                  <a:pt x="1617" y="704"/>
                  <a:pt x="1613" y="704"/>
                </a:cubicBezTo>
                <a:cubicBezTo>
                  <a:pt x="1613" y="704"/>
                  <a:pt x="1613" y="704"/>
                  <a:pt x="1613" y="713"/>
                </a:cubicBezTo>
                <a:cubicBezTo>
                  <a:pt x="1613" y="713"/>
                  <a:pt x="1613" y="713"/>
                  <a:pt x="1615" y="713"/>
                </a:cubicBezTo>
                <a:cubicBezTo>
                  <a:pt x="1618" y="713"/>
                  <a:pt x="1620" y="716"/>
                  <a:pt x="1620" y="719"/>
                </a:cubicBezTo>
                <a:cubicBezTo>
                  <a:pt x="1620" y="720"/>
                  <a:pt x="1619" y="722"/>
                  <a:pt x="1619" y="724"/>
                </a:cubicBezTo>
                <a:cubicBezTo>
                  <a:pt x="1619" y="726"/>
                  <a:pt x="1619" y="728"/>
                  <a:pt x="1619" y="730"/>
                </a:cubicBezTo>
                <a:cubicBezTo>
                  <a:pt x="1619" y="738"/>
                  <a:pt x="1622" y="740"/>
                  <a:pt x="1628" y="741"/>
                </a:cubicBezTo>
                <a:cubicBezTo>
                  <a:pt x="1628" y="741"/>
                  <a:pt x="1628" y="741"/>
                  <a:pt x="1628" y="741"/>
                </a:cubicBezTo>
                <a:cubicBezTo>
                  <a:pt x="1622" y="743"/>
                  <a:pt x="1619" y="745"/>
                  <a:pt x="1619" y="753"/>
                </a:cubicBezTo>
                <a:cubicBezTo>
                  <a:pt x="1619" y="755"/>
                  <a:pt x="1619" y="757"/>
                  <a:pt x="1619" y="759"/>
                </a:cubicBezTo>
                <a:cubicBezTo>
                  <a:pt x="1619" y="760"/>
                  <a:pt x="1620" y="762"/>
                  <a:pt x="1620" y="763"/>
                </a:cubicBezTo>
                <a:cubicBezTo>
                  <a:pt x="1620" y="767"/>
                  <a:pt x="1619" y="769"/>
                  <a:pt x="1615" y="769"/>
                </a:cubicBezTo>
                <a:cubicBezTo>
                  <a:pt x="1615" y="769"/>
                  <a:pt x="1615" y="769"/>
                  <a:pt x="1613" y="769"/>
                </a:cubicBezTo>
                <a:cubicBezTo>
                  <a:pt x="1613" y="769"/>
                  <a:pt x="1613" y="769"/>
                  <a:pt x="1613" y="778"/>
                </a:cubicBezTo>
                <a:cubicBezTo>
                  <a:pt x="1613" y="778"/>
                  <a:pt x="1613" y="778"/>
                  <a:pt x="1617" y="778"/>
                </a:cubicBezTo>
                <a:cubicBezTo>
                  <a:pt x="1626" y="778"/>
                  <a:pt x="1631" y="775"/>
                  <a:pt x="1631" y="766"/>
                </a:cubicBezTo>
                <a:cubicBezTo>
                  <a:pt x="1631" y="763"/>
                  <a:pt x="1631" y="761"/>
                  <a:pt x="1631" y="759"/>
                </a:cubicBezTo>
                <a:cubicBezTo>
                  <a:pt x="1630" y="756"/>
                  <a:pt x="1630" y="754"/>
                  <a:pt x="1630" y="752"/>
                </a:cubicBezTo>
                <a:cubicBezTo>
                  <a:pt x="1630" y="749"/>
                  <a:pt x="1631" y="746"/>
                  <a:pt x="1637" y="746"/>
                </a:cubicBezTo>
                <a:close/>
                <a:moveTo>
                  <a:pt x="1821" y="778"/>
                </a:moveTo>
                <a:cubicBezTo>
                  <a:pt x="1814" y="778"/>
                  <a:pt x="1807" y="776"/>
                  <a:pt x="1803" y="770"/>
                </a:cubicBezTo>
                <a:cubicBezTo>
                  <a:pt x="1799" y="763"/>
                  <a:pt x="1797" y="754"/>
                  <a:pt x="1797" y="742"/>
                </a:cubicBezTo>
                <a:cubicBezTo>
                  <a:pt x="1797" y="729"/>
                  <a:pt x="1799" y="719"/>
                  <a:pt x="1804" y="713"/>
                </a:cubicBezTo>
                <a:cubicBezTo>
                  <a:pt x="1808" y="706"/>
                  <a:pt x="1815" y="703"/>
                  <a:pt x="1823" y="703"/>
                </a:cubicBezTo>
                <a:cubicBezTo>
                  <a:pt x="1839" y="703"/>
                  <a:pt x="1847" y="715"/>
                  <a:pt x="1847" y="741"/>
                </a:cubicBezTo>
                <a:cubicBezTo>
                  <a:pt x="1847" y="753"/>
                  <a:pt x="1845" y="762"/>
                  <a:pt x="1840" y="769"/>
                </a:cubicBezTo>
                <a:cubicBezTo>
                  <a:pt x="1836" y="776"/>
                  <a:pt x="1829" y="778"/>
                  <a:pt x="1821" y="778"/>
                </a:cubicBezTo>
                <a:close/>
                <a:moveTo>
                  <a:pt x="1823" y="712"/>
                </a:moveTo>
                <a:cubicBezTo>
                  <a:pt x="1813" y="712"/>
                  <a:pt x="1809" y="722"/>
                  <a:pt x="1809" y="742"/>
                </a:cubicBezTo>
                <a:cubicBezTo>
                  <a:pt x="1809" y="760"/>
                  <a:pt x="1813" y="769"/>
                  <a:pt x="1822" y="769"/>
                </a:cubicBezTo>
                <a:cubicBezTo>
                  <a:pt x="1831" y="769"/>
                  <a:pt x="1835" y="760"/>
                  <a:pt x="1835" y="741"/>
                </a:cubicBezTo>
                <a:cubicBezTo>
                  <a:pt x="1835" y="722"/>
                  <a:pt x="1831" y="712"/>
                  <a:pt x="1823" y="712"/>
                </a:cubicBezTo>
                <a:close/>
                <a:moveTo>
                  <a:pt x="1891" y="778"/>
                </a:moveTo>
                <a:cubicBezTo>
                  <a:pt x="1884" y="778"/>
                  <a:pt x="1877" y="776"/>
                  <a:pt x="1874" y="770"/>
                </a:cubicBezTo>
                <a:cubicBezTo>
                  <a:pt x="1869" y="763"/>
                  <a:pt x="1867" y="754"/>
                  <a:pt x="1867" y="742"/>
                </a:cubicBezTo>
                <a:cubicBezTo>
                  <a:pt x="1867" y="729"/>
                  <a:pt x="1869" y="719"/>
                  <a:pt x="1874" y="713"/>
                </a:cubicBezTo>
                <a:cubicBezTo>
                  <a:pt x="1878" y="706"/>
                  <a:pt x="1885" y="703"/>
                  <a:pt x="1894" y="703"/>
                </a:cubicBezTo>
                <a:cubicBezTo>
                  <a:pt x="1910" y="703"/>
                  <a:pt x="1918" y="715"/>
                  <a:pt x="1918" y="741"/>
                </a:cubicBezTo>
                <a:cubicBezTo>
                  <a:pt x="1918" y="753"/>
                  <a:pt x="1916" y="762"/>
                  <a:pt x="1911" y="769"/>
                </a:cubicBezTo>
                <a:cubicBezTo>
                  <a:pt x="1906" y="776"/>
                  <a:pt x="1900" y="778"/>
                  <a:pt x="1891" y="778"/>
                </a:cubicBezTo>
                <a:close/>
                <a:moveTo>
                  <a:pt x="1893" y="712"/>
                </a:moveTo>
                <a:cubicBezTo>
                  <a:pt x="1884" y="712"/>
                  <a:pt x="1879" y="722"/>
                  <a:pt x="1879" y="742"/>
                </a:cubicBezTo>
                <a:cubicBezTo>
                  <a:pt x="1879" y="760"/>
                  <a:pt x="1883" y="769"/>
                  <a:pt x="1892" y="769"/>
                </a:cubicBezTo>
                <a:cubicBezTo>
                  <a:pt x="1901" y="769"/>
                  <a:pt x="1905" y="760"/>
                  <a:pt x="1905" y="741"/>
                </a:cubicBezTo>
                <a:cubicBezTo>
                  <a:pt x="1905" y="722"/>
                  <a:pt x="1901" y="712"/>
                  <a:pt x="1893" y="712"/>
                </a:cubicBezTo>
                <a:close/>
                <a:moveTo>
                  <a:pt x="37" y="801"/>
                </a:moveTo>
                <a:cubicBezTo>
                  <a:pt x="37" y="801"/>
                  <a:pt x="37" y="801"/>
                  <a:pt x="37" y="801"/>
                </a:cubicBezTo>
                <a:cubicBezTo>
                  <a:pt x="32" y="801"/>
                  <a:pt x="32" y="801"/>
                  <a:pt x="32" y="801"/>
                </a:cubicBezTo>
                <a:cubicBezTo>
                  <a:pt x="29" y="802"/>
                  <a:pt x="28" y="804"/>
                  <a:pt x="26" y="805"/>
                </a:cubicBezTo>
                <a:cubicBezTo>
                  <a:pt x="24" y="806"/>
                  <a:pt x="23" y="807"/>
                  <a:pt x="21" y="808"/>
                </a:cubicBezTo>
                <a:cubicBezTo>
                  <a:pt x="19" y="809"/>
                  <a:pt x="17" y="810"/>
                  <a:pt x="15" y="810"/>
                </a:cubicBezTo>
                <a:cubicBezTo>
                  <a:pt x="13" y="811"/>
                  <a:pt x="12" y="812"/>
                  <a:pt x="9" y="812"/>
                </a:cubicBezTo>
                <a:cubicBezTo>
                  <a:pt x="9" y="812"/>
                  <a:pt x="9" y="812"/>
                  <a:pt x="9" y="822"/>
                </a:cubicBezTo>
                <a:cubicBezTo>
                  <a:pt x="12" y="821"/>
                  <a:pt x="15" y="821"/>
                  <a:pt x="18" y="819"/>
                </a:cubicBezTo>
                <a:cubicBezTo>
                  <a:pt x="21" y="818"/>
                  <a:pt x="23" y="817"/>
                  <a:pt x="25" y="816"/>
                </a:cubicBezTo>
                <a:cubicBezTo>
                  <a:pt x="25" y="816"/>
                  <a:pt x="25" y="816"/>
                  <a:pt x="25" y="874"/>
                </a:cubicBezTo>
                <a:cubicBezTo>
                  <a:pt x="25" y="874"/>
                  <a:pt x="25" y="874"/>
                  <a:pt x="37" y="874"/>
                </a:cubicBezTo>
                <a:cubicBezTo>
                  <a:pt x="37" y="874"/>
                  <a:pt x="37" y="874"/>
                  <a:pt x="37" y="801"/>
                </a:cubicBezTo>
                <a:close/>
                <a:moveTo>
                  <a:pt x="84" y="801"/>
                </a:moveTo>
                <a:cubicBezTo>
                  <a:pt x="84" y="801"/>
                  <a:pt x="84" y="801"/>
                  <a:pt x="84" y="801"/>
                </a:cubicBezTo>
                <a:cubicBezTo>
                  <a:pt x="79" y="801"/>
                  <a:pt x="79" y="801"/>
                  <a:pt x="79" y="801"/>
                </a:cubicBezTo>
                <a:cubicBezTo>
                  <a:pt x="77" y="802"/>
                  <a:pt x="76" y="804"/>
                  <a:pt x="73" y="805"/>
                </a:cubicBezTo>
                <a:cubicBezTo>
                  <a:pt x="72" y="806"/>
                  <a:pt x="70" y="807"/>
                  <a:pt x="68" y="808"/>
                </a:cubicBezTo>
                <a:cubicBezTo>
                  <a:pt x="67" y="809"/>
                  <a:pt x="65" y="810"/>
                  <a:pt x="63" y="810"/>
                </a:cubicBezTo>
                <a:cubicBezTo>
                  <a:pt x="61" y="811"/>
                  <a:pt x="60" y="812"/>
                  <a:pt x="57" y="812"/>
                </a:cubicBezTo>
                <a:cubicBezTo>
                  <a:pt x="57" y="812"/>
                  <a:pt x="57" y="812"/>
                  <a:pt x="57" y="822"/>
                </a:cubicBezTo>
                <a:cubicBezTo>
                  <a:pt x="60" y="821"/>
                  <a:pt x="63" y="821"/>
                  <a:pt x="65" y="819"/>
                </a:cubicBezTo>
                <a:cubicBezTo>
                  <a:pt x="68" y="818"/>
                  <a:pt x="71" y="817"/>
                  <a:pt x="73" y="816"/>
                </a:cubicBezTo>
                <a:cubicBezTo>
                  <a:pt x="73" y="816"/>
                  <a:pt x="73" y="816"/>
                  <a:pt x="73" y="874"/>
                </a:cubicBezTo>
                <a:cubicBezTo>
                  <a:pt x="73" y="874"/>
                  <a:pt x="73" y="874"/>
                  <a:pt x="84" y="874"/>
                </a:cubicBezTo>
                <a:cubicBezTo>
                  <a:pt x="84" y="874"/>
                  <a:pt x="84" y="874"/>
                  <a:pt x="84" y="801"/>
                </a:cubicBezTo>
                <a:close/>
                <a:moveTo>
                  <a:pt x="131" y="801"/>
                </a:moveTo>
                <a:cubicBezTo>
                  <a:pt x="131" y="801"/>
                  <a:pt x="131" y="801"/>
                  <a:pt x="131" y="801"/>
                </a:cubicBezTo>
                <a:cubicBezTo>
                  <a:pt x="127" y="801"/>
                  <a:pt x="127" y="801"/>
                  <a:pt x="127" y="801"/>
                </a:cubicBezTo>
                <a:cubicBezTo>
                  <a:pt x="124" y="802"/>
                  <a:pt x="123" y="804"/>
                  <a:pt x="121" y="805"/>
                </a:cubicBezTo>
                <a:cubicBezTo>
                  <a:pt x="119" y="806"/>
                  <a:pt x="117" y="807"/>
                  <a:pt x="116" y="808"/>
                </a:cubicBezTo>
                <a:cubicBezTo>
                  <a:pt x="114" y="808"/>
                  <a:pt x="112" y="809"/>
                  <a:pt x="110" y="810"/>
                </a:cubicBezTo>
                <a:cubicBezTo>
                  <a:pt x="109" y="810"/>
                  <a:pt x="106" y="811"/>
                  <a:pt x="105" y="812"/>
                </a:cubicBezTo>
                <a:cubicBezTo>
                  <a:pt x="105" y="812"/>
                  <a:pt x="105" y="812"/>
                  <a:pt x="105" y="822"/>
                </a:cubicBezTo>
                <a:cubicBezTo>
                  <a:pt x="108" y="821"/>
                  <a:pt x="111" y="820"/>
                  <a:pt x="113" y="819"/>
                </a:cubicBezTo>
                <a:cubicBezTo>
                  <a:pt x="115" y="818"/>
                  <a:pt x="118" y="817"/>
                  <a:pt x="119" y="816"/>
                </a:cubicBezTo>
                <a:cubicBezTo>
                  <a:pt x="119" y="816"/>
                  <a:pt x="119" y="816"/>
                  <a:pt x="119" y="874"/>
                </a:cubicBezTo>
                <a:cubicBezTo>
                  <a:pt x="119" y="874"/>
                  <a:pt x="119" y="874"/>
                  <a:pt x="131" y="874"/>
                </a:cubicBezTo>
                <a:cubicBezTo>
                  <a:pt x="131" y="874"/>
                  <a:pt x="131" y="874"/>
                  <a:pt x="131" y="801"/>
                </a:cubicBezTo>
                <a:close/>
                <a:moveTo>
                  <a:pt x="176" y="874"/>
                </a:moveTo>
                <a:cubicBezTo>
                  <a:pt x="168" y="874"/>
                  <a:pt x="162" y="872"/>
                  <a:pt x="157" y="866"/>
                </a:cubicBezTo>
                <a:cubicBezTo>
                  <a:pt x="154" y="859"/>
                  <a:pt x="152" y="850"/>
                  <a:pt x="152" y="838"/>
                </a:cubicBezTo>
                <a:cubicBezTo>
                  <a:pt x="152" y="825"/>
                  <a:pt x="154" y="815"/>
                  <a:pt x="158" y="808"/>
                </a:cubicBezTo>
                <a:cubicBezTo>
                  <a:pt x="162" y="802"/>
                  <a:pt x="169" y="798"/>
                  <a:pt x="178" y="798"/>
                </a:cubicBezTo>
                <a:cubicBezTo>
                  <a:pt x="194" y="798"/>
                  <a:pt x="202" y="811"/>
                  <a:pt x="202" y="836"/>
                </a:cubicBezTo>
                <a:cubicBezTo>
                  <a:pt x="202" y="849"/>
                  <a:pt x="200" y="858"/>
                  <a:pt x="195" y="865"/>
                </a:cubicBezTo>
                <a:cubicBezTo>
                  <a:pt x="190" y="872"/>
                  <a:pt x="184" y="874"/>
                  <a:pt x="176" y="874"/>
                </a:cubicBezTo>
                <a:close/>
                <a:moveTo>
                  <a:pt x="177" y="808"/>
                </a:moveTo>
                <a:cubicBezTo>
                  <a:pt x="168" y="808"/>
                  <a:pt x="163" y="818"/>
                  <a:pt x="163" y="838"/>
                </a:cubicBezTo>
                <a:cubicBezTo>
                  <a:pt x="163" y="856"/>
                  <a:pt x="168" y="865"/>
                  <a:pt x="176" y="865"/>
                </a:cubicBezTo>
                <a:cubicBezTo>
                  <a:pt x="185" y="865"/>
                  <a:pt x="190" y="856"/>
                  <a:pt x="190" y="837"/>
                </a:cubicBezTo>
                <a:cubicBezTo>
                  <a:pt x="190" y="817"/>
                  <a:pt x="185" y="808"/>
                  <a:pt x="177" y="808"/>
                </a:cubicBezTo>
                <a:close/>
                <a:moveTo>
                  <a:pt x="247" y="874"/>
                </a:moveTo>
                <a:cubicBezTo>
                  <a:pt x="239" y="874"/>
                  <a:pt x="233" y="872"/>
                  <a:pt x="229" y="866"/>
                </a:cubicBezTo>
                <a:cubicBezTo>
                  <a:pt x="225" y="859"/>
                  <a:pt x="223" y="850"/>
                  <a:pt x="223" y="838"/>
                </a:cubicBezTo>
                <a:cubicBezTo>
                  <a:pt x="223" y="825"/>
                  <a:pt x="225" y="815"/>
                  <a:pt x="229" y="808"/>
                </a:cubicBezTo>
                <a:cubicBezTo>
                  <a:pt x="234" y="802"/>
                  <a:pt x="240" y="798"/>
                  <a:pt x="249" y="798"/>
                </a:cubicBezTo>
                <a:cubicBezTo>
                  <a:pt x="265" y="798"/>
                  <a:pt x="273" y="811"/>
                  <a:pt x="273" y="836"/>
                </a:cubicBezTo>
                <a:cubicBezTo>
                  <a:pt x="273" y="849"/>
                  <a:pt x="271" y="858"/>
                  <a:pt x="266" y="865"/>
                </a:cubicBezTo>
                <a:cubicBezTo>
                  <a:pt x="261" y="872"/>
                  <a:pt x="255" y="874"/>
                  <a:pt x="247" y="874"/>
                </a:cubicBezTo>
                <a:close/>
                <a:moveTo>
                  <a:pt x="248" y="808"/>
                </a:moveTo>
                <a:cubicBezTo>
                  <a:pt x="239" y="808"/>
                  <a:pt x="234" y="818"/>
                  <a:pt x="234" y="838"/>
                </a:cubicBezTo>
                <a:cubicBezTo>
                  <a:pt x="234" y="856"/>
                  <a:pt x="239" y="865"/>
                  <a:pt x="247" y="865"/>
                </a:cubicBezTo>
                <a:cubicBezTo>
                  <a:pt x="256" y="865"/>
                  <a:pt x="261" y="856"/>
                  <a:pt x="261" y="837"/>
                </a:cubicBezTo>
                <a:cubicBezTo>
                  <a:pt x="261" y="817"/>
                  <a:pt x="256" y="808"/>
                  <a:pt x="248" y="808"/>
                </a:cubicBezTo>
                <a:close/>
                <a:moveTo>
                  <a:pt x="459" y="874"/>
                </a:moveTo>
                <a:cubicBezTo>
                  <a:pt x="452" y="874"/>
                  <a:pt x="446" y="872"/>
                  <a:pt x="442" y="865"/>
                </a:cubicBezTo>
                <a:cubicBezTo>
                  <a:pt x="437" y="859"/>
                  <a:pt x="435" y="849"/>
                  <a:pt x="435" y="838"/>
                </a:cubicBezTo>
                <a:cubicBezTo>
                  <a:pt x="435" y="825"/>
                  <a:pt x="437" y="815"/>
                  <a:pt x="442" y="808"/>
                </a:cubicBezTo>
                <a:cubicBezTo>
                  <a:pt x="446" y="801"/>
                  <a:pt x="453" y="798"/>
                  <a:pt x="462" y="798"/>
                </a:cubicBezTo>
                <a:cubicBezTo>
                  <a:pt x="478" y="798"/>
                  <a:pt x="486" y="811"/>
                  <a:pt x="486" y="836"/>
                </a:cubicBezTo>
                <a:cubicBezTo>
                  <a:pt x="486" y="849"/>
                  <a:pt x="483" y="858"/>
                  <a:pt x="479" y="865"/>
                </a:cubicBezTo>
                <a:cubicBezTo>
                  <a:pt x="474" y="872"/>
                  <a:pt x="468" y="874"/>
                  <a:pt x="459" y="874"/>
                </a:cubicBezTo>
                <a:close/>
                <a:moveTo>
                  <a:pt x="461" y="808"/>
                </a:moveTo>
                <a:cubicBezTo>
                  <a:pt x="452" y="808"/>
                  <a:pt x="448" y="817"/>
                  <a:pt x="448" y="837"/>
                </a:cubicBezTo>
                <a:cubicBezTo>
                  <a:pt x="448" y="855"/>
                  <a:pt x="452" y="865"/>
                  <a:pt x="461" y="865"/>
                </a:cubicBezTo>
                <a:cubicBezTo>
                  <a:pt x="469" y="865"/>
                  <a:pt x="473" y="855"/>
                  <a:pt x="473" y="837"/>
                </a:cubicBezTo>
                <a:cubicBezTo>
                  <a:pt x="473" y="817"/>
                  <a:pt x="470" y="808"/>
                  <a:pt x="461" y="808"/>
                </a:cubicBezTo>
                <a:close/>
                <a:moveTo>
                  <a:pt x="577" y="874"/>
                </a:moveTo>
                <a:cubicBezTo>
                  <a:pt x="570" y="874"/>
                  <a:pt x="564" y="872"/>
                  <a:pt x="560" y="865"/>
                </a:cubicBezTo>
                <a:cubicBezTo>
                  <a:pt x="555" y="859"/>
                  <a:pt x="553" y="849"/>
                  <a:pt x="553" y="838"/>
                </a:cubicBezTo>
                <a:cubicBezTo>
                  <a:pt x="553" y="825"/>
                  <a:pt x="555" y="815"/>
                  <a:pt x="560" y="808"/>
                </a:cubicBezTo>
                <a:cubicBezTo>
                  <a:pt x="564" y="801"/>
                  <a:pt x="571" y="798"/>
                  <a:pt x="580" y="798"/>
                </a:cubicBezTo>
                <a:cubicBezTo>
                  <a:pt x="596" y="798"/>
                  <a:pt x="604" y="811"/>
                  <a:pt x="604" y="836"/>
                </a:cubicBezTo>
                <a:cubicBezTo>
                  <a:pt x="604" y="849"/>
                  <a:pt x="602" y="858"/>
                  <a:pt x="597" y="865"/>
                </a:cubicBezTo>
                <a:cubicBezTo>
                  <a:pt x="592" y="872"/>
                  <a:pt x="586" y="874"/>
                  <a:pt x="577" y="874"/>
                </a:cubicBezTo>
                <a:close/>
                <a:moveTo>
                  <a:pt x="579" y="808"/>
                </a:moveTo>
                <a:cubicBezTo>
                  <a:pt x="570" y="808"/>
                  <a:pt x="566" y="817"/>
                  <a:pt x="566" y="837"/>
                </a:cubicBezTo>
                <a:cubicBezTo>
                  <a:pt x="566" y="855"/>
                  <a:pt x="570" y="865"/>
                  <a:pt x="579" y="865"/>
                </a:cubicBezTo>
                <a:cubicBezTo>
                  <a:pt x="587" y="865"/>
                  <a:pt x="591" y="855"/>
                  <a:pt x="591" y="837"/>
                </a:cubicBezTo>
                <a:cubicBezTo>
                  <a:pt x="591" y="817"/>
                  <a:pt x="588" y="808"/>
                  <a:pt x="579" y="808"/>
                </a:cubicBezTo>
                <a:close/>
                <a:moveTo>
                  <a:pt x="533" y="801"/>
                </a:moveTo>
                <a:cubicBezTo>
                  <a:pt x="533" y="801"/>
                  <a:pt x="533" y="801"/>
                  <a:pt x="533" y="801"/>
                </a:cubicBezTo>
                <a:cubicBezTo>
                  <a:pt x="528" y="801"/>
                  <a:pt x="528" y="801"/>
                  <a:pt x="528" y="801"/>
                </a:cubicBezTo>
                <a:cubicBezTo>
                  <a:pt x="526" y="802"/>
                  <a:pt x="524" y="804"/>
                  <a:pt x="522" y="805"/>
                </a:cubicBezTo>
                <a:cubicBezTo>
                  <a:pt x="521" y="806"/>
                  <a:pt x="518" y="807"/>
                  <a:pt x="517" y="808"/>
                </a:cubicBezTo>
                <a:cubicBezTo>
                  <a:pt x="516" y="808"/>
                  <a:pt x="513" y="809"/>
                  <a:pt x="512" y="810"/>
                </a:cubicBezTo>
                <a:cubicBezTo>
                  <a:pt x="510" y="810"/>
                  <a:pt x="508" y="811"/>
                  <a:pt x="506" y="812"/>
                </a:cubicBezTo>
                <a:cubicBezTo>
                  <a:pt x="506" y="812"/>
                  <a:pt x="506" y="812"/>
                  <a:pt x="506" y="822"/>
                </a:cubicBezTo>
                <a:cubicBezTo>
                  <a:pt x="509" y="821"/>
                  <a:pt x="512" y="820"/>
                  <a:pt x="514" y="819"/>
                </a:cubicBezTo>
                <a:cubicBezTo>
                  <a:pt x="517" y="818"/>
                  <a:pt x="519" y="817"/>
                  <a:pt x="521" y="816"/>
                </a:cubicBezTo>
                <a:cubicBezTo>
                  <a:pt x="521" y="816"/>
                  <a:pt x="521" y="816"/>
                  <a:pt x="521" y="874"/>
                </a:cubicBezTo>
                <a:cubicBezTo>
                  <a:pt x="521" y="874"/>
                  <a:pt x="521" y="874"/>
                  <a:pt x="533" y="874"/>
                </a:cubicBezTo>
                <a:cubicBezTo>
                  <a:pt x="533" y="874"/>
                  <a:pt x="533" y="874"/>
                  <a:pt x="533" y="801"/>
                </a:cubicBezTo>
                <a:close/>
                <a:moveTo>
                  <a:pt x="648" y="874"/>
                </a:moveTo>
                <a:cubicBezTo>
                  <a:pt x="641" y="874"/>
                  <a:pt x="635" y="872"/>
                  <a:pt x="631" y="866"/>
                </a:cubicBezTo>
                <a:cubicBezTo>
                  <a:pt x="627" y="859"/>
                  <a:pt x="624" y="850"/>
                  <a:pt x="624" y="838"/>
                </a:cubicBezTo>
                <a:cubicBezTo>
                  <a:pt x="624" y="825"/>
                  <a:pt x="627" y="815"/>
                  <a:pt x="631" y="808"/>
                </a:cubicBezTo>
                <a:cubicBezTo>
                  <a:pt x="635" y="802"/>
                  <a:pt x="642" y="798"/>
                  <a:pt x="651" y="798"/>
                </a:cubicBezTo>
                <a:cubicBezTo>
                  <a:pt x="667" y="798"/>
                  <a:pt x="675" y="811"/>
                  <a:pt x="675" y="836"/>
                </a:cubicBezTo>
                <a:cubicBezTo>
                  <a:pt x="675" y="849"/>
                  <a:pt x="673" y="858"/>
                  <a:pt x="668" y="865"/>
                </a:cubicBezTo>
                <a:cubicBezTo>
                  <a:pt x="663" y="872"/>
                  <a:pt x="657" y="874"/>
                  <a:pt x="648" y="874"/>
                </a:cubicBezTo>
                <a:close/>
                <a:moveTo>
                  <a:pt x="650" y="808"/>
                </a:moveTo>
                <a:cubicBezTo>
                  <a:pt x="641" y="808"/>
                  <a:pt x="636" y="818"/>
                  <a:pt x="636" y="838"/>
                </a:cubicBezTo>
                <a:cubicBezTo>
                  <a:pt x="636" y="856"/>
                  <a:pt x="640" y="865"/>
                  <a:pt x="649" y="865"/>
                </a:cubicBezTo>
                <a:cubicBezTo>
                  <a:pt x="658" y="865"/>
                  <a:pt x="662" y="856"/>
                  <a:pt x="662" y="837"/>
                </a:cubicBezTo>
                <a:cubicBezTo>
                  <a:pt x="662" y="817"/>
                  <a:pt x="658" y="808"/>
                  <a:pt x="650" y="808"/>
                </a:cubicBezTo>
                <a:close/>
                <a:moveTo>
                  <a:pt x="696" y="833"/>
                </a:moveTo>
                <a:cubicBezTo>
                  <a:pt x="696" y="833"/>
                  <a:pt x="696" y="833"/>
                  <a:pt x="696" y="833"/>
                </a:cubicBezTo>
                <a:cubicBezTo>
                  <a:pt x="695" y="842"/>
                  <a:pt x="695" y="842"/>
                  <a:pt x="695" y="842"/>
                </a:cubicBezTo>
                <a:cubicBezTo>
                  <a:pt x="702" y="842"/>
                  <a:pt x="702" y="845"/>
                  <a:pt x="702" y="848"/>
                </a:cubicBezTo>
                <a:cubicBezTo>
                  <a:pt x="702" y="850"/>
                  <a:pt x="702" y="852"/>
                  <a:pt x="702" y="855"/>
                </a:cubicBezTo>
                <a:cubicBezTo>
                  <a:pt x="702" y="857"/>
                  <a:pt x="701" y="859"/>
                  <a:pt x="701" y="862"/>
                </a:cubicBezTo>
                <a:cubicBezTo>
                  <a:pt x="701" y="871"/>
                  <a:pt x="707" y="874"/>
                  <a:pt x="716" y="874"/>
                </a:cubicBezTo>
                <a:cubicBezTo>
                  <a:pt x="716" y="874"/>
                  <a:pt x="716" y="874"/>
                  <a:pt x="719" y="874"/>
                </a:cubicBezTo>
                <a:cubicBezTo>
                  <a:pt x="719" y="874"/>
                  <a:pt x="719" y="874"/>
                  <a:pt x="719" y="865"/>
                </a:cubicBezTo>
                <a:cubicBezTo>
                  <a:pt x="719" y="865"/>
                  <a:pt x="719" y="865"/>
                  <a:pt x="718" y="865"/>
                </a:cubicBezTo>
                <a:cubicBezTo>
                  <a:pt x="714" y="865"/>
                  <a:pt x="713" y="863"/>
                  <a:pt x="713" y="859"/>
                </a:cubicBezTo>
                <a:cubicBezTo>
                  <a:pt x="713" y="858"/>
                  <a:pt x="713" y="856"/>
                  <a:pt x="713" y="855"/>
                </a:cubicBezTo>
                <a:cubicBezTo>
                  <a:pt x="713" y="853"/>
                  <a:pt x="714" y="851"/>
                  <a:pt x="714" y="849"/>
                </a:cubicBezTo>
                <a:cubicBezTo>
                  <a:pt x="714" y="841"/>
                  <a:pt x="711" y="839"/>
                  <a:pt x="705" y="837"/>
                </a:cubicBezTo>
                <a:cubicBezTo>
                  <a:pt x="705" y="837"/>
                  <a:pt x="705" y="837"/>
                  <a:pt x="705" y="837"/>
                </a:cubicBezTo>
                <a:cubicBezTo>
                  <a:pt x="711" y="836"/>
                  <a:pt x="714" y="834"/>
                  <a:pt x="714" y="826"/>
                </a:cubicBezTo>
                <a:cubicBezTo>
                  <a:pt x="714" y="824"/>
                  <a:pt x="713" y="822"/>
                  <a:pt x="713" y="820"/>
                </a:cubicBezTo>
                <a:cubicBezTo>
                  <a:pt x="713" y="818"/>
                  <a:pt x="713" y="816"/>
                  <a:pt x="713" y="815"/>
                </a:cubicBezTo>
                <a:cubicBezTo>
                  <a:pt x="713" y="812"/>
                  <a:pt x="714" y="809"/>
                  <a:pt x="718" y="809"/>
                </a:cubicBezTo>
                <a:cubicBezTo>
                  <a:pt x="718" y="809"/>
                  <a:pt x="718" y="809"/>
                  <a:pt x="719" y="809"/>
                </a:cubicBezTo>
                <a:cubicBezTo>
                  <a:pt x="719" y="809"/>
                  <a:pt x="719" y="809"/>
                  <a:pt x="719" y="800"/>
                </a:cubicBezTo>
                <a:cubicBezTo>
                  <a:pt x="719" y="800"/>
                  <a:pt x="719" y="800"/>
                  <a:pt x="716" y="800"/>
                </a:cubicBezTo>
                <a:cubicBezTo>
                  <a:pt x="707" y="800"/>
                  <a:pt x="701" y="804"/>
                  <a:pt x="701" y="813"/>
                </a:cubicBezTo>
                <a:cubicBezTo>
                  <a:pt x="701" y="815"/>
                  <a:pt x="702" y="818"/>
                  <a:pt x="702" y="820"/>
                </a:cubicBezTo>
                <a:cubicBezTo>
                  <a:pt x="702" y="822"/>
                  <a:pt x="702" y="825"/>
                  <a:pt x="702" y="827"/>
                </a:cubicBezTo>
                <a:cubicBezTo>
                  <a:pt x="702" y="830"/>
                  <a:pt x="702" y="833"/>
                  <a:pt x="696" y="833"/>
                </a:cubicBezTo>
                <a:close/>
                <a:moveTo>
                  <a:pt x="751" y="842"/>
                </a:moveTo>
                <a:cubicBezTo>
                  <a:pt x="751" y="842"/>
                  <a:pt x="751" y="842"/>
                  <a:pt x="751" y="842"/>
                </a:cubicBezTo>
                <a:cubicBezTo>
                  <a:pt x="751" y="833"/>
                  <a:pt x="751" y="833"/>
                  <a:pt x="751" y="833"/>
                </a:cubicBezTo>
                <a:cubicBezTo>
                  <a:pt x="744" y="833"/>
                  <a:pt x="744" y="830"/>
                  <a:pt x="744" y="827"/>
                </a:cubicBezTo>
                <a:cubicBezTo>
                  <a:pt x="744" y="825"/>
                  <a:pt x="744" y="822"/>
                  <a:pt x="744" y="820"/>
                </a:cubicBezTo>
                <a:cubicBezTo>
                  <a:pt x="745" y="818"/>
                  <a:pt x="745" y="815"/>
                  <a:pt x="745" y="813"/>
                </a:cubicBezTo>
                <a:cubicBezTo>
                  <a:pt x="745" y="804"/>
                  <a:pt x="739" y="800"/>
                  <a:pt x="730" y="800"/>
                </a:cubicBezTo>
                <a:cubicBezTo>
                  <a:pt x="730" y="800"/>
                  <a:pt x="730" y="800"/>
                  <a:pt x="726" y="800"/>
                </a:cubicBezTo>
                <a:cubicBezTo>
                  <a:pt x="726" y="800"/>
                  <a:pt x="726" y="800"/>
                  <a:pt x="726" y="809"/>
                </a:cubicBezTo>
                <a:cubicBezTo>
                  <a:pt x="726" y="809"/>
                  <a:pt x="726" y="809"/>
                  <a:pt x="728" y="809"/>
                </a:cubicBezTo>
                <a:cubicBezTo>
                  <a:pt x="731" y="809"/>
                  <a:pt x="733" y="812"/>
                  <a:pt x="733" y="815"/>
                </a:cubicBezTo>
                <a:cubicBezTo>
                  <a:pt x="733" y="816"/>
                  <a:pt x="732" y="818"/>
                  <a:pt x="732" y="820"/>
                </a:cubicBezTo>
                <a:cubicBezTo>
                  <a:pt x="732" y="822"/>
                  <a:pt x="732" y="824"/>
                  <a:pt x="732" y="826"/>
                </a:cubicBezTo>
                <a:cubicBezTo>
                  <a:pt x="732" y="834"/>
                  <a:pt x="735" y="836"/>
                  <a:pt x="741" y="837"/>
                </a:cubicBezTo>
                <a:cubicBezTo>
                  <a:pt x="741" y="837"/>
                  <a:pt x="741" y="837"/>
                  <a:pt x="741" y="837"/>
                </a:cubicBezTo>
                <a:cubicBezTo>
                  <a:pt x="735" y="839"/>
                  <a:pt x="732" y="841"/>
                  <a:pt x="732" y="849"/>
                </a:cubicBezTo>
                <a:cubicBezTo>
                  <a:pt x="732" y="851"/>
                  <a:pt x="732" y="853"/>
                  <a:pt x="732" y="855"/>
                </a:cubicBezTo>
                <a:cubicBezTo>
                  <a:pt x="732" y="856"/>
                  <a:pt x="733" y="858"/>
                  <a:pt x="733" y="859"/>
                </a:cubicBezTo>
                <a:cubicBezTo>
                  <a:pt x="733" y="863"/>
                  <a:pt x="732" y="865"/>
                  <a:pt x="728" y="865"/>
                </a:cubicBezTo>
                <a:cubicBezTo>
                  <a:pt x="728" y="865"/>
                  <a:pt x="728" y="865"/>
                  <a:pt x="726" y="865"/>
                </a:cubicBezTo>
                <a:cubicBezTo>
                  <a:pt x="726" y="865"/>
                  <a:pt x="726" y="865"/>
                  <a:pt x="726" y="874"/>
                </a:cubicBezTo>
                <a:cubicBezTo>
                  <a:pt x="726" y="874"/>
                  <a:pt x="726" y="874"/>
                  <a:pt x="730" y="874"/>
                </a:cubicBezTo>
                <a:cubicBezTo>
                  <a:pt x="739" y="874"/>
                  <a:pt x="745" y="871"/>
                  <a:pt x="745" y="862"/>
                </a:cubicBezTo>
                <a:cubicBezTo>
                  <a:pt x="745" y="859"/>
                  <a:pt x="745" y="857"/>
                  <a:pt x="744" y="855"/>
                </a:cubicBezTo>
                <a:cubicBezTo>
                  <a:pt x="744" y="852"/>
                  <a:pt x="744" y="850"/>
                  <a:pt x="744" y="848"/>
                </a:cubicBezTo>
                <a:cubicBezTo>
                  <a:pt x="744" y="845"/>
                  <a:pt x="744" y="842"/>
                  <a:pt x="751" y="842"/>
                </a:cubicBezTo>
                <a:close/>
                <a:moveTo>
                  <a:pt x="871" y="874"/>
                </a:moveTo>
                <a:cubicBezTo>
                  <a:pt x="863" y="874"/>
                  <a:pt x="857" y="872"/>
                  <a:pt x="852" y="866"/>
                </a:cubicBezTo>
                <a:cubicBezTo>
                  <a:pt x="849" y="859"/>
                  <a:pt x="847" y="850"/>
                  <a:pt x="847" y="838"/>
                </a:cubicBezTo>
                <a:cubicBezTo>
                  <a:pt x="847" y="825"/>
                  <a:pt x="849" y="815"/>
                  <a:pt x="853" y="808"/>
                </a:cubicBezTo>
                <a:cubicBezTo>
                  <a:pt x="858" y="802"/>
                  <a:pt x="864" y="798"/>
                  <a:pt x="873" y="798"/>
                </a:cubicBezTo>
                <a:cubicBezTo>
                  <a:pt x="889" y="798"/>
                  <a:pt x="897" y="811"/>
                  <a:pt x="897" y="836"/>
                </a:cubicBezTo>
                <a:cubicBezTo>
                  <a:pt x="897" y="849"/>
                  <a:pt x="895" y="858"/>
                  <a:pt x="890" y="865"/>
                </a:cubicBezTo>
                <a:cubicBezTo>
                  <a:pt x="885" y="872"/>
                  <a:pt x="879" y="874"/>
                  <a:pt x="871" y="874"/>
                </a:cubicBezTo>
                <a:close/>
                <a:moveTo>
                  <a:pt x="872" y="808"/>
                </a:moveTo>
                <a:cubicBezTo>
                  <a:pt x="863" y="808"/>
                  <a:pt x="858" y="818"/>
                  <a:pt x="858" y="838"/>
                </a:cubicBezTo>
                <a:cubicBezTo>
                  <a:pt x="858" y="856"/>
                  <a:pt x="863" y="865"/>
                  <a:pt x="871" y="865"/>
                </a:cubicBezTo>
                <a:cubicBezTo>
                  <a:pt x="880" y="865"/>
                  <a:pt x="885" y="856"/>
                  <a:pt x="885" y="837"/>
                </a:cubicBezTo>
                <a:cubicBezTo>
                  <a:pt x="885" y="817"/>
                  <a:pt x="880" y="808"/>
                  <a:pt x="872" y="808"/>
                </a:cubicBezTo>
                <a:close/>
                <a:moveTo>
                  <a:pt x="944" y="801"/>
                </a:moveTo>
                <a:cubicBezTo>
                  <a:pt x="944" y="801"/>
                  <a:pt x="944" y="801"/>
                  <a:pt x="944" y="801"/>
                </a:cubicBezTo>
                <a:cubicBezTo>
                  <a:pt x="939" y="801"/>
                  <a:pt x="939" y="801"/>
                  <a:pt x="939" y="801"/>
                </a:cubicBezTo>
                <a:cubicBezTo>
                  <a:pt x="937" y="802"/>
                  <a:pt x="936" y="804"/>
                  <a:pt x="934" y="805"/>
                </a:cubicBezTo>
                <a:cubicBezTo>
                  <a:pt x="932" y="806"/>
                  <a:pt x="930" y="807"/>
                  <a:pt x="929" y="808"/>
                </a:cubicBezTo>
                <a:cubicBezTo>
                  <a:pt x="926" y="808"/>
                  <a:pt x="925" y="809"/>
                  <a:pt x="923" y="810"/>
                </a:cubicBezTo>
                <a:cubicBezTo>
                  <a:pt x="921" y="810"/>
                  <a:pt x="920" y="811"/>
                  <a:pt x="918" y="812"/>
                </a:cubicBezTo>
                <a:cubicBezTo>
                  <a:pt x="918" y="812"/>
                  <a:pt x="918" y="812"/>
                  <a:pt x="918" y="822"/>
                </a:cubicBezTo>
                <a:cubicBezTo>
                  <a:pt x="921" y="821"/>
                  <a:pt x="923" y="820"/>
                  <a:pt x="926" y="819"/>
                </a:cubicBezTo>
                <a:cubicBezTo>
                  <a:pt x="929" y="818"/>
                  <a:pt x="931" y="817"/>
                  <a:pt x="933" y="816"/>
                </a:cubicBezTo>
                <a:cubicBezTo>
                  <a:pt x="933" y="816"/>
                  <a:pt x="933" y="816"/>
                  <a:pt x="933" y="874"/>
                </a:cubicBezTo>
                <a:cubicBezTo>
                  <a:pt x="933" y="874"/>
                  <a:pt x="933" y="874"/>
                  <a:pt x="944" y="874"/>
                </a:cubicBezTo>
                <a:cubicBezTo>
                  <a:pt x="944" y="874"/>
                  <a:pt x="944" y="874"/>
                  <a:pt x="944" y="801"/>
                </a:cubicBezTo>
                <a:close/>
                <a:moveTo>
                  <a:pt x="777" y="874"/>
                </a:moveTo>
                <a:cubicBezTo>
                  <a:pt x="780" y="855"/>
                  <a:pt x="780" y="855"/>
                  <a:pt x="780" y="855"/>
                </a:cubicBezTo>
                <a:cubicBezTo>
                  <a:pt x="771" y="855"/>
                  <a:pt x="771" y="855"/>
                  <a:pt x="771" y="855"/>
                </a:cubicBezTo>
                <a:cubicBezTo>
                  <a:pt x="771" y="843"/>
                  <a:pt x="771" y="843"/>
                  <a:pt x="771" y="843"/>
                </a:cubicBezTo>
                <a:cubicBezTo>
                  <a:pt x="782" y="843"/>
                  <a:pt x="782" y="843"/>
                  <a:pt x="782" y="843"/>
                </a:cubicBezTo>
                <a:cubicBezTo>
                  <a:pt x="783" y="832"/>
                  <a:pt x="783" y="832"/>
                  <a:pt x="783" y="832"/>
                </a:cubicBezTo>
                <a:cubicBezTo>
                  <a:pt x="774" y="832"/>
                  <a:pt x="774" y="832"/>
                  <a:pt x="774" y="832"/>
                </a:cubicBezTo>
                <a:cubicBezTo>
                  <a:pt x="774" y="820"/>
                  <a:pt x="774" y="820"/>
                  <a:pt x="774" y="820"/>
                </a:cubicBezTo>
                <a:cubicBezTo>
                  <a:pt x="785" y="820"/>
                  <a:pt x="785" y="820"/>
                  <a:pt x="785" y="820"/>
                </a:cubicBezTo>
                <a:cubicBezTo>
                  <a:pt x="788" y="802"/>
                  <a:pt x="788" y="802"/>
                  <a:pt x="788" y="802"/>
                </a:cubicBezTo>
                <a:cubicBezTo>
                  <a:pt x="799" y="802"/>
                  <a:pt x="799" y="802"/>
                  <a:pt x="799" y="802"/>
                </a:cubicBezTo>
                <a:cubicBezTo>
                  <a:pt x="796" y="820"/>
                  <a:pt x="796" y="820"/>
                  <a:pt x="796" y="820"/>
                </a:cubicBezTo>
                <a:cubicBezTo>
                  <a:pt x="806" y="820"/>
                  <a:pt x="806" y="820"/>
                  <a:pt x="806" y="820"/>
                </a:cubicBezTo>
                <a:cubicBezTo>
                  <a:pt x="809" y="802"/>
                  <a:pt x="809" y="802"/>
                  <a:pt x="809" y="802"/>
                </a:cubicBezTo>
                <a:cubicBezTo>
                  <a:pt x="820" y="802"/>
                  <a:pt x="820" y="802"/>
                  <a:pt x="820" y="802"/>
                </a:cubicBezTo>
                <a:cubicBezTo>
                  <a:pt x="817" y="820"/>
                  <a:pt x="817" y="820"/>
                  <a:pt x="817" y="820"/>
                </a:cubicBezTo>
                <a:cubicBezTo>
                  <a:pt x="826" y="820"/>
                  <a:pt x="826" y="820"/>
                  <a:pt x="826" y="820"/>
                </a:cubicBezTo>
                <a:cubicBezTo>
                  <a:pt x="826" y="832"/>
                  <a:pt x="826" y="832"/>
                  <a:pt x="826" y="832"/>
                </a:cubicBezTo>
                <a:cubicBezTo>
                  <a:pt x="815" y="832"/>
                  <a:pt x="815" y="832"/>
                  <a:pt x="815" y="832"/>
                </a:cubicBezTo>
                <a:cubicBezTo>
                  <a:pt x="813" y="843"/>
                  <a:pt x="813" y="843"/>
                  <a:pt x="813" y="843"/>
                </a:cubicBezTo>
                <a:cubicBezTo>
                  <a:pt x="823" y="843"/>
                  <a:pt x="823" y="843"/>
                  <a:pt x="823" y="843"/>
                </a:cubicBezTo>
                <a:cubicBezTo>
                  <a:pt x="823" y="855"/>
                  <a:pt x="823" y="855"/>
                  <a:pt x="823" y="855"/>
                </a:cubicBezTo>
                <a:cubicBezTo>
                  <a:pt x="812" y="855"/>
                  <a:pt x="812" y="855"/>
                  <a:pt x="812" y="855"/>
                </a:cubicBezTo>
                <a:cubicBezTo>
                  <a:pt x="809" y="874"/>
                  <a:pt x="809" y="874"/>
                  <a:pt x="809" y="874"/>
                </a:cubicBezTo>
                <a:cubicBezTo>
                  <a:pt x="798" y="874"/>
                  <a:pt x="798" y="874"/>
                  <a:pt x="798" y="874"/>
                </a:cubicBezTo>
                <a:cubicBezTo>
                  <a:pt x="801" y="855"/>
                  <a:pt x="801" y="855"/>
                  <a:pt x="801" y="855"/>
                </a:cubicBezTo>
                <a:cubicBezTo>
                  <a:pt x="791" y="855"/>
                  <a:pt x="791" y="855"/>
                  <a:pt x="791" y="855"/>
                </a:cubicBezTo>
                <a:cubicBezTo>
                  <a:pt x="788" y="874"/>
                  <a:pt x="788" y="874"/>
                  <a:pt x="788" y="874"/>
                </a:cubicBezTo>
                <a:cubicBezTo>
                  <a:pt x="777" y="874"/>
                  <a:pt x="777" y="874"/>
                  <a:pt x="777" y="874"/>
                </a:cubicBezTo>
                <a:cubicBezTo>
                  <a:pt x="777" y="874"/>
                  <a:pt x="777" y="874"/>
                  <a:pt x="777" y="874"/>
                </a:cubicBezTo>
                <a:close/>
                <a:moveTo>
                  <a:pt x="802" y="843"/>
                </a:moveTo>
                <a:cubicBezTo>
                  <a:pt x="804" y="832"/>
                  <a:pt x="804" y="832"/>
                  <a:pt x="804" y="832"/>
                </a:cubicBezTo>
                <a:cubicBezTo>
                  <a:pt x="794" y="832"/>
                  <a:pt x="794" y="832"/>
                  <a:pt x="794" y="832"/>
                </a:cubicBezTo>
                <a:cubicBezTo>
                  <a:pt x="793" y="843"/>
                  <a:pt x="793" y="843"/>
                  <a:pt x="793" y="843"/>
                </a:cubicBezTo>
                <a:cubicBezTo>
                  <a:pt x="802" y="843"/>
                  <a:pt x="802" y="843"/>
                  <a:pt x="802" y="843"/>
                </a:cubicBezTo>
                <a:cubicBezTo>
                  <a:pt x="802" y="843"/>
                  <a:pt x="802" y="843"/>
                  <a:pt x="802" y="843"/>
                </a:cubicBezTo>
                <a:close/>
                <a:moveTo>
                  <a:pt x="320" y="801"/>
                </a:moveTo>
                <a:cubicBezTo>
                  <a:pt x="320" y="801"/>
                  <a:pt x="320" y="801"/>
                  <a:pt x="320" y="801"/>
                </a:cubicBezTo>
                <a:cubicBezTo>
                  <a:pt x="315" y="801"/>
                  <a:pt x="315" y="801"/>
                  <a:pt x="315" y="801"/>
                </a:cubicBezTo>
                <a:cubicBezTo>
                  <a:pt x="313" y="802"/>
                  <a:pt x="312" y="804"/>
                  <a:pt x="310" y="805"/>
                </a:cubicBezTo>
                <a:cubicBezTo>
                  <a:pt x="308" y="806"/>
                  <a:pt x="307" y="807"/>
                  <a:pt x="305" y="808"/>
                </a:cubicBezTo>
                <a:cubicBezTo>
                  <a:pt x="303" y="809"/>
                  <a:pt x="301" y="810"/>
                  <a:pt x="299" y="810"/>
                </a:cubicBezTo>
                <a:cubicBezTo>
                  <a:pt x="297" y="811"/>
                  <a:pt x="296" y="812"/>
                  <a:pt x="294" y="812"/>
                </a:cubicBezTo>
                <a:cubicBezTo>
                  <a:pt x="294" y="812"/>
                  <a:pt x="294" y="812"/>
                  <a:pt x="294" y="822"/>
                </a:cubicBezTo>
                <a:cubicBezTo>
                  <a:pt x="297" y="821"/>
                  <a:pt x="299" y="821"/>
                  <a:pt x="302" y="819"/>
                </a:cubicBezTo>
                <a:cubicBezTo>
                  <a:pt x="305" y="818"/>
                  <a:pt x="307" y="817"/>
                  <a:pt x="309" y="816"/>
                </a:cubicBezTo>
                <a:cubicBezTo>
                  <a:pt x="309" y="816"/>
                  <a:pt x="309" y="816"/>
                  <a:pt x="309" y="874"/>
                </a:cubicBezTo>
                <a:cubicBezTo>
                  <a:pt x="309" y="874"/>
                  <a:pt x="309" y="874"/>
                  <a:pt x="320" y="874"/>
                </a:cubicBezTo>
                <a:cubicBezTo>
                  <a:pt x="320" y="874"/>
                  <a:pt x="320" y="874"/>
                  <a:pt x="320" y="801"/>
                </a:cubicBezTo>
                <a:close/>
                <a:moveTo>
                  <a:pt x="368" y="801"/>
                </a:moveTo>
                <a:cubicBezTo>
                  <a:pt x="368" y="801"/>
                  <a:pt x="368" y="801"/>
                  <a:pt x="368" y="801"/>
                </a:cubicBezTo>
                <a:cubicBezTo>
                  <a:pt x="363" y="801"/>
                  <a:pt x="363" y="801"/>
                  <a:pt x="363" y="801"/>
                </a:cubicBezTo>
                <a:cubicBezTo>
                  <a:pt x="361" y="802"/>
                  <a:pt x="359" y="804"/>
                  <a:pt x="357" y="805"/>
                </a:cubicBezTo>
                <a:cubicBezTo>
                  <a:pt x="356" y="806"/>
                  <a:pt x="353" y="807"/>
                  <a:pt x="352" y="808"/>
                </a:cubicBezTo>
                <a:cubicBezTo>
                  <a:pt x="351" y="809"/>
                  <a:pt x="348" y="810"/>
                  <a:pt x="347" y="810"/>
                </a:cubicBezTo>
                <a:cubicBezTo>
                  <a:pt x="345" y="811"/>
                  <a:pt x="343" y="812"/>
                  <a:pt x="341" y="812"/>
                </a:cubicBezTo>
                <a:cubicBezTo>
                  <a:pt x="341" y="812"/>
                  <a:pt x="341" y="812"/>
                  <a:pt x="341" y="822"/>
                </a:cubicBezTo>
                <a:cubicBezTo>
                  <a:pt x="344" y="821"/>
                  <a:pt x="347" y="821"/>
                  <a:pt x="349" y="819"/>
                </a:cubicBezTo>
                <a:cubicBezTo>
                  <a:pt x="352" y="818"/>
                  <a:pt x="354" y="817"/>
                  <a:pt x="356" y="816"/>
                </a:cubicBezTo>
                <a:cubicBezTo>
                  <a:pt x="356" y="816"/>
                  <a:pt x="356" y="816"/>
                  <a:pt x="356" y="874"/>
                </a:cubicBezTo>
                <a:cubicBezTo>
                  <a:pt x="356" y="874"/>
                  <a:pt x="356" y="874"/>
                  <a:pt x="368" y="874"/>
                </a:cubicBezTo>
                <a:cubicBezTo>
                  <a:pt x="368" y="874"/>
                  <a:pt x="368" y="874"/>
                  <a:pt x="368" y="801"/>
                </a:cubicBezTo>
                <a:close/>
                <a:moveTo>
                  <a:pt x="415" y="801"/>
                </a:moveTo>
                <a:cubicBezTo>
                  <a:pt x="415" y="801"/>
                  <a:pt x="415" y="801"/>
                  <a:pt x="415" y="801"/>
                </a:cubicBezTo>
                <a:cubicBezTo>
                  <a:pt x="410" y="801"/>
                  <a:pt x="410" y="801"/>
                  <a:pt x="410" y="801"/>
                </a:cubicBezTo>
                <a:cubicBezTo>
                  <a:pt x="408" y="802"/>
                  <a:pt x="407" y="804"/>
                  <a:pt x="404" y="805"/>
                </a:cubicBezTo>
                <a:cubicBezTo>
                  <a:pt x="403" y="806"/>
                  <a:pt x="401" y="807"/>
                  <a:pt x="399" y="808"/>
                </a:cubicBezTo>
                <a:cubicBezTo>
                  <a:pt x="397" y="808"/>
                  <a:pt x="396" y="809"/>
                  <a:pt x="394" y="810"/>
                </a:cubicBezTo>
                <a:cubicBezTo>
                  <a:pt x="392" y="810"/>
                  <a:pt x="390" y="811"/>
                  <a:pt x="389" y="812"/>
                </a:cubicBezTo>
                <a:cubicBezTo>
                  <a:pt x="389" y="812"/>
                  <a:pt x="389" y="812"/>
                  <a:pt x="389" y="822"/>
                </a:cubicBezTo>
                <a:cubicBezTo>
                  <a:pt x="392" y="821"/>
                  <a:pt x="394" y="820"/>
                  <a:pt x="397" y="819"/>
                </a:cubicBezTo>
                <a:cubicBezTo>
                  <a:pt x="399" y="818"/>
                  <a:pt x="402" y="817"/>
                  <a:pt x="403" y="816"/>
                </a:cubicBezTo>
                <a:cubicBezTo>
                  <a:pt x="403" y="816"/>
                  <a:pt x="403" y="816"/>
                  <a:pt x="403" y="874"/>
                </a:cubicBezTo>
                <a:cubicBezTo>
                  <a:pt x="403" y="874"/>
                  <a:pt x="403" y="874"/>
                  <a:pt x="415" y="874"/>
                </a:cubicBezTo>
                <a:cubicBezTo>
                  <a:pt x="415" y="874"/>
                  <a:pt x="415" y="874"/>
                  <a:pt x="415" y="801"/>
                </a:cubicBezTo>
                <a:close/>
                <a:moveTo>
                  <a:pt x="622" y="705"/>
                </a:moveTo>
                <a:cubicBezTo>
                  <a:pt x="622" y="705"/>
                  <a:pt x="622" y="705"/>
                  <a:pt x="622" y="705"/>
                </a:cubicBezTo>
                <a:cubicBezTo>
                  <a:pt x="617" y="705"/>
                  <a:pt x="617" y="705"/>
                  <a:pt x="617" y="705"/>
                </a:cubicBezTo>
                <a:cubicBezTo>
                  <a:pt x="615" y="706"/>
                  <a:pt x="613" y="708"/>
                  <a:pt x="611" y="709"/>
                </a:cubicBezTo>
                <a:cubicBezTo>
                  <a:pt x="610" y="710"/>
                  <a:pt x="607" y="711"/>
                  <a:pt x="606" y="712"/>
                </a:cubicBezTo>
                <a:cubicBezTo>
                  <a:pt x="604" y="712"/>
                  <a:pt x="602" y="713"/>
                  <a:pt x="601" y="714"/>
                </a:cubicBezTo>
                <a:cubicBezTo>
                  <a:pt x="599" y="714"/>
                  <a:pt x="597" y="715"/>
                  <a:pt x="595" y="716"/>
                </a:cubicBezTo>
                <a:cubicBezTo>
                  <a:pt x="595" y="716"/>
                  <a:pt x="595" y="716"/>
                  <a:pt x="595" y="726"/>
                </a:cubicBezTo>
                <a:cubicBezTo>
                  <a:pt x="598" y="725"/>
                  <a:pt x="601" y="724"/>
                  <a:pt x="603" y="723"/>
                </a:cubicBezTo>
                <a:cubicBezTo>
                  <a:pt x="606" y="722"/>
                  <a:pt x="608" y="721"/>
                  <a:pt x="610" y="720"/>
                </a:cubicBezTo>
                <a:cubicBezTo>
                  <a:pt x="610" y="720"/>
                  <a:pt x="610" y="720"/>
                  <a:pt x="610" y="778"/>
                </a:cubicBezTo>
                <a:cubicBezTo>
                  <a:pt x="610" y="778"/>
                  <a:pt x="610" y="778"/>
                  <a:pt x="622" y="778"/>
                </a:cubicBezTo>
                <a:cubicBezTo>
                  <a:pt x="622" y="778"/>
                  <a:pt x="622" y="778"/>
                  <a:pt x="622" y="705"/>
                </a:cubicBezTo>
                <a:close/>
                <a:moveTo>
                  <a:pt x="668" y="705"/>
                </a:moveTo>
                <a:cubicBezTo>
                  <a:pt x="668" y="705"/>
                  <a:pt x="668" y="705"/>
                  <a:pt x="668" y="705"/>
                </a:cubicBezTo>
                <a:cubicBezTo>
                  <a:pt x="663" y="705"/>
                  <a:pt x="663" y="705"/>
                  <a:pt x="663" y="705"/>
                </a:cubicBezTo>
                <a:cubicBezTo>
                  <a:pt x="661" y="706"/>
                  <a:pt x="660" y="708"/>
                  <a:pt x="658" y="709"/>
                </a:cubicBezTo>
                <a:cubicBezTo>
                  <a:pt x="656" y="710"/>
                  <a:pt x="654" y="711"/>
                  <a:pt x="653" y="712"/>
                </a:cubicBezTo>
                <a:cubicBezTo>
                  <a:pt x="651" y="713"/>
                  <a:pt x="649" y="714"/>
                  <a:pt x="647" y="714"/>
                </a:cubicBezTo>
                <a:cubicBezTo>
                  <a:pt x="645" y="715"/>
                  <a:pt x="644" y="716"/>
                  <a:pt x="642" y="716"/>
                </a:cubicBezTo>
                <a:cubicBezTo>
                  <a:pt x="642" y="716"/>
                  <a:pt x="642" y="716"/>
                  <a:pt x="642" y="726"/>
                </a:cubicBezTo>
                <a:cubicBezTo>
                  <a:pt x="645" y="725"/>
                  <a:pt x="647" y="725"/>
                  <a:pt x="650" y="723"/>
                </a:cubicBezTo>
                <a:cubicBezTo>
                  <a:pt x="653" y="722"/>
                  <a:pt x="655" y="721"/>
                  <a:pt x="657" y="720"/>
                </a:cubicBezTo>
                <a:cubicBezTo>
                  <a:pt x="657" y="720"/>
                  <a:pt x="657" y="720"/>
                  <a:pt x="657" y="778"/>
                </a:cubicBezTo>
                <a:cubicBezTo>
                  <a:pt x="657" y="778"/>
                  <a:pt x="657" y="778"/>
                  <a:pt x="668" y="778"/>
                </a:cubicBezTo>
                <a:cubicBezTo>
                  <a:pt x="668" y="778"/>
                  <a:pt x="668" y="778"/>
                  <a:pt x="668" y="705"/>
                </a:cubicBezTo>
                <a:close/>
                <a:moveTo>
                  <a:pt x="714" y="705"/>
                </a:moveTo>
                <a:cubicBezTo>
                  <a:pt x="714" y="705"/>
                  <a:pt x="714" y="705"/>
                  <a:pt x="714" y="705"/>
                </a:cubicBezTo>
                <a:cubicBezTo>
                  <a:pt x="710" y="705"/>
                  <a:pt x="710" y="705"/>
                  <a:pt x="710" y="705"/>
                </a:cubicBezTo>
                <a:cubicBezTo>
                  <a:pt x="708" y="706"/>
                  <a:pt x="706" y="708"/>
                  <a:pt x="704" y="709"/>
                </a:cubicBezTo>
                <a:cubicBezTo>
                  <a:pt x="703" y="710"/>
                  <a:pt x="700" y="711"/>
                  <a:pt x="699" y="712"/>
                </a:cubicBezTo>
                <a:cubicBezTo>
                  <a:pt x="697" y="713"/>
                  <a:pt x="695" y="714"/>
                  <a:pt x="693" y="714"/>
                </a:cubicBezTo>
                <a:cubicBezTo>
                  <a:pt x="692" y="715"/>
                  <a:pt x="690" y="716"/>
                  <a:pt x="688" y="716"/>
                </a:cubicBezTo>
                <a:cubicBezTo>
                  <a:pt x="688" y="716"/>
                  <a:pt x="688" y="716"/>
                  <a:pt x="688" y="726"/>
                </a:cubicBezTo>
                <a:cubicBezTo>
                  <a:pt x="691" y="725"/>
                  <a:pt x="694" y="725"/>
                  <a:pt x="696" y="723"/>
                </a:cubicBezTo>
                <a:cubicBezTo>
                  <a:pt x="698" y="722"/>
                  <a:pt x="701" y="721"/>
                  <a:pt x="703" y="720"/>
                </a:cubicBezTo>
                <a:cubicBezTo>
                  <a:pt x="703" y="720"/>
                  <a:pt x="703" y="720"/>
                  <a:pt x="703" y="778"/>
                </a:cubicBezTo>
                <a:cubicBezTo>
                  <a:pt x="703" y="778"/>
                  <a:pt x="703" y="778"/>
                  <a:pt x="714" y="778"/>
                </a:cubicBezTo>
                <a:cubicBezTo>
                  <a:pt x="714" y="778"/>
                  <a:pt x="714" y="778"/>
                  <a:pt x="714" y="705"/>
                </a:cubicBezTo>
                <a:close/>
                <a:moveTo>
                  <a:pt x="761" y="705"/>
                </a:moveTo>
                <a:cubicBezTo>
                  <a:pt x="761" y="705"/>
                  <a:pt x="761" y="705"/>
                  <a:pt x="761" y="705"/>
                </a:cubicBezTo>
                <a:cubicBezTo>
                  <a:pt x="756" y="705"/>
                  <a:pt x="756" y="705"/>
                  <a:pt x="756" y="705"/>
                </a:cubicBezTo>
                <a:cubicBezTo>
                  <a:pt x="754" y="706"/>
                  <a:pt x="752" y="708"/>
                  <a:pt x="750" y="709"/>
                </a:cubicBezTo>
                <a:cubicBezTo>
                  <a:pt x="749" y="710"/>
                  <a:pt x="747" y="711"/>
                  <a:pt x="745" y="712"/>
                </a:cubicBezTo>
                <a:cubicBezTo>
                  <a:pt x="744" y="713"/>
                  <a:pt x="742" y="714"/>
                  <a:pt x="740" y="714"/>
                </a:cubicBezTo>
                <a:cubicBezTo>
                  <a:pt x="738" y="715"/>
                  <a:pt x="736" y="716"/>
                  <a:pt x="734" y="716"/>
                </a:cubicBezTo>
                <a:cubicBezTo>
                  <a:pt x="734" y="716"/>
                  <a:pt x="734" y="716"/>
                  <a:pt x="734" y="726"/>
                </a:cubicBezTo>
                <a:cubicBezTo>
                  <a:pt x="737" y="725"/>
                  <a:pt x="740" y="725"/>
                  <a:pt x="742" y="723"/>
                </a:cubicBezTo>
                <a:cubicBezTo>
                  <a:pt x="745" y="722"/>
                  <a:pt x="747" y="721"/>
                  <a:pt x="750" y="720"/>
                </a:cubicBezTo>
                <a:cubicBezTo>
                  <a:pt x="750" y="720"/>
                  <a:pt x="750" y="720"/>
                  <a:pt x="750" y="778"/>
                </a:cubicBezTo>
                <a:cubicBezTo>
                  <a:pt x="750" y="778"/>
                  <a:pt x="750" y="778"/>
                  <a:pt x="761" y="778"/>
                </a:cubicBezTo>
                <a:cubicBezTo>
                  <a:pt x="761" y="778"/>
                  <a:pt x="761" y="778"/>
                  <a:pt x="761" y="705"/>
                </a:cubicBezTo>
                <a:close/>
                <a:moveTo>
                  <a:pt x="883" y="705"/>
                </a:moveTo>
                <a:cubicBezTo>
                  <a:pt x="883" y="705"/>
                  <a:pt x="883" y="705"/>
                  <a:pt x="883" y="705"/>
                </a:cubicBezTo>
                <a:cubicBezTo>
                  <a:pt x="878" y="705"/>
                  <a:pt x="878" y="705"/>
                  <a:pt x="878" y="705"/>
                </a:cubicBezTo>
                <a:cubicBezTo>
                  <a:pt x="876" y="706"/>
                  <a:pt x="874" y="708"/>
                  <a:pt x="872" y="709"/>
                </a:cubicBezTo>
                <a:cubicBezTo>
                  <a:pt x="870" y="710"/>
                  <a:pt x="869" y="711"/>
                  <a:pt x="867" y="712"/>
                </a:cubicBezTo>
                <a:cubicBezTo>
                  <a:pt x="865" y="713"/>
                  <a:pt x="863" y="714"/>
                  <a:pt x="862" y="714"/>
                </a:cubicBezTo>
                <a:cubicBezTo>
                  <a:pt x="859" y="715"/>
                  <a:pt x="858" y="716"/>
                  <a:pt x="856" y="716"/>
                </a:cubicBezTo>
                <a:cubicBezTo>
                  <a:pt x="856" y="716"/>
                  <a:pt x="856" y="716"/>
                  <a:pt x="856" y="726"/>
                </a:cubicBezTo>
                <a:cubicBezTo>
                  <a:pt x="859" y="725"/>
                  <a:pt x="862" y="725"/>
                  <a:pt x="865" y="723"/>
                </a:cubicBezTo>
                <a:cubicBezTo>
                  <a:pt x="867" y="722"/>
                  <a:pt x="869" y="721"/>
                  <a:pt x="871" y="720"/>
                </a:cubicBezTo>
                <a:cubicBezTo>
                  <a:pt x="871" y="720"/>
                  <a:pt x="871" y="720"/>
                  <a:pt x="871" y="778"/>
                </a:cubicBezTo>
                <a:cubicBezTo>
                  <a:pt x="871" y="778"/>
                  <a:pt x="871" y="778"/>
                  <a:pt x="883" y="778"/>
                </a:cubicBezTo>
                <a:cubicBezTo>
                  <a:pt x="883" y="778"/>
                  <a:pt x="883" y="778"/>
                  <a:pt x="883" y="705"/>
                </a:cubicBezTo>
                <a:close/>
                <a:moveTo>
                  <a:pt x="930" y="705"/>
                </a:moveTo>
                <a:cubicBezTo>
                  <a:pt x="930" y="705"/>
                  <a:pt x="930" y="705"/>
                  <a:pt x="930" y="705"/>
                </a:cubicBezTo>
                <a:cubicBezTo>
                  <a:pt x="925" y="705"/>
                  <a:pt x="925" y="705"/>
                  <a:pt x="925" y="705"/>
                </a:cubicBezTo>
                <a:cubicBezTo>
                  <a:pt x="922" y="706"/>
                  <a:pt x="921" y="708"/>
                  <a:pt x="919" y="709"/>
                </a:cubicBezTo>
                <a:cubicBezTo>
                  <a:pt x="917" y="710"/>
                  <a:pt x="915" y="711"/>
                  <a:pt x="914" y="712"/>
                </a:cubicBezTo>
                <a:cubicBezTo>
                  <a:pt x="912" y="713"/>
                  <a:pt x="910" y="714"/>
                  <a:pt x="909" y="714"/>
                </a:cubicBezTo>
                <a:cubicBezTo>
                  <a:pt x="906" y="715"/>
                  <a:pt x="905" y="716"/>
                  <a:pt x="903" y="716"/>
                </a:cubicBezTo>
                <a:cubicBezTo>
                  <a:pt x="903" y="716"/>
                  <a:pt x="903" y="716"/>
                  <a:pt x="903" y="726"/>
                </a:cubicBezTo>
                <a:cubicBezTo>
                  <a:pt x="906" y="725"/>
                  <a:pt x="909" y="725"/>
                  <a:pt x="911" y="723"/>
                </a:cubicBezTo>
                <a:cubicBezTo>
                  <a:pt x="914" y="722"/>
                  <a:pt x="916" y="721"/>
                  <a:pt x="918" y="720"/>
                </a:cubicBezTo>
                <a:cubicBezTo>
                  <a:pt x="918" y="720"/>
                  <a:pt x="918" y="720"/>
                  <a:pt x="918" y="778"/>
                </a:cubicBezTo>
                <a:cubicBezTo>
                  <a:pt x="918" y="778"/>
                  <a:pt x="918" y="778"/>
                  <a:pt x="930" y="778"/>
                </a:cubicBezTo>
                <a:cubicBezTo>
                  <a:pt x="930" y="778"/>
                  <a:pt x="930" y="778"/>
                  <a:pt x="930" y="705"/>
                </a:cubicBezTo>
                <a:close/>
                <a:moveTo>
                  <a:pt x="781" y="737"/>
                </a:moveTo>
                <a:cubicBezTo>
                  <a:pt x="781" y="737"/>
                  <a:pt x="781" y="737"/>
                  <a:pt x="781" y="737"/>
                </a:cubicBezTo>
                <a:cubicBezTo>
                  <a:pt x="781" y="746"/>
                  <a:pt x="781" y="746"/>
                  <a:pt x="781" y="746"/>
                </a:cubicBezTo>
                <a:cubicBezTo>
                  <a:pt x="787" y="746"/>
                  <a:pt x="788" y="749"/>
                  <a:pt x="788" y="752"/>
                </a:cubicBezTo>
                <a:cubicBezTo>
                  <a:pt x="788" y="754"/>
                  <a:pt x="788" y="756"/>
                  <a:pt x="788" y="759"/>
                </a:cubicBezTo>
                <a:cubicBezTo>
                  <a:pt x="787" y="761"/>
                  <a:pt x="787" y="763"/>
                  <a:pt x="787" y="766"/>
                </a:cubicBezTo>
                <a:cubicBezTo>
                  <a:pt x="787" y="775"/>
                  <a:pt x="793" y="778"/>
                  <a:pt x="802" y="778"/>
                </a:cubicBezTo>
                <a:cubicBezTo>
                  <a:pt x="802" y="778"/>
                  <a:pt x="802" y="778"/>
                  <a:pt x="805" y="778"/>
                </a:cubicBezTo>
                <a:cubicBezTo>
                  <a:pt x="805" y="778"/>
                  <a:pt x="805" y="778"/>
                  <a:pt x="805" y="769"/>
                </a:cubicBezTo>
                <a:cubicBezTo>
                  <a:pt x="805" y="769"/>
                  <a:pt x="805" y="769"/>
                  <a:pt x="804" y="769"/>
                </a:cubicBezTo>
                <a:cubicBezTo>
                  <a:pt x="800" y="769"/>
                  <a:pt x="799" y="767"/>
                  <a:pt x="799" y="763"/>
                </a:cubicBezTo>
                <a:cubicBezTo>
                  <a:pt x="799" y="762"/>
                  <a:pt x="799" y="760"/>
                  <a:pt x="799" y="759"/>
                </a:cubicBezTo>
                <a:cubicBezTo>
                  <a:pt x="799" y="757"/>
                  <a:pt x="800" y="755"/>
                  <a:pt x="800" y="753"/>
                </a:cubicBezTo>
                <a:cubicBezTo>
                  <a:pt x="800" y="745"/>
                  <a:pt x="797" y="743"/>
                  <a:pt x="791" y="741"/>
                </a:cubicBezTo>
                <a:cubicBezTo>
                  <a:pt x="791" y="741"/>
                  <a:pt x="791" y="741"/>
                  <a:pt x="791" y="741"/>
                </a:cubicBezTo>
                <a:cubicBezTo>
                  <a:pt x="797" y="740"/>
                  <a:pt x="800" y="738"/>
                  <a:pt x="800" y="730"/>
                </a:cubicBezTo>
                <a:cubicBezTo>
                  <a:pt x="800" y="728"/>
                  <a:pt x="799" y="726"/>
                  <a:pt x="799" y="724"/>
                </a:cubicBezTo>
                <a:cubicBezTo>
                  <a:pt x="799" y="722"/>
                  <a:pt x="799" y="720"/>
                  <a:pt x="799" y="719"/>
                </a:cubicBezTo>
                <a:cubicBezTo>
                  <a:pt x="799" y="716"/>
                  <a:pt x="800" y="713"/>
                  <a:pt x="804" y="713"/>
                </a:cubicBezTo>
                <a:cubicBezTo>
                  <a:pt x="804" y="713"/>
                  <a:pt x="804" y="713"/>
                  <a:pt x="805" y="713"/>
                </a:cubicBezTo>
                <a:cubicBezTo>
                  <a:pt x="805" y="713"/>
                  <a:pt x="805" y="713"/>
                  <a:pt x="805" y="704"/>
                </a:cubicBezTo>
                <a:cubicBezTo>
                  <a:pt x="805" y="704"/>
                  <a:pt x="805" y="704"/>
                  <a:pt x="802" y="704"/>
                </a:cubicBezTo>
                <a:cubicBezTo>
                  <a:pt x="792" y="704"/>
                  <a:pt x="787" y="708"/>
                  <a:pt x="787" y="717"/>
                </a:cubicBezTo>
                <a:cubicBezTo>
                  <a:pt x="787" y="719"/>
                  <a:pt x="787" y="722"/>
                  <a:pt x="787" y="724"/>
                </a:cubicBezTo>
                <a:cubicBezTo>
                  <a:pt x="788" y="726"/>
                  <a:pt x="788" y="729"/>
                  <a:pt x="788" y="731"/>
                </a:cubicBezTo>
                <a:cubicBezTo>
                  <a:pt x="788" y="734"/>
                  <a:pt x="787" y="737"/>
                  <a:pt x="781" y="737"/>
                </a:cubicBezTo>
                <a:close/>
                <a:moveTo>
                  <a:pt x="836" y="746"/>
                </a:moveTo>
                <a:cubicBezTo>
                  <a:pt x="836" y="746"/>
                  <a:pt x="836" y="746"/>
                  <a:pt x="836" y="746"/>
                </a:cubicBezTo>
                <a:cubicBezTo>
                  <a:pt x="836" y="737"/>
                  <a:pt x="836" y="737"/>
                  <a:pt x="836" y="737"/>
                </a:cubicBezTo>
                <a:cubicBezTo>
                  <a:pt x="830" y="737"/>
                  <a:pt x="829" y="734"/>
                  <a:pt x="829" y="731"/>
                </a:cubicBezTo>
                <a:cubicBezTo>
                  <a:pt x="829" y="729"/>
                  <a:pt x="829" y="726"/>
                  <a:pt x="830" y="724"/>
                </a:cubicBezTo>
                <a:cubicBezTo>
                  <a:pt x="830" y="722"/>
                  <a:pt x="830" y="719"/>
                  <a:pt x="830" y="717"/>
                </a:cubicBezTo>
                <a:cubicBezTo>
                  <a:pt x="830" y="708"/>
                  <a:pt x="825" y="704"/>
                  <a:pt x="816" y="704"/>
                </a:cubicBezTo>
                <a:cubicBezTo>
                  <a:pt x="816" y="704"/>
                  <a:pt x="816" y="704"/>
                  <a:pt x="812" y="704"/>
                </a:cubicBezTo>
                <a:cubicBezTo>
                  <a:pt x="812" y="704"/>
                  <a:pt x="812" y="704"/>
                  <a:pt x="812" y="713"/>
                </a:cubicBezTo>
                <a:cubicBezTo>
                  <a:pt x="812" y="713"/>
                  <a:pt x="812" y="713"/>
                  <a:pt x="813" y="713"/>
                </a:cubicBezTo>
                <a:cubicBezTo>
                  <a:pt x="817" y="713"/>
                  <a:pt x="819" y="716"/>
                  <a:pt x="819" y="719"/>
                </a:cubicBezTo>
                <a:cubicBezTo>
                  <a:pt x="819" y="720"/>
                  <a:pt x="818" y="722"/>
                  <a:pt x="818" y="724"/>
                </a:cubicBezTo>
                <a:cubicBezTo>
                  <a:pt x="818" y="726"/>
                  <a:pt x="818" y="728"/>
                  <a:pt x="818" y="730"/>
                </a:cubicBezTo>
                <a:cubicBezTo>
                  <a:pt x="818" y="738"/>
                  <a:pt x="821" y="740"/>
                  <a:pt x="826" y="741"/>
                </a:cubicBezTo>
                <a:cubicBezTo>
                  <a:pt x="826" y="741"/>
                  <a:pt x="826" y="741"/>
                  <a:pt x="826" y="741"/>
                </a:cubicBezTo>
                <a:cubicBezTo>
                  <a:pt x="821" y="743"/>
                  <a:pt x="818" y="745"/>
                  <a:pt x="818" y="753"/>
                </a:cubicBezTo>
                <a:cubicBezTo>
                  <a:pt x="818" y="755"/>
                  <a:pt x="818" y="757"/>
                  <a:pt x="818" y="759"/>
                </a:cubicBezTo>
                <a:cubicBezTo>
                  <a:pt x="818" y="760"/>
                  <a:pt x="819" y="762"/>
                  <a:pt x="819" y="763"/>
                </a:cubicBezTo>
                <a:cubicBezTo>
                  <a:pt x="819" y="767"/>
                  <a:pt x="818" y="769"/>
                  <a:pt x="813" y="769"/>
                </a:cubicBezTo>
                <a:cubicBezTo>
                  <a:pt x="813" y="769"/>
                  <a:pt x="813" y="769"/>
                  <a:pt x="812" y="769"/>
                </a:cubicBezTo>
                <a:cubicBezTo>
                  <a:pt x="812" y="769"/>
                  <a:pt x="812" y="769"/>
                  <a:pt x="812" y="778"/>
                </a:cubicBezTo>
                <a:cubicBezTo>
                  <a:pt x="812" y="778"/>
                  <a:pt x="812" y="778"/>
                  <a:pt x="816" y="778"/>
                </a:cubicBezTo>
                <a:cubicBezTo>
                  <a:pt x="825" y="778"/>
                  <a:pt x="830" y="775"/>
                  <a:pt x="830" y="766"/>
                </a:cubicBezTo>
                <a:cubicBezTo>
                  <a:pt x="830" y="763"/>
                  <a:pt x="830" y="761"/>
                  <a:pt x="830" y="759"/>
                </a:cubicBezTo>
                <a:cubicBezTo>
                  <a:pt x="829" y="756"/>
                  <a:pt x="829" y="754"/>
                  <a:pt x="829" y="752"/>
                </a:cubicBezTo>
                <a:cubicBezTo>
                  <a:pt x="829" y="749"/>
                  <a:pt x="830" y="746"/>
                  <a:pt x="836" y="746"/>
                </a:cubicBezTo>
                <a:close/>
                <a:moveTo>
                  <a:pt x="222" y="778"/>
                </a:moveTo>
                <a:cubicBezTo>
                  <a:pt x="215" y="778"/>
                  <a:pt x="208" y="776"/>
                  <a:pt x="204" y="770"/>
                </a:cubicBezTo>
                <a:cubicBezTo>
                  <a:pt x="200" y="763"/>
                  <a:pt x="198" y="754"/>
                  <a:pt x="198" y="742"/>
                </a:cubicBezTo>
                <a:cubicBezTo>
                  <a:pt x="198" y="729"/>
                  <a:pt x="200" y="719"/>
                  <a:pt x="204" y="713"/>
                </a:cubicBezTo>
                <a:cubicBezTo>
                  <a:pt x="209" y="706"/>
                  <a:pt x="215" y="703"/>
                  <a:pt x="224" y="703"/>
                </a:cubicBezTo>
                <a:cubicBezTo>
                  <a:pt x="240" y="703"/>
                  <a:pt x="248" y="715"/>
                  <a:pt x="248" y="741"/>
                </a:cubicBezTo>
                <a:cubicBezTo>
                  <a:pt x="248" y="753"/>
                  <a:pt x="246" y="762"/>
                  <a:pt x="241" y="769"/>
                </a:cubicBezTo>
                <a:cubicBezTo>
                  <a:pt x="237" y="776"/>
                  <a:pt x="230" y="778"/>
                  <a:pt x="222" y="778"/>
                </a:cubicBezTo>
                <a:close/>
                <a:moveTo>
                  <a:pt x="223" y="712"/>
                </a:moveTo>
                <a:cubicBezTo>
                  <a:pt x="214" y="712"/>
                  <a:pt x="209" y="722"/>
                  <a:pt x="209" y="742"/>
                </a:cubicBezTo>
                <a:cubicBezTo>
                  <a:pt x="209" y="760"/>
                  <a:pt x="214" y="769"/>
                  <a:pt x="223" y="769"/>
                </a:cubicBezTo>
                <a:cubicBezTo>
                  <a:pt x="232" y="769"/>
                  <a:pt x="236" y="760"/>
                  <a:pt x="236" y="741"/>
                </a:cubicBezTo>
                <a:cubicBezTo>
                  <a:pt x="236" y="722"/>
                  <a:pt x="232" y="712"/>
                  <a:pt x="223" y="712"/>
                </a:cubicBezTo>
                <a:close/>
                <a:moveTo>
                  <a:pt x="292" y="778"/>
                </a:moveTo>
                <a:cubicBezTo>
                  <a:pt x="285" y="778"/>
                  <a:pt x="278" y="776"/>
                  <a:pt x="275" y="770"/>
                </a:cubicBezTo>
                <a:cubicBezTo>
                  <a:pt x="270" y="763"/>
                  <a:pt x="268" y="754"/>
                  <a:pt x="268" y="742"/>
                </a:cubicBezTo>
                <a:cubicBezTo>
                  <a:pt x="268" y="729"/>
                  <a:pt x="270" y="719"/>
                  <a:pt x="275" y="713"/>
                </a:cubicBezTo>
                <a:cubicBezTo>
                  <a:pt x="279" y="706"/>
                  <a:pt x="286" y="703"/>
                  <a:pt x="294" y="703"/>
                </a:cubicBezTo>
                <a:cubicBezTo>
                  <a:pt x="311" y="703"/>
                  <a:pt x="319" y="715"/>
                  <a:pt x="319" y="741"/>
                </a:cubicBezTo>
                <a:cubicBezTo>
                  <a:pt x="319" y="753"/>
                  <a:pt x="316" y="762"/>
                  <a:pt x="312" y="769"/>
                </a:cubicBezTo>
                <a:cubicBezTo>
                  <a:pt x="307" y="776"/>
                  <a:pt x="301" y="778"/>
                  <a:pt x="292" y="778"/>
                </a:cubicBezTo>
                <a:close/>
                <a:moveTo>
                  <a:pt x="294" y="712"/>
                </a:moveTo>
                <a:cubicBezTo>
                  <a:pt x="285" y="712"/>
                  <a:pt x="280" y="722"/>
                  <a:pt x="280" y="742"/>
                </a:cubicBezTo>
                <a:cubicBezTo>
                  <a:pt x="280" y="760"/>
                  <a:pt x="284" y="769"/>
                  <a:pt x="293" y="769"/>
                </a:cubicBezTo>
                <a:cubicBezTo>
                  <a:pt x="302" y="769"/>
                  <a:pt x="306" y="760"/>
                  <a:pt x="306" y="741"/>
                </a:cubicBezTo>
                <a:cubicBezTo>
                  <a:pt x="306" y="722"/>
                  <a:pt x="302" y="712"/>
                  <a:pt x="294" y="712"/>
                </a:cubicBezTo>
                <a:close/>
                <a:moveTo>
                  <a:pt x="502" y="778"/>
                </a:moveTo>
                <a:cubicBezTo>
                  <a:pt x="495" y="778"/>
                  <a:pt x="489" y="776"/>
                  <a:pt x="485" y="769"/>
                </a:cubicBezTo>
                <a:cubicBezTo>
                  <a:pt x="480" y="763"/>
                  <a:pt x="478" y="754"/>
                  <a:pt x="478" y="742"/>
                </a:cubicBezTo>
                <a:cubicBezTo>
                  <a:pt x="478" y="729"/>
                  <a:pt x="480" y="719"/>
                  <a:pt x="485" y="712"/>
                </a:cubicBezTo>
                <a:cubicBezTo>
                  <a:pt x="489" y="706"/>
                  <a:pt x="496" y="703"/>
                  <a:pt x="504" y="703"/>
                </a:cubicBezTo>
                <a:cubicBezTo>
                  <a:pt x="521" y="703"/>
                  <a:pt x="529" y="715"/>
                  <a:pt x="529" y="740"/>
                </a:cubicBezTo>
                <a:cubicBezTo>
                  <a:pt x="529" y="753"/>
                  <a:pt x="527" y="762"/>
                  <a:pt x="522" y="769"/>
                </a:cubicBezTo>
                <a:cubicBezTo>
                  <a:pt x="517" y="776"/>
                  <a:pt x="511" y="778"/>
                  <a:pt x="502" y="778"/>
                </a:cubicBezTo>
                <a:close/>
                <a:moveTo>
                  <a:pt x="504" y="712"/>
                </a:moveTo>
                <a:cubicBezTo>
                  <a:pt x="495" y="712"/>
                  <a:pt x="490" y="722"/>
                  <a:pt x="490" y="741"/>
                </a:cubicBezTo>
                <a:cubicBezTo>
                  <a:pt x="490" y="759"/>
                  <a:pt x="495" y="769"/>
                  <a:pt x="504" y="769"/>
                </a:cubicBezTo>
                <a:cubicBezTo>
                  <a:pt x="512" y="769"/>
                  <a:pt x="516" y="759"/>
                  <a:pt x="516" y="741"/>
                </a:cubicBezTo>
                <a:cubicBezTo>
                  <a:pt x="516" y="722"/>
                  <a:pt x="513" y="712"/>
                  <a:pt x="504" y="712"/>
                </a:cubicBezTo>
                <a:close/>
                <a:moveTo>
                  <a:pt x="575" y="705"/>
                </a:moveTo>
                <a:cubicBezTo>
                  <a:pt x="575" y="705"/>
                  <a:pt x="575" y="705"/>
                  <a:pt x="575" y="705"/>
                </a:cubicBezTo>
                <a:cubicBezTo>
                  <a:pt x="570" y="705"/>
                  <a:pt x="570" y="705"/>
                  <a:pt x="570" y="705"/>
                </a:cubicBezTo>
                <a:cubicBezTo>
                  <a:pt x="568" y="706"/>
                  <a:pt x="566" y="708"/>
                  <a:pt x="564" y="709"/>
                </a:cubicBezTo>
                <a:cubicBezTo>
                  <a:pt x="563" y="710"/>
                  <a:pt x="561" y="711"/>
                  <a:pt x="559" y="712"/>
                </a:cubicBezTo>
                <a:cubicBezTo>
                  <a:pt x="558" y="712"/>
                  <a:pt x="556" y="713"/>
                  <a:pt x="554" y="714"/>
                </a:cubicBezTo>
                <a:cubicBezTo>
                  <a:pt x="552" y="714"/>
                  <a:pt x="551" y="715"/>
                  <a:pt x="548" y="716"/>
                </a:cubicBezTo>
                <a:cubicBezTo>
                  <a:pt x="548" y="716"/>
                  <a:pt x="548" y="716"/>
                  <a:pt x="548" y="726"/>
                </a:cubicBezTo>
                <a:cubicBezTo>
                  <a:pt x="551" y="725"/>
                  <a:pt x="554" y="724"/>
                  <a:pt x="556" y="723"/>
                </a:cubicBezTo>
                <a:cubicBezTo>
                  <a:pt x="559" y="722"/>
                  <a:pt x="561" y="721"/>
                  <a:pt x="563" y="720"/>
                </a:cubicBezTo>
                <a:cubicBezTo>
                  <a:pt x="563" y="720"/>
                  <a:pt x="563" y="720"/>
                  <a:pt x="563" y="778"/>
                </a:cubicBezTo>
                <a:cubicBezTo>
                  <a:pt x="563" y="778"/>
                  <a:pt x="563" y="778"/>
                  <a:pt x="575" y="778"/>
                </a:cubicBezTo>
                <a:cubicBezTo>
                  <a:pt x="575" y="778"/>
                  <a:pt x="575" y="778"/>
                  <a:pt x="575" y="705"/>
                </a:cubicBezTo>
                <a:close/>
                <a:moveTo>
                  <a:pt x="366" y="705"/>
                </a:moveTo>
                <a:cubicBezTo>
                  <a:pt x="366" y="705"/>
                  <a:pt x="366" y="705"/>
                  <a:pt x="366" y="705"/>
                </a:cubicBezTo>
                <a:cubicBezTo>
                  <a:pt x="360" y="705"/>
                  <a:pt x="360" y="705"/>
                  <a:pt x="360" y="705"/>
                </a:cubicBezTo>
                <a:cubicBezTo>
                  <a:pt x="358" y="706"/>
                  <a:pt x="357" y="708"/>
                  <a:pt x="355" y="709"/>
                </a:cubicBezTo>
                <a:cubicBezTo>
                  <a:pt x="353" y="710"/>
                  <a:pt x="352" y="711"/>
                  <a:pt x="349" y="712"/>
                </a:cubicBezTo>
                <a:cubicBezTo>
                  <a:pt x="348" y="713"/>
                  <a:pt x="346" y="714"/>
                  <a:pt x="344" y="714"/>
                </a:cubicBezTo>
                <a:cubicBezTo>
                  <a:pt x="342" y="715"/>
                  <a:pt x="340" y="716"/>
                  <a:pt x="338" y="716"/>
                </a:cubicBezTo>
                <a:cubicBezTo>
                  <a:pt x="338" y="716"/>
                  <a:pt x="338" y="716"/>
                  <a:pt x="338" y="726"/>
                </a:cubicBezTo>
                <a:cubicBezTo>
                  <a:pt x="341" y="725"/>
                  <a:pt x="344" y="725"/>
                  <a:pt x="347" y="723"/>
                </a:cubicBezTo>
                <a:cubicBezTo>
                  <a:pt x="349" y="722"/>
                  <a:pt x="352" y="721"/>
                  <a:pt x="354" y="720"/>
                </a:cubicBezTo>
                <a:cubicBezTo>
                  <a:pt x="354" y="720"/>
                  <a:pt x="354" y="720"/>
                  <a:pt x="354" y="778"/>
                </a:cubicBezTo>
                <a:cubicBezTo>
                  <a:pt x="354" y="778"/>
                  <a:pt x="354" y="778"/>
                  <a:pt x="366" y="778"/>
                </a:cubicBezTo>
                <a:cubicBezTo>
                  <a:pt x="366" y="778"/>
                  <a:pt x="366" y="778"/>
                  <a:pt x="366" y="705"/>
                </a:cubicBezTo>
                <a:close/>
                <a:moveTo>
                  <a:pt x="413" y="705"/>
                </a:moveTo>
                <a:cubicBezTo>
                  <a:pt x="413" y="705"/>
                  <a:pt x="413" y="705"/>
                  <a:pt x="413" y="705"/>
                </a:cubicBezTo>
                <a:cubicBezTo>
                  <a:pt x="407" y="705"/>
                  <a:pt x="407" y="705"/>
                  <a:pt x="407" y="705"/>
                </a:cubicBezTo>
                <a:cubicBezTo>
                  <a:pt x="405" y="706"/>
                  <a:pt x="404" y="708"/>
                  <a:pt x="402" y="709"/>
                </a:cubicBezTo>
                <a:cubicBezTo>
                  <a:pt x="400" y="710"/>
                  <a:pt x="398" y="711"/>
                  <a:pt x="396" y="712"/>
                </a:cubicBezTo>
                <a:cubicBezTo>
                  <a:pt x="395" y="713"/>
                  <a:pt x="393" y="714"/>
                  <a:pt x="391" y="714"/>
                </a:cubicBezTo>
                <a:cubicBezTo>
                  <a:pt x="389" y="715"/>
                  <a:pt x="388" y="716"/>
                  <a:pt x="385" y="716"/>
                </a:cubicBezTo>
                <a:cubicBezTo>
                  <a:pt x="385" y="716"/>
                  <a:pt x="385" y="716"/>
                  <a:pt x="385" y="726"/>
                </a:cubicBezTo>
                <a:cubicBezTo>
                  <a:pt x="388" y="725"/>
                  <a:pt x="391" y="725"/>
                  <a:pt x="393" y="723"/>
                </a:cubicBezTo>
                <a:cubicBezTo>
                  <a:pt x="396" y="722"/>
                  <a:pt x="399" y="721"/>
                  <a:pt x="401" y="720"/>
                </a:cubicBezTo>
                <a:cubicBezTo>
                  <a:pt x="401" y="720"/>
                  <a:pt x="401" y="720"/>
                  <a:pt x="401" y="778"/>
                </a:cubicBezTo>
                <a:cubicBezTo>
                  <a:pt x="401" y="778"/>
                  <a:pt x="401" y="778"/>
                  <a:pt x="413" y="778"/>
                </a:cubicBezTo>
                <a:cubicBezTo>
                  <a:pt x="413" y="778"/>
                  <a:pt x="413" y="778"/>
                  <a:pt x="413" y="705"/>
                </a:cubicBezTo>
                <a:close/>
                <a:moveTo>
                  <a:pt x="458" y="705"/>
                </a:moveTo>
                <a:cubicBezTo>
                  <a:pt x="458" y="705"/>
                  <a:pt x="458" y="705"/>
                  <a:pt x="458" y="705"/>
                </a:cubicBezTo>
                <a:cubicBezTo>
                  <a:pt x="454" y="705"/>
                  <a:pt x="454" y="705"/>
                  <a:pt x="454" y="705"/>
                </a:cubicBezTo>
                <a:cubicBezTo>
                  <a:pt x="452" y="706"/>
                  <a:pt x="450" y="708"/>
                  <a:pt x="448" y="709"/>
                </a:cubicBezTo>
                <a:cubicBezTo>
                  <a:pt x="447" y="710"/>
                  <a:pt x="445" y="711"/>
                  <a:pt x="443" y="712"/>
                </a:cubicBezTo>
                <a:cubicBezTo>
                  <a:pt x="441" y="712"/>
                  <a:pt x="440" y="713"/>
                  <a:pt x="437" y="714"/>
                </a:cubicBezTo>
                <a:cubicBezTo>
                  <a:pt x="436" y="714"/>
                  <a:pt x="434" y="715"/>
                  <a:pt x="432" y="716"/>
                </a:cubicBezTo>
                <a:cubicBezTo>
                  <a:pt x="432" y="716"/>
                  <a:pt x="432" y="716"/>
                  <a:pt x="432" y="726"/>
                </a:cubicBezTo>
                <a:cubicBezTo>
                  <a:pt x="435" y="725"/>
                  <a:pt x="438" y="724"/>
                  <a:pt x="440" y="723"/>
                </a:cubicBezTo>
                <a:cubicBezTo>
                  <a:pt x="442" y="722"/>
                  <a:pt x="445" y="721"/>
                  <a:pt x="447" y="720"/>
                </a:cubicBezTo>
                <a:cubicBezTo>
                  <a:pt x="447" y="720"/>
                  <a:pt x="447" y="720"/>
                  <a:pt x="447" y="778"/>
                </a:cubicBezTo>
                <a:cubicBezTo>
                  <a:pt x="447" y="778"/>
                  <a:pt x="447" y="778"/>
                  <a:pt x="458" y="778"/>
                </a:cubicBezTo>
                <a:cubicBezTo>
                  <a:pt x="458" y="778"/>
                  <a:pt x="458" y="778"/>
                  <a:pt x="458" y="705"/>
                </a:cubicBezTo>
                <a:close/>
                <a:moveTo>
                  <a:pt x="24" y="778"/>
                </a:moveTo>
                <a:cubicBezTo>
                  <a:pt x="17" y="778"/>
                  <a:pt x="10" y="776"/>
                  <a:pt x="6" y="770"/>
                </a:cubicBezTo>
                <a:cubicBezTo>
                  <a:pt x="2" y="763"/>
                  <a:pt x="0" y="754"/>
                  <a:pt x="0" y="742"/>
                </a:cubicBezTo>
                <a:cubicBezTo>
                  <a:pt x="0" y="729"/>
                  <a:pt x="2" y="719"/>
                  <a:pt x="6" y="713"/>
                </a:cubicBezTo>
                <a:cubicBezTo>
                  <a:pt x="11" y="706"/>
                  <a:pt x="17" y="703"/>
                  <a:pt x="26" y="703"/>
                </a:cubicBezTo>
                <a:cubicBezTo>
                  <a:pt x="42" y="703"/>
                  <a:pt x="50" y="715"/>
                  <a:pt x="50" y="741"/>
                </a:cubicBezTo>
                <a:cubicBezTo>
                  <a:pt x="50" y="753"/>
                  <a:pt x="48" y="762"/>
                  <a:pt x="44" y="769"/>
                </a:cubicBezTo>
                <a:cubicBezTo>
                  <a:pt x="39" y="776"/>
                  <a:pt x="33" y="778"/>
                  <a:pt x="24" y="778"/>
                </a:cubicBezTo>
                <a:close/>
                <a:moveTo>
                  <a:pt x="25" y="712"/>
                </a:moveTo>
                <a:cubicBezTo>
                  <a:pt x="17" y="712"/>
                  <a:pt x="12" y="722"/>
                  <a:pt x="12" y="742"/>
                </a:cubicBezTo>
                <a:cubicBezTo>
                  <a:pt x="12" y="760"/>
                  <a:pt x="16" y="769"/>
                  <a:pt x="25" y="769"/>
                </a:cubicBezTo>
                <a:cubicBezTo>
                  <a:pt x="33" y="769"/>
                  <a:pt x="38" y="760"/>
                  <a:pt x="38" y="741"/>
                </a:cubicBezTo>
                <a:cubicBezTo>
                  <a:pt x="38" y="722"/>
                  <a:pt x="33" y="712"/>
                  <a:pt x="25" y="712"/>
                </a:cubicBezTo>
                <a:close/>
                <a:moveTo>
                  <a:pt x="85" y="705"/>
                </a:moveTo>
                <a:cubicBezTo>
                  <a:pt x="85" y="705"/>
                  <a:pt x="85" y="705"/>
                  <a:pt x="85" y="705"/>
                </a:cubicBezTo>
                <a:cubicBezTo>
                  <a:pt x="80" y="705"/>
                  <a:pt x="80" y="705"/>
                  <a:pt x="80" y="705"/>
                </a:cubicBezTo>
                <a:cubicBezTo>
                  <a:pt x="78" y="706"/>
                  <a:pt x="76" y="708"/>
                  <a:pt x="74" y="709"/>
                </a:cubicBezTo>
                <a:cubicBezTo>
                  <a:pt x="73" y="710"/>
                  <a:pt x="71" y="711"/>
                  <a:pt x="69" y="712"/>
                </a:cubicBezTo>
                <a:cubicBezTo>
                  <a:pt x="68" y="713"/>
                  <a:pt x="65" y="714"/>
                  <a:pt x="64" y="714"/>
                </a:cubicBezTo>
                <a:cubicBezTo>
                  <a:pt x="62" y="715"/>
                  <a:pt x="60" y="716"/>
                  <a:pt x="58" y="716"/>
                </a:cubicBezTo>
                <a:cubicBezTo>
                  <a:pt x="58" y="716"/>
                  <a:pt x="58" y="716"/>
                  <a:pt x="58" y="726"/>
                </a:cubicBezTo>
                <a:cubicBezTo>
                  <a:pt x="61" y="725"/>
                  <a:pt x="64" y="725"/>
                  <a:pt x="67" y="723"/>
                </a:cubicBezTo>
                <a:cubicBezTo>
                  <a:pt x="69" y="722"/>
                  <a:pt x="71" y="721"/>
                  <a:pt x="73" y="720"/>
                </a:cubicBezTo>
                <a:cubicBezTo>
                  <a:pt x="73" y="720"/>
                  <a:pt x="73" y="720"/>
                  <a:pt x="73" y="778"/>
                </a:cubicBezTo>
                <a:cubicBezTo>
                  <a:pt x="73" y="778"/>
                  <a:pt x="73" y="778"/>
                  <a:pt x="85" y="778"/>
                </a:cubicBezTo>
                <a:cubicBezTo>
                  <a:pt x="85" y="778"/>
                  <a:pt x="85" y="778"/>
                  <a:pt x="85" y="705"/>
                </a:cubicBezTo>
                <a:close/>
                <a:moveTo>
                  <a:pt x="132" y="705"/>
                </a:moveTo>
                <a:cubicBezTo>
                  <a:pt x="132" y="705"/>
                  <a:pt x="132" y="705"/>
                  <a:pt x="132" y="705"/>
                </a:cubicBezTo>
                <a:cubicBezTo>
                  <a:pt x="127" y="705"/>
                  <a:pt x="127" y="705"/>
                  <a:pt x="127" y="705"/>
                </a:cubicBezTo>
                <a:cubicBezTo>
                  <a:pt x="125" y="706"/>
                  <a:pt x="123" y="708"/>
                  <a:pt x="121" y="709"/>
                </a:cubicBezTo>
                <a:cubicBezTo>
                  <a:pt x="120" y="710"/>
                  <a:pt x="117" y="711"/>
                  <a:pt x="116" y="712"/>
                </a:cubicBezTo>
                <a:cubicBezTo>
                  <a:pt x="114" y="713"/>
                  <a:pt x="112" y="714"/>
                  <a:pt x="111" y="714"/>
                </a:cubicBezTo>
                <a:cubicBezTo>
                  <a:pt x="109" y="715"/>
                  <a:pt x="107" y="716"/>
                  <a:pt x="105" y="716"/>
                </a:cubicBezTo>
                <a:cubicBezTo>
                  <a:pt x="105" y="716"/>
                  <a:pt x="105" y="716"/>
                  <a:pt x="105" y="726"/>
                </a:cubicBezTo>
                <a:cubicBezTo>
                  <a:pt x="108" y="725"/>
                  <a:pt x="111" y="725"/>
                  <a:pt x="113" y="723"/>
                </a:cubicBezTo>
                <a:cubicBezTo>
                  <a:pt x="116" y="722"/>
                  <a:pt x="118" y="721"/>
                  <a:pt x="120" y="720"/>
                </a:cubicBezTo>
                <a:cubicBezTo>
                  <a:pt x="120" y="720"/>
                  <a:pt x="120" y="720"/>
                  <a:pt x="120" y="778"/>
                </a:cubicBezTo>
                <a:cubicBezTo>
                  <a:pt x="120" y="778"/>
                  <a:pt x="120" y="778"/>
                  <a:pt x="132" y="778"/>
                </a:cubicBezTo>
                <a:cubicBezTo>
                  <a:pt x="132" y="778"/>
                  <a:pt x="132" y="778"/>
                  <a:pt x="132" y="705"/>
                </a:cubicBezTo>
                <a:close/>
                <a:moveTo>
                  <a:pt x="178" y="705"/>
                </a:moveTo>
                <a:cubicBezTo>
                  <a:pt x="178" y="705"/>
                  <a:pt x="178" y="705"/>
                  <a:pt x="178" y="705"/>
                </a:cubicBezTo>
                <a:cubicBezTo>
                  <a:pt x="174" y="705"/>
                  <a:pt x="174" y="705"/>
                  <a:pt x="174" y="705"/>
                </a:cubicBezTo>
                <a:cubicBezTo>
                  <a:pt x="171" y="706"/>
                  <a:pt x="170" y="708"/>
                  <a:pt x="168" y="709"/>
                </a:cubicBezTo>
                <a:cubicBezTo>
                  <a:pt x="166" y="710"/>
                  <a:pt x="164" y="711"/>
                  <a:pt x="163" y="712"/>
                </a:cubicBezTo>
                <a:cubicBezTo>
                  <a:pt x="161" y="712"/>
                  <a:pt x="159" y="713"/>
                  <a:pt x="157" y="714"/>
                </a:cubicBezTo>
                <a:cubicBezTo>
                  <a:pt x="156" y="714"/>
                  <a:pt x="153" y="715"/>
                  <a:pt x="152" y="716"/>
                </a:cubicBezTo>
                <a:cubicBezTo>
                  <a:pt x="152" y="716"/>
                  <a:pt x="152" y="716"/>
                  <a:pt x="152" y="726"/>
                </a:cubicBezTo>
                <a:cubicBezTo>
                  <a:pt x="155" y="725"/>
                  <a:pt x="158" y="724"/>
                  <a:pt x="160" y="723"/>
                </a:cubicBezTo>
                <a:cubicBezTo>
                  <a:pt x="162" y="722"/>
                  <a:pt x="165" y="721"/>
                  <a:pt x="166" y="720"/>
                </a:cubicBezTo>
                <a:cubicBezTo>
                  <a:pt x="166" y="720"/>
                  <a:pt x="166" y="720"/>
                  <a:pt x="166" y="778"/>
                </a:cubicBezTo>
                <a:cubicBezTo>
                  <a:pt x="166" y="778"/>
                  <a:pt x="166" y="778"/>
                  <a:pt x="178" y="778"/>
                </a:cubicBezTo>
                <a:cubicBezTo>
                  <a:pt x="178" y="778"/>
                  <a:pt x="178" y="778"/>
                  <a:pt x="178" y="705"/>
                </a:cubicBezTo>
                <a:close/>
                <a:moveTo>
                  <a:pt x="24" y="1078"/>
                </a:moveTo>
                <a:cubicBezTo>
                  <a:pt x="17" y="1078"/>
                  <a:pt x="10" y="1075"/>
                  <a:pt x="6" y="1069"/>
                </a:cubicBezTo>
                <a:cubicBezTo>
                  <a:pt x="2" y="1063"/>
                  <a:pt x="0" y="1054"/>
                  <a:pt x="0" y="1042"/>
                </a:cubicBezTo>
                <a:cubicBezTo>
                  <a:pt x="0" y="1028"/>
                  <a:pt x="2" y="1019"/>
                  <a:pt x="6" y="1012"/>
                </a:cubicBezTo>
                <a:cubicBezTo>
                  <a:pt x="11" y="1006"/>
                  <a:pt x="17" y="1002"/>
                  <a:pt x="26" y="1002"/>
                </a:cubicBezTo>
                <a:cubicBezTo>
                  <a:pt x="42" y="1002"/>
                  <a:pt x="50" y="1015"/>
                  <a:pt x="50" y="1040"/>
                </a:cubicBezTo>
                <a:cubicBezTo>
                  <a:pt x="50" y="1052"/>
                  <a:pt x="48" y="1062"/>
                  <a:pt x="44" y="1068"/>
                </a:cubicBezTo>
                <a:cubicBezTo>
                  <a:pt x="39" y="1075"/>
                  <a:pt x="33" y="1078"/>
                  <a:pt x="24" y="1078"/>
                </a:cubicBezTo>
                <a:close/>
                <a:moveTo>
                  <a:pt x="25" y="1012"/>
                </a:moveTo>
                <a:cubicBezTo>
                  <a:pt x="17" y="1012"/>
                  <a:pt x="12" y="1022"/>
                  <a:pt x="12" y="1042"/>
                </a:cubicBezTo>
                <a:cubicBezTo>
                  <a:pt x="12" y="1060"/>
                  <a:pt x="16" y="1068"/>
                  <a:pt x="25" y="1068"/>
                </a:cubicBezTo>
                <a:cubicBezTo>
                  <a:pt x="33" y="1068"/>
                  <a:pt x="38" y="1060"/>
                  <a:pt x="38" y="1041"/>
                </a:cubicBezTo>
                <a:cubicBezTo>
                  <a:pt x="38" y="1021"/>
                  <a:pt x="33" y="1012"/>
                  <a:pt x="25" y="1012"/>
                </a:cubicBezTo>
                <a:close/>
                <a:moveTo>
                  <a:pt x="26" y="983"/>
                </a:moveTo>
                <a:cubicBezTo>
                  <a:pt x="19" y="983"/>
                  <a:pt x="12" y="980"/>
                  <a:pt x="8" y="974"/>
                </a:cubicBezTo>
                <a:cubicBezTo>
                  <a:pt x="4" y="968"/>
                  <a:pt x="2" y="959"/>
                  <a:pt x="2" y="946"/>
                </a:cubicBezTo>
                <a:cubicBezTo>
                  <a:pt x="2" y="933"/>
                  <a:pt x="4" y="924"/>
                  <a:pt x="8" y="917"/>
                </a:cubicBezTo>
                <a:cubicBezTo>
                  <a:pt x="13" y="911"/>
                  <a:pt x="19" y="907"/>
                  <a:pt x="28" y="907"/>
                </a:cubicBezTo>
                <a:cubicBezTo>
                  <a:pt x="44" y="907"/>
                  <a:pt x="52" y="919"/>
                  <a:pt x="52" y="945"/>
                </a:cubicBezTo>
                <a:cubicBezTo>
                  <a:pt x="52" y="957"/>
                  <a:pt x="50" y="967"/>
                  <a:pt x="46" y="973"/>
                </a:cubicBezTo>
                <a:cubicBezTo>
                  <a:pt x="40" y="980"/>
                  <a:pt x="35" y="983"/>
                  <a:pt x="26" y="983"/>
                </a:cubicBezTo>
                <a:close/>
                <a:moveTo>
                  <a:pt x="27" y="917"/>
                </a:moveTo>
                <a:cubicBezTo>
                  <a:pt x="19" y="917"/>
                  <a:pt x="13" y="927"/>
                  <a:pt x="13" y="946"/>
                </a:cubicBezTo>
                <a:cubicBezTo>
                  <a:pt x="13" y="965"/>
                  <a:pt x="18" y="973"/>
                  <a:pt x="27" y="973"/>
                </a:cubicBezTo>
                <a:cubicBezTo>
                  <a:pt x="35" y="973"/>
                  <a:pt x="40" y="965"/>
                  <a:pt x="40" y="946"/>
                </a:cubicBezTo>
                <a:cubicBezTo>
                  <a:pt x="40" y="926"/>
                  <a:pt x="35" y="917"/>
                  <a:pt x="27" y="917"/>
                </a:cubicBezTo>
                <a:close/>
                <a:moveTo>
                  <a:pt x="93" y="671"/>
                </a:moveTo>
                <a:cubicBezTo>
                  <a:pt x="85" y="671"/>
                  <a:pt x="79" y="668"/>
                  <a:pt x="74" y="662"/>
                </a:cubicBezTo>
                <a:cubicBezTo>
                  <a:pt x="71" y="656"/>
                  <a:pt x="68" y="647"/>
                  <a:pt x="68" y="634"/>
                </a:cubicBezTo>
                <a:cubicBezTo>
                  <a:pt x="68" y="621"/>
                  <a:pt x="71" y="612"/>
                  <a:pt x="75" y="605"/>
                </a:cubicBezTo>
                <a:cubicBezTo>
                  <a:pt x="80" y="599"/>
                  <a:pt x="86" y="595"/>
                  <a:pt x="95" y="595"/>
                </a:cubicBezTo>
                <a:cubicBezTo>
                  <a:pt x="111" y="595"/>
                  <a:pt x="119" y="607"/>
                  <a:pt x="119" y="633"/>
                </a:cubicBezTo>
                <a:cubicBezTo>
                  <a:pt x="119" y="645"/>
                  <a:pt x="117" y="655"/>
                  <a:pt x="112" y="661"/>
                </a:cubicBezTo>
                <a:cubicBezTo>
                  <a:pt x="108" y="668"/>
                  <a:pt x="101" y="671"/>
                  <a:pt x="93" y="671"/>
                </a:cubicBezTo>
                <a:close/>
                <a:moveTo>
                  <a:pt x="94" y="605"/>
                </a:moveTo>
                <a:cubicBezTo>
                  <a:pt x="85" y="605"/>
                  <a:pt x="80" y="615"/>
                  <a:pt x="80" y="634"/>
                </a:cubicBezTo>
                <a:cubicBezTo>
                  <a:pt x="80" y="653"/>
                  <a:pt x="85" y="661"/>
                  <a:pt x="94" y="661"/>
                </a:cubicBezTo>
                <a:cubicBezTo>
                  <a:pt x="102" y="661"/>
                  <a:pt x="107" y="653"/>
                  <a:pt x="107" y="634"/>
                </a:cubicBezTo>
                <a:cubicBezTo>
                  <a:pt x="107" y="614"/>
                  <a:pt x="102" y="605"/>
                  <a:pt x="94" y="605"/>
                </a:cubicBezTo>
                <a:close/>
                <a:moveTo>
                  <a:pt x="167" y="597"/>
                </a:moveTo>
                <a:cubicBezTo>
                  <a:pt x="167" y="597"/>
                  <a:pt x="167" y="597"/>
                  <a:pt x="167" y="597"/>
                </a:cubicBezTo>
                <a:cubicBezTo>
                  <a:pt x="162" y="597"/>
                  <a:pt x="162" y="597"/>
                  <a:pt x="162" y="597"/>
                </a:cubicBezTo>
                <a:cubicBezTo>
                  <a:pt x="159" y="599"/>
                  <a:pt x="158" y="600"/>
                  <a:pt x="156" y="601"/>
                </a:cubicBezTo>
                <a:cubicBezTo>
                  <a:pt x="154" y="603"/>
                  <a:pt x="152" y="603"/>
                  <a:pt x="151" y="604"/>
                </a:cubicBezTo>
                <a:cubicBezTo>
                  <a:pt x="148" y="605"/>
                  <a:pt x="147" y="605"/>
                  <a:pt x="145" y="606"/>
                </a:cubicBezTo>
                <a:cubicBezTo>
                  <a:pt x="143" y="607"/>
                  <a:pt x="142" y="608"/>
                  <a:pt x="140" y="608"/>
                </a:cubicBezTo>
                <a:cubicBezTo>
                  <a:pt x="140" y="608"/>
                  <a:pt x="140" y="608"/>
                  <a:pt x="140" y="619"/>
                </a:cubicBezTo>
                <a:cubicBezTo>
                  <a:pt x="142" y="618"/>
                  <a:pt x="145" y="616"/>
                  <a:pt x="148" y="616"/>
                </a:cubicBezTo>
                <a:cubicBezTo>
                  <a:pt x="151" y="615"/>
                  <a:pt x="153" y="613"/>
                  <a:pt x="155" y="612"/>
                </a:cubicBezTo>
                <a:cubicBezTo>
                  <a:pt x="155" y="612"/>
                  <a:pt x="155" y="612"/>
                  <a:pt x="155" y="671"/>
                </a:cubicBezTo>
                <a:cubicBezTo>
                  <a:pt x="155" y="671"/>
                  <a:pt x="155" y="671"/>
                  <a:pt x="167" y="671"/>
                </a:cubicBezTo>
                <a:cubicBezTo>
                  <a:pt x="167" y="671"/>
                  <a:pt x="167" y="671"/>
                  <a:pt x="167" y="597"/>
                </a:cubicBezTo>
                <a:close/>
                <a:moveTo>
                  <a:pt x="214" y="597"/>
                </a:moveTo>
                <a:cubicBezTo>
                  <a:pt x="214" y="597"/>
                  <a:pt x="214" y="597"/>
                  <a:pt x="214" y="597"/>
                </a:cubicBezTo>
                <a:cubicBezTo>
                  <a:pt x="209" y="597"/>
                  <a:pt x="209" y="597"/>
                  <a:pt x="209" y="597"/>
                </a:cubicBezTo>
                <a:cubicBezTo>
                  <a:pt x="207" y="599"/>
                  <a:pt x="205" y="600"/>
                  <a:pt x="203" y="601"/>
                </a:cubicBezTo>
                <a:cubicBezTo>
                  <a:pt x="202" y="603"/>
                  <a:pt x="199" y="603"/>
                  <a:pt x="198" y="604"/>
                </a:cubicBezTo>
                <a:cubicBezTo>
                  <a:pt x="196" y="605"/>
                  <a:pt x="194" y="606"/>
                  <a:pt x="193" y="607"/>
                </a:cubicBezTo>
                <a:cubicBezTo>
                  <a:pt x="191" y="608"/>
                  <a:pt x="189" y="608"/>
                  <a:pt x="187" y="608"/>
                </a:cubicBezTo>
                <a:cubicBezTo>
                  <a:pt x="187" y="608"/>
                  <a:pt x="187" y="608"/>
                  <a:pt x="187" y="619"/>
                </a:cubicBezTo>
                <a:cubicBezTo>
                  <a:pt x="190" y="618"/>
                  <a:pt x="193" y="617"/>
                  <a:pt x="195" y="616"/>
                </a:cubicBezTo>
                <a:cubicBezTo>
                  <a:pt x="198" y="615"/>
                  <a:pt x="200" y="613"/>
                  <a:pt x="202" y="612"/>
                </a:cubicBezTo>
                <a:cubicBezTo>
                  <a:pt x="202" y="612"/>
                  <a:pt x="202" y="612"/>
                  <a:pt x="202" y="671"/>
                </a:cubicBezTo>
                <a:cubicBezTo>
                  <a:pt x="202" y="671"/>
                  <a:pt x="202" y="671"/>
                  <a:pt x="214" y="671"/>
                </a:cubicBezTo>
                <a:cubicBezTo>
                  <a:pt x="214" y="671"/>
                  <a:pt x="214" y="671"/>
                  <a:pt x="214" y="597"/>
                </a:cubicBezTo>
                <a:close/>
                <a:moveTo>
                  <a:pt x="260" y="597"/>
                </a:moveTo>
                <a:cubicBezTo>
                  <a:pt x="260" y="597"/>
                  <a:pt x="260" y="597"/>
                  <a:pt x="260" y="597"/>
                </a:cubicBezTo>
                <a:cubicBezTo>
                  <a:pt x="256" y="597"/>
                  <a:pt x="256" y="597"/>
                  <a:pt x="256" y="597"/>
                </a:cubicBezTo>
                <a:cubicBezTo>
                  <a:pt x="254" y="599"/>
                  <a:pt x="252" y="600"/>
                  <a:pt x="250" y="601"/>
                </a:cubicBezTo>
                <a:cubicBezTo>
                  <a:pt x="248" y="603"/>
                  <a:pt x="246" y="603"/>
                  <a:pt x="245" y="604"/>
                </a:cubicBezTo>
                <a:cubicBezTo>
                  <a:pt x="243" y="605"/>
                  <a:pt x="241" y="606"/>
                  <a:pt x="239" y="607"/>
                </a:cubicBezTo>
                <a:cubicBezTo>
                  <a:pt x="238" y="608"/>
                  <a:pt x="236" y="608"/>
                  <a:pt x="234" y="608"/>
                </a:cubicBezTo>
                <a:cubicBezTo>
                  <a:pt x="234" y="608"/>
                  <a:pt x="234" y="608"/>
                  <a:pt x="234" y="619"/>
                </a:cubicBezTo>
                <a:cubicBezTo>
                  <a:pt x="237" y="618"/>
                  <a:pt x="240" y="617"/>
                  <a:pt x="242" y="616"/>
                </a:cubicBezTo>
                <a:cubicBezTo>
                  <a:pt x="244" y="615"/>
                  <a:pt x="247" y="613"/>
                  <a:pt x="248" y="612"/>
                </a:cubicBezTo>
                <a:cubicBezTo>
                  <a:pt x="248" y="612"/>
                  <a:pt x="248" y="612"/>
                  <a:pt x="248" y="671"/>
                </a:cubicBezTo>
                <a:cubicBezTo>
                  <a:pt x="248" y="671"/>
                  <a:pt x="248" y="671"/>
                  <a:pt x="260" y="671"/>
                </a:cubicBezTo>
                <a:cubicBezTo>
                  <a:pt x="260" y="671"/>
                  <a:pt x="260" y="671"/>
                  <a:pt x="260" y="597"/>
                </a:cubicBezTo>
                <a:close/>
                <a:moveTo>
                  <a:pt x="308" y="597"/>
                </a:moveTo>
                <a:cubicBezTo>
                  <a:pt x="308" y="597"/>
                  <a:pt x="308" y="597"/>
                  <a:pt x="308" y="597"/>
                </a:cubicBezTo>
                <a:cubicBezTo>
                  <a:pt x="302" y="597"/>
                  <a:pt x="302" y="597"/>
                  <a:pt x="302" y="597"/>
                </a:cubicBezTo>
                <a:cubicBezTo>
                  <a:pt x="300" y="599"/>
                  <a:pt x="299" y="600"/>
                  <a:pt x="297" y="601"/>
                </a:cubicBezTo>
                <a:cubicBezTo>
                  <a:pt x="295" y="603"/>
                  <a:pt x="294" y="603"/>
                  <a:pt x="292" y="604"/>
                </a:cubicBezTo>
                <a:cubicBezTo>
                  <a:pt x="290" y="605"/>
                  <a:pt x="288" y="606"/>
                  <a:pt x="286" y="607"/>
                </a:cubicBezTo>
                <a:cubicBezTo>
                  <a:pt x="284" y="608"/>
                  <a:pt x="283" y="608"/>
                  <a:pt x="281" y="608"/>
                </a:cubicBezTo>
                <a:cubicBezTo>
                  <a:pt x="281" y="608"/>
                  <a:pt x="281" y="608"/>
                  <a:pt x="281" y="619"/>
                </a:cubicBezTo>
                <a:cubicBezTo>
                  <a:pt x="284" y="618"/>
                  <a:pt x="286" y="617"/>
                  <a:pt x="289" y="616"/>
                </a:cubicBezTo>
                <a:cubicBezTo>
                  <a:pt x="292" y="615"/>
                  <a:pt x="294" y="613"/>
                  <a:pt x="296" y="612"/>
                </a:cubicBezTo>
                <a:cubicBezTo>
                  <a:pt x="296" y="612"/>
                  <a:pt x="296" y="612"/>
                  <a:pt x="296" y="671"/>
                </a:cubicBezTo>
                <a:cubicBezTo>
                  <a:pt x="296" y="671"/>
                  <a:pt x="296" y="671"/>
                  <a:pt x="308" y="671"/>
                </a:cubicBezTo>
                <a:cubicBezTo>
                  <a:pt x="308" y="671"/>
                  <a:pt x="308" y="671"/>
                  <a:pt x="308" y="597"/>
                </a:cubicBezTo>
                <a:close/>
                <a:moveTo>
                  <a:pt x="431" y="597"/>
                </a:moveTo>
                <a:cubicBezTo>
                  <a:pt x="431" y="597"/>
                  <a:pt x="431" y="597"/>
                  <a:pt x="431" y="597"/>
                </a:cubicBezTo>
                <a:cubicBezTo>
                  <a:pt x="426" y="597"/>
                  <a:pt x="426" y="597"/>
                  <a:pt x="426" y="597"/>
                </a:cubicBezTo>
                <a:cubicBezTo>
                  <a:pt x="423" y="599"/>
                  <a:pt x="422" y="600"/>
                  <a:pt x="420" y="601"/>
                </a:cubicBezTo>
                <a:cubicBezTo>
                  <a:pt x="418" y="603"/>
                  <a:pt x="417" y="603"/>
                  <a:pt x="415" y="604"/>
                </a:cubicBezTo>
                <a:cubicBezTo>
                  <a:pt x="413" y="605"/>
                  <a:pt x="411" y="606"/>
                  <a:pt x="409" y="607"/>
                </a:cubicBezTo>
                <a:cubicBezTo>
                  <a:pt x="407" y="608"/>
                  <a:pt x="406" y="608"/>
                  <a:pt x="404" y="608"/>
                </a:cubicBezTo>
                <a:cubicBezTo>
                  <a:pt x="404" y="608"/>
                  <a:pt x="404" y="608"/>
                  <a:pt x="404" y="619"/>
                </a:cubicBezTo>
                <a:cubicBezTo>
                  <a:pt x="406" y="618"/>
                  <a:pt x="409" y="617"/>
                  <a:pt x="412" y="616"/>
                </a:cubicBezTo>
                <a:cubicBezTo>
                  <a:pt x="415" y="615"/>
                  <a:pt x="417" y="613"/>
                  <a:pt x="419" y="612"/>
                </a:cubicBezTo>
                <a:cubicBezTo>
                  <a:pt x="419" y="612"/>
                  <a:pt x="419" y="612"/>
                  <a:pt x="419" y="671"/>
                </a:cubicBezTo>
                <a:cubicBezTo>
                  <a:pt x="419" y="671"/>
                  <a:pt x="419" y="671"/>
                  <a:pt x="431" y="671"/>
                </a:cubicBezTo>
                <a:cubicBezTo>
                  <a:pt x="431" y="671"/>
                  <a:pt x="431" y="671"/>
                  <a:pt x="431" y="597"/>
                </a:cubicBezTo>
                <a:close/>
                <a:moveTo>
                  <a:pt x="478" y="597"/>
                </a:moveTo>
                <a:cubicBezTo>
                  <a:pt x="478" y="597"/>
                  <a:pt x="478" y="597"/>
                  <a:pt x="478" y="597"/>
                </a:cubicBezTo>
                <a:cubicBezTo>
                  <a:pt x="473" y="597"/>
                  <a:pt x="473" y="597"/>
                  <a:pt x="473" y="597"/>
                </a:cubicBezTo>
                <a:cubicBezTo>
                  <a:pt x="471" y="599"/>
                  <a:pt x="470" y="600"/>
                  <a:pt x="467" y="601"/>
                </a:cubicBezTo>
                <a:cubicBezTo>
                  <a:pt x="466" y="603"/>
                  <a:pt x="464" y="603"/>
                  <a:pt x="462" y="604"/>
                </a:cubicBezTo>
                <a:cubicBezTo>
                  <a:pt x="461" y="605"/>
                  <a:pt x="458" y="606"/>
                  <a:pt x="457" y="607"/>
                </a:cubicBezTo>
                <a:cubicBezTo>
                  <a:pt x="455" y="608"/>
                  <a:pt x="453" y="608"/>
                  <a:pt x="451" y="608"/>
                </a:cubicBezTo>
                <a:cubicBezTo>
                  <a:pt x="451" y="608"/>
                  <a:pt x="451" y="608"/>
                  <a:pt x="451" y="619"/>
                </a:cubicBezTo>
                <a:cubicBezTo>
                  <a:pt x="454" y="618"/>
                  <a:pt x="457" y="617"/>
                  <a:pt x="459" y="616"/>
                </a:cubicBezTo>
                <a:cubicBezTo>
                  <a:pt x="462" y="615"/>
                  <a:pt x="464" y="613"/>
                  <a:pt x="467" y="612"/>
                </a:cubicBezTo>
                <a:cubicBezTo>
                  <a:pt x="467" y="612"/>
                  <a:pt x="467" y="612"/>
                  <a:pt x="467" y="671"/>
                </a:cubicBezTo>
                <a:cubicBezTo>
                  <a:pt x="467" y="671"/>
                  <a:pt x="467" y="671"/>
                  <a:pt x="478" y="671"/>
                </a:cubicBezTo>
                <a:cubicBezTo>
                  <a:pt x="478" y="671"/>
                  <a:pt x="478" y="671"/>
                  <a:pt x="478" y="597"/>
                </a:cubicBezTo>
                <a:close/>
                <a:moveTo>
                  <a:pt x="526" y="597"/>
                </a:moveTo>
                <a:cubicBezTo>
                  <a:pt x="526" y="597"/>
                  <a:pt x="526" y="597"/>
                  <a:pt x="526" y="597"/>
                </a:cubicBezTo>
                <a:cubicBezTo>
                  <a:pt x="521" y="597"/>
                  <a:pt x="521" y="597"/>
                  <a:pt x="521" y="597"/>
                </a:cubicBezTo>
                <a:cubicBezTo>
                  <a:pt x="519" y="599"/>
                  <a:pt x="517" y="600"/>
                  <a:pt x="516" y="601"/>
                </a:cubicBezTo>
                <a:cubicBezTo>
                  <a:pt x="513" y="603"/>
                  <a:pt x="512" y="603"/>
                  <a:pt x="510" y="604"/>
                </a:cubicBezTo>
                <a:cubicBezTo>
                  <a:pt x="508" y="605"/>
                  <a:pt x="506" y="606"/>
                  <a:pt x="504" y="607"/>
                </a:cubicBezTo>
                <a:cubicBezTo>
                  <a:pt x="502" y="608"/>
                  <a:pt x="501" y="608"/>
                  <a:pt x="499" y="608"/>
                </a:cubicBezTo>
                <a:cubicBezTo>
                  <a:pt x="499" y="608"/>
                  <a:pt x="499" y="608"/>
                  <a:pt x="499" y="619"/>
                </a:cubicBezTo>
                <a:cubicBezTo>
                  <a:pt x="502" y="618"/>
                  <a:pt x="504" y="617"/>
                  <a:pt x="507" y="616"/>
                </a:cubicBezTo>
                <a:cubicBezTo>
                  <a:pt x="510" y="615"/>
                  <a:pt x="512" y="613"/>
                  <a:pt x="514" y="612"/>
                </a:cubicBezTo>
                <a:cubicBezTo>
                  <a:pt x="514" y="612"/>
                  <a:pt x="514" y="612"/>
                  <a:pt x="514" y="671"/>
                </a:cubicBezTo>
                <a:cubicBezTo>
                  <a:pt x="514" y="671"/>
                  <a:pt x="514" y="671"/>
                  <a:pt x="526" y="671"/>
                </a:cubicBezTo>
                <a:cubicBezTo>
                  <a:pt x="526" y="671"/>
                  <a:pt x="526" y="671"/>
                  <a:pt x="526" y="597"/>
                </a:cubicBezTo>
                <a:close/>
                <a:moveTo>
                  <a:pt x="572" y="597"/>
                </a:moveTo>
                <a:cubicBezTo>
                  <a:pt x="572" y="597"/>
                  <a:pt x="572" y="597"/>
                  <a:pt x="572" y="597"/>
                </a:cubicBezTo>
                <a:cubicBezTo>
                  <a:pt x="568" y="597"/>
                  <a:pt x="568" y="597"/>
                  <a:pt x="568" y="597"/>
                </a:cubicBezTo>
                <a:cubicBezTo>
                  <a:pt x="566" y="599"/>
                  <a:pt x="564" y="600"/>
                  <a:pt x="562" y="601"/>
                </a:cubicBezTo>
                <a:cubicBezTo>
                  <a:pt x="561" y="603"/>
                  <a:pt x="559" y="603"/>
                  <a:pt x="557" y="604"/>
                </a:cubicBezTo>
                <a:cubicBezTo>
                  <a:pt x="555" y="605"/>
                  <a:pt x="553" y="605"/>
                  <a:pt x="551" y="606"/>
                </a:cubicBezTo>
                <a:cubicBezTo>
                  <a:pt x="550" y="607"/>
                  <a:pt x="548" y="608"/>
                  <a:pt x="546" y="608"/>
                </a:cubicBezTo>
                <a:cubicBezTo>
                  <a:pt x="546" y="608"/>
                  <a:pt x="546" y="608"/>
                  <a:pt x="546" y="619"/>
                </a:cubicBezTo>
                <a:cubicBezTo>
                  <a:pt x="549" y="618"/>
                  <a:pt x="552" y="616"/>
                  <a:pt x="554" y="616"/>
                </a:cubicBezTo>
                <a:cubicBezTo>
                  <a:pt x="556" y="615"/>
                  <a:pt x="559" y="613"/>
                  <a:pt x="561" y="612"/>
                </a:cubicBezTo>
                <a:cubicBezTo>
                  <a:pt x="561" y="612"/>
                  <a:pt x="561" y="612"/>
                  <a:pt x="561" y="671"/>
                </a:cubicBezTo>
                <a:cubicBezTo>
                  <a:pt x="561" y="671"/>
                  <a:pt x="561" y="671"/>
                  <a:pt x="572" y="671"/>
                </a:cubicBezTo>
                <a:cubicBezTo>
                  <a:pt x="572" y="671"/>
                  <a:pt x="572" y="671"/>
                  <a:pt x="572" y="597"/>
                </a:cubicBezTo>
                <a:close/>
                <a:moveTo>
                  <a:pt x="329" y="630"/>
                </a:moveTo>
                <a:cubicBezTo>
                  <a:pt x="329" y="630"/>
                  <a:pt x="329" y="630"/>
                  <a:pt x="329" y="630"/>
                </a:cubicBezTo>
                <a:cubicBezTo>
                  <a:pt x="328" y="638"/>
                  <a:pt x="328" y="638"/>
                  <a:pt x="328" y="638"/>
                </a:cubicBezTo>
                <a:cubicBezTo>
                  <a:pt x="334" y="638"/>
                  <a:pt x="335" y="641"/>
                  <a:pt x="335" y="644"/>
                </a:cubicBezTo>
                <a:cubicBezTo>
                  <a:pt x="335" y="646"/>
                  <a:pt x="335" y="648"/>
                  <a:pt x="335" y="651"/>
                </a:cubicBezTo>
                <a:cubicBezTo>
                  <a:pt x="334" y="654"/>
                  <a:pt x="334" y="656"/>
                  <a:pt x="334" y="658"/>
                </a:cubicBezTo>
                <a:cubicBezTo>
                  <a:pt x="334" y="668"/>
                  <a:pt x="340" y="671"/>
                  <a:pt x="348" y="671"/>
                </a:cubicBezTo>
                <a:cubicBezTo>
                  <a:pt x="348" y="671"/>
                  <a:pt x="348" y="671"/>
                  <a:pt x="352" y="671"/>
                </a:cubicBezTo>
                <a:cubicBezTo>
                  <a:pt x="352" y="671"/>
                  <a:pt x="352" y="671"/>
                  <a:pt x="352" y="662"/>
                </a:cubicBezTo>
                <a:cubicBezTo>
                  <a:pt x="352" y="662"/>
                  <a:pt x="352" y="662"/>
                  <a:pt x="351" y="662"/>
                </a:cubicBezTo>
                <a:cubicBezTo>
                  <a:pt x="347" y="662"/>
                  <a:pt x="346" y="659"/>
                  <a:pt x="346" y="656"/>
                </a:cubicBezTo>
                <a:cubicBezTo>
                  <a:pt x="346" y="654"/>
                  <a:pt x="346" y="653"/>
                  <a:pt x="346" y="651"/>
                </a:cubicBezTo>
                <a:cubicBezTo>
                  <a:pt x="346" y="650"/>
                  <a:pt x="347" y="647"/>
                  <a:pt x="347" y="645"/>
                </a:cubicBezTo>
                <a:cubicBezTo>
                  <a:pt x="347" y="638"/>
                  <a:pt x="344" y="635"/>
                  <a:pt x="338" y="634"/>
                </a:cubicBezTo>
                <a:cubicBezTo>
                  <a:pt x="338" y="634"/>
                  <a:pt x="338" y="634"/>
                  <a:pt x="338" y="634"/>
                </a:cubicBezTo>
                <a:cubicBezTo>
                  <a:pt x="344" y="632"/>
                  <a:pt x="347" y="630"/>
                  <a:pt x="347" y="623"/>
                </a:cubicBezTo>
                <a:cubicBezTo>
                  <a:pt x="347" y="620"/>
                  <a:pt x="346" y="618"/>
                  <a:pt x="346" y="616"/>
                </a:cubicBezTo>
                <a:cubicBezTo>
                  <a:pt x="346" y="615"/>
                  <a:pt x="346" y="613"/>
                  <a:pt x="346" y="612"/>
                </a:cubicBezTo>
                <a:cubicBezTo>
                  <a:pt x="346" y="608"/>
                  <a:pt x="347" y="606"/>
                  <a:pt x="351" y="606"/>
                </a:cubicBezTo>
                <a:cubicBezTo>
                  <a:pt x="351" y="606"/>
                  <a:pt x="351" y="606"/>
                  <a:pt x="352" y="606"/>
                </a:cubicBezTo>
                <a:cubicBezTo>
                  <a:pt x="352" y="606"/>
                  <a:pt x="352" y="606"/>
                  <a:pt x="352" y="597"/>
                </a:cubicBezTo>
                <a:cubicBezTo>
                  <a:pt x="352" y="597"/>
                  <a:pt x="352" y="597"/>
                  <a:pt x="348" y="597"/>
                </a:cubicBezTo>
                <a:cubicBezTo>
                  <a:pt x="340" y="597"/>
                  <a:pt x="334" y="601"/>
                  <a:pt x="334" y="609"/>
                </a:cubicBezTo>
                <a:cubicBezTo>
                  <a:pt x="334" y="611"/>
                  <a:pt x="334" y="614"/>
                  <a:pt x="334" y="617"/>
                </a:cubicBezTo>
                <a:cubicBezTo>
                  <a:pt x="335" y="619"/>
                  <a:pt x="335" y="622"/>
                  <a:pt x="335" y="623"/>
                </a:cubicBezTo>
                <a:cubicBezTo>
                  <a:pt x="335" y="626"/>
                  <a:pt x="334" y="629"/>
                  <a:pt x="329" y="630"/>
                </a:cubicBezTo>
                <a:close/>
                <a:moveTo>
                  <a:pt x="383" y="638"/>
                </a:moveTo>
                <a:cubicBezTo>
                  <a:pt x="383" y="638"/>
                  <a:pt x="383" y="638"/>
                  <a:pt x="383" y="638"/>
                </a:cubicBezTo>
                <a:cubicBezTo>
                  <a:pt x="383" y="630"/>
                  <a:pt x="383" y="630"/>
                  <a:pt x="383" y="630"/>
                </a:cubicBezTo>
                <a:cubicBezTo>
                  <a:pt x="377" y="629"/>
                  <a:pt x="377" y="626"/>
                  <a:pt x="377" y="623"/>
                </a:cubicBezTo>
                <a:cubicBezTo>
                  <a:pt x="377" y="622"/>
                  <a:pt x="377" y="619"/>
                  <a:pt x="377" y="617"/>
                </a:cubicBezTo>
                <a:cubicBezTo>
                  <a:pt x="377" y="614"/>
                  <a:pt x="377" y="611"/>
                  <a:pt x="377" y="609"/>
                </a:cubicBezTo>
                <a:cubicBezTo>
                  <a:pt x="377" y="601"/>
                  <a:pt x="372" y="597"/>
                  <a:pt x="363" y="597"/>
                </a:cubicBezTo>
                <a:cubicBezTo>
                  <a:pt x="363" y="597"/>
                  <a:pt x="363" y="597"/>
                  <a:pt x="359" y="597"/>
                </a:cubicBezTo>
                <a:cubicBezTo>
                  <a:pt x="359" y="597"/>
                  <a:pt x="359" y="597"/>
                  <a:pt x="359" y="606"/>
                </a:cubicBezTo>
                <a:cubicBezTo>
                  <a:pt x="359" y="606"/>
                  <a:pt x="359" y="606"/>
                  <a:pt x="360" y="606"/>
                </a:cubicBezTo>
                <a:cubicBezTo>
                  <a:pt x="364" y="606"/>
                  <a:pt x="366" y="608"/>
                  <a:pt x="366" y="612"/>
                </a:cubicBezTo>
                <a:cubicBezTo>
                  <a:pt x="366" y="613"/>
                  <a:pt x="365" y="615"/>
                  <a:pt x="365" y="616"/>
                </a:cubicBezTo>
                <a:cubicBezTo>
                  <a:pt x="365" y="618"/>
                  <a:pt x="365" y="620"/>
                  <a:pt x="365" y="623"/>
                </a:cubicBezTo>
                <a:cubicBezTo>
                  <a:pt x="365" y="630"/>
                  <a:pt x="368" y="632"/>
                  <a:pt x="374" y="634"/>
                </a:cubicBezTo>
                <a:cubicBezTo>
                  <a:pt x="374" y="634"/>
                  <a:pt x="374" y="634"/>
                  <a:pt x="374" y="634"/>
                </a:cubicBezTo>
                <a:cubicBezTo>
                  <a:pt x="368" y="635"/>
                  <a:pt x="365" y="638"/>
                  <a:pt x="365" y="645"/>
                </a:cubicBezTo>
                <a:cubicBezTo>
                  <a:pt x="365" y="647"/>
                  <a:pt x="365" y="650"/>
                  <a:pt x="365" y="651"/>
                </a:cubicBezTo>
                <a:cubicBezTo>
                  <a:pt x="365" y="653"/>
                  <a:pt x="366" y="654"/>
                  <a:pt x="366" y="656"/>
                </a:cubicBezTo>
                <a:cubicBezTo>
                  <a:pt x="366" y="659"/>
                  <a:pt x="365" y="662"/>
                  <a:pt x="360" y="662"/>
                </a:cubicBezTo>
                <a:cubicBezTo>
                  <a:pt x="360" y="662"/>
                  <a:pt x="360" y="662"/>
                  <a:pt x="359" y="662"/>
                </a:cubicBezTo>
                <a:cubicBezTo>
                  <a:pt x="359" y="662"/>
                  <a:pt x="359" y="662"/>
                  <a:pt x="359" y="671"/>
                </a:cubicBezTo>
                <a:cubicBezTo>
                  <a:pt x="359" y="671"/>
                  <a:pt x="359" y="671"/>
                  <a:pt x="363" y="671"/>
                </a:cubicBezTo>
                <a:cubicBezTo>
                  <a:pt x="372" y="671"/>
                  <a:pt x="377" y="668"/>
                  <a:pt x="377" y="658"/>
                </a:cubicBezTo>
                <a:cubicBezTo>
                  <a:pt x="377" y="656"/>
                  <a:pt x="377" y="654"/>
                  <a:pt x="377" y="651"/>
                </a:cubicBezTo>
                <a:cubicBezTo>
                  <a:pt x="377" y="648"/>
                  <a:pt x="377" y="646"/>
                  <a:pt x="377" y="644"/>
                </a:cubicBezTo>
                <a:cubicBezTo>
                  <a:pt x="377" y="641"/>
                  <a:pt x="377" y="638"/>
                  <a:pt x="383" y="638"/>
                </a:cubicBezTo>
                <a:close/>
                <a:moveTo>
                  <a:pt x="710" y="630"/>
                </a:moveTo>
                <a:cubicBezTo>
                  <a:pt x="710" y="630"/>
                  <a:pt x="710" y="630"/>
                  <a:pt x="710" y="630"/>
                </a:cubicBezTo>
                <a:cubicBezTo>
                  <a:pt x="710" y="638"/>
                  <a:pt x="710" y="638"/>
                  <a:pt x="710" y="638"/>
                </a:cubicBezTo>
                <a:cubicBezTo>
                  <a:pt x="716" y="638"/>
                  <a:pt x="717" y="641"/>
                  <a:pt x="717" y="644"/>
                </a:cubicBezTo>
                <a:cubicBezTo>
                  <a:pt x="717" y="646"/>
                  <a:pt x="716" y="648"/>
                  <a:pt x="716" y="651"/>
                </a:cubicBezTo>
                <a:cubicBezTo>
                  <a:pt x="716" y="654"/>
                  <a:pt x="716" y="656"/>
                  <a:pt x="716" y="658"/>
                </a:cubicBezTo>
                <a:cubicBezTo>
                  <a:pt x="716" y="668"/>
                  <a:pt x="722" y="671"/>
                  <a:pt x="730" y="671"/>
                </a:cubicBezTo>
                <a:cubicBezTo>
                  <a:pt x="730" y="671"/>
                  <a:pt x="730" y="671"/>
                  <a:pt x="734" y="671"/>
                </a:cubicBezTo>
                <a:cubicBezTo>
                  <a:pt x="734" y="671"/>
                  <a:pt x="734" y="671"/>
                  <a:pt x="734" y="662"/>
                </a:cubicBezTo>
                <a:cubicBezTo>
                  <a:pt x="734" y="662"/>
                  <a:pt x="734" y="662"/>
                  <a:pt x="732" y="662"/>
                </a:cubicBezTo>
                <a:cubicBezTo>
                  <a:pt x="729" y="662"/>
                  <a:pt x="727" y="659"/>
                  <a:pt x="727" y="656"/>
                </a:cubicBezTo>
                <a:cubicBezTo>
                  <a:pt x="727" y="654"/>
                  <a:pt x="727" y="653"/>
                  <a:pt x="728" y="651"/>
                </a:cubicBezTo>
                <a:cubicBezTo>
                  <a:pt x="728" y="650"/>
                  <a:pt x="728" y="647"/>
                  <a:pt x="728" y="645"/>
                </a:cubicBezTo>
                <a:cubicBezTo>
                  <a:pt x="728" y="638"/>
                  <a:pt x="725" y="635"/>
                  <a:pt x="720" y="634"/>
                </a:cubicBezTo>
                <a:cubicBezTo>
                  <a:pt x="720" y="634"/>
                  <a:pt x="720" y="634"/>
                  <a:pt x="720" y="634"/>
                </a:cubicBezTo>
                <a:cubicBezTo>
                  <a:pt x="725" y="632"/>
                  <a:pt x="728" y="630"/>
                  <a:pt x="728" y="623"/>
                </a:cubicBezTo>
                <a:cubicBezTo>
                  <a:pt x="728" y="620"/>
                  <a:pt x="728" y="618"/>
                  <a:pt x="728" y="616"/>
                </a:cubicBezTo>
                <a:cubicBezTo>
                  <a:pt x="727" y="615"/>
                  <a:pt x="727" y="613"/>
                  <a:pt x="727" y="612"/>
                </a:cubicBezTo>
                <a:cubicBezTo>
                  <a:pt x="727" y="608"/>
                  <a:pt x="729" y="606"/>
                  <a:pt x="732" y="606"/>
                </a:cubicBezTo>
                <a:cubicBezTo>
                  <a:pt x="732" y="606"/>
                  <a:pt x="732" y="606"/>
                  <a:pt x="734" y="606"/>
                </a:cubicBezTo>
                <a:cubicBezTo>
                  <a:pt x="734" y="606"/>
                  <a:pt x="734" y="606"/>
                  <a:pt x="734" y="597"/>
                </a:cubicBezTo>
                <a:cubicBezTo>
                  <a:pt x="734" y="597"/>
                  <a:pt x="734" y="597"/>
                  <a:pt x="730" y="597"/>
                </a:cubicBezTo>
                <a:cubicBezTo>
                  <a:pt x="721" y="597"/>
                  <a:pt x="716" y="601"/>
                  <a:pt x="716" y="609"/>
                </a:cubicBezTo>
                <a:cubicBezTo>
                  <a:pt x="716" y="611"/>
                  <a:pt x="716" y="614"/>
                  <a:pt x="716" y="617"/>
                </a:cubicBezTo>
                <a:cubicBezTo>
                  <a:pt x="716" y="619"/>
                  <a:pt x="717" y="622"/>
                  <a:pt x="717" y="623"/>
                </a:cubicBezTo>
                <a:cubicBezTo>
                  <a:pt x="717" y="626"/>
                  <a:pt x="716" y="629"/>
                  <a:pt x="710" y="630"/>
                </a:cubicBezTo>
                <a:close/>
                <a:moveTo>
                  <a:pt x="765" y="638"/>
                </a:moveTo>
                <a:cubicBezTo>
                  <a:pt x="765" y="638"/>
                  <a:pt x="765" y="638"/>
                  <a:pt x="765" y="638"/>
                </a:cubicBezTo>
                <a:cubicBezTo>
                  <a:pt x="765" y="630"/>
                  <a:pt x="765" y="630"/>
                  <a:pt x="765" y="630"/>
                </a:cubicBezTo>
                <a:cubicBezTo>
                  <a:pt x="759" y="629"/>
                  <a:pt x="758" y="626"/>
                  <a:pt x="758" y="623"/>
                </a:cubicBezTo>
                <a:cubicBezTo>
                  <a:pt x="758" y="622"/>
                  <a:pt x="758" y="619"/>
                  <a:pt x="759" y="617"/>
                </a:cubicBezTo>
                <a:cubicBezTo>
                  <a:pt x="759" y="614"/>
                  <a:pt x="759" y="611"/>
                  <a:pt x="759" y="609"/>
                </a:cubicBezTo>
                <a:cubicBezTo>
                  <a:pt x="759" y="601"/>
                  <a:pt x="754" y="597"/>
                  <a:pt x="745" y="597"/>
                </a:cubicBezTo>
                <a:cubicBezTo>
                  <a:pt x="745" y="597"/>
                  <a:pt x="745" y="597"/>
                  <a:pt x="741" y="597"/>
                </a:cubicBezTo>
                <a:cubicBezTo>
                  <a:pt x="741" y="597"/>
                  <a:pt x="741" y="597"/>
                  <a:pt x="741" y="606"/>
                </a:cubicBezTo>
                <a:cubicBezTo>
                  <a:pt x="741" y="606"/>
                  <a:pt x="741" y="606"/>
                  <a:pt x="742" y="606"/>
                </a:cubicBezTo>
                <a:cubicBezTo>
                  <a:pt x="746" y="606"/>
                  <a:pt x="748" y="608"/>
                  <a:pt x="748" y="612"/>
                </a:cubicBezTo>
                <a:cubicBezTo>
                  <a:pt x="748" y="613"/>
                  <a:pt x="747" y="615"/>
                  <a:pt x="747" y="616"/>
                </a:cubicBezTo>
                <a:cubicBezTo>
                  <a:pt x="747" y="618"/>
                  <a:pt x="747" y="620"/>
                  <a:pt x="747" y="623"/>
                </a:cubicBezTo>
                <a:cubicBezTo>
                  <a:pt x="747" y="630"/>
                  <a:pt x="749" y="632"/>
                  <a:pt x="755" y="634"/>
                </a:cubicBezTo>
                <a:cubicBezTo>
                  <a:pt x="755" y="634"/>
                  <a:pt x="755" y="634"/>
                  <a:pt x="755" y="634"/>
                </a:cubicBezTo>
                <a:cubicBezTo>
                  <a:pt x="749" y="635"/>
                  <a:pt x="747" y="638"/>
                  <a:pt x="747" y="645"/>
                </a:cubicBezTo>
                <a:cubicBezTo>
                  <a:pt x="747" y="647"/>
                  <a:pt x="747" y="650"/>
                  <a:pt x="747" y="651"/>
                </a:cubicBezTo>
                <a:cubicBezTo>
                  <a:pt x="747" y="653"/>
                  <a:pt x="748" y="654"/>
                  <a:pt x="748" y="656"/>
                </a:cubicBezTo>
                <a:cubicBezTo>
                  <a:pt x="748" y="659"/>
                  <a:pt x="747" y="662"/>
                  <a:pt x="742" y="662"/>
                </a:cubicBezTo>
                <a:cubicBezTo>
                  <a:pt x="742" y="662"/>
                  <a:pt x="742" y="662"/>
                  <a:pt x="741" y="662"/>
                </a:cubicBezTo>
                <a:cubicBezTo>
                  <a:pt x="741" y="662"/>
                  <a:pt x="741" y="662"/>
                  <a:pt x="741" y="671"/>
                </a:cubicBezTo>
                <a:cubicBezTo>
                  <a:pt x="741" y="671"/>
                  <a:pt x="741" y="671"/>
                  <a:pt x="745" y="671"/>
                </a:cubicBezTo>
                <a:cubicBezTo>
                  <a:pt x="754" y="671"/>
                  <a:pt x="759" y="668"/>
                  <a:pt x="759" y="658"/>
                </a:cubicBezTo>
                <a:cubicBezTo>
                  <a:pt x="759" y="656"/>
                  <a:pt x="759" y="654"/>
                  <a:pt x="759" y="651"/>
                </a:cubicBezTo>
                <a:cubicBezTo>
                  <a:pt x="758" y="648"/>
                  <a:pt x="758" y="646"/>
                  <a:pt x="758" y="644"/>
                </a:cubicBezTo>
                <a:cubicBezTo>
                  <a:pt x="758" y="641"/>
                  <a:pt x="759" y="638"/>
                  <a:pt x="765" y="638"/>
                </a:cubicBezTo>
                <a:close/>
                <a:moveTo>
                  <a:pt x="812" y="597"/>
                </a:moveTo>
                <a:cubicBezTo>
                  <a:pt x="812" y="597"/>
                  <a:pt x="812" y="597"/>
                  <a:pt x="812" y="597"/>
                </a:cubicBezTo>
                <a:cubicBezTo>
                  <a:pt x="807" y="597"/>
                  <a:pt x="807" y="597"/>
                  <a:pt x="807" y="597"/>
                </a:cubicBezTo>
                <a:cubicBezTo>
                  <a:pt x="805" y="599"/>
                  <a:pt x="804" y="600"/>
                  <a:pt x="801" y="601"/>
                </a:cubicBezTo>
                <a:cubicBezTo>
                  <a:pt x="800" y="603"/>
                  <a:pt x="798" y="603"/>
                  <a:pt x="796" y="604"/>
                </a:cubicBezTo>
                <a:cubicBezTo>
                  <a:pt x="794" y="605"/>
                  <a:pt x="793" y="605"/>
                  <a:pt x="791" y="606"/>
                </a:cubicBezTo>
                <a:cubicBezTo>
                  <a:pt x="789" y="607"/>
                  <a:pt x="787" y="608"/>
                  <a:pt x="785" y="608"/>
                </a:cubicBezTo>
                <a:cubicBezTo>
                  <a:pt x="785" y="608"/>
                  <a:pt x="785" y="608"/>
                  <a:pt x="785" y="619"/>
                </a:cubicBezTo>
                <a:cubicBezTo>
                  <a:pt x="788" y="618"/>
                  <a:pt x="791" y="616"/>
                  <a:pt x="793" y="616"/>
                </a:cubicBezTo>
                <a:cubicBezTo>
                  <a:pt x="796" y="615"/>
                  <a:pt x="798" y="613"/>
                  <a:pt x="801" y="612"/>
                </a:cubicBezTo>
                <a:cubicBezTo>
                  <a:pt x="801" y="612"/>
                  <a:pt x="801" y="612"/>
                  <a:pt x="801" y="671"/>
                </a:cubicBezTo>
                <a:cubicBezTo>
                  <a:pt x="801" y="671"/>
                  <a:pt x="801" y="671"/>
                  <a:pt x="812" y="671"/>
                </a:cubicBezTo>
                <a:cubicBezTo>
                  <a:pt x="812" y="671"/>
                  <a:pt x="812" y="671"/>
                  <a:pt x="812" y="597"/>
                </a:cubicBezTo>
                <a:close/>
                <a:moveTo>
                  <a:pt x="860" y="597"/>
                </a:moveTo>
                <a:cubicBezTo>
                  <a:pt x="860" y="597"/>
                  <a:pt x="860" y="597"/>
                  <a:pt x="860" y="597"/>
                </a:cubicBezTo>
                <a:cubicBezTo>
                  <a:pt x="854" y="597"/>
                  <a:pt x="854" y="597"/>
                  <a:pt x="854" y="597"/>
                </a:cubicBezTo>
                <a:cubicBezTo>
                  <a:pt x="852" y="599"/>
                  <a:pt x="851" y="600"/>
                  <a:pt x="849" y="601"/>
                </a:cubicBezTo>
                <a:cubicBezTo>
                  <a:pt x="847" y="603"/>
                  <a:pt x="845" y="603"/>
                  <a:pt x="844" y="604"/>
                </a:cubicBezTo>
                <a:cubicBezTo>
                  <a:pt x="842" y="605"/>
                  <a:pt x="840" y="606"/>
                  <a:pt x="838" y="607"/>
                </a:cubicBezTo>
                <a:cubicBezTo>
                  <a:pt x="836" y="608"/>
                  <a:pt x="835" y="608"/>
                  <a:pt x="833" y="608"/>
                </a:cubicBezTo>
                <a:cubicBezTo>
                  <a:pt x="833" y="608"/>
                  <a:pt x="833" y="608"/>
                  <a:pt x="833" y="619"/>
                </a:cubicBezTo>
                <a:cubicBezTo>
                  <a:pt x="836" y="618"/>
                  <a:pt x="838" y="617"/>
                  <a:pt x="841" y="616"/>
                </a:cubicBezTo>
                <a:cubicBezTo>
                  <a:pt x="844" y="615"/>
                  <a:pt x="846" y="613"/>
                  <a:pt x="848" y="612"/>
                </a:cubicBezTo>
                <a:cubicBezTo>
                  <a:pt x="848" y="612"/>
                  <a:pt x="848" y="612"/>
                  <a:pt x="848" y="671"/>
                </a:cubicBezTo>
                <a:cubicBezTo>
                  <a:pt x="848" y="671"/>
                  <a:pt x="848" y="671"/>
                  <a:pt x="860" y="671"/>
                </a:cubicBezTo>
                <a:cubicBezTo>
                  <a:pt x="860" y="671"/>
                  <a:pt x="860" y="671"/>
                  <a:pt x="860" y="597"/>
                </a:cubicBezTo>
                <a:close/>
                <a:moveTo>
                  <a:pt x="906" y="597"/>
                </a:moveTo>
                <a:cubicBezTo>
                  <a:pt x="906" y="597"/>
                  <a:pt x="906" y="597"/>
                  <a:pt x="906" y="597"/>
                </a:cubicBezTo>
                <a:cubicBezTo>
                  <a:pt x="902" y="597"/>
                  <a:pt x="902" y="597"/>
                  <a:pt x="902" y="597"/>
                </a:cubicBezTo>
                <a:cubicBezTo>
                  <a:pt x="899" y="599"/>
                  <a:pt x="898" y="600"/>
                  <a:pt x="896" y="601"/>
                </a:cubicBezTo>
                <a:cubicBezTo>
                  <a:pt x="894" y="603"/>
                  <a:pt x="892" y="603"/>
                  <a:pt x="891" y="604"/>
                </a:cubicBezTo>
                <a:cubicBezTo>
                  <a:pt x="888" y="605"/>
                  <a:pt x="887" y="606"/>
                  <a:pt x="885" y="607"/>
                </a:cubicBezTo>
                <a:cubicBezTo>
                  <a:pt x="883" y="608"/>
                  <a:pt x="881" y="608"/>
                  <a:pt x="880" y="608"/>
                </a:cubicBezTo>
                <a:cubicBezTo>
                  <a:pt x="880" y="608"/>
                  <a:pt x="880" y="608"/>
                  <a:pt x="880" y="619"/>
                </a:cubicBezTo>
                <a:cubicBezTo>
                  <a:pt x="883" y="618"/>
                  <a:pt x="886" y="617"/>
                  <a:pt x="888" y="616"/>
                </a:cubicBezTo>
                <a:cubicBezTo>
                  <a:pt x="890" y="615"/>
                  <a:pt x="893" y="613"/>
                  <a:pt x="894" y="612"/>
                </a:cubicBezTo>
                <a:cubicBezTo>
                  <a:pt x="894" y="612"/>
                  <a:pt x="894" y="612"/>
                  <a:pt x="894" y="671"/>
                </a:cubicBezTo>
                <a:cubicBezTo>
                  <a:pt x="894" y="671"/>
                  <a:pt x="894" y="671"/>
                  <a:pt x="906" y="671"/>
                </a:cubicBezTo>
                <a:cubicBezTo>
                  <a:pt x="906" y="671"/>
                  <a:pt x="906" y="671"/>
                  <a:pt x="906" y="597"/>
                </a:cubicBezTo>
                <a:close/>
                <a:moveTo>
                  <a:pt x="1029" y="597"/>
                </a:moveTo>
                <a:cubicBezTo>
                  <a:pt x="1029" y="597"/>
                  <a:pt x="1029" y="597"/>
                  <a:pt x="1029" y="597"/>
                </a:cubicBezTo>
                <a:cubicBezTo>
                  <a:pt x="1024" y="597"/>
                  <a:pt x="1024" y="597"/>
                  <a:pt x="1024" y="597"/>
                </a:cubicBezTo>
                <a:cubicBezTo>
                  <a:pt x="1022" y="599"/>
                  <a:pt x="1020" y="600"/>
                  <a:pt x="1018" y="601"/>
                </a:cubicBezTo>
                <a:cubicBezTo>
                  <a:pt x="1016" y="603"/>
                  <a:pt x="1015" y="603"/>
                  <a:pt x="1013" y="604"/>
                </a:cubicBezTo>
                <a:cubicBezTo>
                  <a:pt x="1011" y="605"/>
                  <a:pt x="1009" y="606"/>
                  <a:pt x="1008" y="607"/>
                </a:cubicBezTo>
                <a:cubicBezTo>
                  <a:pt x="1005" y="608"/>
                  <a:pt x="1004" y="608"/>
                  <a:pt x="1002" y="608"/>
                </a:cubicBezTo>
                <a:cubicBezTo>
                  <a:pt x="1002" y="608"/>
                  <a:pt x="1002" y="608"/>
                  <a:pt x="1002" y="619"/>
                </a:cubicBezTo>
                <a:cubicBezTo>
                  <a:pt x="1005" y="618"/>
                  <a:pt x="1008" y="617"/>
                  <a:pt x="1010" y="616"/>
                </a:cubicBezTo>
                <a:cubicBezTo>
                  <a:pt x="1013" y="615"/>
                  <a:pt x="1015" y="613"/>
                  <a:pt x="1017" y="612"/>
                </a:cubicBezTo>
                <a:cubicBezTo>
                  <a:pt x="1017" y="612"/>
                  <a:pt x="1017" y="612"/>
                  <a:pt x="1017" y="671"/>
                </a:cubicBezTo>
                <a:cubicBezTo>
                  <a:pt x="1017" y="671"/>
                  <a:pt x="1017" y="671"/>
                  <a:pt x="1029" y="671"/>
                </a:cubicBezTo>
                <a:cubicBezTo>
                  <a:pt x="1029" y="671"/>
                  <a:pt x="1029" y="671"/>
                  <a:pt x="1029" y="597"/>
                </a:cubicBezTo>
                <a:close/>
                <a:moveTo>
                  <a:pt x="1076" y="597"/>
                </a:moveTo>
                <a:cubicBezTo>
                  <a:pt x="1076" y="597"/>
                  <a:pt x="1076" y="597"/>
                  <a:pt x="1076" y="597"/>
                </a:cubicBezTo>
                <a:cubicBezTo>
                  <a:pt x="1071" y="597"/>
                  <a:pt x="1071" y="597"/>
                  <a:pt x="1071" y="597"/>
                </a:cubicBezTo>
                <a:cubicBezTo>
                  <a:pt x="1069" y="599"/>
                  <a:pt x="1068" y="600"/>
                  <a:pt x="1065" y="601"/>
                </a:cubicBezTo>
                <a:cubicBezTo>
                  <a:pt x="1064" y="603"/>
                  <a:pt x="1062" y="603"/>
                  <a:pt x="1060" y="604"/>
                </a:cubicBezTo>
                <a:cubicBezTo>
                  <a:pt x="1059" y="605"/>
                  <a:pt x="1057" y="606"/>
                  <a:pt x="1055" y="607"/>
                </a:cubicBezTo>
                <a:cubicBezTo>
                  <a:pt x="1053" y="608"/>
                  <a:pt x="1051" y="608"/>
                  <a:pt x="1049" y="608"/>
                </a:cubicBezTo>
                <a:cubicBezTo>
                  <a:pt x="1049" y="608"/>
                  <a:pt x="1049" y="608"/>
                  <a:pt x="1049" y="619"/>
                </a:cubicBezTo>
                <a:cubicBezTo>
                  <a:pt x="1052" y="618"/>
                  <a:pt x="1055" y="617"/>
                  <a:pt x="1057" y="616"/>
                </a:cubicBezTo>
                <a:cubicBezTo>
                  <a:pt x="1060" y="615"/>
                  <a:pt x="1062" y="613"/>
                  <a:pt x="1065" y="612"/>
                </a:cubicBezTo>
                <a:cubicBezTo>
                  <a:pt x="1065" y="612"/>
                  <a:pt x="1065" y="612"/>
                  <a:pt x="1065" y="671"/>
                </a:cubicBezTo>
                <a:cubicBezTo>
                  <a:pt x="1065" y="671"/>
                  <a:pt x="1065" y="671"/>
                  <a:pt x="1076" y="671"/>
                </a:cubicBezTo>
                <a:cubicBezTo>
                  <a:pt x="1076" y="671"/>
                  <a:pt x="1076" y="671"/>
                  <a:pt x="1076" y="597"/>
                </a:cubicBezTo>
                <a:close/>
                <a:moveTo>
                  <a:pt x="1123" y="597"/>
                </a:moveTo>
                <a:cubicBezTo>
                  <a:pt x="1123" y="597"/>
                  <a:pt x="1123" y="597"/>
                  <a:pt x="1123" y="597"/>
                </a:cubicBezTo>
                <a:cubicBezTo>
                  <a:pt x="1119" y="597"/>
                  <a:pt x="1119" y="597"/>
                  <a:pt x="1119" y="597"/>
                </a:cubicBezTo>
                <a:cubicBezTo>
                  <a:pt x="1116" y="599"/>
                  <a:pt x="1115" y="600"/>
                  <a:pt x="1113" y="601"/>
                </a:cubicBezTo>
                <a:cubicBezTo>
                  <a:pt x="1111" y="603"/>
                  <a:pt x="1109" y="603"/>
                  <a:pt x="1108" y="604"/>
                </a:cubicBezTo>
                <a:cubicBezTo>
                  <a:pt x="1105" y="605"/>
                  <a:pt x="1104" y="605"/>
                  <a:pt x="1102" y="606"/>
                </a:cubicBezTo>
                <a:cubicBezTo>
                  <a:pt x="1100" y="607"/>
                  <a:pt x="1098" y="608"/>
                  <a:pt x="1097" y="608"/>
                </a:cubicBezTo>
                <a:cubicBezTo>
                  <a:pt x="1097" y="608"/>
                  <a:pt x="1097" y="608"/>
                  <a:pt x="1097" y="619"/>
                </a:cubicBezTo>
                <a:cubicBezTo>
                  <a:pt x="1100" y="618"/>
                  <a:pt x="1103" y="616"/>
                  <a:pt x="1105" y="616"/>
                </a:cubicBezTo>
                <a:cubicBezTo>
                  <a:pt x="1107" y="615"/>
                  <a:pt x="1110" y="613"/>
                  <a:pt x="1111" y="612"/>
                </a:cubicBezTo>
                <a:cubicBezTo>
                  <a:pt x="1111" y="612"/>
                  <a:pt x="1111" y="612"/>
                  <a:pt x="1111" y="671"/>
                </a:cubicBezTo>
                <a:cubicBezTo>
                  <a:pt x="1111" y="671"/>
                  <a:pt x="1111" y="671"/>
                  <a:pt x="1123" y="671"/>
                </a:cubicBezTo>
                <a:cubicBezTo>
                  <a:pt x="1123" y="671"/>
                  <a:pt x="1123" y="671"/>
                  <a:pt x="1123" y="597"/>
                </a:cubicBezTo>
                <a:close/>
                <a:moveTo>
                  <a:pt x="1168" y="671"/>
                </a:moveTo>
                <a:cubicBezTo>
                  <a:pt x="1160" y="671"/>
                  <a:pt x="1154" y="668"/>
                  <a:pt x="1149" y="662"/>
                </a:cubicBezTo>
                <a:cubicBezTo>
                  <a:pt x="1145" y="656"/>
                  <a:pt x="1143" y="647"/>
                  <a:pt x="1143" y="634"/>
                </a:cubicBezTo>
                <a:cubicBezTo>
                  <a:pt x="1143" y="621"/>
                  <a:pt x="1145" y="612"/>
                  <a:pt x="1150" y="605"/>
                </a:cubicBezTo>
                <a:cubicBezTo>
                  <a:pt x="1154" y="599"/>
                  <a:pt x="1161" y="595"/>
                  <a:pt x="1170" y="595"/>
                </a:cubicBezTo>
                <a:cubicBezTo>
                  <a:pt x="1186" y="595"/>
                  <a:pt x="1194" y="607"/>
                  <a:pt x="1194" y="633"/>
                </a:cubicBezTo>
                <a:cubicBezTo>
                  <a:pt x="1194" y="645"/>
                  <a:pt x="1192" y="655"/>
                  <a:pt x="1187" y="661"/>
                </a:cubicBezTo>
                <a:cubicBezTo>
                  <a:pt x="1182" y="668"/>
                  <a:pt x="1176" y="671"/>
                  <a:pt x="1168" y="671"/>
                </a:cubicBezTo>
                <a:close/>
                <a:moveTo>
                  <a:pt x="1169" y="605"/>
                </a:moveTo>
                <a:cubicBezTo>
                  <a:pt x="1159" y="605"/>
                  <a:pt x="1155" y="615"/>
                  <a:pt x="1155" y="634"/>
                </a:cubicBezTo>
                <a:cubicBezTo>
                  <a:pt x="1155" y="653"/>
                  <a:pt x="1159" y="661"/>
                  <a:pt x="1168" y="661"/>
                </a:cubicBezTo>
                <a:cubicBezTo>
                  <a:pt x="1177" y="661"/>
                  <a:pt x="1182" y="653"/>
                  <a:pt x="1182" y="634"/>
                </a:cubicBezTo>
                <a:cubicBezTo>
                  <a:pt x="1182" y="614"/>
                  <a:pt x="1177" y="605"/>
                  <a:pt x="1169" y="605"/>
                </a:cubicBezTo>
                <a:close/>
                <a:moveTo>
                  <a:pt x="1238" y="671"/>
                </a:moveTo>
                <a:cubicBezTo>
                  <a:pt x="1231" y="671"/>
                  <a:pt x="1224" y="668"/>
                  <a:pt x="1221" y="662"/>
                </a:cubicBezTo>
                <a:cubicBezTo>
                  <a:pt x="1216" y="656"/>
                  <a:pt x="1214" y="647"/>
                  <a:pt x="1214" y="634"/>
                </a:cubicBezTo>
                <a:cubicBezTo>
                  <a:pt x="1214" y="621"/>
                  <a:pt x="1216" y="612"/>
                  <a:pt x="1221" y="605"/>
                </a:cubicBezTo>
                <a:cubicBezTo>
                  <a:pt x="1225" y="599"/>
                  <a:pt x="1232" y="595"/>
                  <a:pt x="1241" y="595"/>
                </a:cubicBezTo>
                <a:cubicBezTo>
                  <a:pt x="1257" y="595"/>
                  <a:pt x="1265" y="607"/>
                  <a:pt x="1265" y="633"/>
                </a:cubicBezTo>
                <a:cubicBezTo>
                  <a:pt x="1265" y="645"/>
                  <a:pt x="1262" y="655"/>
                  <a:pt x="1258" y="661"/>
                </a:cubicBezTo>
                <a:cubicBezTo>
                  <a:pt x="1253" y="668"/>
                  <a:pt x="1247" y="671"/>
                  <a:pt x="1238" y="671"/>
                </a:cubicBezTo>
                <a:close/>
                <a:moveTo>
                  <a:pt x="1240" y="605"/>
                </a:moveTo>
                <a:cubicBezTo>
                  <a:pt x="1231" y="605"/>
                  <a:pt x="1226" y="615"/>
                  <a:pt x="1226" y="634"/>
                </a:cubicBezTo>
                <a:cubicBezTo>
                  <a:pt x="1226" y="653"/>
                  <a:pt x="1230" y="661"/>
                  <a:pt x="1239" y="661"/>
                </a:cubicBezTo>
                <a:cubicBezTo>
                  <a:pt x="1248" y="661"/>
                  <a:pt x="1252" y="653"/>
                  <a:pt x="1252" y="634"/>
                </a:cubicBezTo>
                <a:cubicBezTo>
                  <a:pt x="1252" y="614"/>
                  <a:pt x="1248" y="605"/>
                  <a:pt x="1240" y="605"/>
                </a:cubicBezTo>
                <a:close/>
                <a:moveTo>
                  <a:pt x="927" y="630"/>
                </a:moveTo>
                <a:cubicBezTo>
                  <a:pt x="927" y="630"/>
                  <a:pt x="927" y="630"/>
                  <a:pt x="927" y="630"/>
                </a:cubicBezTo>
                <a:cubicBezTo>
                  <a:pt x="926" y="638"/>
                  <a:pt x="926" y="638"/>
                  <a:pt x="926" y="638"/>
                </a:cubicBezTo>
                <a:cubicBezTo>
                  <a:pt x="933" y="638"/>
                  <a:pt x="933" y="641"/>
                  <a:pt x="933" y="644"/>
                </a:cubicBezTo>
                <a:cubicBezTo>
                  <a:pt x="933" y="646"/>
                  <a:pt x="933" y="648"/>
                  <a:pt x="933" y="651"/>
                </a:cubicBezTo>
                <a:cubicBezTo>
                  <a:pt x="933" y="654"/>
                  <a:pt x="932" y="656"/>
                  <a:pt x="932" y="658"/>
                </a:cubicBezTo>
                <a:cubicBezTo>
                  <a:pt x="932" y="668"/>
                  <a:pt x="938" y="671"/>
                  <a:pt x="947" y="671"/>
                </a:cubicBezTo>
                <a:cubicBezTo>
                  <a:pt x="947" y="671"/>
                  <a:pt x="947" y="671"/>
                  <a:pt x="951" y="671"/>
                </a:cubicBezTo>
                <a:cubicBezTo>
                  <a:pt x="951" y="671"/>
                  <a:pt x="951" y="671"/>
                  <a:pt x="951" y="662"/>
                </a:cubicBezTo>
                <a:cubicBezTo>
                  <a:pt x="951" y="662"/>
                  <a:pt x="951" y="662"/>
                  <a:pt x="949" y="662"/>
                </a:cubicBezTo>
                <a:cubicBezTo>
                  <a:pt x="945" y="662"/>
                  <a:pt x="944" y="659"/>
                  <a:pt x="944" y="656"/>
                </a:cubicBezTo>
                <a:cubicBezTo>
                  <a:pt x="944" y="654"/>
                  <a:pt x="944" y="653"/>
                  <a:pt x="945" y="651"/>
                </a:cubicBezTo>
                <a:cubicBezTo>
                  <a:pt x="945" y="650"/>
                  <a:pt x="945" y="647"/>
                  <a:pt x="945" y="645"/>
                </a:cubicBezTo>
                <a:cubicBezTo>
                  <a:pt x="945" y="638"/>
                  <a:pt x="942" y="635"/>
                  <a:pt x="936" y="634"/>
                </a:cubicBezTo>
                <a:cubicBezTo>
                  <a:pt x="936" y="634"/>
                  <a:pt x="936" y="634"/>
                  <a:pt x="936" y="634"/>
                </a:cubicBezTo>
                <a:cubicBezTo>
                  <a:pt x="942" y="632"/>
                  <a:pt x="945" y="630"/>
                  <a:pt x="945" y="623"/>
                </a:cubicBezTo>
                <a:cubicBezTo>
                  <a:pt x="945" y="620"/>
                  <a:pt x="945" y="618"/>
                  <a:pt x="945" y="616"/>
                </a:cubicBezTo>
                <a:cubicBezTo>
                  <a:pt x="944" y="615"/>
                  <a:pt x="944" y="613"/>
                  <a:pt x="944" y="612"/>
                </a:cubicBezTo>
                <a:cubicBezTo>
                  <a:pt x="944" y="608"/>
                  <a:pt x="945" y="606"/>
                  <a:pt x="949" y="606"/>
                </a:cubicBezTo>
                <a:cubicBezTo>
                  <a:pt x="949" y="606"/>
                  <a:pt x="949" y="606"/>
                  <a:pt x="951" y="606"/>
                </a:cubicBezTo>
                <a:cubicBezTo>
                  <a:pt x="951" y="606"/>
                  <a:pt x="951" y="606"/>
                  <a:pt x="951" y="597"/>
                </a:cubicBezTo>
                <a:cubicBezTo>
                  <a:pt x="951" y="597"/>
                  <a:pt x="951" y="597"/>
                  <a:pt x="947" y="597"/>
                </a:cubicBezTo>
                <a:cubicBezTo>
                  <a:pt x="938" y="597"/>
                  <a:pt x="932" y="601"/>
                  <a:pt x="932" y="609"/>
                </a:cubicBezTo>
                <a:cubicBezTo>
                  <a:pt x="932" y="611"/>
                  <a:pt x="933" y="614"/>
                  <a:pt x="933" y="617"/>
                </a:cubicBezTo>
                <a:cubicBezTo>
                  <a:pt x="933" y="619"/>
                  <a:pt x="933" y="622"/>
                  <a:pt x="933" y="623"/>
                </a:cubicBezTo>
                <a:cubicBezTo>
                  <a:pt x="933" y="626"/>
                  <a:pt x="933" y="629"/>
                  <a:pt x="927" y="630"/>
                </a:cubicBezTo>
                <a:close/>
                <a:moveTo>
                  <a:pt x="981" y="638"/>
                </a:moveTo>
                <a:cubicBezTo>
                  <a:pt x="981" y="638"/>
                  <a:pt x="981" y="638"/>
                  <a:pt x="981" y="638"/>
                </a:cubicBezTo>
                <a:cubicBezTo>
                  <a:pt x="981" y="630"/>
                  <a:pt x="981" y="630"/>
                  <a:pt x="981" y="630"/>
                </a:cubicBezTo>
                <a:cubicBezTo>
                  <a:pt x="975" y="629"/>
                  <a:pt x="975" y="626"/>
                  <a:pt x="975" y="623"/>
                </a:cubicBezTo>
                <a:cubicBezTo>
                  <a:pt x="975" y="622"/>
                  <a:pt x="975" y="619"/>
                  <a:pt x="975" y="617"/>
                </a:cubicBezTo>
                <a:cubicBezTo>
                  <a:pt x="976" y="614"/>
                  <a:pt x="976" y="611"/>
                  <a:pt x="976" y="609"/>
                </a:cubicBezTo>
                <a:cubicBezTo>
                  <a:pt x="976" y="601"/>
                  <a:pt x="970" y="597"/>
                  <a:pt x="961" y="597"/>
                </a:cubicBezTo>
                <a:cubicBezTo>
                  <a:pt x="961" y="597"/>
                  <a:pt x="961" y="597"/>
                  <a:pt x="957" y="597"/>
                </a:cubicBezTo>
                <a:cubicBezTo>
                  <a:pt x="957" y="597"/>
                  <a:pt x="957" y="597"/>
                  <a:pt x="957" y="606"/>
                </a:cubicBezTo>
                <a:cubicBezTo>
                  <a:pt x="957" y="606"/>
                  <a:pt x="957" y="606"/>
                  <a:pt x="959" y="606"/>
                </a:cubicBezTo>
                <a:cubicBezTo>
                  <a:pt x="963" y="606"/>
                  <a:pt x="964" y="608"/>
                  <a:pt x="964" y="612"/>
                </a:cubicBezTo>
                <a:cubicBezTo>
                  <a:pt x="964" y="613"/>
                  <a:pt x="964" y="615"/>
                  <a:pt x="964" y="616"/>
                </a:cubicBezTo>
                <a:cubicBezTo>
                  <a:pt x="963" y="618"/>
                  <a:pt x="963" y="620"/>
                  <a:pt x="963" y="623"/>
                </a:cubicBezTo>
                <a:cubicBezTo>
                  <a:pt x="963" y="630"/>
                  <a:pt x="966" y="632"/>
                  <a:pt x="972" y="634"/>
                </a:cubicBezTo>
                <a:cubicBezTo>
                  <a:pt x="972" y="634"/>
                  <a:pt x="972" y="634"/>
                  <a:pt x="972" y="634"/>
                </a:cubicBezTo>
                <a:cubicBezTo>
                  <a:pt x="966" y="635"/>
                  <a:pt x="963" y="638"/>
                  <a:pt x="963" y="645"/>
                </a:cubicBezTo>
                <a:cubicBezTo>
                  <a:pt x="963" y="647"/>
                  <a:pt x="963" y="650"/>
                  <a:pt x="964" y="651"/>
                </a:cubicBezTo>
                <a:cubicBezTo>
                  <a:pt x="964" y="653"/>
                  <a:pt x="964" y="654"/>
                  <a:pt x="964" y="656"/>
                </a:cubicBezTo>
                <a:cubicBezTo>
                  <a:pt x="964" y="659"/>
                  <a:pt x="963" y="662"/>
                  <a:pt x="959" y="662"/>
                </a:cubicBezTo>
                <a:cubicBezTo>
                  <a:pt x="959" y="662"/>
                  <a:pt x="959" y="662"/>
                  <a:pt x="957" y="662"/>
                </a:cubicBezTo>
                <a:cubicBezTo>
                  <a:pt x="957" y="662"/>
                  <a:pt x="957" y="662"/>
                  <a:pt x="957" y="671"/>
                </a:cubicBezTo>
                <a:cubicBezTo>
                  <a:pt x="957" y="671"/>
                  <a:pt x="957" y="671"/>
                  <a:pt x="961" y="671"/>
                </a:cubicBezTo>
                <a:cubicBezTo>
                  <a:pt x="970" y="671"/>
                  <a:pt x="976" y="668"/>
                  <a:pt x="976" y="658"/>
                </a:cubicBezTo>
                <a:cubicBezTo>
                  <a:pt x="976" y="656"/>
                  <a:pt x="976" y="654"/>
                  <a:pt x="975" y="651"/>
                </a:cubicBezTo>
                <a:cubicBezTo>
                  <a:pt x="975" y="648"/>
                  <a:pt x="975" y="646"/>
                  <a:pt x="975" y="644"/>
                </a:cubicBezTo>
                <a:cubicBezTo>
                  <a:pt x="975" y="641"/>
                  <a:pt x="975" y="638"/>
                  <a:pt x="981" y="638"/>
                </a:cubicBezTo>
                <a:close/>
                <a:moveTo>
                  <a:pt x="1451" y="671"/>
                </a:moveTo>
                <a:cubicBezTo>
                  <a:pt x="1444" y="671"/>
                  <a:pt x="1438" y="668"/>
                  <a:pt x="1433" y="661"/>
                </a:cubicBezTo>
                <a:cubicBezTo>
                  <a:pt x="1429" y="656"/>
                  <a:pt x="1427" y="646"/>
                  <a:pt x="1427" y="634"/>
                </a:cubicBezTo>
                <a:cubicBezTo>
                  <a:pt x="1427" y="621"/>
                  <a:pt x="1429" y="612"/>
                  <a:pt x="1433" y="605"/>
                </a:cubicBezTo>
                <a:cubicBezTo>
                  <a:pt x="1438" y="598"/>
                  <a:pt x="1444" y="595"/>
                  <a:pt x="1453" y="595"/>
                </a:cubicBezTo>
                <a:cubicBezTo>
                  <a:pt x="1469" y="595"/>
                  <a:pt x="1477" y="607"/>
                  <a:pt x="1477" y="632"/>
                </a:cubicBezTo>
                <a:cubicBezTo>
                  <a:pt x="1477" y="645"/>
                  <a:pt x="1475" y="655"/>
                  <a:pt x="1471" y="661"/>
                </a:cubicBezTo>
                <a:cubicBezTo>
                  <a:pt x="1466" y="668"/>
                  <a:pt x="1460" y="671"/>
                  <a:pt x="1451" y="671"/>
                </a:cubicBezTo>
                <a:close/>
                <a:moveTo>
                  <a:pt x="1452" y="605"/>
                </a:moveTo>
                <a:cubicBezTo>
                  <a:pt x="1444" y="605"/>
                  <a:pt x="1439" y="614"/>
                  <a:pt x="1439" y="634"/>
                </a:cubicBezTo>
                <a:cubicBezTo>
                  <a:pt x="1439" y="652"/>
                  <a:pt x="1444" y="661"/>
                  <a:pt x="1452" y="661"/>
                </a:cubicBezTo>
                <a:cubicBezTo>
                  <a:pt x="1460" y="661"/>
                  <a:pt x="1465" y="652"/>
                  <a:pt x="1465" y="634"/>
                </a:cubicBezTo>
                <a:cubicBezTo>
                  <a:pt x="1465" y="614"/>
                  <a:pt x="1461" y="605"/>
                  <a:pt x="1452" y="605"/>
                </a:cubicBezTo>
                <a:close/>
                <a:moveTo>
                  <a:pt x="1569" y="671"/>
                </a:moveTo>
                <a:cubicBezTo>
                  <a:pt x="1562" y="671"/>
                  <a:pt x="1556" y="668"/>
                  <a:pt x="1552" y="661"/>
                </a:cubicBezTo>
                <a:cubicBezTo>
                  <a:pt x="1547" y="656"/>
                  <a:pt x="1545" y="646"/>
                  <a:pt x="1545" y="634"/>
                </a:cubicBezTo>
                <a:cubicBezTo>
                  <a:pt x="1545" y="621"/>
                  <a:pt x="1547" y="612"/>
                  <a:pt x="1552" y="605"/>
                </a:cubicBezTo>
                <a:cubicBezTo>
                  <a:pt x="1556" y="598"/>
                  <a:pt x="1563" y="595"/>
                  <a:pt x="1571" y="595"/>
                </a:cubicBezTo>
                <a:cubicBezTo>
                  <a:pt x="1587" y="595"/>
                  <a:pt x="1595" y="607"/>
                  <a:pt x="1595" y="632"/>
                </a:cubicBezTo>
                <a:cubicBezTo>
                  <a:pt x="1595" y="645"/>
                  <a:pt x="1593" y="655"/>
                  <a:pt x="1589" y="661"/>
                </a:cubicBezTo>
                <a:cubicBezTo>
                  <a:pt x="1584" y="668"/>
                  <a:pt x="1578" y="671"/>
                  <a:pt x="1569" y="671"/>
                </a:cubicBezTo>
                <a:close/>
                <a:moveTo>
                  <a:pt x="1571" y="605"/>
                </a:moveTo>
                <a:cubicBezTo>
                  <a:pt x="1562" y="605"/>
                  <a:pt x="1557" y="614"/>
                  <a:pt x="1557" y="634"/>
                </a:cubicBezTo>
                <a:cubicBezTo>
                  <a:pt x="1557" y="652"/>
                  <a:pt x="1562" y="661"/>
                  <a:pt x="1571" y="661"/>
                </a:cubicBezTo>
                <a:cubicBezTo>
                  <a:pt x="1579" y="661"/>
                  <a:pt x="1583" y="652"/>
                  <a:pt x="1583" y="634"/>
                </a:cubicBezTo>
                <a:cubicBezTo>
                  <a:pt x="1583" y="614"/>
                  <a:pt x="1579" y="605"/>
                  <a:pt x="1571" y="605"/>
                </a:cubicBezTo>
                <a:close/>
                <a:moveTo>
                  <a:pt x="1524" y="597"/>
                </a:moveTo>
                <a:cubicBezTo>
                  <a:pt x="1524" y="597"/>
                  <a:pt x="1524" y="597"/>
                  <a:pt x="1524" y="597"/>
                </a:cubicBezTo>
                <a:cubicBezTo>
                  <a:pt x="1519" y="597"/>
                  <a:pt x="1519" y="597"/>
                  <a:pt x="1519" y="597"/>
                </a:cubicBezTo>
                <a:cubicBezTo>
                  <a:pt x="1517" y="599"/>
                  <a:pt x="1516" y="600"/>
                  <a:pt x="1514" y="601"/>
                </a:cubicBezTo>
                <a:cubicBezTo>
                  <a:pt x="1512" y="603"/>
                  <a:pt x="1510" y="603"/>
                  <a:pt x="1509" y="604"/>
                </a:cubicBezTo>
                <a:cubicBezTo>
                  <a:pt x="1507" y="605"/>
                  <a:pt x="1505" y="605"/>
                  <a:pt x="1504" y="606"/>
                </a:cubicBezTo>
                <a:cubicBezTo>
                  <a:pt x="1502" y="607"/>
                  <a:pt x="1500" y="608"/>
                  <a:pt x="1498" y="608"/>
                </a:cubicBezTo>
                <a:cubicBezTo>
                  <a:pt x="1498" y="608"/>
                  <a:pt x="1498" y="608"/>
                  <a:pt x="1498" y="619"/>
                </a:cubicBezTo>
                <a:cubicBezTo>
                  <a:pt x="1501" y="618"/>
                  <a:pt x="1504" y="616"/>
                  <a:pt x="1506" y="616"/>
                </a:cubicBezTo>
                <a:cubicBezTo>
                  <a:pt x="1509" y="615"/>
                  <a:pt x="1511" y="613"/>
                  <a:pt x="1513" y="612"/>
                </a:cubicBezTo>
                <a:cubicBezTo>
                  <a:pt x="1513" y="612"/>
                  <a:pt x="1513" y="612"/>
                  <a:pt x="1513" y="671"/>
                </a:cubicBezTo>
                <a:cubicBezTo>
                  <a:pt x="1513" y="671"/>
                  <a:pt x="1513" y="671"/>
                  <a:pt x="1524" y="671"/>
                </a:cubicBezTo>
                <a:cubicBezTo>
                  <a:pt x="1524" y="671"/>
                  <a:pt x="1524" y="671"/>
                  <a:pt x="1524" y="597"/>
                </a:cubicBezTo>
                <a:close/>
                <a:moveTo>
                  <a:pt x="1640" y="671"/>
                </a:moveTo>
                <a:cubicBezTo>
                  <a:pt x="1632" y="671"/>
                  <a:pt x="1626" y="668"/>
                  <a:pt x="1622" y="662"/>
                </a:cubicBezTo>
                <a:cubicBezTo>
                  <a:pt x="1618" y="656"/>
                  <a:pt x="1616" y="647"/>
                  <a:pt x="1616" y="634"/>
                </a:cubicBezTo>
                <a:cubicBezTo>
                  <a:pt x="1616" y="621"/>
                  <a:pt x="1618" y="612"/>
                  <a:pt x="1622" y="605"/>
                </a:cubicBezTo>
                <a:cubicBezTo>
                  <a:pt x="1627" y="599"/>
                  <a:pt x="1633" y="595"/>
                  <a:pt x="1642" y="595"/>
                </a:cubicBezTo>
                <a:cubicBezTo>
                  <a:pt x="1658" y="595"/>
                  <a:pt x="1666" y="607"/>
                  <a:pt x="1666" y="633"/>
                </a:cubicBezTo>
                <a:cubicBezTo>
                  <a:pt x="1666" y="645"/>
                  <a:pt x="1664" y="655"/>
                  <a:pt x="1660" y="661"/>
                </a:cubicBezTo>
                <a:cubicBezTo>
                  <a:pt x="1655" y="668"/>
                  <a:pt x="1649" y="671"/>
                  <a:pt x="1640" y="671"/>
                </a:cubicBezTo>
                <a:close/>
                <a:moveTo>
                  <a:pt x="1641" y="605"/>
                </a:moveTo>
                <a:cubicBezTo>
                  <a:pt x="1632" y="605"/>
                  <a:pt x="1627" y="615"/>
                  <a:pt x="1627" y="634"/>
                </a:cubicBezTo>
                <a:cubicBezTo>
                  <a:pt x="1627" y="653"/>
                  <a:pt x="1632" y="661"/>
                  <a:pt x="1641" y="661"/>
                </a:cubicBezTo>
                <a:cubicBezTo>
                  <a:pt x="1649" y="661"/>
                  <a:pt x="1654" y="653"/>
                  <a:pt x="1654" y="634"/>
                </a:cubicBezTo>
                <a:cubicBezTo>
                  <a:pt x="1654" y="614"/>
                  <a:pt x="1649" y="605"/>
                  <a:pt x="1641" y="605"/>
                </a:cubicBezTo>
                <a:close/>
                <a:moveTo>
                  <a:pt x="1687" y="630"/>
                </a:moveTo>
                <a:cubicBezTo>
                  <a:pt x="1687" y="630"/>
                  <a:pt x="1687" y="630"/>
                  <a:pt x="1687" y="630"/>
                </a:cubicBezTo>
                <a:cubicBezTo>
                  <a:pt x="1687" y="638"/>
                  <a:pt x="1687" y="638"/>
                  <a:pt x="1687" y="638"/>
                </a:cubicBezTo>
                <a:cubicBezTo>
                  <a:pt x="1693" y="638"/>
                  <a:pt x="1694" y="641"/>
                  <a:pt x="1694" y="644"/>
                </a:cubicBezTo>
                <a:cubicBezTo>
                  <a:pt x="1694" y="646"/>
                  <a:pt x="1693" y="648"/>
                  <a:pt x="1693" y="651"/>
                </a:cubicBezTo>
                <a:cubicBezTo>
                  <a:pt x="1693" y="654"/>
                  <a:pt x="1692" y="656"/>
                  <a:pt x="1692" y="658"/>
                </a:cubicBezTo>
                <a:cubicBezTo>
                  <a:pt x="1692" y="668"/>
                  <a:pt x="1698" y="671"/>
                  <a:pt x="1707" y="671"/>
                </a:cubicBezTo>
                <a:cubicBezTo>
                  <a:pt x="1707" y="671"/>
                  <a:pt x="1707" y="671"/>
                  <a:pt x="1711" y="671"/>
                </a:cubicBezTo>
                <a:cubicBezTo>
                  <a:pt x="1711" y="671"/>
                  <a:pt x="1711" y="671"/>
                  <a:pt x="1711" y="662"/>
                </a:cubicBezTo>
                <a:cubicBezTo>
                  <a:pt x="1711" y="662"/>
                  <a:pt x="1711" y="662"/>
                  <a:pt x="1709" y="662"/>
                </a:cubicBezTo>
                <a:cubicBezTo>
                  <a:pt x="1705" y="662"/>
                  <a:pt x="1704" y="659"/>
                  <a:pt x="1704" y="656"/>
                </a:cubicBezTo>
                <a:cubicBezTo>
                  <a:pt x="1704" y="654"/>
                  <a:pt x="1704" y="653"/>
                  <a:pt x="1705" y="651"/>
                </a:cubicBezTo>
                <a:cubicBezTo>
                  <a:pt x="1705" y="650"/>
                  <a:pt x="1705" y="647"/>
                  <a:pt x="1705" y="645"/>
                </a:cubicBezTo>
                <a:cubicBezTo>
                  <a:pt x="1705" y="638"/>
                  <a:pt x="1702" y="635"/>
                  <a:pt x="1697" y="634"/>
                </a:cubicBezTo>
                <a:cubicBezTo>
                  <a:pt x="1697" y="634"/>
                  <a:pt x="1697" y="634"/>
                  <a:pt x="1697" y="634"/>
                </a:cubicBezTo>
                <a:cubicBezTo>
                  <a:pt x="1702" y="632"/>
                  <a:pt x="1705" y="630"/>
                  <a:pt x="1705" y="623"/>
                </a:cubicBezTo>
                <a:cubicBezTo>
                  <a:pt x="1705" y="620"/>
                  <a:pt x="1705" y="618"/>
                  <a:pt x="1705" y="616"/>
                </a:cubicBezTo>
                <a:cubicBezTo>
                  <a:pt x="1704" y="615"/>
                  <a:pt x="1704" y="613"/>
                  <a:pt x="1704" y="612"/>
                </a:cubicBezTo>
                <a:cubicBezTo>
                  <a:pt x="1704" y="608"/>
                  <a:pt x="1705" y="606"/>
                  <a:pt x="1709" y="606"/>
                </a:cubicBezTo>
                <a:cubicBezTo>
                  <a:pt x="1709" y="606"/>
                  <a:pt x="1709" y="606"/>
                  <a:pt x="1711" y="606"/>
                </a:cubicBezTo>
                <a:cubicBezTo>
                  <a:pt x="1711" y="606"/>
                  <a:pt x="1711" y="606"/>
                  <a:pt x="1711" y="597"/>
                </a:cubicBezTo>
                <a:cubicBezTo>
                  <a:pt x="1711" y="597"/>
                  <a:pt x="1711" y="597"/>
                  <a:pt x="1707" y="597"/>
                </a:cubicBezTo>
                <a:cubicBezTo>
                  <a:pt x="1698" y="597"/>
                  <a:pt x="1692" y="601"/>
                  <a:pt x="1692" y="609"/>
                </a:cubicBezTo>
                <a:cubicBezTo>
                  <a:pt x="1692" y="611"/>
                  <a:pt x="1693" y="614"/>
                  <a:pt x="1693" y="617"/>
                </a:cubicBezTo>
                <a:cubicBezTo>
                  <a:pt x="1693" y="619"/>
                  <a:pt x="1694" y="622"/>
                  <a:pt x="1694" y="623"/>
                </a:cubicBezTo>
                <a:cubicBezTo>
                  <a:pt x="1694" y="626"/>
                  <a:pt x="1693" y="629"/>
                  <a:pt x="1687" y="630"/>
                </a:cubicBezTo>
                <a:close/>
                <a:moveTo>
                  <a:pt x="1742" y="638"/>
                </a:moveTo>
                <a:cubicBezTo>
                  <a:pt x="1742" y="638"/>
                  <a:pt x="1742" y="638"/>
                  <a:pt x="1742" y="638"/>
                </a:cubicBezTo>
                <a:cubicBezTo>
                  <a:pt x="1742" y="630"/>
                  <a:pt x="1742" y="630"/>
                  <a:pt x="1742" y="630"/>
                </a:cubicBezTo>
                <a:cubicBezTo>
                  <a:pt x="1735" y="629"/>
                  <a:pt x="1735" y="626"/>
                  <a:pt x="1735" y="623"/>
                </a:cubicBezTo>
                <a:cubicBezTo>
                  <a:pt x="1735" y="622"/>
                  <a:pt x="1735" y="619"/>
                  <a:pt x="1735" y="617"/>
                </a:cubicBezTo>
                <a:cubicBezTo>
                  <a:pt x="1736" y="614"/>
                  <a:pt x="1736" y="611"/>
                  <a:pt x="1736" y="609"/>
                </a:cubicBezTo>
                <a:cubicBezTo>
                  <a:pt x="1736" y="601"/>
                  <a:pt x="1731" y="597"/>
                  <a:pt x="1721" y="597"/>
                </a:cubicBezTo>
                <a:cubicBezTo>
                  <a:pt x="1721" y="597"/>
                  <a:pt x="1721" y="597"/>
                  <a:pt x="1718" y="597"/>
                </a:cubicBezTo>
                <a:cubicBezTo>
                  <a:pt x="1718" y="597"/>
                  <a:pt x="1718" y="597"/>
                  <a:pt x="1718" y="606"/>
                </a:cubicBezTo>
                <a:cubicBezTo>
                  <a:pt x="1718" y="606"/>
                  <a:pt x="1718" y="606"/>
                  <a:pt x="1719" y="606"/>
                </a:cubicBezTo>
                <a:cubicBezTo>
                  <a:pt x="1723" y="606"/>
                  <a:pt x="1724" y="608"/>
                  <a:pt x="1724" y="612"/>
                </a:cubicBezTo>
                <a:cubicBezTo>
                  <a:pt x="1724" y="613"/>
                  <a:pt x="1724" y="615"/>
                  <a:pt x="1724" y="616"/>
                </a:cubicBezTo>
                <a:cubicBezTo>
                  <a:pt x="1724" y="618"/>
                  <a:pt x="1724" y="620"/>
                  <a:pt x="1724" y="623"/>
                </a:cubicBezTo>
                <a:cubicBezTo>
                  <a:pt x="1724" y="630"/>
                  <a:pt x="1726" y="632"/>
                  <a:pt x="1732" y="634"/>
                </a:cubicBezTo>
                <a:cubicBezTo>
                  <a:pt x="1732" y="634"/>
                  <a:pt x="1732" y="634"/>
                  <a:pt x="1732" y="634"/>
                </a:cubicBezTo>
                <a:cubicBezTo>
                  <a:pt x="1726" y="635"/>
                  <a:pt x="1724" y="638"/>
                  <a:pt x="1724" y="645"/>
                </a:cubicBezTo>
                <a:cubicBezTo>
                  <a:pt x="1724" y="647"/>
                  <a:pt x="1724" y="650"/>
                  <a:pt x="1724" y="651"/>
                </a:cubicBezTo>
                <a:cubicBezTo>
                  <a:pt x="1724" y="653"/>
                  <a:pt x="1724" y="654"/>
                  <a:pt x="1724" y="656"/>
                </a:cubicBezTo>
                <a:cubicBezTo>
                  <a:pt x="1724" y="659"/>
                  <a:pt x="1723" y="662"/>
                  <a:pt x="1719" y="662"/>
                </a:cubicBezTo>
                <a:cubicBezTo>
                  <a:pt x="1719" y="662"/>
                  <a:pt x="1719" y="662"/>
                  <a:pt x="1718" y="662"/>
                </a:cubicBezTo>
                <a:cubicBezTo>
                  <a:pt x="1718" y="662"/>
                  <a:pt x="1718" y="662"/>
                  <a:pt x="1718" y="671"/>
                </a:cubicBezTo>
                <a:cubicBezTo>
                  <a:pt x="1718" y="671"/>
                  <a:pt x="1718" y="671"/>
                  <a:pt x="1721" y="671"/>
                </a:cubicBezTo>
                <a:cubicBezTo>
                  <a:pt x="1730" y="671"/>
                  <a:pt x="1736" y="668"/>
                  <a:pt x="1736" y="658"/>
                </a:cubicBezTo>
                <a:cubicBezTo>
                  <a:pt x="1736" y="656"/>
                  <a:pt x="1736" y="654"/>
                  <a:pt x="1735" y="651"/>
                </a:cubicBezTo>
                <a:cubicBezTo>
                  <a:pt x="1735" y="648"/>
                  <a:pt x="1735" y="646"/>
                  <a:pt x="1735" y="644"/>
                </a:cubicBezTo>
                <a:cubicBezTo>
                  <a:pt x="1735" y="641"/>
                  <a:pt x="1735" y="638"/>
                  <a:pt x="1742" y="638"/>
                </a:cubicBezTo>
                <a:close/>
                <a:moveTo>
                  <a:pt x="1862" y="671"/>
                </a:moveTo>
                <a:cubicBezTo>
                  <a:pt x="1855" y="671"/>
                  <a:pt x="1848" y="668"/>
                  <a:pt x="1844" y="662"/>
                </a:cubicBezTo>
                <a:cubicBezTo>
                  <a:pt x="1840" y="656"/>
                  <a:pt x="1838" y="647"/>
                  <a:pt x="1838" y="634"/>
                </a:cubicBezTo>
                <a:cubicBezTo>
                  <a:pt x="1838" y="621"/>
                  <a:pt x="1840" y="612"/>
                  <a:pt x="1844" y="605"/>
                </a:cubicBezTo>
                <a:cubicBezTo>
                  <a:pt x="1849" y="599"/>
                  <a:pt x="1855" y="595"/>
                  <a:pt x="1864" y="595"/>
                </a:cubicBezTo>
                <a:cubicBezTo>
                  <a:pt x="1880" y="595"/>
                  <a:pt x="1888" y="607"/>
                  <a:pt x="1888" y="633"/>
                </a:cubicBezTo>
                <a:cubicBezTo>
                  <a:pt x="1888" y="645"/>
                  <a:pt x="1886" y="655"/>
                  <a:pt x="1881" y="661"/>
                </a:cubicBezTo>
                <a:cubicBezTo>
                  <a:pt x="1876" y="668"/>
                  <a:pt x="1870" y="671"/>
                  <a:pt x="1862" y="671"/>
                </a:cubicBezTo>
                <a:close/>
                <a:moveTo>
                  <a:pt x="1863" y="605"/>
                </a:moveTo>
                <a:cubicBezTo>
                  <a:pt x="1854" y="605"/>
                  <a:pt x="1849" y="615"/>
                  <a:pt x="1849" y="634"/>
                </a:cubicBezTo>
                <a:cubicBezTo>
                  <a:pt x="1849" y="653"/>
                  <a:pt x="1854" y="661"/>
                  <a:pt x="1863" y="661"/>
                </a:cubicBezTo>
                <a:cubicBezTo>
                  <a:pt x="1871" y="661"/>
                  <a:pt x="1876" y="653"/>
                  <a:pt x="1876" y="634"/>
                </a:cubicBezTo>
                <a:cubicBezTo>
                  <a:pt x="1876" y="614"/>
                  <a:pt x="1871" y="605"/>
                  <a:pt x="1863" y="605"/>
                </a:cubicBezTo>
                <a:close/>
                <a:moveTo>
                  <a:pt x="1932" y="597"/>
                </a:moveTo>
                <a:cubicBezTo>
                  <a:pt x="1932" y="597"/>
                  <a:pt x="1932" y="597"/>
                  <a:pt x="1932" y="597"/>
                </a:cubicBezTo>
                <a:cubicBezTo>
                  <a:pt x="1927" y="597"/>
                  <a:pt x="1927" y="597"/>
                  <a:pt x="1927" y="597"/>
                </a:cubicBezTo>
                <a:cubicBezTo>
                  <a:pt x="1924" y="599"/>
                  <a:pt x="1923" y="600"/>
                  <a:pt x="1921" y="601"/>
                </a:cubicBezTo>
                <a:cubicBezTo>
                  <a:pt x="1919" y="603"/>
                  <a:pt x="1917" y="603"/>
                  <a:pt x="1916" y="604"/>
                </a:cubicBezTo>
                <a:cubicBezTo>
                  <a:pt x="1913" y="605"/>
                  <a:pt x="1912" y="605"/>
                  <a:pt x="1910" y="606"/>
                </a:cubicBezTo>
                <a:cubicBezTo>
                  <a:pt x="1908" y="607"/>
                  <a:pt x="1907" y="608"/>
                  <a:pt x="1904" y="608"/>
                </a:cubicBezTo>
                <a:cubicBezTo>
                  <a:pt x="1904" y="608"/>
                  <a:pt x="1904" y="608"/>
                  <a:pt x="1904" y="619"/>
                </a:cubicBezTo>
                <a:cubicBezTo>
                  <a:pt x="1907" y="618"/>
                  <a:pt x="1910" y="616"/>
                  <a:pt x="1913" y="616"/>
                </a:cubicBezTo>
                <a:cubicBezTo>
                  <a:pt x="1916" y="615"/>
                  <a:pt x="1918" y="613"/>
                  <a:pt x="1920" y="612"/>
                </a:cubicBezTo>
                <a:cubicBezTo>
                  <a:pt x="1920" y="612"/>
                  <a:pt x="1920" y="612"/>
                  <a:pt x="1920" y="671"/>
                </a:cubicBezTo>
                <a:cubicBezTo>
                  <a:pt x="1920" y="671"/>
                  <a:pt x="1920" y="671"/>
                  <a:pt x="1932" y="671"/>
                </a:cubicBezTo>
                <a:cubicBezTo>
                  <a:pt x="1932" y="671"/>
                  <a:pt x="1932" y="671"/>
                  <a:pt x="1932" y="597"/>
                </a:cubicBezTo>
                <a:close/>
                <a:moveTo>
                  <a:pt x="128" y="540"/>
                </a:moveTo>
                <a:cubicBezTo>
                  <a:pt x="128" y="541"/>
                  <a:pt x="129" y="542"/>
                  <a:pt x="130" y="544"/>
                </a:cubicBezTo>
                <a:cubicBezTo>
                  <a:pt x="130" y="546"/>
                  <a:pt x="130" y="548"/>
                  <a:pt x="131" y="549"/>
                </a:cubicBezTo>
                <a:cubicBezTo>
                  <a:pt x="131" y="551"/>
                  <a:pt x="131" y="552"/>
                  <a:pt x="131" y="554"/>
                </a:cubicBezTo>
                <a:cubicBezTo>
                  <a:pt x="132" y="557"/>
                  <a:pt x="131" y="559"/>
                  <a:pt x="128" y="559"/>
                </a:cubicBezTo>
                <a:cubicBezTo>
                  <a:pt x="125" y="559"/>
                  <a:pt x="122" y="558"/>
                  <a:pt x="119" y="558"/>
                </a:cubicBezTo>
                <a:cubicBezTo>
                  <a:pt x="119" y="558"/>
                  <a:pt x="118" y="558"/>
                  <a:pt x="118" y="559"/>
                </a:cubicBezTo>
                <a:cubicBezTo>
                  <a:pt x="116" y="560"/>
                  <a:pt x="115" y="561"/>
                  <a:pt x="114" y="563"/>
                </a:cubicBezTo>
                <a:cubicBezTo>
                  <a:pt x="112" y="565"/>
                  <a:pt x="108" y="566"/>
                  <a:pt x="106" y="564"/>
                </a:cubicBezTo>
                <a:cubicBezTo>
                  <a:pt x="104" y="561"/>
                  <a:pt x="103" y="559"/>
                  <a:pt x="101" y="556"/>
                </a:cubicBezTo>
                <a:cubicBezTo>
                  <a:pt x="101" y="555"/>
                  <a:pt x="101" y="553"/>
                  <a:pt x="103" y="552"/>
                </a:cubicBezTo>
                <a:cubicBezTo>
                  <a:pt x="101" y="552"/>
                  <a:pt x="99" y="552"/>
                  <a:pt x="97" y="552"/>
                </a:cubicBezTo>
                <a:cubicBezTo>
                  <a:pt x="97" y="554"/>
                  <a:pt x="95" y="556"/>
                  <a:pt x="95" y="557"/>
                </a:cubicBezTo>
                <a:cubicBezTo>
                  <a:pt x="95" y="558"/>
                  <a:pt x="94" y="559"/>
                  <a:pt x="94" y="560"/>
                </a:cubicBezTo>
                <a:cubicBezTo>
                  <a:pt x="94" y="563"/>
                  <a:pt x="93" y="564"/>
                  <a:pt x="90" y="564"/>
                </a:cubicBezTo>
                <a:cubicBezTo>
                  <a:pt x="87" y="563"/>
                  <a:pt x="84" y="563"/>
                  <a:pt x="81" y="561"/>
                </a:cubicBezTo>
                <a:cubicBezTo>
                  <a:pt x="79" y="561"/>
                  <a:pt x="79" y="559"/>
                  <a:pt x="79" y="557"/>
                </a:cubicBezTo>
                <a:cubicBezTo>
                  <a:pt x="79" y="557"/>
                  <a:pt x="79" y="556"/>
                  <a:pt x="80" y="556"/>
                </a:cubicBezTo>
                <a:cubicBezTo>
                  <a:pt x="77" y="555"/>
                  <a:pt x="75" y="554"/>
                  <a:pt x="73" y="552"/>
                </a:cubicBezTo>
                <a:cubicBezTo>
                  <a:pt x="72" y="552"/>
                  <a:pt x="71" y="550"/>
                  <a:pt x="70" y="548"/>
                </a:cubicBezTo>
                <a:cubicBezTo>
                  <a:pt x="69" y="546"/>
                  <a:pt x="69" y="544"/>
                  <a:pt x="71" y="543"/>
                </a:cubicBezTo>
                <a:cubicBezTo>
                  <a:pt x="74" y="540"/>
                  <a:pt x="75" y="538"/>
                  <a:pt x="74" y="534"/>
                </a:cubicBezTo>
                <a:cubicBezTo>
                  <a:pt x="74" y="532"/>
                  <a:pt x="74" y="529"/>
                  <a:pt x="74" y="528"/>
                </a:cubicBezTo>
                <a:cubicBezTo>
                  <a:pt x="73" y="527"/>
                  <a:pt x="71" y="527"/>
                  <a:pt x="70" y="525"/>
                </a:cubicBezTo>
                <a:cubicBezTo>
                  <a:pt x="69" y="524"/>
                  <a:pt x="68" y="522"/>
                  <a:pt x="68" y="520"/>
                </a:cubicBezTo>
                <a:cubicBezTo>
                  <a:pt x="68" y="517"/>
                  <a:pt x="72" y="514"/>
                  <a:pt x="74" y="514"/>
                </a:cubicBezTo>
                <a:cubicBezTo>
                  <a:pt x="75" y="514"/>
                  <a:pt x="75" y="515"/>
                  <a:pt x="75" y="516"/>
                </a:cubicBezTo>
                <a:cubicBezTo>
                  <a:pt x="75" y="517"/>
                  <a:pt x="75" y="518"/>
                  <a:pt x="75" y="519"/>
                </a:cubicBezTo>
                <a:cubicBezTo>
                  <a:pt x="75" y="519"/>
                  <a:pt x="74" y="519"/>
                  <a:pt x="74" y="519"/>
                </a:cubicBezTo>
                <a:cubicBezTo>
                  <a:pt x="74" y="520"/>
                  <a:pt x="73" y="521"/>
                  <a:pt x="72" y="523"/>
                </a:cubicBezTo>
                <a:cubicBezTo>
                  <a:pt x="74" y="523"/>
                  <a:pt x="74" y="523"/>
                  <a:pt x="75" y="522"/>
                </a:cubicBezTo>
                <a:cubicBezTo>
                  <a:pt x="76" y="521"/>
                  <a:pt x="77" y="520"/>
                  <a:pt x="77" y="519"/>
                </a:cubicBezTo>
                <a:cubicBezTo>
                  <a:pt x="82" y="512"/>
                  <a:pt x="88" y="508"/>
                  <a:pt x="95" y="507"/>
                </a:cubicBezTo>
                <a:cubicBezTo>
                  <a:pt x="99" y="506"/>
                  <a:pt x="102" y="505"/>
                  <a:pt x="104" y="502"/>
                </a:cubicBezTo>
                <a:cubicBezTo>
                  <a:pt x="104" y="502"/>
                  <a:pt x="105" y="502"/>
                  <a:pt x="105" y="502"/>
                </a:cubicBezTo>
                <a:cubicBezTo>
                  <a:pt x="108" y="501"/>
                  <a:pt x="110" y="499"/>
                  <a:pt x="112" y="497"/>
                </a:cubicBezTo>
                <a:cubicBezTo>
                  <a:pt x="119" y="489"/>
                  <a:pt x="131" y="489"/>
                  <a:pt x="139" y="496"/>
                </a:cubicBezTo>
                <a:cubicBezTo>
                  <a:pt x="141" y="498"/>
                  <a:pt x="144" y="500"/>
                  <a:pt x="146" y="502"/>
                </a:cubicBezTo>
                <a:cubicBezTo>
                  <a:pt x="148" y="503"/>
                  <a:pt x="149" y="504"/>
                  <a:pt x="150" y="506"/>
                </a:cubicBezTo>
                <a:cubicBezTo>
                  <a:pt x="151" y="508"/>
                  <a:pt x="152" y="508"/>
                  <a:pt x="153" y="507"/>
                </a:cubicBezTo>
                <a:cubicBezTo>
                  <a:pt x="154" y="506"/>
                  <a:pt x="154" y="506"/>
                  <a:pt x="155" y="505"/>
                </a:cubicBezTo>
                <a:cubicBezTo>
                  <a:pt x="157" y="502"/>
                  <a:pt x="160" y="502"/>
                  <a:pt x="161" y="505"/>
                </a:cubicBezTo>
                <a:cubicBezTo>
                  <a:pt x="163" y="508"/>
                  <a:pt x="163" y="511"/>
                  <a:pt x="164" y="514"/>
                </a:cubicBezTo>
                <a:cubicBezTo>
                  <a:pt x="164" y="519"/>
                  <a:pt x="164" y="523"/>
                  <a:pt x="163" y="527"/>
                </a:cubicBezTo>
                <a:cubicBezTo>
                  <a:pt x="160" y="534"/>
                  <a:pt x="155" y="537"/>
                  <a:pt x="149" y="537"/>
                </a:cubicBezTo>
                <a:cubicBezTo>
                  <a:pt x="148" y="537"/>
                  <a:pt x="148" y="537"/>
                  <a:pt x="147" y="537"/>
                </a:cubicBezTo>
                <a:cubicBezTo>
                  <a:pt x="144" y="537"/>
                  <a:pt x="143" y="537"/>
                  <a:pt x="143" y="540"/>
                </a:cubicBezTo>
                <a:cubicBezTo>
                  <a:pt x="141" y="544"/>
                  <a:pt x="135" y="546"/>
                  <a:pt x="132" y="542"/>
                </a:cubicBezTo>
                <a:cubicBezTo>
                  <a:pt x="131" y="541"/>
                  <a:pt x="130" y="540"/>
                  <a:pt x="129" y="539"/>
                </a:cubicBezTo>
                <a:cubicBezTo>
                  <a:pt x="128" y="540"/>
                  <a:pt x="128" y="540"/>
                  <a:pt x="128" y="540"/>
                </a:cubicBezTo>
                <a:close/>
                <a:moveTo>
                  <a:pt x="123" y="535"/>
                </a:moveTo>
                <a:cubicBezTo>
                  <a:pt x="126" y="537"/>
                  <a:pt x="130" y="538"/>
                  <a:pt x="132" y="541"/>
                </a:cubicBezTo>
                <a:cubicBezTo>
                  <a:pt x="134" y="542"/>
                  <a:pt x="136" y="543"/>
                  <a:pt x="138" y="542"/>
                </a:cubicBezTo>
                <a:cubicBezTo>
                  <a:pt x="141" y="542"/>
                  <a:pt x="142" y="540"/>
                  <a:pt x="142" y="537"/>
                </a:cubicBezTo>
                <a:cubicBezTo>
                  <a:pt x="142" y="537"/>
                  <a:pt x="141" y="537"/>
                  <a:pt x="141" y="537"/>
                </a:cubicBezTo>
                <a:cubicBezTo>
                  <a:pt x="141" y="539"/>
                  <a:pt x="139" y="540"/>
                  <a:pt x="139" y="541"/>
                </a:cubicBezTo>
                <a:cubicBezTo>
                  <a:pt x="137" y="542"/>
                  <a:pt x="136" y="542"/>
                  <a:pt x="135" y="541"/>
                </a:cubicBezTo>
                <a:cubicBezTo>
                  <a:pt x="135" y="541"/>
                  <a:pt x="134" y="540"/>
                  <a:pt x="134" y="539"/>
                </a:cubicBezTo>
                <a:cubicBezTo>
                  <a:pt x="134" y="537"/>
                  <a:pt x="135" y="535"/>
                  <a:pt x="135" y="533"/>
                </a:cubicBezTo>
                <a:cubicBezTo>
                  <a:pt x="138" y="534"/>
                  <a:pt x="141" y="535"/>
                  <a:pt x="145" y="535"/>
                </a:cubicBezTo>
                <a:cubicBezTo>
                  <a:pt x="152" y="537"/>
                  <a:pt x="158" y="535"/>
                  <a:pt x="161" y="526"/>
                </a:cubicBezTo>
                <a:cubicBezTo>
                  <a:pt x="163" y="521"/>
                  <a:pt x="163" y="517"/>
                  <a:pt x="162" y="512"/>
                </a:cubicBezTo>
                <a:cubicBezTo>
                  <a:pt x="161" y="510"/>
                  <a:pt x="161" y="508"/>
                  <a:pt x="160" y="506"/>
                </a:cubicBezTo>
                <a:cubicBezTo>
                  <a:pt x="159" y="504"/>
                  <a:pt x="158" y="504"/>
                  <a:pt x="157" y="506"/>
                </a:cubicBezTo>
                <a:cubicBezTo>
                  <a:pt x="155" y="507"/>
                  <a:pt x="154" y="509"/>
                  <a:pt x="152" y="510"/>
                </a:cubicBezTo>
                <a:cubicBezTo>
                  <a:pt x="151" y="510"/>
                  <a:pt x="150" y="511"/>
                  <a:pt x="150" y="512"/>
                </a:cubicBezTo>
                <a:cubicBezTo>
                  <a:pt x="151" y="515"/>
                  <a:pt x="150" y="518"/>
                  <a:pt x="149" y="521"/>
                </a:cubicBezTo>
                <a:cubicBezTo>
                  <a:pt x="149" y="519"/>
                  <a:pt x="150" y="518"/>
                  <a:pt x="150" y="516"/>
                </a:cubicBezTo>
                <a:cubicBezTo>
                  <a:pt x="150" y="515"/>
                  <a:pt x="149" y="515"/>
                  <a:pt x="149" y="514"/>
                </a:cubicBezTo>
                <a:cubicBezTo>
                  <a:pt x="148" y="515"/>
                  <a:pt x="148" y="515"/>
                  <a:pt x="148" y="515"/>
                </a:cubicBezTo>
                <a:cubicBezTo>
                  <a:pt x="147" y="516"/>
                  <a:pt x="146" y="518"/>
                  <a:pt x="145" y="519"/>
                </a:cubicBezTo>
                <a:cubicBezTo>
                  <a:pt x="145" y="519"/>
                  <a:pt x="145" y="519"/>
                  <a:pt x="145" y="519"/>
                </a:cubicBezTo>
                <a:cubicBezTo>
                  <a:pt x="145" y="518"/>
                  <a:pt x="146" y="516"/>
                  <a:pt x="146" y="514"/>
                </a:cubicBezTo>
                <a:cubicBezTo>
                  <a:pt x="145" y="514"/>
                  <a:pt x="144" y="515"/>
                  <a:pt x="144" y="516"/>
                </a:cubicBezTo>
                <a:cubicBezTo>
                  <a:pt x="143" y="516"/>
                  <a:pt x="143" y="517"/>
                  <a:pt x="143" y="518"/>
                </a:cubicBezTo>
                <a:cubicBezTo>
                  <a:pt x="143" y="514"/>
                  <a:pt x="143" y="514"/>
                  <a:pt x="149" y="513"/>
                </a:cubicBezTo>
                <a:cubicBezTo>
                  <a:pt x="149" y="512"/>
                  <a:pt x="148" y="512"/>
                  <a:pt x="148" y="512"/>
                </a:cubicBezTo>
                <a:cubicBezTo>
                  <a:pt x="145" y="512"/>
                  <a:pt x="144" y="511"/>
                  <a:pt x="144" y="508"/>
                </a:cubicBezTo>
                <a:cubicBezTo>
                  <a:pt x="146" y="508"/>
                  <a:pt x="147" y="508"/>
                  <a:pt x="149" y="507"/>
                </a:cubicBezTo>
                <a:cubicBezTo>
                  <a:pt x="147" y="505"/>
                  <a:pt x="146" y="502"/>
                  <a:pt x="143" y="502"/>
                </a:cubicBezTo>
                <a:cubicBezTo>
                  <a:pt x="142" y="502"/>
                  <a:pt x="142" y="501"/>
                  <a:pt x="142" y="501"/>
                </a:cubicBezTo>
                <a:cubicBezTo>
                  <a:pt x="139" y="499"/>
                  <a:pt x="137" y="497"/>
                  <a:pt x="134" y="495"/>
                </a:cubicBezTo>
                <a:cubicBezTo>
                  <a:pt x="132" y="493"/>
                  <a:pt x="129" y="493"/>
                  <a:pt x="127" y="493"/>
                </a:cubicBezTo>
                <a:cubicBezTo>
                  <a:pt x="124" y="493"/>
                  <a:pt x="121" y="494"/>
                  <a:pt x="117" y="495"/>
                </a:cubicBezTo>
                <a:cubicBezTo>
                  <a:pt x="115" y="496"/>
                  <a:pt x="112" y="498"/>
                  <a:pt x="110" y="501"/>
                </a:cubicBezTo>
                <a:cubicBezTo>
                  <a:pt x="112" y="501"/>
                  <a:pt x="113" y="501"/>
                  <a:pt x="114" y="501"/>
                </a:cubicBezTo>
                <a:cubicBezTo>
                  <a:pt x="114" y="501"/>
                  <a:pt x="113" y="502"/>
                  <a:pt x="112" y="502"/>
                </a:cubicBezTo>
                <a:cubicBezTo>
                  <a:pt x="110" y="502"/>
                  <a:pt x="107" y="502"/>
                  <a:pt x="105" y="504"/>
                </a:cubicBezTo>
                <a:cubicBezTo>
                  <a:pt x="102" y="508"/>
                  <a:pt x="98" y="512"/>
                  <a:pt x="94" y="516"/>
                </a:cubicBezTo>
                <a:cubicBezTo>
                  <a:pt x="93" y="518"/>
                  <a:pt x="92" y="520"/>
                  <a:pt x="91" y="523"/>
                </a:cubicBezTo>
                <a:cubicBezTo>
                  <a:pt x="91" y="523"/>
                  <a:pt x="91" y="524"/>
                  <a:pt x="91" y="524"/>
                </a:cubicBezTo>
                <a:cubicBezTo>
                  <a:pt x="92" y="526"/>
                  <a:pt x="94" y="528"/>
                  <a:pt x="95" y="530"/>
                </a:cubicBezTo>
                <a:cubicBezTo>
                  <a:pt x="96" y="529"/>
                  <a:pt x="97" y="527"/>
                  <a:pt x="99" y="526"/>
                </a:cubicBezTo>
                <a:cubicBezTo>
                  <a:pt x="98" y="527"/>
                  <a:pt x="98" y="528"/>
                  <a:pt x="97" y="530"/>
                </a:cubicBezTo>
                <a:cubicBezTo>
                  <a:pt x="96" y="531"/>
                  <a:pt x="95" y="532"/>
                  <a:pt x="95" y="534"/>
                </a:cubicBezTo>
                <a:cubicBezTo>
                  <a:pt x="95" y="535"/>
                  <a:pt x="95" y="536"/>
                  <a:pt x="95" y="537"/>
                </a:cubicBezTo>
                <a:cubicBezTo>
                  <a:pt x="98" y="540"/>
                  <a:pt x="101" y="540"/>
                  <a:pt x="105" y="538"/>
                </a:cubicBezTo>
                <a:cubicBezTo>
                  <a:pt x="107" y="537"/>
                  <a:pt x="110" y="535"/>
                  <a:pt x="113" y="535"/>
                </a:cubicBezTo>
                <a:cubicBezTo>
                  <a:pt x="114" y="534"/>
                  <a:pt x="115" y="533"/>
                  <a:pt x="115" y="532"/>
                </a:cubicBezTo>
                <a:cubicBezTo>
                  <a:pt x="115" y="529"/>
                  <a:pt x="115" y="525"/>
                  <a:pt x="115" y="522"/>
                </a:cubicBezTo>
                <a:cubicBezTo>
                  <a:pt x="115" y="519"/>
                  <a:pt x="115" y="516"/>
                  <a:pt x="115" y="513"/>
                </a:cubicBezTo>
                <a:cubicBezTo>
                  <a:pt x="116" y="516"/>
                  <a:pt x="117" y="518"/>
                  <a:pt x="117" y="521"/>
                </a:cubicBezTo>
                <a:cubicBezTo>
                  <a:pt x="118" y="525"/>
                  <a:pt x="118" y="530"/>
                  <a:pt x="117" y="534"/>
                </a:cubicBezTo>
                <a:cubicBezTo>
                  <a:pt x="116" y="535"/>
                  <a:pt x="115" y="536"/>
                  <a:pt x="115" y="536"/>
                </a:cubicBezTo>
                <a:cubicBezTo>
                  <a:pt x="112" y="536"/>
                  <a:pt x="108" y="538"/>
                  <a:pt x="105" y="540"/>
                </a:cubicBezTo>
                <a:cubicBezTo>
                  <a:pt x="100" y="543"/>
                  <a:pt x="97" y="541"/>
                  <a:pt x="93" y="537"/>
                </a:cubicBezTo>
                <a:cubicBezTo>
                  <a:pt x="93" y="537"/>
                  <a:pt x="93" y="535"/>
                  <a:pt x="93" y="535"/>
                </a:cubicBezTo>
                <a:cubicBezTo>
                  <a:pt x="94" y="533"/>
                  <a:pt x="93" y="531"/>
                  <a:pt x="92" y="529"/>
                </a:cubicBezTo>
                <a:cubicBezTo>
                  <a:pt x="90" y="527"/>
                  <a:pt x="88" y="524"/>
                  <a:pt x="90" y="521"/>
                </a:cubicBezTo>
                <a:cubicBezTo>
                  <a:pt x="90" y="519"/>
                  <a:pt x="91" y="518"/>
                  <a:pt x="92" y="516"/>
                </a:cubicBezTo>
                <a:cubicBezTo>
                  <a:pt x="94" y="514"/>
                  <a:pt x="96" y="511"/>
                  <a:pt x="98" y="508"/>
                </a:cubicBezTo>
                <a:cubicBezTo>
                  <a:pt x="98" y="508"/>
                  <a:pt x="97" y="508"/>
                  <a:pt x="97" y="508"/>
                </a:cubicBezTo>
                <a:cubicBezTo>
                  <a:pt x="92" y="510"/>
                  <a:pt x="88" y="511"/>
                  <a:pt x="84" y="514"/>
                </a:cubicBezTo>
                <a:cubicBezTo>
                  <a:pt x="79" y="519"/>
                  <a:pt x="76" y="524"/>
                  <a:pt x="76" y="531"/>
                </a:cubicBezTo>
                <a:cubicBezTo>
                  <a:pt x="75" y="537"/>
                  <a:pt x="78" y="543"/>
                  <a:pt x="81" y="549"/>
                </a:cubicBezTo>
                <a:cubicBezTo>
                  <a:pt x="82" y="550"/>
                  <a:pt x="83" y="552"/>
                  <a:pt x="82" y="553"/>
                </a:cubicBezTo>
                <a:cubicBezTo>
                  <a:pt x="82" y="554"/>
                  <a:pt x="82" y="556"/>
                  <a:pt x="81" y="557"/>
                </a:cubicBezTo>
                <a:cubicBezTo>
                  <a:pt x="81" y="559"/>
                  <a:pt x="81" y="560"/>
                  <a:pt x="82" y="560"/>
                </a:cubicBezTo>
                <a:cubicBezTo>
                  <a:pt x="85" y="561"/>
                  <a:pt x="88" y="561"/>
                  <a:pt x="91" y="562"/>
                </a:cubicBezTo>
                <a:cubicBezTo>
                  <a:pt x="92" y="562"/>
                  <a:pt x="92" y="561"/>
                  <a:pt x="92" y="561"/>
                </a:cubicBezTo>
                <a:cubicBezTo>
                  <a:pt x="93" y="559"/>
                  <a:pt x="93" y="558"/>
                  <a:pt x="94" y="557"/>
                </a:cubicBezTo>
                <a:cubicBezTo>
                  <a:pt x="95" y="555"/>
                  <a:pt x="95" y="552"/>
                  <a:pt x="95" y="549"/>
                </a:cubicBezTo>
                <a:cubicBezTo>
                  <a:pt x="95" y="549"/>
                  <a:pt x="95" y="548"/>
                  <a:pt x="95" y="548"/>
                </a:cubicBezTo>
                <a:cubicBezTo>
                  <a:pt x="95" y="548"/>
                  <a:pt x="95" y="548"/>
                  <a:pt x="95" y="547"/>
                </a:cubicBezTo>
                <a:cubicBezTo>
                  <a:pt x="96" y="550"/>
                  <a:pt x="97" y="550"/>
                  <a:pt x="99" y="550"/>
                </a:cubicBezTo>
                <a:cubicBezTo>
                  <a:pt x="100" y="550"/>
                  <a:pt x="101" y="550"/>
                  <a:pt x="102" y="550"/>
                </a:cubicBezTo>
                <a:cubicBezTo>
                  <a:pt x="104" y="550"/>
                  <a:pt x="108" y="551"/>
                  <a:pt x="108" y="546"/>
                </a:cubicBezTo>
                <a:cubicBezTo>
                  <a:pt x="108" y="549"/>
                  <a:pt x="108" y="550"/>
                  <a:pt x="108" y="551"/>
                </a:cubicBezTo>
                <a:cubicBezTo>
                  <a:pt x="107" y="552"/>
                  <a:pt x="106" y="553"/>
                  <a:pt x="104" y="553"/>
                </a:cubicBezTo>
                <a:cubicBezTo>
                  <a:pt x="103" y="554"/>
                  <a:pt x="103" y="556"/>
                  <a:pt x="103" y="556"/>
                </a:cubicBezTo>
                <a:cubicBezTo>
                  <a:pt x="104" y="559"/>
                  <a:pt x="106" y="561"/>
                  <a:pt x="107" y="563"/>
                </a:cubicBezTo>
                <a:cubicBezTo>
                  <a:pt x="109" y="564"/>
                  <a:pt x="111" y="563"/>
                  <a:pt x="112" y="562"/>
                </a:cubicBezTo>
                <a:cubicBezTo>
                  <a:pt x="113" y="561"/>
                  <a:pt x="114" y="560"/>
                  <a:pt x="114" y="560"/>
                </a:cubicBezTo>
                <a:cubicBezTo>
                  <a:pt x="116" y="558"/>
                  <a:pt x="117" y="557"/>
                  <a:pt x="119" y="556"/>
                </a:cubicBezTo>
                <a:cubicBezTo>
                  <a:pt x="123" y="552"/>
                  <a:pt x="125" y="546"/>
                  <a:pt x="127" y="540"/>
                </a:cubicBezTo>
                <a:cubicBezTo>
                  <a:pt x="127" y="539"/>
                  <a:pt x="126" y="538"/>
                  <a:pt x="126" y="538"/>
                </a:cubicBezTo>
                <a:cubicBezTo>
                  <a:pt x="125" y="537"/>
                  <a:pt x="124" y="536"/>
                  <a:pt x="123" y="535"/>
                </a:cubicBezTo>
                <a:close/>
                <a:moveTo>
                  <a:pt x="75" y="542"/>
                </a:moveTo>
                <a:cubicBezTo>
                  <a:pt x="75" y="542"/>
                  <a:pt x="73" y="543"/>
                  <a:pt x="72" y="544"/>
                </a:cubicBezTo>
                <a:cubicBezTo>
                  <a:pt x="72" y="545"/>
                  <a:pt x="71" y="546"/>
                  <a:pt x="71" y="546"/>
                </a:cubicBezTo>
                <a:cubicBezTo>
                  <a:pt x="71" y="549"/>
                  <a:pt x="75" y="554"/>
                  <a:pt x="79" y="553"/>
                </a:cubicBezTo>
                <a:cubicBezTo>
                  <a:pt x="80" y="553"/>
                  <a:pt x="81" y="552"/>
                  <a:pt x="80" y="550"/>
                </a:cubicBezTo>
                <a:cubicBezTo>
                  <a:pt x="79" y="547"/>
                  <a:pt x="77" y="544"/>
                  <a:pt x="75" y="542"/>
                </a:cubicBezTo>
                <a:close/>
                <a:moveTo>
                  <a:pt x="128" y="544"/>
                </a:moveTo>
                <a:cubicBezTo>
                  <a:pt x="126" y="548"/>
                  <a:pt x="123" y="553"/>
                  <a:pt x="121" y="557"/>
                </a:cubicBezTo>
                <a:cubicBezTo>
                  <a:pt x="124" y="557"/>
                  <a:pt x="126" y="557"/>
                  <a:pt x="129" y="557"/>
                </a:cubicBezTo>
                <a:cubicBezTo>
                  <a:pt x="129" y="557"/>
                  <a:pt x="130" y="556"/>
                  <a:pt x="130" y="556"/>
                </a:cubicBezTo>
                <a:cubicBezTo>
                  <a:pt x="130" y="553"/>
                  <a:pt x="130" y="550"/>
                  <a:pt x="129" y="548"/>
                </a:cubicBezTo>
                <a:cubicBezTo>
                  <a:pt x="129" y="546"/>
                  <a:pt x="128" y="545"/>
                  <a:pt x="128" y="544"/>
                </a:cubicBezTo>
                <a:close/>
                <a:moveTo>
                  <a:pt x="75" y="523"/>
                </a:moveTo>
                <a:cubicBezTo>
                  <a:pt x="75" y="524"/>
                  <a:pt x="74" y="524"/>
                  <a:pt x="74" y="524"/>
                </a:cubicBezTo>
                <a:cubicBezTo>
                  <a:pt x="73" y="524"/>
                  <a:pt x="72" y="524"/>
                  <a:pt x="72" y="524"/>
                </a:cubicBezTo>
                <a:cubicBezTo>
                  <a:pt x="72" y="523"/>
                  <a:pt x="71" y="523"/>
                  <a:pt x="71" y="522"/>
                </a:cubicBezTo>
                <a:cubicBezTo>
                  <a:pt x="72" y="520"/>
                  <a:pt x="72" y="518"/>
                  <a:pt x="73" y="516"/>
                </a:cubicBezTo>
                <a:cubicBezTo>
                  <a:pt x="73" y="516"/>
                  <a:pt x="73" y="516"/>
                  <a:pt x="72" y="516"/>
                </a:cubicBezTo>
                <a:cubicBezTo>
                  <a:pt x="72" y="517"/>
                  <a:pt x="70" y="518"/>
                  <a:pt x="70" y="519"/>
                </a:cubicBezTo>
                <a:cubicBezTo>
                  <a:pt x="69" y="520"/>
                  <a:pt x="70" y="525"/>
                  <a:pt x="72" y="526"/>
                </a:cubicBezTo>
                <a:cubicBezTo>
                  <a:pt x="74" y="527"/>
                  <a:pt x="75" y="525"/>
                  <a:pt x="75" y="523"/>
                </a:cubicBezTo>
                <a:close/>
                <a:moveTo>
                  <a:pt x="76" y="542"/>
                </a:moveTo>
                <a:cubicBezTo>
                  <a:pt x="75" y="543"/>
                  <a:pt x="73" y="543"/>
                  <a:pt x="72" y="544"/>
                </a:cubicBezTo>
                <a:cubicBezTo>
                  <a:pt x="72" y="545"/>
                  <a:pt x="71" y="546"/>
                  <a:pt x="71" y="546"/>
                </a:cubicBezTo>
                <a:cubicBezTo>
                  <a:pt x="71" y="549"/>
                  <a:pt x="76" y="553"/>
                  <a:pt x="79" y="553"/>
                </a:cubicBezTo>
                <a:cubicBezTo>
                  <a:pt x="80" y="553"/>
                  <a:pt x="81" y="552"/>
                  <a:pt x="80" y="550"/>
                </a:cubicBezTo>
                <a:cubicBezTo>
                  <a:pt x="79" y="547"/>
                  <a:pt x="77" y="544"/>
                  <a:pt x="76" y="542"/>
                </a:cubicBezTo>
                <a:close/>
                <a:moveTo>
                  <a:pt x="128" y="544"/>
                </a:moveTo>
                <a:cubicBezTo>
                  <a:pt x="126" y="548"/>
                  <a:pt x="124" y="553"/>
                  <a:pt x="121" y="557"/>
                </a:cubicBezTo>
                <a:cubicBezTo>
                  <a:pt x="124" y="557"/>
                  <a:pt x="126" y="558"/>
                  <a:pt x="129" y="557"/>
                </a:cubicBezTo>
                <a:cubicBezTo>
                  <a:pt x="129" y="557"/>
                  <a:pt x="129" y="556"/>
                  <a:pt x="129" y="556"/>
                </a:cubicBezTo>
                <a:cubicBezTo>
                  <a:pt x="129" y="553"/>
                  <a:pt x="129" y="550"/>
                  <a:pt x="129" y="548"/>
                </a:cubicBezTo>
                <a:cubicBezTo>
                  <a:pt x="129" y="547"/>
                  <a:pt x="128" y="545"/>
                  <a:pt x="128" y="544"/>
                </a:cubicBezTo>
                <a:close/>
                <a:moveTo>
                  <a:pt x="76" y="523"/>
                </a:moveTo>
                <a:cubicBezTo>
                  <a:pt x="75" y="524"/>
                  <a:pt x="74" y="524"/>
                  <a:pt x="74" y="524"/>
                </a:cubicBezTo>
                <a:cubicBezTo>
                  <a:pt x="73" y="524"/>
                  <a:pt x="72" y="524"/>
                  <a:pt x="72" y="524"/>
                </a:cubicBezTo>
                <a:cubicBezTo>
                  <a:pt x="72" y="523"/>
                  <a:pt x="71" y="523"/>
                  <a:pt x="71" y="522"/>
                </a:cubicBezTo>
                <a:cubicBezTo>
                  <a:pt x="72" y="520"/>
                  <a:pt x="73" y="518"/>
                  <a:pt x="73" y="516"/>
                </a:cubicBezTo>
                <a:cubicBezTo>
                  <a:pt x="73" y="516"/>
                  <a:pt x="73" y="516"/>
                  <a:pt x="73" y="516"/>
                </a:cubicBezTo>
                <a:cubicBezTo>
                  <a:pt x="72" y="517"/>
                  <a:pt x="71" y="517"/>
                  <a:pt x="70" y="519"/>
                </a:cubicBezTo>
                <a:cubicBezTo>
                  <a:pt x="69" y="520"/>
                  <a:pt x="71" y="525"/>
                  <a:pt x="72" y="526"/>
                </a:cubicBezTo>
                <a:cubicBezTo>
                  <a:pt x="74" y="526"/>
                  <a:pt x="76" y="525"/>
                  <a:pt x="76" y="523"/>
                </a:cubicBezTo>
                <a:close/>
                <a:moveTo>
                  <a:pt x="128" y="515"/>
                </a:moveTo>
                <a:cubicBezTo>
                  <a:pt x="131" y="512"/>
                  <a:pt x="131" y="512"/>
                  <a:pt x="135" y="511"/>
                </a:cubicBezTo>
                <a:cubicBezTo>
                  <a:pt x="135" y="512"/>
                  <a:pt x="136" y="514"/>
                  <a:pt x="138" y="514"/>
                </a:cubicBezTo>
                <a:cubicBezTo>
                  <a:pt x="135" y="515"/>
                  <a:pt x="133" y="516"/>
                  <a:pt x="131" y="517"/>
                </a:cubicBezTo>
                <a:cubicBezTo>
                  <a:pt x="130" y="517"/>
                  <a:pt x="130" y="516"/>
                  <a:pt x="129" y="515"/>
                </a:cubicBezTo>
                <a:cubicBezTo>
                  <a:pt x="129" y="515"/>
                  <a:pt x="128" y="515"/>
                  <a:pt x="128" y="515"/>
                </a:cubicBezTo>
                <a:close/>
                <a:moveTo>
                  <a:pt x="134" y="515"/>
                </a:moveTo>
                <a:cubicBezTo>
                  <a:pt x="133" y="514"/>
                  <a:pt x="132" y="514"/>
                  <a:pt x="132" y="514"/>
                </a:cubicBezTo>
                <a:cubicBezTo>
                  <a:pt x="131" y="514"/>
                  <a:pt x="130" y="515"/>
                  <a:pt x="130" y="515"/>
                </a:cubicBezTo>
                <a:cubicBezTo>
                  <a:pt x="130" y="515"/>
                  <a:pt x="131" y="516"/>
                  <a:pt x="131" y="516"/>
                </a:cubicBezTo>
                <a:cubicBezTo>
                  <a:pt x="132" y="516"/>
                  <a:pt x="132" y="515"/>
                  <a:pt x="134" y="515"/>
                </a:cubicBezTo>
                <a:close/>
                <a:moveTo>
                  <a:pt x="115" y="505"/>
                </a:moveTo>
                <a:cubicBezTo>
                  <a:pt x="108" y="504"/>
                  <a:pt x="105" y="507"/>
                  <a:pt x="104" y="515"/>
                </a:cubicBezTo>
                <a:cubicBezTo>
                  <a:pt x="105" y="513"/>
                  <a:pt x="106" y="510"/>
                  <a:pt x="108" y="508"/>
                </a:cubicBezTo>
                <a:cubicBezTo>
                  <a:pt x="108" y="508"/>
                  <a:pt x="108" y="508"/>
                  <a:pt x="108" y="508"/>
                </a:cubicBezTo>
                <a:cubicBezTo>
                  <a:pt x="108" y="509"/>
                  <a:pt x="108" y="510"/>
                  <a:pt x="108" y="511"/>
                </a:cubicBezTo>
                <a:cubicBezTo>
                  <a:pt x="109" y="508"/>
                  <a:pt x="111" y="506"/>
                  <a:pt x="115" y="505"/>
                </a:cubicBezTo>
                <a:close/>
                <a:moveTo>
                  <a:pt x="158" y="507"/>
                </a:moveTo>
                <a:cubicBezTo>
                  <a:pt x="156" y="508"/>
                  <a:pt x="154" y="510"/>
                  <a:pt x="153" y="511"/>
                </a:cubicBezTo>
                <a:cubicBezTo>
                  <a:pt x="155" y="511"/>
                  <a:pt x="157" y="510"/>
                  <a:pt x="158" y="507"/>
                </a:cubicBezTo>
                <a:close/>
                <a:moveTo>
                  <a:pt x="125" y="509"/>
                </a:moveTo>
                <a:cubicBezTo>
                  <a:pt x="126" y="508"/>
                  <a:pt x="127" y="506"/>
                  <a:pt x="128" y="505"/>
                </a:cubicBezTo>
                <a:cubicBezTo>
                  <a:pt x="125" y="506"/>
                  <a:pt x="125" y="507"/>
                  <a:pt x="125" y="509"/>
                </a:cubicBezTo>
                <a:close/>
                <a:moveTo>
                  <a:pt x="135" y="530"/>
                </a:moveTo>
                <a:cubicBezTo>
                  <a:pt x="133" y="531"/>
                  <a:pt x="132" y="531"/>
                  <a:pt x="132" y="532"/>
                </a:cubicBezTo>
                <a:cubicBezTo>
                  <a:pt x="133" y="532"/>
                  <a:pt x="134" y="531"/>
                  <a:pt x="135" y="530"/>
                </a:cubicBezTo>
                <a:close/>
                <a:moveTo>
                  <a:pt x="134" y="515"/>
                </a:moveTo>
                <a:cubicBezTo>
                  <a:pt x="133" y="514"/>
                  <a:pt x="132" y="514"/>
                  <a:pt x="132" y="514"/>
                </a:cubicBezTo>
                <a:cubicBezTo>
                  <a:pt x="131" y="514"/>
                  <a:pt x="130" y="515"/>
                  <a:pt x="130" y="515"/>
                </a:cubicBezTo>
                <a:cubicBezTo>
                  <a:pt x="130" y="516"/>
                  <a:pt x="131" y="516"/>
                  <a:pt x="131" y="516"/>
                </a:cubicBezTo>
                <a:cubicBezTo>
                  <a:pt x="132" y="516"/>
                  <a:pt x="133" y="516"/>
                  <a:pt x="134" y="515"/>
                </a:cubicBezTo>
                <a:close/>
                <a:moveTo>
                  <a:pt x="1768" y="671"/>
                </a:moveTo>
                <a:cubicBezTo>
                  <a:pt x="1771" y="652"/>
                  <a:pt x="1771" y="652"/>
                  <a:pt x="1771" y="652"/>
                </a:cubicBezTo>
                <a:cubicBezTo>
                  <a:pt x="1762" y="652"/>
                  <a:pt x="1762" y="652"/>
                  <a:pt x="1762" y="652"/>
                </a:cubicBezTo>
                <a:cubicBezTo>
                  <a:pt x="1762" y="640"/>
                  <a:pt x="1762" y="640"/>
                  <a:pt x="1762" y="640"/>
                </a:cubicBezTo>
                <a:cubicBezTo>
                  <a:pt x="1773" y="640"/>
                  <a:pt x="1773" y="640"/>
                  <a:pt x="1773" y="640"/>
                </a:cubicBezTo>
                <a:cubicBezTo>
                  <a:pt x="1774" y="629"/>
                  <a:pt x="1774" y="629"/>
                  <a:pt x="1774" y="629"/>
                </a:cubicBezTo>
                <a:cubicBezTo>
                  <a:pt x="1765" y="629"/>
                  <a:pt x="1765" y="629"/>
                  <a:pt x="1765" y="629"/>
                </a:cubicBezTo>
                <a:cubicBezTo>
                  <a:pt x="1765" y="617"/>
                  <a:pt x="1765" y="617"/>
                  <a:pt x="1765" y="617"/>
                </a:cubicBezTo>
                <a:cubicBezTo>
                  <a:pt x="1776" y="617"/>
                  <a:pt x="1776" y="617"/>
                  <a:pt x="1776" y="617"/>
                </a:cubicBezTo>
                <a:cubicBezTo>
                  <a:pt x="1779" y="598"/>
                  <a:pt x="1779" y="598"/>
                  <a:pt x="1779" y="598"/>
                </a:cubicBezTo>
                <a:cubicBezTo>
                  <a:pt x="1790" y="598"/>
                  <a:pt x="1790" y="598"/>
                  <a:pt x="1790" y="598"/>
                </a:cubicBezTo>
                <a:cubicBezTo>
                  <a:pt x="1787" y="617"/>
                  <a:pt x="1787" y="617"/>
                  <a:pt x="1787" y="617"/>
                </a:cubicBezTo>
                <a:cubicBezTo>
                  <a:pt x="1797" y="617"/>
                  <a:pt x="1797" y="617"/>
                  <a:pt x="1797" y="617"/>
                </a:cubicBezTo>
                <a:cubicBezTo>
                  <a:pt x="1800" y="598"/>
                  <a:pt x="1800" y="598"/>
                  <a:pt x="1800" y="598"/>
                </a:cubicBezTo>
                <a:cubicBezTo>
                  <a:pt x="1811" y="598"/>
                  <a:pt x="1811" y="598"/>
                  <a:pt x="1811" y="598"/>
                </a:cubicBezTo>
                <a:cubicBezTo>
                  <a:pt x="1808" y="617"/>
                  <a:pt x="1808" y="617"/>
                  <a:pt x="1808" y="617"/>
                </a:cubicBezTo>
                <a:cubicBezTo>
                  <a:pt x="1817" y="617"/>
                  <a:pt x="1817" y="617"/>
                  <a:pt x="1817" y="617"/>
                </a:cubicBezTo>
                <a:cubicBezTo>
                  <a:pt x="1817" y="629"/>
                  <a:pt x="1817" y="629"/>
                  <a:pt x="1817" y="629"/>
                </a:cubicBezTo>
                <a:cubicBezTo>
                  <a:pt x="1806" y="629"/>
                  <a:pt x="1806" y="629"/>
                  <a:pt x="1806" y="629"/>
                </a:cubicBezTo>
                <a:cubicBezTo>
                  <a:pt x="1805" y="640"/>
                  <a:pt x="1805" y="640"/>
                  <a:pt x="1805" y="640"/>
                </a:cubicBezTo>
                <a:cubicBezTo>
                  <a:pt x="1814" y="640"/>
                  <a:pt x="1814" y="640"/>
                  <a:pt x="1814" y="640"/>
                </a:cubicBezTo>
                <a:cubicBezTo>
                  <a:pt x="1814" y="652"/>
                  <a:pt x="1814" y="652"/>
                  <a:pt x="1814" y="652"/>
                </a:cubicBezTo>
                <a:cubicBezTo>
                  <a:pt x="1803" y="652"/>
                  <a:pt x="1803" y="652"/>
                  <a:pt x="1803" y="652"/>
                </a:cubicBezTo>
                <a:cubicBezTo>
                  <a:pt x="1800" y="671"/>
                  <a:pt x="1800" y="671"/>
                  <a:pt x="1800" y="671"/>
                </a:cubicBezTo>
                <a:cubicBezTo>
                  <a:pt x="1789" y="671"/>
                  <a:pt x="1789" y="671"/>
                  <a:pt x="1789" y="671"/>
                </a:cubicBezTo>
                <a:cubicBezTo>
                  <a:pt x="1792" y="652"/>
                  <a:pt x="1792" y="652"/>
                  <a:pt x="1792" y="652"/>
                </a:cubicBezTo>
                <a:cubicBezTo>
                  <a:pt x="1782" y="652"/>
                  <a:pt x="1782" y="652"/>
                  <a:pt x="1782" y="652"/>
                </a:cubicBezTo>
                <a:cubicBezTo>
                  <a:pt x="1779" y="671"/>
                  <a:pt x="1779" y="671"/>
                  <a:pt x="1779" y="671"/>
                </a:cubicBezTo>
                <a:cubicBezTo>
                  <a:pt x="1768" y="671"/>
                  <a:pt x="1768" y="671"/>
                  <a:pt x="1768" y="671"/>
                </a:cubicBezTo>
                <a:cubicBezTo>
                  <a:pt x="1768" y="671"/>
                  <a:pt x="1768" y="671"/>
                  <a:pt x="1768" y="671"/>
                </a:cubicBezTo>
                <a:close/>
                <a:moveTo>
                  <a:pt x="1793" y="640"/>
                </a:moveTo>
                <a:cubicBezTo>
                  <a:pt x="1795" y="629"/>
                  <a:pt x="1795" y="629"/>
                  <a:pt x="1795" y="629"/>
                </a:cubicBezTo>
                <a:cubicBezTo>
                  <a:pt x="1785" y="629"/>
                  <a:pt x="1785" y="629"/>
                  <a:pt x="1785" y="629"/>
                </a:cubicBezTo>
                <a:cubicBezTo>
                  <a:pt x="1784" y="640"/>
                  <a:pt x="1784" y="640"/>
                  <a:pt x="1784" y="640"/>
                </a:cubicBezTo>
                <a:cubicBezTo>
                  <a:pt x="1793" y="640"/>
                  <a:pt x="1793" y="640"/>
                  <a:pt x="1793" y="640"/>
                </a:cubicBezTo>
                <a:cubicBezTo>
                  <a:pt x="1793" y="640"/>
                  <a:pt x="1793" y="640"/>
                  <a:pt x="1793" y="640"/>
                </a:cubicBezTo>
                <a:close/>
                <a:moveTo>
                  <a:pt x="653" y="645"/>
                </a:moveTo>
                <a:cubicBezTo>
                  <a:pt x="653" y="646"/>
                  <a:pt x="654" y="648"/>
                  <a:pt x="655" y="649"/>
                </a:cubicBezTo>
                <a:cubicBezTo>
                  <a:pt x="655" y="651"/>
                  <a:pt x="655" y="653"/>
                  <a:pt x="656" y="654"/>
                </a:cubicBezTo>
                <a:cubicBezTo>
                  <a:pt x="656" y="656"/>
                  <a:pt x="656" y="657"/>
                  <a:pt x="656" y="659"/>
                </a:cubicBezTo>
                <a:cubicBezTo>
                  <a:pt x="657" y="662"/>
                  <a:pt x="656" y="664"/>
                  <a:pt x="653" y="664"/>
                </a:cubicBezTo>
                <a:cubicBezTo>
                  <a:pt x="650" y="664"/>
                  <a:pt x="647" y="663"/>
                  <a:pt x="644" y="663"/>
                </a:cubicBezTo>
                <a:cubicBezTo>
                  <a:pt x="644" y="663"/>
                  <a:pt x="643" y="663"/>
                  <a:pt x="643" y="664"/>
                </a:cubicBezTo>
                <a:cubicBezTo>
                  <a:pt x="641" y="665"/>
                  <a:pt x="640" y="667"/>
                  <a:pt x="638" y="668"/>
                </a:cubicBezTo>
                <a:cubicBezTo>
                  <a:pt x="636" y="671"/>
                  <a:pt x="633" y="671"/>
                  <a:pt x="631" y="669"/>
                </a:cubicBezTo>
                <a:cubicBezTo>
                  <a:pt x="629" y="667"/>
                  <a:pt x="628" y="664"/>
                  <a:pt x="626" y="661"/>
                </a:cubicBezTo>
                <a:cubicBezTo>
                  <a:pt x="625" y="660"/>
                  <a:pt x="626" y="658"/>
                  <a:pt x="628" y="657"/>
                </a:cubicBezTo>
                <a:cubicBezTo>
                  <a:pt x="625" y="657"/>
                  <a:pt x="624" y="657"/>
                  <a:pt x="622" y="657"/>
                </a:cubicBezTo>
                <a:cubicBezTo>
                  <a:pt x="621" y="659"/>
                  <a:pt x="620" y="661"/>
                  <a:pt x="619" y="663"/>
                </a:cubicBezTo>
                <a:cubicBezTo>
                  <a:pt x="619" y="663"/>
                  <a:pt x="619" y="664"/>
                  <a:pt x="619" y="665"/>
                </a:cubicBezTo>
                <a:cubicBezTo>
                  <a:pt x="619" y="668"/>
                  <a:pt x="618" y="669"/>
                  <a:pt x="615" y="669"/>
                </a:cubicBezTo>
                <a:cubicBezTo>
                  <a:pt x="612" y="669"/>
                  <a:pt x="609" y="668"/>
                  <a:pt x="606" y="667"/>
                </a:cubicBezTo>
                <a:cubicBezTo>
                  <a:pt x="604" y="666"/>
                  <a:pt x="603" y="665"/>
                  <a:pt x="604" y="663"/>
                </a:cubicBezTo>
                <a:cubicBezTo>
                  <a:pt x="604" y="662"/>
                  <a:pt x="604" y="661"/>
                  <a:pt x="604" y="661"/>
                </a:cubicBezTo>
                <a:cubicBezTo>
                  <a:pt x="602" y="660"/>
                  <a:pt x="600" y="659"/>
                  <a:pt x="598" y="657"/>
                </a:cubicBezTo>
                <a:cubicBezTo>
                  <a:pt x="597" y="657"/>
                  <a:pt x="595" y="655"/>
                  <a:pt x="595" y="653"/>
                </a:cubicBezTo>
                <a:cubicBezTo>
                  <a:pt x="594" y="651"/>
                  <a:pt x="594" y="650"/>
                  <a:pt x="596" y="648"/>
                </a:cubicBezTo>
                <a:cubicBezTo>
                  <a:pt x="599" y="646"/>
                  <a:pt x="600" y="643"/>
                  <a:pt x="599" y="639"/>
                </a:cubicBezTo>
                <a:cubicBezTo>
                  <a:pt x="599" y="637"/>
                  <a:pt x="599" y="635"/>
                  <a:pt x="599" y="633"/>
                </a:cubicBezTo>
                <a:cubicBezTo>
                  <a:pt x="598" y="632"/>
                  <a:pt x="596" y="632"/>
                  <a:pt x="595" y="631"/>
                </a:cubicBezTo>
                <a:cubicBezTo>
                  <a:pt x="594" y="629"/>
                  <a:pt x="593" y="627"/>
                  <a:pt x="593" y="625"/>
                </a:cubicBezTo>
                <a:cubicBezTo>
                  <a:pt x="593" y="622"/>
                  <a:pt x="596" y="619"/>
                  <a:pt x="599" y="619"/>
                </a:cubicBezTo>
                <a:cubicBezTo>
                  <a:pt x="599" y="619"/>
                  <a:pt x="599" y="620"/>
                  <a:pt x="600" y="621"/>
                </a:cubicBezTo>
                <a:cubicBezTo>
                  <a:pt x="600" y="622"/>
                  <a:pt x="600" y="623"/>
                  <a:pt x="600" y="624"/>
                </a:cubicBezTo>
                <a:cubicBezTo>
                  <a:pt x="599" y="624"/>
                  <a:pt x="599" y="624"/>
                  <a:pt x="599" y="624"/>
                </a:cubicBezTo>
                <a:cubicBezTo>
                  <a:pt x="598" y="625"/>
                  <a:pt x="598" y="626"/>
                  <a:pt x="597" y="628"/>
                </a:cubicBezTo>
                <a:cubicBezTo>
                  <a:pt x="598" y="628"/>
                  <a:pt x="599" y="628"/>
                  <a:pt x="599" y="627"/>
                </a:cubicBezTo>
                <a:cubicBezTo>
                  <a:pt x="601" y="626"/>
                  <a:pt x="601" y="625"/>
                  <a:pt x="602" y="624"/>
                </a:cubicBezTo>
                <a:cubicBezTo>
                  <a:pt x="606" y="617"/>
                  <a:pt x="612" y="614"/>
                  <a:pt x="620" y="612"/>
                </a:cubicBezTo>
                <a:cubicBezTo>
                  <a:pt x="623" y="612"/>
                  <a:pt x="627" y="610"/>
                  <a:pt x="629" y="608"/>
                </a:cubicBezTo>
                <a:cubicBezTo>
                  <a:pt x="629" y="607"/>
                  <a:pt x="630" y="607"/>
                  <a:pt x="630" y="607"/>
                </a:cubicBezTo>
                <a:cubicBezTo>
                  <a:pt x="633" y="606"/>
                  <a:pt x="634" y="604"/>
                  <a:pt x="636" y="602"/>
                </a:cubicBezTo>
                <a:cubicBezTo>
                  <a:pt x="644" y="595"/>
                  <a:pt x="656" y="594"/>
                  <a:pt x="664" y="601"/>
                </a:cubicBezTo>
                <a:cubicBezTo>
                  <a:pt x="666" y="603"/>
                  <a:pt x="669" y="605"/>
                  <a:pt x="671" y="607"/>
                </a:cubicBezTo>
                <a:cubicBezTo>
                  <a:pt x="673" y="608"/>
                  <a:pt x="674" y="610"/>
                  <a:pt x="675" y="612"/>
                </a:cubicBezTo>
                <a:cubicBezTo>
                  <a:pt x="676" y="613"/>
                  <a:pt x="677" y="613"/>
                  <a:pt x="678" y="612"/>
                </a:cubicBezTo>
                <a:cubicBezTo>
                  <a:pt x="679" y="612"/>
                  <a:pt x="679" y="611"/>
                  <a:pt x="680" y="610"/>
                </a:cubicBezTo>
                <a:cubicBezTo>
                  <a:pt x="682" y="607"/>
                  <a:pt x="685" y="607"/>
                  <a:pt x="686" y="610"/>
                </a:cubicBezTo>
                <a:cubicBezTo>
                  <a:pt x="688" y="614"/>
                  <a:pt x="688" y="616"/>
                  <a:pt x="689" y="619"/>
                </a:cubicBezTo>
                <a:cubicBezTo>
                  <a:pt x="690" y="624"/>
                  <a:pt x="689" y="628"/>
                  <a:pt x="688" y="633"/>
                </a:cubicBezTo>
                <a:cubicBezTo>
                  <a:pt x="685" y="639"/>
                  <a:pt x="681" y="642"/>
                  <a:pt x="674" y="642"/>
                </a:cubicBezTo>
                <a:cubicBezTo>
                  <a:pt x="673" y="642"/>
                  <a:pt x="673" y="642"/>
                  <a:pt x="672" y="642"/>
                </a:cubicBezTo>
                <a:cubicBezTo>
                  <a:pt x="670" y="642"/>
                  <a:pt x="668" y="642"/>
                  <a:pt x="668" y="645"/>
                </a:cubicBezTo>
                <a:cubicBezTo>
                  <a:pt x="666" y="649"/>
                  <a:pt x="660" y="651"/>
                  <a:pt x="657" y="648"/>
                </a:cubicBezTo>
                <a:cubicBezTo>
                  <a:pt x="656" y="646"/>
                  <a:pt x="655" y="646"/>
                  <a:pt x="654" y="644"/>
                </a:cubicBezTo>
                <a:cubicBezTo>
                  <a:pt x="653" y="645"/>
                  <a:pt x="653" y="645"/>
                  <a:pt x="653" y="645"/>
                </a:cubicBezTo>
                <a:close/>
                <a:moveTo>
                  <a:pt x="647" y="640"/>
                </a:moveTo>
                <a:cubicBezTo>
                  <a:pt x="651" y="642"/>
                  <a:pt x="655" y="643"/>
                  <a:pt x="657" y="646"/>
                </a:cubicBezTo>
                <a:cubicBezTo>
                  <a:pt x="659" y="648"/>
                  <a:pt x="661" y="648"/>
                  <a:pt x="663" y="648"/>
                </a:cubicBezTo>
                <a:cubicBezTo>
                  <a:pt x="666" y="647"/>
                  <a:pt x="667" y="645"/>
                  <a:pt x="667" y="642"/>
                </a:cubicBezTo>
                <a:cubicBezTo>
                  <a:pt x="667" y="642"/>
                  <a:pt x="666" y="642"/>
                  <a:pt x="666" y="642"/>
                </a:cubicBezTo>
                <a:cubicBezTo>
                  <a:pt x="666" y="644"/>
                  <a:pt x="664" y="645"/>
                  <a:pt x="664" y="646"/>
                </a:cubicBezTo>
                <a:cubicBezTo>
                  <a:pt x="662" y="647"/>
                  <a:pt x="661" y="647"/>
                  <a:pt x="660" y="646"/>
                </a:cubicBezTo>
                <a:cubicBezTo>
                  <a:pt x="660" y="646"/>
                  <a:pt x="659" y="645"/>
                  <a:pt x="659" y="644"/>
                </a:cubicBezTo>
                <a:cubicBezTo>
                  <a:pt x="659" y="642"/>
                  <a:pt x="660" y="640"/>
                  <a:pt x="660" y="638"/>
                </a:cubicBezTo>
                <a:cubicBezTo>
                  <a:pt x="663" y="639"/>
                  <a:pt x="666" y="640"/>
                  <a:pt x="670" y="640"/>
                </a:cubicBezTo>
                <a:cubicBezTo>
                  <a:pt x="677" y="642"/>
                  <a:pt x="683" y="640"/>
                  <a:pt x="686" y="631"/>
                </a:cubicBezTo>
                <a:cubicBezTo>
                  <a:pt x="688" y="627"/>
                  <a:pt x="688" y="622"/>
                  <a:pt x="687" y="617"/>
                </a:cubicBezTo>
                <a:cubicBezTo>
                  <a:pt x="686" y="615"/>
                  <a:pt x="686" y="613"/>
                  <a:pt x="685" y="611"/>
                </a:cubicBezTo>
                <a:cubicBezTo>
                  <a:pt x="684" y="610"/>
                  <a:pt x="683" y="609"/>
                  <a:pt x="682" y="611"/>
                </a:cubicBezTo>
                <a:cubicBezTo>
                  <a:pt x="680" y="612"/>
                  <a:pt x="679" y="614"/>
                  <a:pt x="677" y="615"/>
                </a:cubicBezTo>
                <a:cubicBezTo>
                  <a:pt x="676" y="615"/>
                  <a:pt x="675" y="616"/>
                  <a:pt x="675" y="617"/>
                </a:cubicBezTo>
                <a:cubicBezTo>
                  <a:pt x="676" y="620"/>
                  <a:pt x="675" y="623"/>
                  <a:pt x="674" y="627"/>
                </a:cubicBezTo>
                <a:cubicBezTo>
                  <a:pt x="674" y="625"/>
                  <a:pt x="675" y="623"/>
                  <a:pt x="675" y="621"/>
                </a:cubicBezTo>
                <a:cubicBezTo>
                  <a:pt x="675" y="620"/>
                  <a:pt x="674" y="620"/>
                  <a:pt x="674" y="619"/>
                </a:cubicBezTo>
                <a:cubicBezTo>
                  <a:pt x="673" y="620"/>
                  <a:pt x="673" y="620"/>
                  <a:pt x="673" y="620"/>
                </a:cubicBezTo>
                <a:cubicBezTo>
                  <a:pt x="672" y="621"/>
                  <a:pt x="671" y="623"/>
                  <a:pt x="670" y="624"/>
                </a:cubicBezTo>
                <a:cubicBezTo>
                  <a:pt x="670" y="624"/>
                  <a:pt x="670" y="624"/>
                  <a:pt x="670" y="624"/>
                </a:cubicBezTo>
                <a:cubicBezTo>
                  <a:pt x="670" y="623"/>
                  <a:pt x="671" y="621"/>
                  <a:pt x="671" y="619"/>
                </a:cubicBezTo>
                <a:cubicBezTo>
                  <a:pt x="670" y="619"/>
                  <a:pt x="670" y="620"/>
                  <a:pt x="669" y="621"/>
                </a:cubicBezTo>
                <a:cubicBezTo>
                  <a:pt x="668" y="621"/>
                  <a:pt x="668" y="622"/>
                  <a:pt x="668" y="623"/>
                </a:cubicBezTo>
                <a:cubicBezTo>
                  <a:pt x="668" y="619"/>
                  <a:pt x="668" y="619"/>
                  <a:pt x="674" y="618"/>
                </a:cubicBezTo>
                <a:cubicBezTo>
                  <a:pt x="674" y="617"/>
                  <a:pt x="673" y="617"/>
                  <a:pt x="673" y="617"/>
                </a:cubicBezTo>
                <a:cubicBezTo>
                  <a:pt x="670" y="617"/>
                  <a:pt x="670" y="616"/>
                  <a:pt x="669" y="614"/>
                </a:cubicBezTo>
                <a:cubicBezTo>
                  <a:pt x="671" y="613"/>
                  <a:pt x="672" y="613"/>
                  <a:pt x="674" y="612"/>
                </a:cubicBezTo>
                <a:cubicBezTo>
                  <a:pt x="672" y="610"/>
                  <a:pt x="671" y="607"/>
                  <a:pt x="668" y="607"/>
                </a:cubicBezTo>
                <a:cubicBezTo>
                  <a:pt x="667" y="607"/>
                  <a:pt x="667" y="606"/>
                  <a:pt x="667" y="606"/>
                </a:cubicBezTo>
                <a:cubicBezTo>
                  <a:pt x="664" y="604"/>
                  <a:pt x="662" y="602"/>
                  <a:pt x="659" y="600"/>
                </a:cubicBezTo>
                <a:cubicBezTo>
                  <a:pt x="657" y="598"/>
                  <a:pt x="654" y="598"/>
                  <a:pt x="652" y="598"/>
                </a:cubicBezTo>
                <a:cubicBezTo>
                  <a:pt x="649" y="598"/>
                  <a:pt x="645" y="599"/>
                  <a:pt x="642" y="600"/>
                </a:cubicBezTo>
                <a:cubicBezTo>
                  <a:pt x="640" y="601"/>
                  <a:pt x="637" y="603"/>
                  <a:pt x="635" y="606"/>
                </a:cubicBezTo>
                <a:cubicBezTo>
                  <a:pt x="637" y="606"/>
                  <a:pt x="638" y="606"/>
                  <a:pt x="639" y="606"/>
                </a:cubicBezTo>
                <a:cubicBezTo>
                  <a:pt x="639" y="606"/>
                  <a:pt x="638" y="607"/>
                  <a:pt x="637" y="607"/>
                </a:cubicBezTo>
                <a:cubicBezTo>
                  <a:pt x="635" y="608"/>
                  <a:pt x="632" y="607"/>
                  <a:pt x="630" y="609"/>
                </a:cubicBezTo>
                <a:cubicBezTo>
                  <a:pt x="627" y="613"/>
                  <a:pt x="623" y="617"/>
                  <a:pt x="619" y="621"/>
                </a:cubicBezTo>
                <a:cubicBezTo>
                  <a:pt x="617" y="623"/>
                  <a:pt x="617" y="625"/>
                  <a:pt x="616" y="628"/>
                </a:cubicBezTo>
                <a:cubicBezTo>
                  <a:pt x="616" y="628"/>
                  <a:pt x="616" y="629"/>
                  <a:pt x="616" y="629"/>
                </a:cubicBezTo>
                <a:cubicBezTo>
                  <a:pt x="617" y="631"/>
                  <a:pt x="618" y="633"/>
                  <a:pt x="620" y="635"/>
                </a:cubicBezTo>
                <a:cubicBezTo>
                  <a:pt x="621" y="634"/>
                  <a:pt x="622" y="632"/>
                  <a:pt x="623" y="631"/>
                </a:cubicBezTo>
                <a:cubicBezTo>
                  <a:pt x="623" y="632"/>
                  <a:pt x="623" y="633"/>
                  <a:pt x="622" y="635"/>
                </a:cubicBezTo>
                <a:cubicBezTo>
                  <a:pt x="621" y="636"/>
                  <a:pt x="620" y="637"/>
                  <a:pt x="620" y="639"/>
                </a:cubicBezTo>
                <a:cubicBezTo>
                  <a:pt x="619" y="640"/>
                  <a:pt x="620" y="641"/>
                  <a:pt x="620" y="642"/>
                </a:cubicBezTo>
                <a:cubicBezTo>
                  <a:pt x="623" y="645"/>
                  <a:pt x="626" y="645"/>
                  <a:pt x="630" y="643"/>
                </a:cubicBezTo>
                <a:cubicBezTo>
                  <a:pt x="632" y="642"/>
                  <a:pt x="635" y="640"/>
                  <a:pt x="638" y="640"/>
                </a:cubicBezTo>
                <a:cubicBezTo>
                  <a:pt x="639" y="639"/>
                  <a:pt x="640" y="638"/>
                  <a:pt x="640" y="637"/>
                </a:cubicBezTo>
                <a:cubicBezTo>
                  <a:pt x="640" y="634"/>
                  <a:pt x="640" y="630"/>
                  <a:pt x="640" y="627"/>
                </a:cubicBezTo>
                <a:cubicBezTo>
                  <a:pt x="640" y="624"/>
                  <a:pt x="640" y="621"/>
                  <a:pt x="640" y="618"/>
                </a:cubicBezTo>
                <a:cubicBezTo>
                  <a:pt x="641" y="621"/>
                  <a:pt x="642" y="623"/>
                  <a:pt x="642" y="626"/>
                </a:cubicBezTo>
                <a:cubicBezTo>
                  <a:pt x="643" y="631"/>
                  <a:pt x="643" y="635"/>
                  <a:pt x="642" y="639"/>
                </a:cubicBezTo>
                <a:cubicBezTo>
                  <a:pt x="641" y="640"/>
                  <a:pt x="640" y="641"/>
                  <a:pt x="640" y="641"/>
                </a:cubicBezTo>
                <a:cubicBezTo>
                  <a:pt x="636" y="641"/>
                  <a:pt x="633" y="643"/>
                  <a:pt x="630" y="645"/>
                </a:cubicBezTo>
                <a:cubicBezTo>
                  <a:pt x="625" y="648"/>
                  <a:pt x="621" y="646"/>
                  <a:pt x="618" y="642"/>
                </a:cubicBezTo>
                <a:cubicBezTo>
                  <a:pt x="617" y="642"/>
                  <a:pt x="617" y="640"/>
                  <a:pt x="618" y="640"/>
                </a:cubicBezTo>
                <a:cubicBezTo>
                  <a:pt x="619" y="638"/>
                  <a:pt x="618" y="636"/>
                  <a:pt x="616" y="634"/>
                </a:cubicBezTo>
                <a:cubicBezTo>
                  <a:pt x="615" y="632"/>
                  <a:pt x="613" y="629"/>
                  <a:pt x="614" y="627"/>
                </a:cubicBezTo>
                <a:cubicBezTo>
                  <a:pt x="615" y="625"/>
                  <a:pt x="616" y="623"/>
                  <a:pt x="617" y="621"/>
                </a:cubicBezTo>
                <a:cubicBezTo>
                  <a:pt x="619" y="619"/>
                  <a:pt x="621" y="616"/>
                  <a:pt x="623" y="614"/>
                </a:cubicBezTo>
                <a:cubicBezTo>
                  <a:pt x="623" y="614"/>
                  <a:pt x="622" y="614"/>
                  <a:pt x="622" y="614"/>
                </a:cubicBezTo>
                <a:cubicBezTo>
                  <a:pt x="617" y="615"/>
                  <a:pt x="612" y="616"/>
                  <a:pt x="608" y="619"/>
                </a:cubicBezTo>
                <a:cubicBezTo>
                  <a:pt x="604" y="624"/>
                  <a:pt x="601" y="629"/>
                  <a:pt x="601" y="636"/>
                </a:cubicBezTo>
                <a:cubicBezTo>
                  <a:pt x="600" y="642"/>
                  <a:pt x="603" y="648"/>
                  <a:pt x="606" y="654"/>
                </a:cubicBezTo>
                <a:cubicBezTo>
                  <a:pt x="606" y="655"/>
                  <a:pt x="607" y="657"/>
                  <a:pt x="607" y="658"/>
                </a:cubicBezTo>
                <a:cubicBezTo>
                  <a:pt x="607" y="659"/>
                  <a:pt x="606" y="661"/>
                  <a:pt x="606" y="662"/>
                </a:cubicBezTo>
                <a:cubicBezTo>
                  <a:pt x="605" y="664"/>
                  <a:pt x="606" y="665"/>
                  <a:pt x="607" y="665"/>
                </a:cubicBezTo>
                <a:cubicBezTo>
                  <a:pt x="610" y="666"/>
                  <a:pt x="613" y="667"/>
                  <a:pt x="616" y="667"/>
                </a:cubicBezTo>
                <a:cubicBezTo>
                  <a:pt x="616" y="667"/>
                  <a:pt x="617" y="666"/>
                  <a:pt x="617" y="666"/>
                </a:cubicBezTo>
                <a:cubicBezTo>
                  <a:pt x="617" y="665"/>
                  <a:pt x="617" y="663"/>
                  <a:pt x="618" y="662"/>
                </a:cubicBezTo>
                <a:cubicBezTo>
                  <a:pt x="620" y="660"/>
                  <a:pt x="620" y="657"/>
                  <a:pt x="620" y="654"/>
                </a:cubicBezTo>
                <a:cubicBezTo>
                  <a:pt x="620" y="654"/>
                  <a:pt x="620" y="654"/>
                  <a:pt x="620" y="653"/>
                </a:cubicBezTo>
                <a:cubicBezTo>
                  <a:pt x="620" y="653"/>
                  <a:pt x="620" y="653"/>
                  <a:pt x="620" y="652"/>
                </a:cubicBezTo>
                <a:cubicBezTo>
                  <a:pt x="621" y="655"/>
                  <a:pt x="622" y="655"/>
                  <a:pt x="624" y="655"/>
                </a:cubicBezTo>
                <a:cubicBezTo>
                  <a:pt x="625" y="655"/>
                  <a:pt x="626" y="655"/>
                  <a:pt x="627" y="655"/>
                </a:cubicBezTo>
                <a:cubicBezTo>
                  <a:pt x="629" y="655"/>
                  <a:pt x="632" y="656"/>
                  <a:pt x="633" y="652"/>
                </a:cubicBezTo>
                <a:cubicBezTo>
                  <a:pt x="633" y="654"/>
                  <a:pt x="633" y="655"/>
                  <a:pt x="633" y="656"/>
                </a:cubicBezTo>
                <a:cubicBezTo>
                  <a:pt x="632" y="657"/>
                  <a:pt x="630" y="658"/>
                  <a:pt x="629" y="658"/>
                </a:cubicBezTo>
                <a:cubicBezTo>
                  <a:pt x="628" y="659"/>
                  <a:pt x="627" y="661"/>
                  <a:pt x="628" y="661"/>
                </a:cubicBezTo>
                <a:cubicBezTo>
                  <a:pt x="629" y="664"/>
                  <a:pt x="630" y="666"/>
                  <a:pt x="632" y="668"/>
                </a:cubicBezTo>
                <a:cubicBezTo>
                  <a:pt x="634" y="669"/>
                  <a:pt x="636" y="669"/>
                  <a:pt x="637" y="667"/>
                </a:cubicBezTo>
                <a:cubicBezTo>
                  <a:pt x="638" y="666"/>
                  <a:pt x="638" y="665"/>
                  <a:pt x="639" y="665"/>
                </a:cubicBezTo>
                <a:cubicBezTo>
                  <a:pt x="641" y="663"/>
                  <a:pt x="642" y="662"/>
                  <a:pt x="644" y="661"/>
                </a:cubicBezTo>
                <a:cubicBezTo>
                  <a:pt x="648" y="657"/>
                  <a:pt x="650" y="651"/>
                  <a:pt x="652" y="645"/>
                </a:cubicBezTo>
                <a:cubicBezTo>
                  <a:pt x="652" y="644"/>
                  <a:pt x="651" y="644"/>
                  <a:pt x="651" y="643"/>
                </a:cubicBezTo>
                <a:cubicBezTo>
                  <a:pt x="650" y="642"/>
                  <a:pt x="649" y="641"/>
                  <a:pt x="647" y="640"/>
                </a:cubicBezTo>
                <a:close/>
                <a:moveTo>
                  <a:pt x="600" y="647"/>
                </a:moveTo>
                <a:cubicBezTo>
                  <a:pt x="599" y="648"/>
                  <a:pt x="598" y="648"/>
                  <a:pt x="597" y="650"/>
                </a:cubicBezTo>
                <a:cubicBezTo>
                  <a:pt x="596" y="650"/>
                  <a:pt x="596" y="651"/>
                  <a:pt x="596" y="652"/>
                </a:cubicBezTo>
                <a:cubicBezTo>
                  <a:pt x="596" y="654"/>
                  <a:pt x="600" y="659"/>
                  <a:pt x="603" y="658"/>
                </a:cubicBezTo>
                <a:cubicBezTo>
                  <a:pt x="605" y="658"/>
                  <a:pt x="606" y="657"/>
                  <a:pt x="605" y="655"/>
                </a:cubicBezTo>
                <a:cubicBezTo>
                  <a:pt x="603" y="652"/>
                  <a:pt x="602" y="650"/>
                  <a:pt x="600" y="647"/>
                </a:cubicBezTo>
                <a:close/>
                <a:moveTo>
                  <a:pt x="653" y="649"/>
                </a:moveTo>
                <a:cubicBezTo>
                  <a:pt x="651" y="654"/>
                  <a:pt x="648" y="658"/>
                  <a:pt x="646" y="662"/>
                </a:cubicBezTo>
                <a:cubicBezTo>
                  <a:pt x="649" y="662"/>
                  <a:pt x="651" y="663"/>
                  <a:pt x="654" y="662"/>
                </a:cubicBezTo>
                <a:cubicBezTo>
                  <a:pt x="654" y="662"/>
                  <a:pt x="655" y="661"/>
                  <a:pt x="655" y="661"/>
                </a:cubicBezTo>
                <a:cubicBezTo>
                  <a:pt x="655" y="658"/>
                  <a:pt x="655" y="655"/>
                  <a:pt x="654" y="653"/>
                </a:cubicBezTo>
                <a:cubicBezTo>
                  <a:pt x="654" y="652"/>
                  <a:pt x="653" y="650"/>
                  <a:pt x="653" y="649"/>
                </a:cubicBezTo>
                <a:close/>
                <a:moveTo>
                  <a:pt x="600" y="629"/>
                </a:moveTo>
                <a:cubicBezTo>
                  <a:pt x="599" y="629"/>
                  <a:pt x="599" y="629"/>
                  <a:pt x="598" y="629"/>
                </a:cubicBezTo>
                <a:cubicBezTo>
                  <a:pt x="597" y="629"/>
                  <a:pt x="597" y="629"/>
                  <a:pt x="597" y="629"/>
                </a:cubicBezTo>
                <a:cubicBezTo>
                  <a:pt x="596" y="629"/>
                  <a:pt x="596" y="628"/>
                  <a:pt x="596" y="627"/>
                </a:cubicBezTo>
                <a:cubicBezTo>
                  <a:pt x="597" y="625"/>
                  <a:pt x="597" y="623"/>
                  <a:pt x="598" y="621"/>
                </a:cubicBezTo>
                <a:cubicBezTo>
                  <a:pt x="597" y="621"/>
                  <a:pt x="597" y="621"/>
                  <a:pt x="597" y="621"/>
                </a:cubicBezTo>
                <a:cubicBezTo>
                  <a:pt x="596" y="622"/>
                  <a:pt x="595" y="623"/>
                  <a:pt x="594" y="624"/>
                </a:cubicBezTo>
                <a:cubicBezTo>
                  <a:pt x="593" y="625"/>
                  <a:pt x="595" y="630"/>
                  <a:pt x="597" y="631"/>
                </a:cubicBezTo>
                <a:cubicBezTo>
                  <a:pt x="598" y="632"/>
                  <a:pt x="600" y="631"/>
                  <a:pt x="600" y="629"/>
                </a:cubicBezTo>
                <a:close/>
                <a:moveTo>
                  <a:pt x="600" y="647"/>
                </a:moveTo>
                <a:cubicBezTo>
                  <a:pt x="599" y="648"/>
                  <a:pt x="598" y="649"/>
                  <a:pt x="597" y="650"/>
                </a:cubicBezTo>
                <a:cubicBezTo>
                  <a:pt x="596" y="650"/>
                  <a:pt x="596" y="651"/>
                  <a:pt x="596" y="652"/>
                </a:cubicBezTo>
                <a:cubicBezTo>
                  <a:pt x="596" y="655"/>
                  <a:pt x="600" y="659"/>
                  <a:pt x="603" y="659"/>
                </a:cubicBezTo>
                <a:cubicBezTo>
                  <a:pt x="605" y="659"/>
                  <a:pt x="606" y="657"/>
                  <a:pt x="605" y="656"/>
                </a:cubicBezTo>
                <a:cubicBezTo>
                  <a:pt x="603" y="653"/>
                  <a:pt x="602" y="650"/>
                  <a:pt x="600" y="647"/>
                </a:cubicBezTo>
                <a:close/>
                <a:moveTo>
                  <a:pt x="653" y="649"/>
                </a:moveTo>
                <a:cubicBezTo>
                  <a:pt x="651" y="654"/>
                  <a:pt x="648" y="658"/>
                  <a:pt x="646" y="662"/>
                </a:cubicBezTo>
                <a:cubicBezTo>
                  <a:pt x="649" y="662"/>
                  <a:pt x="651" y="663"/>
                  <a:pt x="654" y="662"/>
                </a:cubicBezTo>
                <a:cubicBezTo>
                  <a:pt x="654" y="662"/>
                  <a:pt x="655" y="661"/>
                  <a:pt x="655" y="661"/>
                </a:cubicBezTo>
                <a:cubicBezTo>
                  <a:pt x="655" y="658"/>
                  <a:pt x="655" y="656"/>
                  <a:pt x="654" y="653"/>
                </a:cubicBezTo>
                <a:cubicBezTo>
                  <a:pt x="654" y="652"/>
                  <a:pt x="653" y="650"/>
                  <a:pt x="653" y="649"/>
                </a:cubicBezTo>
                <a:close/>
                <a:moveTo>
                  <a:pt x="600" y="629"/>
                </a:moveTo>
                <a:cubicBezTo>
                  <a:pt x="600" y="629"/>
                  <a:pt x="599" y="630"/>
                  <a:pt x="598" y="630"/>
                </a:cubicBezTo>
                <a:cubicBezTo>
                  <a:pt x="598" y="630"/>
                  <a:pt x="597" y="630"/>
                  <a:pt x="597" y="629"/>
                </a:cubicBezTo>
                <a:cubicBezTo>
                  <a:pt x="596" y="629"/>
                  <a:pt x="596" y="628"/>
                  <a:pt x="596" y="627"/>
                </a:cubicBezTo>
                <a:cubicBezTo>
                  <a:pt x="597" y="625"/>
                  <a:pt x="597" y="623"/>
                  <a:pt x="598" y="621"/>
                </a:cubicBezTo>
                <a:cubicBezTo>
                  <a:pt x="598" y="621"/>
                  <a:pt x="598" y="621"/>
                  <a:pt x="597" y="621"/>
                </a:cubicBezTo>
                <a:cubicBezTo>
                  <a:pt x="596" y="622"/>
                  <a:pt x="595" y="623"/>
                  <a:pt x="594" y="624"/>
                </a:cubicBezTo>
                <a:cubicBezTo>
                  <a:pt x="594" y="625"/>
                  <a:pt x="595" y="630"/>
                  <a:pt x="597" y="631"/>
                </a:cubicBezTo>
                <a:cubicBezTo>
                  <a:pt x="598" y="632"/>
                  <a:pt x="600" y="631"/>
                  <a:pt x="600" y="629"/>
                </a:cubicBezTo>
                <a:close/>
                <a:moveTo>
                  <a:pt x="653" y="621"/>
                </a:moveTo>
                <a:cubicBezTo>
                  <a:pt x="656" y="617"/>
                  <a:pt x="656" y="617"/>
                  <a:pt x="660" y="616"/>
                </a:cubicBezTo>
                <a:cubicBezTo>
                  <a:pt x="660" y="618"/>
                  <a:pt x="661" y="619"/>
                  <a:pt x="662" y="619"/>
                </a:cubicBezTo>
                <a:cubicBezTo>
                  <a:pt x="660" y="620"/>
                  <a:pt x="658" y="622"/>
                  <a:pt x="656" y="623"/>
                </a:cubicBezTo>
                <a:cubicBezTo>
                  <a:pt x="655" y="622"/>
                  <a:pt x="655" y="621"/>
                  <a:pt x="654" y="620"/>
                </a:cubicBezTo>
                <a:cubicBezTo>
                  <a:pt x="654" y="620"/>
                  <a:pt x="653" y="620"/>
                  <a:pt x="653" y="621"/>
                </a:cubicBezTo>
                <a:close/>
                <a:moveTo>
                  <a:pt x="658" y="620"/>
                </a:moveTo>
                <a:cubicBezTo>
                  <a:pt x="658" y="620"/>
                  <a:pt x="657" y="619"/>
                  <a:pt x="656" y="619"/>
                </a:cubicBezTo>
                <a:cubicBezTo>
                  <a:pt x="656" y="619"/>
                  <a:pt x="655" y="620"/>
                  <a:pt x="655" y="621"/>
                </a:cubicBezTo>
                <a:cubicBezTo>
                  <a:pt x="655" y="621"/>
                  <a:pt x="656" y="621"/>
                  <a:pt x="656" y="622"/>
                </a:cubicBezTo>
                <a:cubicBezTo>
                  <a:pt x="657" y="621"/>
                  <a:pt x="657" y="621"/>
                  <a:pt x="658" y="620"/>
                </a:cubicBezTo>
                <a:close/>
                <a:moveTo>
                  <a:pt x="640" y="610"/>
                </a:moveTo>
                <a:cubicBezTo>
                  <a:pt x="633" y="609"/>
                  <a:pt x="630" y="612"/>
                  <a:pt x="629" y="620"/>
                </a:cubicBezTo>
                <a:cubicBezTo>
                  <a:pt x="630" y="618"/>
                  <a:pt x="631" y="616"/>
                  <a:pt x="632" y="613"/>
                </a:cubicBezTo>
                <a:cubicBezTo>
                  <a:pt x="633" y="613"/>
                  <a:pt x="633" y="613"/>
                  <a:pt x="633" y="613"/>
                </a:cubicBezTo>
                <a:cubicBezTo>
                  <a:pt x="633" y="614"/>
                  <a:pt x="633" y="615"/>
                  <a:pt x="633" y="616"/>
                </a:cubicBezTo>
                <a:cubicBezTo>
                  <a:pt x="634" y="613"/>
                  <a:pt x="636" y="611"/>
                  <a:pt x="640" y="610"/>
                </a:cubicBezTo>
                <a:close/>
                <a:moveTo>
                  <a:pt x="683" y="612"/>
                </a:moveTo>
                <a:cubicBezTo>
                  <a:pt x="681" y="613"/>
                  <a:pt x="679" y="615"/>
                  <a:pt x="678" y="616"/>
                </a:cubicBezTo>
                <a:cubicBezTo>
                  <a:pt x="679" y="617"/>
                  <a:pt x="682" y="615"/>
                  <a:pt x="683" y="612"/>
                </a:cubicBezTo>
                <a:close/>
                <a:moveTo>
                  <a:pt x="650" y="614"/>
                </a:moveTo>
                <a:cubicBezTo>
                  <a:pt x="651" y="613"/>
                  <a:pt x="652" y="611"/>
                  <a:pt x="653" y="610"/>
                </a:cubicBezTo>
                <a:cubicBezTo>
                  <a:pt x="650" y="611"/>
                  <a:pt x="649" y="612"/>
                  <a:pt x="650" y="614"/>
                </a:cubicBezTo>
                <a:close/>
                <a:moveTo>
                  <a:pt x="659" y="635"/>
                </a:moveTo>
                <a:cubicBezTo>
                  <a:pt x="658" y="636"/>
                  <a:pt x="657" y="637"/>
                  <a:pt x="657" y="637"/>
                </a:cubicBezTo>
                <a:cubicBezTo>
                  <a:pt x="657" y="637"/>
                  <a:pt x="659" y="636"/>
                  <a:pt x="659" y="635"/>
                </a:cubicBezTo>
                <a:close/>
                <a:moveTo>
                  <a:pt x="658" y="620"/>
                </a:moveTo>
                <a:cubicBezTo>
                  <a:pt x="658" y="619"/>
                  <a:pt x="657" y="619"/>
                  <a:pt x="656" y="619"/>
                </a:cubicBezTo>
                <a:cubicBezTo>
                  <a:pt x="656" y="619"/>
                  <a:pt x="655" y="620"/>
                  <a:pt x="655" y="620"/>
                </a:cubicBezTo>
                <a:cubicBezTo>
                  <a:pt x="655" y="621"/>
                  <a:pt x="655" y="621"/>
                  <a:pt x="656" y="621"/>
                </a:cubicBezTo>
                <a:cubicBezTo>
                  <a:pt x="657" y="621"/>
                  <a:pt x="657" y="621"/>
                  <a:pt x="658" y="620"/>
                </a:cubicBezTo>
                <a:close/>
                <a:moveTo>
                  <a:pt x="1312" y="597"/>
                </a:moveTo>
                <a:cubicBezTo>
                  <a:pt x="1312" y="597"/>
                  <a:pt x="1312" y="597"/>
                  <a:pt x="1312" y="597"/>
                </a:cubicBezTo>
                <a:cubicBezTo>
                  <a:pt x="1307" y="597"/>
                  <a:pt x="1307" y="597"/>
                  <a:pt x="1307" y="597"/>
                </a:cubicBezTo>
                <a:cubicBezTo>
                  <a:pt x="1305" y="599"/>
                  <a:pt x="1303" y="600"/>
                  <a:pt x="1301" y="601"/>
                </a:cubicBezTo>
                <a:cubicBezTo>
                  <a:pt x="1300" y="603"/>
                  <a:pt x="1298" y="603"/>
                  <a:pt x="1296" y="604"/>
                </a:cubicBezTo>
                <a:cubicBezTo>
                  <a:pt x="1295" y="605"/>
                  <a:pt x="1293" y="606"/>
                  <a:pt x="1291" y="607"/>
                </a:cubicBezTo>
                <a:cubicBezTo>
                  <a:pt x="1289" y="608"/>
                  <a:pt x="1287" y="608"/>
                  <a:pt x="1285" y="608"/>
                </a:cubicBezTo>
                <a:cubicBezTo>
                  <a:pt x="1285" y="608"/>
                  <a:pt x="1285" y="608"/>
                  <a:pt x="1285" y="619"/>
                </a:cubicBezTo>
                <a:cubicBezTo>
                  <a:pt x="1288" y="618"/>
                  <a:pt x="1291" y="617"/>
                  <a:pt x="1294" y="616"/>
                </a:cubicBezTo>
                <a:cubicBezTo>
                  <a:pt x="1296" y="615"/>
                  <a:pt x="1298" y="613"/>
                  <a:pt x="1301" y="612"/>
                </a:cubicBezTo>
                <a:cubicBezTo>
                  <a:pt x="1301" y="612"/>
                  <a:pt x="1301" y="612"/>
                  <a:pt x="1301" y="671"/>
                </a:cubicBezTo>
                <a:cubicBezTo>
                  <a:pt x="1301" y="671"/>
                  <a:pt x="1301" y="671"/>
                  <a:pt x="1312" y="671"/>
                </a:cubicBezTo>
                <a:cubicBezTo>
                  <a:pt x="1312" y="671"/>
                  <a:pt x="1312" y="671"/>
                  <a:pt x="1312" y="597"/>
                </a:cubicBezTo>
                <a:close/>
                <a:moveTo>
                  <a:pt x="1360" y="597"/>
                </a:moveTo>
                <a:cubicBezTo>
                  <a:pt x="1360" y="597"/>
                  <a:pt x="1360" y="597"/>
                  <a:pt x="1360" y="597"/>
                </a:cubicBezTo>
                <a:cubicBezTo>
                  <a:pt x="1355" y="597"/>
                  <a:pt x="1355" y="597"/>
                  <a:pt x="1355" y="597"/>
                </a:cubicBezTo>
                <a:cubicBezTo>
                  <a:pt x="1352" y="599"/>
                  <a:pt x="1351" y="600"/>
                  <a:pt x="1349" y="601"/>
                </a:cubicBezTo>
                <a:cubicBezTo>
                  <a:pt x="1347" y="603"/>
                  <a:pt x="1345" y="603"/>
                  <a:pt x="1344" y="604"/>
                </a:cubicBezTo>
                <a:cubicBezTo>
                  <a:pt x="1342" y="605"/>
                  <a:pt x="1340" y="606"/>
                  <a:pt x="1339" y="607"/>
                </a:cubicBezTo>
                <a:cubicBezTo>
                  <a:pt x="1336" y="608"/>
                  <a:pt x="1335" y="608"/>
                  <a:pt x="1333" y="608"/>
                </a:cubicBezTo>
                <a:cubicBezTo>
                  <a:pt x="1333" y="608"/>
                  <a:pt x="1333" y="608"/>
                  <a:pt x="1333" y="619"/>
                </a:cubicBezTo>
                <a:cubicBezTo>
                  <a:pt x="1336" y="618"/>
                  <a:pt x="1339" y="617"/>
                  <a:pt x="1341" y="616"/>
                </a:cubicBezTo>
                <a:cubicBezTo>
                  <a:pt x="1344" y="615"/>
                  <a:pt x="1346" y="613"/>
                  <a:pt x="1348" y="612"/>
                </a:cubicBezTo>
                <a:cubicBezTo>
                  <a:pt x="1348" y="612"/>
                  <a:pt x="1348" y="612"/>
                  <a:pt x="1348" y="671"/>
                </a:cubicBezTo>
                <a:cubicBezTo>
                  <a:pt x="1348" y="671"/>
                  <a:pt x="1348" y="671"/>
                  <a:pt x="1360" y="671"/>
                </a:cubicBezTo>
                <a:cubicBezTo>
                  <a:pt x="1360" y="671"/>
                  <a:pt x="1360" y="671"/>
                  <a:pt x="1360" y="597"/>
                </a:cubicBezTo>
                <a:close/>
                <a:moveTo>
                  <a:pt x="1406" y="597"/>
                </a:moveTo>
                <a:cubicBezTo>
                  <a:pt x="1406" y="597"/>
                  <a:pt x="1406" y="597"/>
                  <a:pt x="1406" y="597"/>
                </a:cubicBezTo>
                <a:cubicBezTo>
                  <a:pt x="1402" y="597"/>
                  <a:pt x="1402" y="597"/>
                  <a:pt x="1402" y="597"/>
                </a:cubicBezTo>
                <a:cubicBezTo>
                  <a:pt x="1400" y="599"/>
                  <a:pt x="1398" y="600"/>
                  <a:pt x="1396" y="601"/>
                </a:cubicBezTo>
                <a:cubicBezTo>
                  <a:pt x="1395" y="603"/>
                  <a:pt x="1393" y="603"/>
                  <a:pt x="1391" y="604"/>
                </a:cubicBezTo>
                <a:cubicBezTo>
                  <a:pt x="1389" y="605"/>
                  <a:pt x="1388" y="605"/>
                  <a:pt x="1385" y="606"/>
                </a:cubicBezTo>
                <a:cubicBezTo>
                  <a:pt x="1384" y="607"/>
                  <a:pt x="1382" y="608"/>
                  <a:pt x="1380" y="608"/>
                </a:cubicBezTo>
                <a:cubicBezTo>
                  <a:pt x="1380" y="608"/>
                  <a:pt x="1380" y="608"/>
                  <a:pt x="1380" y="619"/>
                </a:cubicBezTo>
                <a:cubicBezTo>
                  <a:pt x="1383" y="618"/>
                  <a:pt x="1386" y="616"/>
                  <a:pt x="1388" y="616"/>
                </a:cubicBezTo>
                <a:cubicBezTo>
                  <a:pt x="1390" y="615"/>
                  <a:pt x="1393" y="613"/>
                  <a:pt x="1395" y="612"/>
                </a:cubicBezTo>
                <a:cubicBezTo>
                  <a:pt x="1395" y="612"/>
                  <a:pt x="1395" y="612"/>
                  <a:pt x="1395" y="671"/>
                </a:cubicBezTo>
                <a:cubicBezTo>
                  <a:pt x="1395" y="671"/>
                  <a:pt x="1395" y="671"/>
                  <a:pt x="1406" y="671"/>
                </a:cubicBezTo>
                <a:cubicBezTo>
                  <a:pt x="1406" y="671"/>
                  <a:pt x="1406" y="671"/>
                  <a:pt x="1406" y="597"/>
                </a:cubicBezTo>
                <a:close/>
                <a:moveTo>
                  <a:pt x="1617" y="492"/>
                </a:moveTo>
                <a:cubicBezTo>
                  <a:pt x="1617" y="492"/>
                  <a:pt x="1617" y="492"/>
                  <a:pt x="1617" y="492"/>
                </a:cubicBezTo>
                <a:cubicBezTo>
                  <a:pt x="1612" y="492"/>
                  <a:pt x="1612" y="492"/>
                  <a:pt x="1612" y="492"/>
                </a:cubicBezTo>
                <a:cubicBezTo>
                  <a:pt x="1610" y="494"/>
                  <a:pt x="1609" y="495"/>
                  <a:pt x="1606" y="496"/>
                </a:cubicBezTo>
                <a:cubicBezTo>
                  <a:pt x="1605" y="497"/>
                  <a:pt x="1603" y="498"/>
                  <a:pt x="1601" y="499"/>
                </a:cubicBezTo>
                <a:cubicBezTo>
                  <a:pt x="1599" y="500"/>
                  <a:pt x="1597" y="500"/>
                  <a:pt x="1596" y="501"/>
                </a:cubicBezTo>
                <a:cubicBezTo>
                  <a:pt x="1594" y="502"/>
                  <a:pt x="1592" y="503"/>
                  <a:pt x="1590" y="503"/>
                </a:cubicBezTo>
                <a:cubicBezTo>
                  <a:pt x="1590" y="503"/>
                  <a:pt x="1590" y="503"/>
                  <a:pt x="1590" y="513"/>
                </a:cubicBezTo>
                <a:cubicBezTo>
                  <a:pt x="1593" y="513"/>
                  <a:pt x="1596" y="511"/>
                  <a:pt x="1598" y="511"/>
                </a:cubicBezTo>
                <a:cubicBezTo>
                  <a:pt x="1601" y="510"/>
                  <a:pt x="1603" y="508"/>
                  <a:pt x="1606" y="507"/>
                </a:cubicBezTo>
                <a:cubicBezTo>
                  <a:pt x="1606" y="507"/>
                  <a:pt x="1606" y="507"/>
                  <a:pt x="1606" y="566"/>
                </a:cubicBezTo>
                <a:cubicBezTo>
                  <a:pt x="1606" y="566"/>
                  <a:pt x="1606" y="566"/>
                  <a:pt x="1617" y="566"/>
                </a:cubicBezTo>
                <a:cubicBezTo>
                  <a:pt x="1617" y="566"/>
                  <a:pt x="1617" y="566"/>
                  <a:pt x="1617" y="492"/>
                </a:cubicBezTo>
                <a:close/>
                <a:moveTo>
                  <a:pt x="1664" y="492"/>
                </a:moveTo>
                <a:cubicBezTo>
                  <a:pt x="1664" y="492"/>
                  <a:pt x="1664" y="492"/>
                  <a:pt x="1664" y="492"/>
                </a:cubicBezTo>
                <a:cubicBezTo>
                  <a:pt x="1659" y="492"/>
                  <a:pt x="1659" y="492"/>
                  <a:pt x="1659" y="492"/>
                </a:cubicBezTo>
                <a:cubicBezTo>
                  <a:pt x="1656" y="494"/>
                  <a:pt x="1655" y="495"/>
                  <a:pt x="1653" y="496"/>
                </a:cubicBezTo>
                <a:cubicBezTo>
                  <a:pt x="1651" y="497"/>
                  <a:pt x="1649" y="498"/>
                  <a:pt x="1648" y="499"/>
                </a:cubicBezTo>
                <a:cubicBezTo>
                  <a:pt x="1646" y="500"/>
                  <a:pt x="1644" y="501"/>
                  <a:pt x="1643" y="502"/>
                </a:cubicBezTo>
                <a:cubicBezTo>
                  <a:pt x="1641" y="503"/>
                  <a:pt x="1639" y="503"/>
                  <a:pt x="1637" y="503"/>
                </a:cubicBezTo>
                <a:cubicBezTo>
                  <a:pt x="1637" y="503"/>
                  <a:pt x="1637" y="503"/>
                  <a:pt x="1637" y="513"/>
                </a:cubicBezTo>
                <a:cubicBezTo>
                  <a:pt x="1640" y="513"/>
                  <a:pt x="1643" y="512"/>
                  <a:pt x="1645" y="511"/>
                </a:cubicBezTo>
                <a:cubicBezTo>
                  <a:pt x="1648" y="510"/>
                  <a:pt x="1650" y="508"/>
                  <a:pt x="1652" y="507"/>
                </a:cubicBezTo>
                <a:cubicBezTo>
                  <a:pt x="1652" y="507"/>
                  <a:pt x="1652" y="507"/>
                  <a:pt x="1652" y="566"/>
                </a:cubicBezTo>
                <a:cubicBezTo>
                  <a:pt x="1652" y="566"/>
                  <a:pt x="1652" y="566"/>
                  <a:pt x="1664" y="566"/>
                </a:cubicBezTo>
                <a:cubicBezTo>
                  <a:pt x="1664" y="566"/>
                  <a:pt x="1664" y="566"/>
                  <a:pt x="1664" y="492"/>
                </a:cubicBezTo>
                <a:close/>
                <a:moveTo>
                  <a:pt x="1709" y="492"/>
                </a:moveTo>
                <a:cubicBezTo>
                  <a:pt x="1709" y="492"/>
                  <a:pt x="1709" y="492"/>
                  <a:pt x="1709" y="492"/>
                </a:cubicBezTo>
                <a:cubicBezTo>
                  <a:pt x="1705" y="492"/>
                  <a:pt x="1705" y="492"/>
                  <a:pt x="1705" y="492"/>
                </a:cubicBezTo>
                <a:cubicBezTo>
                  <a:pt x="1703" y="494"/>
                  <a:pt x="1701" y="495"/>
                  <a:pt x="1699" y="496"/>
                </a:cubicBezTo>
                <a:cubicBezTo>
                  <a:pt x="1698" y="497"/>
                  <a:pt x="1695" y="498"/>
                  <a:pt x="1694" y="499"/>
                </a:cubicBezTo>
                <a:cubicBezTo>
                  <a:pt x="1692" y="500"/>
                  <a:pt x="1690" y="501"/>
                  <a:pt x="1688" y="502"/>
                </a:cubicBezTo>
                <a:cubicBezTo>
                  <a:pt x="1687" y="503"/>
                  <a:pt x="1685" y="503"/>
                  <a:pt x="1683" y="503"/>
                </a:cubicBezTo>
                <a:cubicBezTo>
                  <a:pt x="1683" y="503"/>
                  <a:pt x="1683" y="503"/>
                  <a:pt x="1683" y="513"/>
                </a:cubicBezTo>
                <a:cubicBezTo>
                  <a:pt x="1686" y="513"/>
                  <a:pt x="1689" y="512"/>
                  <a:pt x="1691" y="511"/>
                </a:cubicBezTo>
                <a:cubicBezTo>
                  <a:pt x="1693" y="510"/>
                  <a:pt x="1696" y="508"/>
                  <a:pt x="1698" y="507"/>
                </a:cubicBezTo>
                <a:cubicBezTo>
                  <a:pt x="1698" y="507"/>
                  <a:pt x="1698" y="507"/>
                  <a:pt x="1698" y="566"/>
                </a:cubicBezTo>
                <a:cubicBezTo>
                  <a:pt x="1698" y="566"/>
                  <a:pt x="1698" y="566"/>
                  <a:pt x="1709" y="566"/>
                </a:cubicBezTo>
                <a:cubicBezTo>
                  <a:pt x="1709" y="566"/>
                  <a:pt x="1709" y="566"/>
                  <a:pt x="1709" y="492"/>
                </a:cubicBezTo>
                <a:close/>
                <a:moveTo>
                  <a:pt x="1756" y="492"/>
                </a:moveTo>
                <a:cubicBezTo>
                  <a:pt x="1756" y="492"/>
                  <a:pt x="1756" y="492"/>
                  <a:pt x="1756" y="492"/>
                </a:cubicBezTo>
                <a:cubicBezTo>
                  <a:pt x="1751" y="492"/>
                  <a:pt x="1751" y="492"/>
                  <a:pt x="1751" y="492"/>
                </a:cubicBezTo>
                <a:cubicBezTo>
                  <a:pt x="1749" y="494"/>
                  <a:pt x="1747" y="495"/>
                  <a:pt x="1745" y="496"/>
                </a:cubicBezTo>
                <a:cubicBezTo>
                  <a:pt x="1744" y="497"/>
                  <a:pt x="1742" y="498"/>
                  <a:pt x="1740" y="499"/>
                </a:cubicBezTo>
                <a:cubicBezTo>
                  <a:pt x="1738" y="500"/>
                  <a:pt x="1736" y="501"/>
                  <a:pt x="1735" y="502"/>
                </a:cubicBezTo>
                <a:cubicBezTo>
                  <a:pt x="1733" y="503"/>
                  <a:pt x="1731" y="503"/>
                  <a:pt x="1729" y="503"/>
                </a:cubicBezTo>
                <a:cubicBezTo>
                  <a:pt x="1729" y="503"/>
                  <a:pt x="1729" y="503"/>
                  <a:pt x="1729" y="513"/>
                </a:cubicBezTo>
                <a:cubicBezTo>
                  <a:pt x="1732" y="513"/>
                  <a:pt x="1735" y="512"/>
                  <a:pt x="1737" y="511"/>
                </a:cubicBezTo>
                <a:cubicBezTo>
                  <a:pt x="1740" y="510"/>
                  <a:pt x="1742" y="508"/>
                  <a:pt x="1744" y="507"/>
                </a:cubicBezTo>
                <a:cubicBezTo>
                  <a:pt x="1744" y="507"/>
                  <a:pt x="1744" y="507"/>
                  <a:pt x="1744" y="566"/>
                </a:cubicBezTo>
                <a:cubicBezTo>
                  <a:pt x="1744" y="566"/>
                  <a:pt x="1744" y="566"/>
                  <a:pt x="1756" y="566"/>
                </a:cubicBezTo>
                <a:cubicBezTo>
                  <a:pt x="1756" y="566"/>
                  <a:pt x="1756" y="566"/>
                  <a:pt x="1756" y="492"/>
                </a:cubicBezTo>
                <a:close/>
                <a:moveTo>
                  <a:pt x="1878" y="492"/>
                </a:moveTo>
                <a:cubicBezTo>
                  <a:pt x="1878" y="492"/>
                  <a:pt x="1878" y="492"/>
                  <a:pt x="1878" y="492"/>
                </a:cubicBezTo>
                <a:cubicBezTo>
                  <a:pt x="1873" y="492"/>
                  <a:pt x="1873" y="492"/>
                  <a:pt x="1873" y="492"/>
                </a:cubicBezTo>
                <a:cubicBezTo>
                  <a:pt x="1870" y="494"/>
                  <a:pt x="1869" y="495"/>
                  <a:pt x="1867" y="496"/>
                </a:cubicBezTo>
                <a:cubicBezTo>
                  <a:pt x="1865" y="497"/>
                  <a:pt x="1864" y="498"/>
                  <a:pt x="1862" y="499"/>
                </a:cubicBezTo>
                <a:cubicBezTo>
                  <a:pt x="1860" y="500"/>
                  <a:pt x="1858" y="501"/>
                  <a:pt x="1857" y="502"/>
                </a:cubicBezTo>
                <a:cubicBezTo>
                  <a:pt x="1854" y="503"/>
                  <a:pt x="1853" y="503"/>
                  <a:pt x="1851" y="503"/>
                </a:cubicBezTo>
                <a:cubicBezTo>
                  <a:pt x="1851" y="503"/>
                  <a:pt x="1851" y="503"/>
                  <a:pt x="1851" y="513"/>
                </a:cubicBezTo>
                <a:cubicBezTo>
                  <a:pt x="1854" y="513"/>
                  <a:pt x="1857" y="512"/>
                  <a:pt x="1859" y="511"/>
                </a:cubicBezTo>
                <a:cubicBezTo>
                  <a:pt x="1862" y="510"/>
                  <a:pt x="1864" y="508"/>
                  <a:pt x="1866" y="507"/>
                </a:cubicBezTo>
                <a:cubicBezTo>
                  <a:pt x="1866" y="507"/>
                  <a:pt x="1866" y="507"/>
                  <a:pt x="1866" y="566"/>
                </a:cubicBezTo>
                <a:cubicBezTo>
                  <a:pt x="1866" y="566"/>
                  <a:pt x="1866" y="566"/>
                  <a:pt x="1878" y="566"/>
                </a:cubicBezTo>
                <a:cubicBezTo>
                  <a:pt x="1878" y="566"/>
                  <a:pt x="1878" y="566"/>
                  <a:pt x="1878" y="492"/>
                </a:cubicBezTo>
                <a:close/>
                <a:moveTo>
                  <a:pt x="1925" y="492"/>
                </a:moveTo>
                <a:cubicBezTo>
                  <a:pt x="1925" y="492"/>
                  <a:pt x="1925" y="492"/>
                  <a:pt x="1925" y="492"/>
                </a:cubicBezTo>
                <a:cubicBezTo>
                  <a:pt x="1919" y="492"/>
                  <a:pt x="1919" y="492"/>
                  <a:pt x="1919" y="492"/>
                </a:cubicBezTo>
                <a:cubicBezTo>
                  <a:pt x="1917" y="494"/>
                  <a:pt x="1916" y="495"/>
                  <a:pt x="1914" y="496"/>
                </a:cubicBezTo>
                <a:cubicBezTo>
                  <a:pt x="1912" y="497"/>
                  <a:pt x="1910" y="498"/>
                  <a:pt x="1908" y="499"/>
                </a:cubicBezTo>
                <a:cubicBezTo>
                  <a:pt x="1907" y="500"/>
                  <a:pt x="1905" y="501"/>
                  <a:pt x="1903" y="502"/>
                </a:cubicBezTo>
                <a:cubicBezTo>
                  <a:pt x="1901" y="503"/>
                  <a:pt x="1900" y="503"/>
                  <a:pt x="1897" y="503"/>
                </a:cubicBezTo>
                <a:cubicBezTo>
                  <a:pt x="1897" y="503"/>
                  <a:pt x="1897" y="503"/>
                  <a:pt x="1897" y="513"/>
                </a:cubicBezTo>
                <a:cubicBezTo>
                  <a:pt x="1900" y="513"/>
                  <a:pt x="1903" y="512"/>
                  <a:pt x="1905" y="511"/>
                </a:cubicBezTo>
                <a:cubicBezTo>
                  <a:pt x="1908" y="510"/>
                  <a:pt x="1911" y="508"/>
                  <a:pt x="1913" y="507"/>
                </a:cubicBezTo>
                <a:cubicBezTo>
                  <a:pt x="1913" y="507"/>
                  <a:pt x="1913" y="507"/>
                  <a:pt x="1913" y="566"/>
                </a:cubicBezTo>
                <a:cubicBezTo>
                  <a:pt x="1913" y="566"/>
                  <a:pt x="1913" y="566"/>
                  <a:pt x="1925" y="566"/>
                </a:cubicBezTo>
                <a:cubicBezTo>
                  <a:pt x="1925" y="566"/>
                  <a:pt x="1925" y="566"/>
                  <a:pt x="1925" y="492"/>
                </a:cubicBezTo>
                <a:close/>
                <a:moveTo>
                  <a:pt x="1776" y="525"/>
                </a:moveTo>
                <a:cubicBezTo>
                  <a:pt x="1776" y="525"/>
                  <a:pt x="1776" y="525"/>
                  <a:pt x="1776" y="525"/>
                </a:cubicBezTo>
                <a:cubicBezTo>
                  <a:pt x="1776" y="533"/>
                  <a:pt x="1776" y="533"/>
                  <a:pt x="1776" y="533"/>
                </a:cubicBezTo>
                <a:cubicBezTo>
                  <a:pt x="1782" y="533"/>
                  <a:pt x="1783" y="536"/>
                  <a:pt x="1783" y="539"/>
                </a:cubicBezTo>
                <a:cubicBezTo>
                  <a:pt x="1783" y="541"/>
                  <a:pt x="1782" y="543"/>
                  <a:pt x="1782" y="546"/>
                </a:cubicBezTo>
                <a:cubicBezTo>
                  <a:pt x="1782" y="549"/>
                  <a:pt x="1782" y="551"/>
                  <a:pt x="1782" y="553"/>
                </a:cubicBezTo>
                <a:cubicBezTo>
                  <a:pt x="1782" y="562"/>
                  <a:pt x="1788" y="566"/>
                  <a:pt x="1796" y="566"/>
                </a:cubicBezTo>
                <a:cubicBezTo>
                  <a:pt x="1796" y="566"/>
                  <a:pt x="1796" y="566"/>
                  <a:pt x="1800" y="566"/>
                </a:cubicBezTo>
                <a:cubicBezTo>
                  <a:pt x="1800" y="566"/>
                  <a:pt x="1800" y="566"/>
                  <a:pt x="1800" y="557"/>
                </a:cubicBezTo>
                <a:cubicBezTo>
                  <a:pt x="1800" y="557"/>
                  <a:pt x="1800" y="557"/>
                  <a:pt x="1798" y="557"/>
                </a:cubicBezTo>
                <a:cubicBezTo>
                  <a:pt x="1795" y="557"/>
                  <a:pt x="1794" y="554"/>
                  <a:pt x="1794" y="551"/>
                </a:cubicBezTo>
                <a:cubicBezTo>
                  <a:pt x="1794" y="549"/>
                  <a:pt x="1794" y="548"/>
                  <a:pt x="1794" y="546"/>
                </a:cubicBezTo>
                <a:cubicBezTo>
                  <a:pt x="1794" y="544"/>
                  <a:pt x="1794" y="542"/>
                  <a:pt x="1794" y="540"/>
                </a:cubicBezTo>
                <a:cubicBezTo>
                  <a:pt x="1794" y="533"/>
                  <a:pt x="1791" y="530"/>
                  <a:pt x="1786" y="529"/>
                </a:cubicBezTo>
                <a:cubicBezTo>
                  <a:pt x="1786" y="529"/>
                  <a:pt x="1786" y="529"/>
                  <a:pt x="1786" y="528"/>
                </a:cubicBezTo>
                <a:cubicBezTo>
                  <a:pt x="1791" y="527"/>
                  <a:pt x="1794" y="525"/>
                  <a:pt x="1794" y="518"/>
                </a:cubicBezTo>
                <a:cubicBezTo>
                  <a:pt x="1794" y="515"/>
                  <a:pt x="1794" y="513"/>
                  <a:pt x="1794" y="511"/>
                </a:cubicBezTo>
                <a:cubicBezTo>
                  <a:pt x="1794" y="510"/>
                  <a:pt x="1794" y="508"/>
                  <a:pt x="1794" y="507"/>
                </a:cubicBezTo>
                <a:cubicBezTo>
                  <a:pt x="1794" y="503"/>
                  <a:pt x="1795" y="501"/>
                  <a:pt x="1798" y="501"/>
                </a:cubicBezTo>
                <a:cubicBezTo>
                  <a:pt x="1798" y="501"/>
                  <a:pt x="1798" y="501"/>
                  <a:pt x="1800" y="501"/>
                </a:cubicBezTo>
                <a:cubicBezTo>
                  <a:pt x="1800" y="501"/>
                  <a:pt x="1800" y="501"/>
                  <a:pt x="1800" y="491"/>
                </a:cubicBezTo>
                <a:cubicBezTo>
                  <a:pt x="1800" y="491"/>
                  <a:pt x="1800" y="491"/>
                  <a:pt x="1796" y="491"/>
                </a:cubicBezTo>
                <a:cubicBezTo>
                  <a:pt x="1787" y="491"/>
                  <a:pt x="1782" y="496"/>
                  <a:pt x="1782" y="504"/>
                </a:cubicBezTo>
                <a:cubicBezTo>
                  <a:pt x="1782" y="506"/>
                  <a:pt x="1782" y="509"/>
                  <a:pt x="1782" y="512"/>
                </a:cubicBezTo>
                <a:cubicBezTo>
                  <a:pt x="1782" y="514"/>
                  <a:pt x="1783" y="516"/>
                  <a:pt x="1783" y="518"/>
                </a:cubicBezTo>
                <a:cubicBezTo>
                  <a:pt x="1783" y="521"/>
                  <a:pt x="1782" y="524"/>
                  <a:pt x="1776" y="525"/>
                </a:cubicBezTo>
                <a:close/>
                <a:moveTo>
                  <a:pt x="1831" y="533"/>
                </a:moveTo>
                <a:cubicBezTo>
                  <a:pt x="1831" y="533"/>
                  <a:pt x="1831" y="533"/>
                  <a:pt x="1831" y="533"/>
                </a:cubicBezTo>
                <a:cubicBezTo>
                  <a:pt x="1831" y="525"/>
                  <a:pt x="1831" y="525"/>
                  <a:pt x="1831" y="525"/>
                </a:cubicBezTo>
                <a:cubicBezTo>
                  <a:pt x="1825" y="524"/>
                  <a:pt x="1824" y="521"/>
                  <a:pt x="1824" y="518"/>
                </a:cubicBezTo>
                <a:cubicBezTo>
                  <a:pt x="1824" y="516"/>
                  <a:pt x="1824" y="514"/>
                  <a:pt x="1825" y="512"/>
                </a:cubicBezTo>
                <a:cubicBezTo>
                  <a:pt x="1825" y="509"/>
                  <a:pt x="1825" y="506"/>
                  <a:pt x="1825" y="504"/>
                </a:cubicBezTo>
                <a:cubicBezTo>
                  <a:pt x="1825" y="496"/>
                  <a:pt x="1820" y="491"/>
                  <a:pt x="1810" y="491"/>
                </a:cubicBezTo>
                <a:cubicBezTo>
                  <a:pt x="1810" y="491"/>
                  <a:pt x="1810" y="491"/>
                  <a:pt x="1807" y="491"/>
                </a:cubicBezTo>
                <a:cubicBezTo>
                  <a:pt x="1807" y="491"/>
                  <a:pt x="1807" y="491"/>
                  <a:pt x="1807" y="501"/>
                </a:cubicBezTo>
                <a:cubicBezTo>
                  <a:pt x="1807" y="501"/>
                  <a:pt x="1807" y="501"/>
                  <a:pt x="1808" y="501"/>
                </a:cubicBezTo>
                <a:cubicBezTo>
                  <a:pt x="1812" y="501"/>
                  <a:pt x="1813" y="503"/>
                  <a:pt x="1813" y="507"/>
                </a:cubicBezTo>
                <a:cubicBezTo>
                  <a:pt x="1813" y="508"/>
                  <a:pt x="1813" y="510"/>
                  <a:pt x="1813" y="511"/>
                </a:cubicBezTo>
                <a:cubicBezTo>
                  <a:pt x="1813" y="513"/>
                  <a:pt x="1813" y="515"/>
                  <a:pt x="1813" y="518"/>
                </a:cubicBezTo>
                <a:cubicBezTo>
                  <a:pt x="1813" y="525"/>
                  <a:pt x="1815" y="527"/>
                  <a:pt x="1821" y="528"/>
                </a:cubicBezTo>
                <a:cubicBezTo>
                  <a:pt x="1821" y="528"/>
                  <a:pt x="1821" y="528"/>
                  <a:pt x="1821" y="529"/>
                </a:cubicBezTo>
                <a:cubicBezTo>
                  <a:pt x="1815" y="530"/>
                  <a:pt x="1813" y="533"/>
                  <a:pt x="1813" y="540"/>
                </a:cubicBezTo>
                <a:cubicBezTo>
                  <a:pt x="1813" y="542"/>
                  <a:pt x="1813" y="544"/>
                  <a:pt x="1813" y="546"/>
                </a:cubicBezTo>
                <a:cubicBezTo>
                  <a:pt x="1813" y="548"/>
                  <a:pt x="1813" y="549"/>
                  <a:pt x="1813" y="551"/>
                </a:cubicBezTo>
                <a:cubicBezTo>
                  <a:pt x="1813" y="554"/>
                  <a:pt x="1812" y="557"/>
                  <a:pt x="1808" y="557"/>
                </a:cubicBezTo>
                <a:cubicBezTo>
                  <a:pt x="1808" y="557"/>
                  <a:pt x="1808" y="557"/>
                  <a:pt x="1807" y="557"/>
                </a:cubicBezTo>
                <a:cubicBezTo>
                  <a:pt x="1807" y="557"/>
                  <a:pt x="1807" y="557"/>
                  <a:pt x="1807" y="566"/>
                </a:cubicBezTo>
                <a:cubicBezTo>
                  <a:pt x="1807" y="566"/>
                  <a:pt x="1807" y="566"/>
                  <a:pt x="1810" y="566"/>
                </a:cubicBezTo>
                <a:cubicBezTo>
                  <a:pt x="1819" y="566"/>
                  <a:pt x="1825" y="562"/>
                  <a:pt x="1825" y="553"/>
                </a:cubicBezTo>
                <a:cubicBezTo>
                  <a:pt x="1825" y="551"/>
                  <a:pt x="1825" y="549"/>
                  <a:pt x="1825" y="546"/>
                </a:cubicBezTo>
                <a:cubicBezTo>
                  <a:pt x="1824" y="543"/>
                  <a:pt x="1824" y="541"/>
                  <a:pt x="1824" y="539"/>
                </a:cubicBezTo>
                <a:cubicBezTo>
                  <a:pt x="1824" y="536"/>
                  <a:pt x="1825" y="533"/>
                  <a:pt x="1831" y="533"/>
                </a:cubicBezTo>
                <a:close/>
                <a:moveTo>
                  <a:pt x="1218" y="566"/>
                </a:moveTo>
                <a:cubicBezTo>
                  <a:pt x="1210" y="566"/>
                  <a:pt x="1204" y="563"/>
                  <a:pt x="1199" y="557"/>
                </a:cubicBezTo>
                <a:cubicBezTo>
                  <a:pt x="1196" y="550"/>
                  <a:pt x="1194" y="542"/>
                  <a:pt x="1194" y="529"/>
                </a:cubicBezTo>
                <a:cubicBezTo>
                  <a:pt x="1194" y="516"/>
                  <a:pt x="1196" y="507"/>
                  <a:pt x="1200" y="500"/>
                </a:cubicBezTo>
                <a:cubicBezTo>
                  <a:pt x="1205" y="494"/>
                  <a:pt x="1211" y="490"/>
                  <a:pt x="1220" y="490"/>
                </a:cubicBezTo>
                <a:cubicBezTo>
                  <a:pt x="1236" y="490"/>
                  <a:pt x="1244" y="502"/>
                  <a:pt x="1244" y="528"/>
                </a:cubicBezTo>
                <a:cubicBezTo>
                  <a:pt x="1244" y="540"/>
                  <a:pt x="1242" y="550"/>
                  <a:pt x="1237" y="556"/>
                </a:cubicBezTo>
                <a:cubicBezTo>
                  <a:pt x="1232" y="563"/>
                  <a:pt x="1226" y="566"/>
                  <a:pt x="1218" y="566"/>
                </a:cubicBezTo>
                <a:close/>
                <a:moveTo>
                  <a:pt x="1219" y="499"/>
                </a:moveTo>
                <a:cubicBezTo>
                  <a:pt x="1210" y="499"/>
                  <a:pt x="1205" y="510"/>
                  <a:pt x="1205" y="529"/>
                </a:cubicBezTo>
                <a:cubicBezTo>
                  <a:pt x="1205" y="548"/>
                  <a:pt x="1210" y="556"/>
                  <a:pt x="1218" y="556"/>
                </a:cubicBezTo>
                <a:cubicBezTo>
                  <a:pt x="1227" y="556"/>
                  <a:pt x="1232" y="548"/>
                  <a:pt x="1232" y="529"/>
                </a:cubicBezTo>
                <a:cubicBezTo>
                  <a:pt x="1232" y="509"/>
                  <a:pt x="1227" y="499"/>
                  <a:pt x="1219" y="499"/>
                </a:cubicBezTo>
                <a:close/>
                <a:moveTo>
                  <a:pt x="1288" y="566"/>
                </a:moveTo>
                <a:cubicBezTo>
                  <a:pt x="1281" y="566"/>
                  <a:pt x="1274" y="563"/>
                  <a:pt x="1271" y="557"/>
                </a:cubicBezTo>
                <a:cubicBezTo>
                  <a:pt x="1266" y="550"/>
                  <a:pt x="1264" y="542"/>
                  <a:pt x="1264" y="529"/>
                </a:cubicBezTo>
                <a:cubicBezTo>
                  <a:pt x="1264" y="516"/>
                  <a:pt x="1266" y="507"/>
                  <a:pt x="1271" y="500"/>
                </a:cubicBezTo>
                <a:cubicBezTo>
                  <a:pt x="1275" y="494"/>
                  <a:pt x="1282" y="490"/>
                  <a:pt x="1290" y="490"/>
                </a:cubicBezTo>
                <a:cubicBezTo>
                  <a:pt x="1307" y="490"/>
                  <a:pt x="1315" y="502"/>
                  <a:pt x="1315" y="528"/>
                </a:cubicBezTo>
                <a:cubicBezTo>
                  <a:pt x="1315" y="540"/>
                  <a:pt x="1312" y="550"/>
                  <a:pt x="1308" y="556"/>
                </a:cubicBezTo>
                <a:cubicBezTo>
                  <a:pt x="1303" y="563"/>
                  <a:pt x="1297" y="566"/>
                  <a:pt x="1288" y="566"/>
                </a:cubicBezTo>
                <a:close/>
                <a:moveTo>
                  <a:pt x="1290" y="499"/>
                </a:moveTo>
                <a:cubicBezTo>
                  <a:pt x="1281" y="499"/>
                  <a:pt x="1276" y="510"/>
                  <a:pt x="1276" y="529"/>
                </a:cubicBezTo>
                <a:cubicBezTo>
                  <a:pt x="1276" y="548"/>
                  <a:pt x="1280" y="556"/>
                  <a:pt x="1289" y="556"/>
                </a:cubicBezTo>
                <a:cubicBezTo>
                  <a:pt x="1298" y="556"/>
                  <a:pt x="1302" y="548"/>
                  <a:pt x="1302" y="529"/>
                </a:cubicBezTo>
                <a:cubicBezTo>
                  <a:pt x="1302" y="509"/>
                  <a:pt x="1298" y="499"/>
                  <a:pt x="1290" y="499"/>
                </a:cubicBezTo>
                <a:close/>
                <a:moveTo>
                  <a:pt x="1498" y="576"/>
                </a:moveTo>
                <a:cubicBezTo>
                  <a:pt x="1490" y="576"/>
                  <a:pt x="1485" y="573"/>
                  <a:pt x="1480" y="566"/>
                </a:cubicBezTo>
                <a:cubicBezTo>
                  <a:pt x="1476" y="561"/>
                  <a:pt x="1473" y="551"/>
                  <a:pt x="1473" y="539"/>
                </a:cubicBezTo>
                <a:cubicBezTo>
                  <a:pt x="1473" y="526"/>
                  <a:pt x="1476" y="517"/>
                  <a:pt x="1480" y="510"/>
                </a:cubicBezTo>
                <a:cubicBezTo>
                  <a:pt x="1485" y="503"/>
                  <a:pt x="1491" y="500"/>
                  <a:pt x="1500" y="500"/>
                </a:cubicBezTo>
                <a:cubicBezTo>
                  <a:pt x="1516" y="500"/>
                  <a:pt x="1524" y="512"/>
                  <a:pt x="1524" y="537"/>
                </a:cubicBezTo>
                <a:cubicBezTo>
                  <a:pt x="1524" y="550"/>
                  <a:pt x="1522" y="560"/>
                  <a:pt x="1518" y="566"/>
                </a:cubicBezTo>
                <a:cubicBezTo>
                  <a:pt x="1513" y="573"/>
                  <a:pt x="1507" y="576"/>
                  <a:pt x="1498" y="576"/>
                </a:cubicBezTo>
                <a:close/>
                <a:moveTo>
                  <a:pt x="1499" y="510"/>
                </a:moveTo>
                <a:cubicBezTo>
                  <a:pt x="1490" y="510"/>
                  <a:pt x="1486" y="519"/>
                  <a:pt x="1486" y="539"/>
                </a:cubicBezTo>
                <a:cubicBezTo>
                  <a:pt x="1486" y="557"/>
                  <a:pt x="1490" y="566"/>
                  <a:pt x="1499" y="566"/>
                </a:cubicBezTo>
                <a:cubicBezTo>
                  <a:pt x="1507" y="566"/>
                  <a:pt x="1512" y="557"/>
                  <a:pt x="1512" y="539"/>
                </a:cubicBezTo>
                <a:cubicBezTo>
                  <a:pt x="1512" y="519"/>
                  <a:pt x="1508" y="510"/>
                  <a:pt x="1499" y="510"/>
                </a:cubicBezTo>
                <a:close/>
                <a:moveTo>
                  <a:pt x="1570" y="492"/>
                </a:moveTo>
                <a:cubicBezTo>
                  <a:pt x="1570" y="492"/>
                  <a:pt x="1570" y="492"/>
                  <a:pt x="1570" y="492"/>
                </a:cubicBezTo>
                <a:cubicBezTo>
                  <a:pt x="1565" y="492"/>
                  <a:pt x="1565" y="492"/>
                  <a:pt x="1565" y="492"/>
                </a:cubicBezTo>
                <a:cubicBezTo>
                  <a:pt x="1563" y="494"/>
                  <a:pt x="1562" y="495"/>
                  <a:pt x="1560" y="496"/>
                </a:cubicBezTo>
                <a:cubicBezTo>
                  <a:pt x="1558" y="497"/>
                  <a:pt x="1556" y="498"/>
                  <a:pt x="1555" y="499"/>
                </a:cubicBezTo>
                <a:cubicBezTo>
                  <a:pt x="1553" y="500"/>
                  <a:pt x="1551" y="500"/>
                  <a:pt x="1550" y="501"/>
                </a:cubicBezTo>
                <a:cubicBezTo>
                  <a:pt x="1548" y="502"/>
                  <a:pt x="1546" y="503"/>
                  <a:pt x="1544" y="503"/>
                </a:cubicBezTo>
                <a:cubicBezTo>
                  <a:pt x="1544" y="503"/>
                  <a:pt x="1544" y="503"/>
                  <a:pt x="1544" y="513"/>
                </a:cubicBezTo>
                <a:cubicBezTo>
                  <a:pt x="1547" y="513"/>
                  <a:pt x="1550" y="511"/>
                  <a:pt x="1552" y="511"/>
                </a:cubicBezTo>
                <a:cubicBezTo>
                  <a:pt x="1555" y="510"/>
                  <a:pt x="1557" y="508"/>
                  <a:pt x="1559" y="507"/>
                </a:cubicBezTo>
                <a:cubicBezTo>
                  <a:pt x="1559" y="507"/>
                  <a:pt x="1559" y="507"/>
                  <a:pt x="1559" y="566"/>
                </a:cubicBezTo>
                <a:cubicBezTo>
                  <a:pt x="1559" y="566"/>
                  <a:pt x="1559" y="566"/>
                  <a:pt x="1570" y="566"/>
                </a:cubicBezTo>
                <a:cubicBezTo>
                  <a:pt x="1570" y="566"/>
                  <a:pt x="1570" y="566"/>
                  <a:pt x="1570" y="492"/>
                </a:cubicBezTo>
                <a:close/>
                <a:moveTo>
                  <a:pt x="1361" y="492"/>
                </a:moveTo>
                <a:cubicBezTo>
                  <a:pt x="1361" y="492"/>
                  <a:pt x="1361" y="492"/>
                  <a:pt x="1361" y="492"/>
                </a:cubicBezTo>
                <a:cubicBezTo>
                  <a:pt x="1356" y="492"/>
                  <a:pt x="1356" y="492"/>
                  <a:pt x="1356" y="492"/>
                </a:cubicBezTo>
                <a:cubicBezTo>
                  <a:pt x="1354" y="494"/>
                  <a:pt x="1352" y="495"/>
                  <a:pt x="1350" y="496"/>
                </a:cubicBezTo>
                <a:cubicBezTo>
                  <a:pt x="1349" y="497"/>
                  <a:pt x="1347" y="498"/>
                  <a:pt x="1345" y="499"/>
                </a:cubicBezTo>
                <a:cubicBezTo>
                  <a:pt x="1344" y="500"/>
                  <a:pt x="1342" y="501"/>
                  <a:pt x="1340" y="502"/>
                </a:cubicBezTo>
                <a:cubicBezTo>
                  <a:pt x="1338" y="503"/>
                  <a:pt x="1336" y="503"/>
                  <a:pt x="1334" y="503"/>
                </a:cubicBezTo>
                <a:cubicBezTo>
                  <a:pt x="1334" y="503"/>
                  <a:pt x="1334" y="503"/>
                  <a:pt x="1334" y="513"/>
                </a:cubicBezTo>
                <a:cubicBezTo>
                  <a:pt x="1337" y="513"/>
                  <a:pt x="1340" y="512"/>
                  <a:pt x="1343" y="511"/>
                </a:cubicBezTo>
                <a:cubicBezTo>
                  <a:pt x="1345" y="510"/>
                  <a:pt x="1347" y="508"/>
                  <a:pt x="1350" y="507"/>
                </a:cubicBezTo>
                <a:cubicBezTo>
                  <a:pt x="1350" y="507"/>
                  <a:pt x="1350" y="507"/>
                  <a:pt x="1350" y="566"/>
                </a:cubicBezTo>
                <a:cubicBezTo>
                  <a:pt x="1350" y="566"/>
                  <a:pt x="1350" y="566"/>
                  <a:pt x="1361" y="566"/>
                </a:cubicBezTo>
                <a:cubicBezTo>
                  <a:pt x="1361" y="566"/>
                  <a:pt x="1361" y="566"/>
                  <a:pt x="1361" y="492"/>
                </a:cubicBezTo>
                <a:close/>
                <a:moveTo>
                  <a:pt x="1408" y="492"/>
                </a:moveTo>
                <a:cubicBezTo>
                  <a:pt x="1408" y="492"/>
                  <a:pt x="1408" y="492"/>
                  <a:pt x="1408" y="492"/>
                </a:cubicBezTo>
                <a:cubicBezTo>
                  <a:pt x="1403" y="492"/>
                  <a:pt x="1403" y="492"/>
                  <a:pt x="1403" y="492"/>
                </a:cubicBezTo>
                <a:cubicBezTo>
                  <a:pt x="1401" y="494"/>
                  <a:pt x="1399" y="495"/>
                  <a:pt x="1397" y="496"/>
                </a:cubicBezTo>
                <a:cubicBezTo>
                  <a:pt x="1396" y="497"/>
                  <a:pt x="1393" y="498"/>
                  <a:pt x="1392" y="499"/>
                </a:cubicBezTo>
                <a:cubicBezTo>
                  <a:pt x="1390" y="500"/>
                  <a:pt x="1388" y="501"/>
                  <a:pt x="1387" y="502"/>
                </a:cubicBezTo>
                <a:cubicBezTo>
                  <a:pt x="1385" y="503"/>
                  <a:pt x="1383" y="503"/>
                  <a:pt x="1381" y="503"/>
                </a:cubicBezTo>
                <a:cubicBezTo>
                  <a:pt x="1381" y="503"/>
                  <a:pt x="1381" y="503"/>
                  <a:pt x="1381" y="513"/>
                </a:cubicBezTo>
                <a:cubicBezTo>
                  <a:pt x="1384" y="513"/>
                  <a:pt x="1387" y="512"/>
                  <a:pt x="1389" y="511"/>
                </a:cubicBezTo>
                <a:cubicBezTo>
                  <a:pt x="1392" y="510"/>
                  <a:pt x="1394" y="508"/>
                  <a:pt x="1396" y="507"/>
                </a:cubicBezTo>
                <a:cubicBezTo>
                  <a:pt x="1396" y="507"/>
                  <a:pt x="1396" y="507"/>
                  <a:pt x="1396" y="566"/>
                </a:cubicBezTo>
                <a:cubicBezTo>
                  <a:pt x="1396" y="566"/>
                  <a:pt x="1396" y="566"/>
                  <a:pt x="1408" y="566"/>
                </a:cubicBezTo>
                <a:cubicBezTo>
                  <a:pt x="1408" y="566"/>
                  <a:pt x="1408" y="566"/>
                  <a:pt x="1408" y="492"/>
                </a:cubicBezTo>
                <a:close/>
                <a:moveTo>
                  <a:pt x="1454" y="492"/>
                </a:moveTo>
                <a:cubicBezTo>
                  <a:pt x="1454" y="492"/>
                  <a:pt x="1454" y="492"/>
                  <a:pt x="1454" y="492"/>
                </a:cubicBezTo>
                <a:cubicBezTo>
                  <a:pt x="1449" y="492"/>
                  <a:pt x="1449" y="492"/>
                  <a:pt x="1449" y="492"/>
                </a:cubicBezTo>
                <a:cubicBezTo>
                  <a:pt x="1447" y="494"/>
                  <a:pt x="1446" y="495"/>
                  <a:pt x="1444" y="496"/>
                </a:cubicBezTo>
                <a:cubicBezTo>
                  <a:pt x="1442" y="497"/>
                  <a:pt x="1440" y="498"/>
                  <a:pt x="1439" y="499"/>
                </a:cubicBezTo>
                <a:cubicBezTo>
                  <a:pt x="1436" y="500"/>
                  <a:pt x="1435" y="500"/>
                  <a:pt x="1433" y="501"/>
                </a:cubicBezTo>
                <a:cubicBezTo>
                  <a:pt x="1431" y="502"/>
                  <a:pt x="1429" y="503"/>
                  <a:pt x="1428" y="503"/>
                </a:cubicBezTo>
                <a:cubicBezTo>
                  <a:pt x="1428" y="503"/>
                  <a:pt x="1428" y="503"/>
                  <a:pt x="1428" y="513"/>
                </a:cubicBezTo>
                <a:cubicBezTo>
                  <a:pt x="1431" y="513"/>
                  <a:pt x="1434" y="511"/>
                  <a:pt x="1436" y="511"/>
                </a:cubicBezTo>
                <a:cubicBezTo>
                  <a:pt x="1438" y="510"/>
                  <a:pt x="1441" y="508"/>
                  <a:pt x="1442" y="507"/>
                </a:cubicBezTo>
                <a:cubicBezTo>
                  <a:pt x="1442" y="507"/>
                  <a:pt x="1442" y="507"/>
                  <a:pt x="1442" y="566"/>
                </a:cubicBezTo>
                <a:cubicBezTo>
                  <a:pt x="1442" y="566"/>
                  <a:pt x="1442" y="566"/>
                  <a:pt x="1454" y="566"/>
                </a:cubicBezTo>
                <a:cubicBezTo>
                  <a:pt x="1454" y="566"/>
                  <a:pt x="1454" y="566"/>
                  <a:pt x="1454" y="492"/>
                </a:cubicBezTo>
                <a:close/>
                <a:moveTo>
                  <a:pt x="212" y="492"/>
                </a:moveTo>
                <a:cubicBezTo>
                  <a:pt x="212" y="492"/>
                  <a:pt x="212" y="492"/>
                  <a:pt x="212" y="492"/>
                </a:cubicBezTo>
                <a:cubicBezTo>
                  <a:pt x="206" y="492"/>
                  <a:pt x="206" y="492"/>
                  <a:pt x="206" y="492"/>
                </a:cubicBezTo>
                <a:cubicBezTo>
                  <a:pt x="204" y="494"/>
                  <a:pt x="203" y="495"/>
                  <a:pt x="201" y="496"/>
                </a:cubicBezTo>
                <a:cubicBezTo>
                  <a:pt x="199" y="497"/>
                  <a:pt x="197" y="498"/>
                  <a:pt x="196" y="499"/>
                </a:cubicBezTo>
                <a:cubicBezTo>
                  <a:pt x="194" y="500"/>
                  <a:pt x="192" y="501"/>
                  <a:pt x="190" y="502"/>
                </a:cubicBezTo>
                <a:cubicBezTo>
                  <a:pt x="188" y="503"/>
                  <a:pt x="187" y="503"/>
                  <a:pt x="185" y="503"/>
                </a:cubicBezTo>
                <a:cubicBezTo>
                  <a:pt x="185" y="503"/>
                  <a:pt x="185" y="503"/>
                  <a:pt x="185" y="513"/>
                </a:cubicBezTo>
                <a:cubicBezTo>
                  <a:pt x="188" y="513"/>
                  <a:pt x="190" y="512"/>
                  <a:pt x="193" y="511"/>
                </a:cubicBezTo>
                <a:cubicBezTo>
                  <a:pt x="196" y="510"/>
                  <a:pt x="198" y="508"/>
                  <a:pt x="200" y="507"/>
                </a:cubicBezTo>
                <a:cubicBezTo>
                  <a:pt x="200" y="507"/>
                  <a:pt x="200" y="507"/>
                  <a:pt x="200" y="566"/>
                </a:cubicBezTo>
                <a:cubicBezTo>
                  <a:pt x="200" y="566"/>
                  <a:pt x="200" y="566"/>
                  <a:pt x="212" y="566"/>
                </a:cubicBezTo>
                <a:cubicBezTo>
                  <a:pt x="212" y="566"/>
                  <a:pt x="212" y="566"/>
                  <a:pt x="212" y="492"/>
                </a:cubicBezTo>
                <a:close/>
                <a:moveTo>
                  <a:pt x="258" y="492"/>
                </a:moveTo>
                <a:cubicBezTo>
                  <a:pt x="258" y="492"/>
                  <a:pt x="258" y="492"/>
                  <a:pt x="258" y="492"/>
                </a:cubicBezTo>
                <a:cubicBezTo>
                  <a:pt x="253" y="492"/>
                  <a:pt x="253" y="492"/>
                  <a:pt x="253" y="492"/>
                </a:cubicBezTo>
                <a:cubicBezTo>
                  <a:pt x="252" y="494"/>
                  <a:pt x="249" y="495"/>
                  <a:pt x="248" y="496"/>
                </a:cubicBezTo>
                <a:cubicBezTo>
                  <a:pt x="246" y="497"/>
                  <a:pt x="244" y="498"/>
                  <a:pt x="242" y="499"/>
                </a:cubicBezTo>
                <a:cubicBezTo>
                  <a:pt x="241" y="500"/>
                  <a:pt x="238" y="501"/>
                  <a:pt x="237" y="502"/>
                </a:cubicBezTo>
                <a:cubicBezTo>
                  <a:pt x="235" y="503"/>
                  <a:pt x="233" y="503"/>
                  <a:pt x="231" y="503"/>
                </a:cubicBezTo>
                <a:cubicBezTo>
                  <a:pt x="231" y="503"/>
                  <a:pt x="231" y="503"/>
                  <a:pt x="231" y="513"/>
                </a:cubicBezTo>
                <a:cubicBezTo>
                  <a:pt x="234" y="513"/>
                  <a:pt x="237" y="512"/>
                  <a:pt x="240" y="511"/>
                </a:cubicBezTo>
                <a:cubicBezTo>
                  <a:pt x="242" y="510"/>
                  <a:pt x="244" y="508"/>
                  <a:pt x="246" y="507"/>
                </a:cubicBezTo>
                <a:cubicBezTo>
                  <a:pt x="246" y="507"/>
                  <a:pt x="246" y="507"/>
                  <a:pt x="246" y="566"/>
                </a:cubicBezTo>
                <a:cubicBezTo>
                  <a:pt x="246" y="566"/>
                  <a:pt x="246" y="566"/>
                  <a:pt x="258" y="566"/>
                </a:cubicBezTo>
                <a:cubicBezTo>
                  <a:pt x="258" y="566"/>
                  <a:pt x="258" y="566"/>
                  <a:pt x="258" y="492"/>
                </a:cubicBezTo>
                <a:close/>
                <a:moveTo>
                  <a:pt x="304" y="492"/>
                </a:moveTo>
                <a:cubicBezTo>
                  <a:pt x="304" y="492"/>
                  <a:pt x="304" y="492"/>
                  <a:pt x="304" y="492"/>
                </a:cubicBezTo>
                <a:cubicBezTo>
                  <a:pt x="300" y="492"/>
                  <a:pt x="300" y="492"/>
                  <a:pt x="300" y="492"/>
                </a:cubicBezTo>
                <a:cubicBezTo>
                  <a:pt x="298" y="494"/>
                  <a:pt x="296" y="495"/>
                  <a:pt x="294" y="496"/>
                </a:cubicBezTo>
                <a:cubicBezTo>
                  <a:pt x="293" y="497"/>
                  <a:pt x="290" y="498"/>
                  <a:pt x="289" y="499"/>
                </a:cubicBezTo>
                <a:cubicBezTo>
                  <a:pt x="287" y="500"/>
                  <a:pt x="285" y="500"/>
                  <a:pt x="283" y="501"/>
                </a:cubicBezTo>
                <a:cubicBezTo>
                  <a:pt x="282" y="502"/>
                  <a:pt x="280" y="503"/>
                  <a:pt x="278" y="503"/>
                </a:cubicBezTo>
                <a:cubicBezTo>
                  <a:pt x="278" y="503"/>
                  <a:pt x="278" y="503"/>
                  <a:pt x="278" y="513"/>
                </a:cubicBezTo>
                <a:cubicBezTo>
                  <a:pt x="281" y="513"/>
                  <a:pt x="284" y="511"/>
                  <a:pt x="286" y="511"/>
                </a:cubicBezTo>
                <a:cubicBezTo>
                  <a:pt x="288" y="510"/>
                  <a:pt x="291" y="508"/>
                  <a:pt x="293" y="507"/>
                </a:cubicBezTo>
                <a:cubicBezTo>
                  <a:pt x="293" y="507"/>
                  <a:pt x="293" y="507"/>
                  <a:pt x="293" y="566"/>
                </a:cubicBezTo>
                <a:cubicBezTo>
                  <a:pt x="293" y="566"/>
                  <a:pt x="293" y="566"/>
                  <a:pt x="304" y="566"/>
                </a:cubicBezTo>
                <a:cubicBezTo>
                  <a:pt x="304" y="566"/>
                  <a:pt x="304" y="566"/>
                  <a:pt x="304" y="492"/>
                </a:cubicBezTo>
                <a:close/>
                <a:moveTo>
                  <a:pt x="440" y="525"/>
                </a:moveTo>
                <a:cubicBezTo>
                  <a:pt x="440" y="525"/>
                  <a:pt x="440" y="525"/>
                  <a:pt x="440" y="525"/>
                </a:cubicBezTo>
                <a:cubicBezTo>
                  <a:pt x="440" y="533"/>
                  <a:pt x="440" y="533"/>
                  <a:pt x="440" y="533"/>
                </a:cubicBezTo>
                <a:cubicBezTo>
                  <a:pt x="446" y="533"/>
                  <a:pt x="447" y="536"/>
                  <a:pt x="447" y="539"/>
                </a:cubicBezTo>
                <a:cubicBezTo>
                  <a:pt x="447" y="541"/>
                  <a:pt x="447" y="543"/>
                  <a:pt x="447" y="546"/>
                </a:cubicBezTo>
                <a:cubicBezTo>
                  <a:pt x="446" y="549"/>
                  <a:pt x="446" y="551"/>
                  <a:pt x="446" y="553"/>
                </a:cubicBezTo>
                <a:cubicBezTo>
                  <a:pt x="446" y="562"/>
                  <a:pt x="452" y="566"/>
                  <a:pt x="461" y="566"/>
                </a:cubicBezTo>
                <a:cubicBezTo>
                  <a:pt x="461" y="566"/>
                  <a:pt x="461" y="566"/>
                  <a:pt x="464" y="566"/>
                </a:cubicBezTo>
                <a:cubicBezTo>
                  <a:pt x="464" y="566"/>
                  <a:pt x="464" y="566"/>
                  <a:pt x="464" y="557"/>
                </a:cubicBezTo>
                <a:cubicBezTo>
                  <a:pt x="464" y="557"/>
                  <a:pt x="464" y="557"/>
                  <a:pt x="463" y="557"/>
                </a:cubicBezTo>
                <a:cubicBezTo>
                  <a:pt x="459" y="557"/>
                  <a:pt x="458" y="554"/>
                  <a:pt x="458" y="551"/>
                </a:cubicBezTo>
                <a:cubicBezTo>
                  <a:pt x="458" y="549"/>
                  <a:pt x="458" y="548"/>
                  <a:pt x="458" y="546"/>
                </a:cubicBezTo>
                <a:cubicBezTo>
                  <a:pt x="458" y="544"/>
                  <a:pt x="459" y="542"/>
                  <a:pt x="459" y="540"/>
                </a:cubicBezTo>
                <a:cubicBezTo>
                  <a:pt x="459" y="533"/>
                  <a:pt x="456" y="530"/>
                  <a:pt x="450" y="529"/>
                </a:cubicBezTo>
                <a:cubicBezTo>
                  <a:pt x="450" y="529"/>
                  <a:pt x="450" y="529"/>
                  <a:pt x="450" y="528"/>
                </a:cubicBezTo>
                <a:cubicBezTo>
                  <a:pt x="456" y="527"/>
                  <a:pt x="459" y="525"/>
                  <a:pt x="459" y="518"/>
                </a:cubicBezTo>
                <a:cubicBezTo>
                  <a:pt x="459" y="515"/>
                  <a:pt x="458" y="513"/>
                  <a:pt x="458" y="511"/>
                </a:cubicBezTo>
                <a:cubicBezTo>
                  <a:pt x="458" y="510"/>
                  <a:pt x="458" y="508"/>
                  <a:pt x="458" y="507"/>
                </a:cubicBezTo>
                <a:cubicBezTo>
                  <a:pt x="458" y="503"/>
                  <a:pt x="459" y="501"/>
                  <a:pt x="463" y="501"/>
                </a:cubicBezTo>
                <a:cubicBezTo>
                  <a:pt x="463" y="501"/>
                  <a:pt x="463" y="501"/>
                  <a:pt x="464" y="501"/>
                </a:cubicBezTo>
                <a:cubicBezTo>
                  <a:pt x="464" y="501"/>
                  <a:pt x="464" y="501"/>
                  <a:pt x="464" y="491"/>
                </a:cubicBezTo>
                <a:cubicBezTo>
                  <a:pt x="464" y="491"/>
                  <a:pt x="464" y="491"/>
                  <a:pt x="461" y="491"/>
                </a:cubicBezTo>
                <a:cubicBezTo>
                  <a:pt x="452" y="491"/>
                  <a:pt x="446" y="496"/>
                  <a:pt x="446" y="504"/>
                </a:cubicBezTo>
                <a:cubicBezTo>
                  <a:pt x="446" y="506"/>
                  <a:pt x="446" y="509"/>
                  <a:pt x="446" y="512"/>
                </a:cubicBezTo>
                <a:cubicBezTo>
                  <a:pt x="447" y="514"/>
                  <a:pt x="447" y="516"/>
                  <a:pt x="447" y="518"/>
                </a:cubicBezTo>
                <a:cubicBezTo>
                  <a:pt x="447" y="521"/>
                  <a:pt x="446" y="524"/>
                  <a:pt x="440" y="525"/>
                </a:cubicBezTo>
                <a:close/>
                <a:moveTo>
                  <a:pt x="495" y="533"/>
                </a:moveTo>
                <a:cubicBezTo>
                  <a:pt x="495" y="533"/>
                  <a:pt x="495" y="533"/>
                  <a:pt x="495" y="533"/>
                </a:cubicBezTo>
                <a:cubicBezTo>
                  <a:pt x="495" y="525"/>
                  <a:pt x="495" y="525"/>
                  <a:pt x="495" y="525"/>
                </a:cubicBezTo>
                <a:cubicBezTo>
                  <a:pt x="489" y="524"/>
                  <a:pt x="489" y="521"/>
                  <a:pt x="489" y="518"/>
                </a:cubicBezTo>
                <a:cubicBezTo>
                  <a:pt x="489" y="516"/>
                  <a:pt x="489" y="514"/>
                  <a:pt x="489" y="512"/>
                </a:cubicBezTo>
                <a:cubicBezTo>
                  <a:pt x="489" y="509"/>
                  <a:pt x="489" y="506"/>
                  <a:pt x="489" y="504"/>
                </a:cubicBezTo>
                <a:cubicBezTo>
                  <a:pt x="489" y="496"/>
                  <a:pt x="484" y="491"/>
                  <a:pt x="475" y="491"/>
                </a:cubicBezTo>
                <a:cubicBezTo>
                  <a:pt x="475" y="491"/>
                  <a:pt x="475" y="491"/>
                  <a:pt x="471" y="491"/>
                </a:cubicBezTo>
                <a:cubicBezTo>
                  <a:pt x="471" y="491"/>
                  <a:pt x="471" y="491"/>
                  <a:pt x="471" y="501"/>
                </a:cubicBezTo>
                <a:cubicBezTo>
                  <a:pt x="471" y="501"/>
                  <a:pt x="471" y="501"/>
                  <a:pt x="473" y="501"/>
                </a:cubicBezTo>
                <a:cubicBezTo>
                  <a:pt x="476" y="501"/>
                  <a:pt x="478" y="503"/>
                  <a:pt x="478" y="507"/>
                </a:cubicBezTo>
                <a:cubicBezTo>
                  <a:pt x="478" y="508"/>
                  <a:pt x="477" y="510"/>
                  <a:pt x="477" y="511"/>
                </a:cubicBezTo>
                <a:cubicBezTo>
                  <a:pt x="477" y="513"/>
                  <a:pt x="477" y="515"/>
                  <a:pt x="477" y="518"/>
                </a:cubicBezTo>
                <a:cubicBezTo>
                  <a:pt x="477" y="525"/>
                  <a:pt x="480" y="527"/>
                  <a:pt x="486" y="528"/>
                </a:cubicBezTo>
                <a:cubicBezTo>
                  <a:pt x="486" y="528"/>
                  <a:pt x="486" y="528"/>
                  <a:pt x="486" y="529"/>
                </a:cubicBezTo>
                <a:cubicBezTo>
                  <a:pt x="480" y="530"/>
                  <a:pt x="477" y="533"/>
                  <a:pt x="477" y="540"/>
                </a:cubicBezTo>
                <a:cubicBezTo>
                  <a:pt x="477" y="542"/>
                  <a:pt x="477" y="544"/>
                  <a:pt x="477" y="546"/>
                </a:cubicBezTo>
                <a:cubicBezTo>
                  <a:pt x="477" y="548"/>
                  <a:pt x="478" y="549"/>
                  <a:pt x="478" y="551"/>
                </a:cubicBezTo>
                <a:cubicBezTo>
                  <a:pt x="478" y="554"/>
                  <a:pt x="477" y="557"/>
                  <a:pt x="473" y="557"/>
                </a:cubicBezTo>
                <a:cubicBezTo>
                  <a:pt x="473" y="557"/>
                  <a:pt x="473" y="557"/>
                  <a:pt x="471" y="557"/>
                </a:cubicBezTo>
                <a:cubicBezTo>
                  <a:pt x="471" y="557"/>
                  <a:pt x="471" y="557"/>
                  <a:pt x="471" y="566"/>
                </a:cubicBezTo>
                <a:cubicBezTo>
                  <a:pt x="471" y="566"/>
                  <a:pt x="471" y="566"/>
                  <a:pt x="475" y="566"/>
                </a:cubicBezTo>
                <a:cubicBezTo>
                  <a:pt x="484" y="566"/>
                  <a:pt x="489" y="562"/>
                  <a:pt x="489" y="553"/>
                </a:cubicBezTo>
                <a:cubicBezTo>
                  <a:pt x="489" y="551"/>
                  <a:pt x="489" y="549"/>
                  <a:pt x="489" y="546"/>
                </a:cubicBezTo>
                <a:cubicBezTo>
                  <a:pt x="489" y="543"/>
                  <a:pt x="489" y="541"/>
                  <a:pt x="489" y="539"/>
                </a:cubicBezTo>
                <a:cubicBezTo>
                  <a:pt x="489" y="536"/>
                  <a:pt x="489" y="533"/>
                  <a:pt x="495" y="533"/>
                </a:cubicBezTo>
                <a:close/>
                <a:moveTo>
                  <a:pt x="542" y="492"/>
                </a:moveTo>
                <a:cubicBezTo>
                  <a:pt x="542" y="492"/>
                  <a:pt x="542" y="492"/>
                  <a:pt x="542" y="492"/>
                </a:cubicBezTo>
                <a:cubicBezTo>
                  <a:pt x="537" y="492"/>
                  <a:pt x="537" y="492"/>
                  <a:pt x="537" y="492"/>
                </a:cubicBezTo>
                <a:cubicBezTo>
                  <a:pt x="535" y="494"/>
                  <a:pt x="533" y="495"/>
                  <a:pt x="531" y="496"/>
                </a:cubicBezTo>
                <a:cubicBezTo>
                  <a:pt x="530" y="497"/>
                  <a:pt x="527" y="498"/>
                  <a:pt x="526" y="499"/>
                </a:cubicBezTo>
                <a:cubicBezTo>
                  <a:pt x="524" y="500"/>
                  <a:pt x="522" y="500"/>
                  <a:pt x="521" y="501"/>
                </a:cubicBezTo>
                <a:cubicBezTo>
                  <a:pt x="519" y="502"/>
                  <a:pt x="517" y="503"/>
                  <a:pt x="515" y="503"/>
                </a:cubicBezTo>
                <a:cubicBezTo>
                  <a:pt x="515" y="503"/>
                  <a:pt x="515" y="503"/>
                  <a:pt x="515" y="513"/>
                </a:cubicBezTo>
                <a:cubicBezTo>
                  <a:pt x="518" y="513"/>
                  <a:pt x="521" y="511"/>
                  <a:pt x="523" y="511"/>
                </a:cubicBezTo>
                <a:cubicBezTo>
                  <a:pt x="526" y="510"/>
                  <a:pt x="528" y="508"/>
                  <a:pt x="530" y="507"/>
                </a:cubicBezTo>
                <a:cubicBezTo>
                  <a:pt x="530" y="507"/>
                  <a:pt x="530" y="507"/>
                  <a:pt x="530" y="566"/>
                </a:cubicBezTo>
                <a:cubicBezTo>
                  <a:pt x="530" y="566"/>
                  <a:pt x="530" y="566"/>
                  <a:pt x="542" y="566"/>
                </a:cubicBezTo>
                <a:cubicBezTo>
                  <a:pt x="542" y="566"/>
                  <a:pt x="542" y="566"/>
                  <a:pt x="542" y="492"/>
                </a:cubicBezTo>
                <a:close/>
                <a:moveTo>
                  <a:pt x="588" y="492"/>
                </a:moveTo>
                <a:cubicBezTo>
                  <a:pt x="588" y="492"/>
                  <a:pt x="588" y="492"/>
                  <a:pt x="588" y="492"/>
                </a:cubicBezTo>
                <a:cubicBezTo>
                  <a:pt x="583" y="492"/>
                  <a:pt x="583" y="492"/>
                  <a:pt x="583" y="492"/>
                </a:cubicBezTo>
                <a:cubicBezTo>
                  <a:pt x="581" y="494"/>
                  <a:pt x="580" y="495"/>
                  <a:pt x="578" y="496"/>
                </a:cubicBezTo>
                <a:cubicBezTo>
                  <a:pt x="576" y="497"/>
                  <a:pt x="574" y="498"/>
                  <a:pt x="573" y="499"/>
                </a:cubicBezTo>
                <a:cubicBezTo>
                  <a:pt x="571" y="500"/>
                  <a:pt x="569" y="501"/>
                  <a:pt x="568" y="502"/>
                </a:cubicBezTo>
                <a:cubicBezTo>
                  <a:pt x="566" y="503"/>
                  <a:pt x="564" y="503"/>
                  <a:pt x="562" y="503"/>
                </a:cubicBezTo>
                <a:cubicBezTo>
                  <a:pt x="562" y="503"/>
                  <a:pt x="562" y="503"/>
                  <a:pt x="562" y="513"/>
                </a:cubicBezTo>
                <a:cubicBezTo>
                  <a:pt x="565" y="513"/>
                  <a:pt x="568" y="512"/>
                  <a:pt x="570" y="511"/>
                </a:cubicBezTo>
                <a:cubicBezTo>
                  <a:pt x="573" y="510"/>
                  <a:pt x="575" y="508"/>
                  <a:pt x="577" y="507"/>
                </a:cubicBezTo>
                <a:cubicBezTo>
                  <a:pt x="577" y="507"/>
                  <a:pt x="577" y="507"/>
                  <a:pt x="577" y="566"/>
                </a:cubicBezTo>
                <a:cubicBezTo>
                  <a:pt x="577" y="566"/>
                  <a:pt x="577" y="566"/>
                  <a:pt x="588" y="566"/>
                </a:cubicBezTo>
                <a:cubicBezTo>
                  <a:pt x="588" y="566"/>
                  <a:pt x="588" y="566"/>
                  <a:pt x="588" y="492"/>
                </a:cubicBezTo>
                <a:close/>
                <a:moveTo>
                  <a:pt x="634" y="492"/>
                </a:moveTo>
                <a:cubicBezTo>
                  <a:pt x="634" y="492"/>
                  <a:pt x="634" y="492"/>
                  <a:pt x="634" y="492"/>
                </a:cubicBezTo>
                <a:cubicBezTo>
                  <a:pt x="630" y="492"/>
                  <a:pt x="630" y="492"/>
                  <a:pt x="630" y="492"/>
                </a:cubicBezTo>
                <a:cubicBezTo>
                  <a:pt x="627" y="494"/>
                  <a:pt x="626" y="495"/>
                  <a:pt x="624" y="496"/>
                </a:cubicBezTo>
                <a:cubicBezTo>
                  <a:pt x="622" y="497"/>
                  <a:pt x="620" y="498"/>
                  <a:pt x="619" y="499"/>
                </a:cubicBezTo>
                <a:cubicBezTo>
                  <a:pt x="617" y="500"/>
                  <a:pt x="615" y="501"/>
                  <a:pt x="613" y="502"/>
                </a:cubicBezTo>
                <a:cubicBezTo>
                  <a:pt x="612" y="503"/>
                  <a:pt x="609" y="503"/>
                  <a:pt x="608" y="503"/>
                </a:cubicBezTo>
                <a:cubicBezTo>
                  <a:pt x="608" y="503"/>
                  <a:pt x="608" y="503"/>
                  <a:pt x="608" y="513"/>
                </a:cubicBezTo>
                <a:cubicBezTo>
                  <a:pt x="611" y="513"/>
                  <a:pt x="614" y="512"/>
                  <a:pt x="616" y="511"/>
                </a:cubicBezTo>
                <a:cubicBezTo>
                  <a:pt x="618" y="510"/>
                  <a:pt x="621" y="508"/>
                  <a:pt x="622" y="507"/>
                </a:cubicBezTo>
                <a:cubicBezTo>
                  <a:pt x="622" y="507"/>
                  <a:pt x="622" y="507"/>
                  <a:pt x="622" y="566"/>
                </a:cubicBezTo>
                <a:cubicBezTo>
                  <a:pt x="622" y="566"/>
                  <a:pt x="622" y="566"/>
                  <a:pt x="634" y="566"/>
                </a:cubicBezTo>
                <a:cubicBezTo>
                  <a:pt x="634" y="566"/>
                  <a:pt x="634" y="566"/>
                  <a:pt x="634" y="492"/>
                </a:cubicBezTo>
                <a:close/>
                <a:moveTo>
                  <a:pt x="384" y="540"/>
                </a:moveTo>
                <a:cubicBezTo>
                  <a:pt x="384" y="541"/>
                  <a:pt x="385" y="542"/>
                  <a:pt x="385" y="544"/>
                </a:cubicBezTo>
                <a:cubicBezTo>
                  <a:pt x="386" y="546"/>
                  <a:pt x="386" y="548"/>
                  <a:pt x="387" y="549"/>
                </a:cubicBezTo>
                <a:cubicBezTo>
                  <a:pt x="387" y="551"/>
                  <a:pt x="387" y="552"/>
                  <a:pt x="387" y="554"/>
                </a:cubicBezTo>
                <a:cubicBezTo>
                  <a:pt x="388" y="557"/>
                  <a:pt x="387" y="559"/>
                  <a:pt x="383" y="559"/>
                </a:cubicBezTo>
                <a:cubicBezTo>
                  <a:pt x="381" y="559"/>
                  <a:pt x="378" y="558"/>
                  <a:pt x="375" y="558"/>
                </a:cubicBezTo>
                <a:cubicBezTo>
                  <a:pt x="375" y="558"/>
                  <a:pt x="374" y="558"/>
                  <a:pt x="374" y="559"/>
                </a:cubicBezTo>
                <a:cubicBezTo>
                  <a:pt x="372" y="560"/>
                  <a:pt x="371" y="561"/>
                  <a:pt x="369" y="563"/>
                </a:cubicBezTo>
                <a:cubicBezTo>
                  <a:pt x="367" y="565"/>
                  <a:pt x="364" y="566"/>
                  <a:pt x="362" y="564"/>
                </a:cubicBezTo>
                <a:cubicBezTo>
                  <a:pt x="360" y="561"/>
                  <a:pt x="359" y="559"/>
                  <a:pt x="357" y="556"/>
                </a:cubicBezTo>
                <a:cubicBezTo>
                  <a:pt x="356" y="555"/>
                  <a:pt x="357" y="553"/>
                  <a:pt x="359" y="552"/>
                </a:cubicBezTo>
                <a:cubicBezTo>
                  <a:pt x="356" y="552"/>
                  <a:pt x="355" y="552"/>
                  <a:pt x="353" y="552"/>
                </a:cubicBezTo>
                <a:cubicBezTo>
                  <a:pt x="352" y="554"/>
                  <a:pt x="351" y="556"/>
                  <a:pt x="351" y="557"/>
                </a:cubicBezTo>
                <a:cubicBezTo>
                  <a:pt x="351" y="558"/>
                  <a:pt x="350" y="559"/>
                  <a:pt x="350" y="560"/>
                </a:cubicBezTo>
                <a:cubicBezTo>
                  <a:pt x="350" y="563"/>
                  <a:pt x="349" y="564"/>
                  <a:pt x="346" y="564"/>
                </a:cubicBezTo>
                <a:cubicBezTo>
                  <a:pt x="343" y="563"/>
                  <a:pt x="340" y="563"/>
                  <a:pt x="337" y="561"/>
                </a:cubicBezTo>
                <a:cubicBezTo>
                  <a:pt x="335" y="561"/>
                  <a:pt x="334" y="559"/>
                  <a:pt x="335" y="557"/>
                </a:cubicBezTo>
                <a:cubicBezTo>
                  <a:pt x="335" y="557"/>
                  <a:pt x="335" y="556"/>
                  <a:pt x="336" y="556"/>
                </a:cubicBezTo>
                <a:cubicBezTo>
                  <a:pt x="333" y="555"/>
                  <a:pt x="331" y="554"/>
                  <a:pt x="329" y="552"/>
                </a:cubicBezTo>
                <a:cubicBezTo>
                  <a:pt x="328" y="552"/>
                  <a:pt x="327" y="550"/>
                  <a:pt x="326" y="548"/>
                </a:cubicBezTo>
                <a:cubicBezTo>
                  <a:pt x="325" y="546"/>
                  <a:pt x="325" y="544"/>
                  <a:pt x="327" y="543"/>
                </a:cubicBezTo>
                <a:cubicBezTo>
                  <a:pt x="330" y="540"/>
                  <a:pt x="331" y="538"/>
                  <a:pt x="330" y="534"/>
                </a:cubicBezTo>
                <a:cubicBezTo>
                  <a:pt x="330" y="532"/>
                  <a:pt x="330" y="529"/>
                  <a:pt x="330" y="528"/>
                </a:cubicBezTo>
                <a:cubicBezTo>
                  <a:pt x="329" y="527"/>
                  <a:pt x="327" y="527"/>
                  <a:pt x="326" y="525"/>
                </a:cubicBezTo>
                <a:cubicBezTo>
                  <a:pt x="325" y="524"/>
                  <a:pt x="324" y="522"/>
                  <a:pt x="324" y="520"/>
                </a:cubicBezTo>
                <a:cubicBezTo>
                  <a:pt x="324" y="517"/>
                  <a:pt x="327" y="514"/>
                  <a:pt x="330" y="514"/>
                </a:cubicBezTo>
                <a:cubicBezTo>
                  <a:pt x="331" y="514"/>
                  <a:pt x="331" y="515"/>
                  <a:pt x="331" y="516"/>
                </a:cubicBezTo>
                <a:cubicBezTo>
                  <a:pt x="331" y="517"/>
                  <a:pt x="331" y="518"/>
                  <a:pt x="331" y="519"/>
                </a:cubicBezTo>
                <a:cubicBezTo>
                  <a:pt x="331" y="519"/>
                  <a:pt x="330" y="519"/>
                  <a:pt x="330" y="519"/>
                </a:cubicBezTo>
                <a:cubicBezTo>
                  <a:pt x="329" y="520"/>
                  <a:pt x="329" y="521"/>
                  <a:pt x="328" y="523"/>
                </a:cubicBezTo>
                <a:cubicBezTo>
                  <a:pt x="329" y="523"/>
                  <a:pt x="330" y="523"/>
                  <a:pt x="331" y="522"/>
                </a:cubicBezTo>
                <a:cubicBezTo>
                  <a:pt x="332" y="521"/>
                  <a:pt x="332" y="520"/>
                  <a:pt x="333" y="519"/>
                </a:cubicBezTo>
                <a:cubicBezTo>
                  <a:pt x="338" y="512"/>
                  <a:pt x="343" y="508"/>
                  <a:pt x="351" y="507"/>
                </a:cubicBezTo>
                <a:cubicBezTo>
                  <a:pt x="354" y="506"/>
                  <a:pt x="358" y="505"/>
                  <a:pt x="360" y="502"/>
                </a:cubicBezTo>
                <a:cubicBezTo>
                  <a:pt x="360" y="502"/>
                  <a:pt x="361" y="502"/>
                  <a:pt x="361" y="502"/>
                </a:cubicBezTo>
                <a:cubicBezTo>
                  <a:pt x="364" y="501"/>
                  <a:pt x="365" y="499"/>
                  <a:pt x="367" y="497"/>
                </a:cubicBezTo>
                <a:cubicBezTo>
                  <a:pt x="375" y="489"/>
                  <a:pt x="387" y="489"/>
                  <a:pt x="394" y="496"/>
                </a:cubicBezTo>
                <a:cubicBezTo>
                  <a:pt x="397" y="498"/>
                  <a:pt x="400" y="500"/>
                  <a:pt x="402" y="502"/>
                </a:cubicBezTo>
                <a:cubicBezTo>
                  <a:pt x="403" y="503"/>
                  <a:pt x="405" y="504"/>
                  <a:pt x="406" y="506"/>
                </a:cubicBezTo>
                <a:cubicBezTo>
                  <a:pt x="407" y="508"/>
                  <a:pt x="407" y="508"/>
                  <a:pt x="409" y="507"/>
                </a:cubicBezTo>
                <a:cubicBezTo>
                  <a:pt x="409" y="506"/>
                  <a:pt x="410" y="506"/>
                  <a:pt x="411" y="505"/>
                </a:cubicBezTo>
                <a:cubicBezTo>
                  <a:pt x="413" y="502"/>
                  <a:pt x="416" y="502"/>
                  <a:pt x="417" y="505"/>
                </a:cubicBezTo>
                <a:cubicBezTo>
                  <a:pt x="418" y="508"/>
                  <a:pt x="419" y="511"/>
                  <a:pt x="420" y="514"/>
                </a:cubicBezTo>
                <a:cubicBezTo>
                  <a:pt x="420" y="519"/>
                  <a:pt x="420" y="523"/>
                  <a:pt x="418" y="527"/>
                </a:cubicBezTo>
                <a:cubicBezTo>
                  <a:pt x="416" y="534"/>
                  <a:pt x="411" y="537"/>
                  <a:pt x="405" y="537"/>
                </a:cubicBezTo>
                <a:cubicBezTo>
                  <a:pt x="404" y="537"/>
                  <a:pt x="403" y="537"/>
                  <a:pt x="403" y="537"/>
                </a:cubicBezTo>
                <a:cubicBezTo>
                  <a:pt x="400" y="537"/>
                  <a:pt x="399" y="537"/>
                  <a:pt x="398" y="540"/>
                </a:cubicBezTo>
                <a:cubicBezTo>
                  <a:pt x="397" y="544"/>
                  <a:pt x="391" y="546"/>
                  <a:pt x="388" y="542"/>
                </a:cubicBezTo>
                <a:cubicBezTo>
                  <a:pt x="387" y="541"/>
                  <a:pt x="386" y="540"/>
                  <a:pt x="385" y="539"/>
                </a:cubicBezTo>
                <a:cubicBezTo>
                  <a:pt x="384" y="540"/>
                  <a:pt x="384" y="540"/>
                  <a:pt x="384" y="540"/>
                </a:cubicBezTo>
                <a:close/>
                <a:moveTo>
                  <a:pt x="378" y="535"/>
                </a:moveTo>
                <a:cubicBezTo>
                  <a:pt x="382" y="537"/>
                  <a:pt x="385" y="538"/>
                  <a:pt x="388" y="541"/>
                </a:cubicBezTo>
                <a:cubicBezTo>
                  <a:pt x="390" y="542"/>
                  <a:pt x="392" y="543"/>
                  <a:pt x="394" y="542"/>
                </a:cubicBezTo>
                <a:cubicBezTo>
                  <a:pt x="396" y="542"/>
                  <a:pt x="398" y="540"/>
                  <a:pt x="398" y="537"/>
                </a:cubicBezTo>
                <a:cubicBezTo>
                  <a:pt x="398" y="537"/>
                  <a:pt x="397" y="537"/>
                  <a:pt x="397" y="537"/>
                </a:cubicBezTo>
                <a:cubicBezTo>
                  <a:pt x="396" y="539"/>
                  <a:pt x="395" y="540"/>
                  <a:pt x="394" y="541"/>
                </a:cubicBezTo>
                <a:cubicBezTo>
                  <a:pt x="393" y="542"/>
                  <a:pt x="392" y="542"/>
                  <a:pt x="391" y="541"/>
                </a:cubicBezTo>
                <a:cubicBezTo>
                  <a:pt x="391" y="541"/>
                  <a:pt x="390" y="540"/>
                  <a:pt x="390" y="539"/>
                </a:cubicBezTo>
                <a:cubicBezTo>
                  <a:pt x="390" y="537"/>
                  <a:pt x="391" y="535"/>
                  <a:pt x="391" y="533"/>
                </a:cubicBezTo>
                <a:cubicBezTo>
                  <a:pt x="394" y="534"/>
                  <a:pt x="397" y="535"/>
                  <a:pt x="401" y="535"/>
                </a:cubicBezTo>
                <a:cubicBezTo>
                  <a:pt x="408" y="537"/>
                  <a:pt x="414" y="535"/>
                  <a:pt x="417" y="526"/>
                </a:cubicBezTo>
                <a:cubicBezTo>
                  <a:pt x="419" y="521"/>
                  <a:pt x="418" y="517"/>
                  <a:pt x="418" y="512"/>
                </a:cubicBezTo>
                <a:cubicBezTo>
                  <a:pt x="417" y="510"/>
                  <a:pt x="416" y="508"/>
                  <a:pt x="416" y="506"/>
                </a:cubicBezTo>
                <a:cubicBezTo>
                  <a:pt x="415" y="504"/>
                  <a:pt x="414" y="504"/>
                  <a:pt x="412" y="506"/>
                </a:cubicBezTo>
                <a:cubicBezTo>
                  <a:pt x="411" y="507"/>
                  <a:pt x="409" y="509"/>
                  <a:pt x="407" y="510"/>
                </a:cubicBezTo>
                <a:cubicBezTo>
                  <a:pt x="407" y="510"/>
                  <a:pt x="406" y="511"/>
                  <a:pt x="406" y="512"/>
                </a:cubicBezTo>
                <a:cubicBezTo>
                  <a:pt x="407" y="515"/>
                  <a:pt x="406" y="518"/>
                  <a:pt x="405" y="521"/>
                </a:cubicBezTo>
                <a:cubicBezTo>
                  <a:pt x="405" y="519"/>
                  <a:pt x="405" y="518"/>
                  <a:pt x="405" y="516"/>
                </a:cubicBezTo>
                <a:cubicBezTo>
                  <a:pt x="405" y="515"/>
                  <a:pt x="405" y="515"/>
                  <a:pt x="405" y="514"/>
                </a:cubicBezTo>
                <a:cubicBezTo>
                  <a:pt x="404" y="515"/>
                  <a:pt x="403" y="515"/>
                  <a:pt x="403" y="515"/>
                </a:cubicBezTo>
                <a:cubicBezTo>
                  <a:pt x="403" y="516"/>
                  <a:pt x="402" y="518"/>
                  <a:pt x="401" y="519"/>
                </a:cubicBezTo>
                <a:cubicBezTo>
                  <a:pt x="401" y="519"/>
                  <a:pt x="401" y="519"/>
                  <a:pt x="401" y="519"/>
                </a:cubicBezTo>
                <a:cubicBezTo>
                  <a:pt x="401" y="518"/>
                  <a:pt x="402" y="516"/>
                  <a:pt x="402" y="514"/>
                </a:cubicBezTo>
                <a:cubicBezTo>
                  <a:pt x="401" y="514"/>
                  <a:pt x="400" y="515"/>
                  <a:pt x="400" y="516"/>
                </a:cubicBezTo>
                <a:cubicBezTo>
                  <a:pt x="399" y="516"/>
                  <a:pt x="399" y="517"/>
                  <a:pt x="398" y="518"/>
                </a:cubicBezTo>
                <a:cubicBezTo>
                  <a:pt x="399" y="514"/>
                  <a:pt x="399" y="514"/>
                  <a:pt x="405" y="513"/>
                </a:cubicBezTo>
                <a:cubicBezTo>
                  <a:pt x="405" y="512"/>
                  <a:pt x="404" y="512"/>
                  <a:pt x="404" y="512"/>
                </a:cubicBezTo>
                <a:cubicBezTo>
                  <a:pt x="401" y="512"/>
                  <a:pt x="400" y="511"/>
                  <a:pt x="400" y="508"/>
                </a:cubicBezTo>
                <a:cubicBezTo>
                  <a:pt x="402" y="508"/>
                  <a:pt x="403" y="508"/>
                  <a:pt x="405" y="507"/>
                </a:cubicBezTo>
                <a:cubicBezTo>
                  <a:pt x="403" y="505"/>
                  <a:pt x="402" y="502"/>
                  <a:pt x="398" y="502"/>
                </a:cubicBezTo>
                <a:cubicBezTo>
                  <a:pt x="398" y="502"/>
                  <a:pt x="398" y="501"/>
                  <a:pt x="398" y="501"/>
                </a:cubicBezTo>
                <a:cubicBezTo>
                  <a:pt x="395" y="499"/>
                  <a:pt x="393" y="497"/>
                  <a:pt x="390" y="495"/>
                </a:cubicBezTo>
                <a:cubicBezTo>
                  <a:pt x="388" y="493"/>
                  <a:pt x="385" y="493"/>
                  <a:pt x="383" y="493"/>
                </a:cubicBezTo>
                <a:cubicBezTo>
                  <a:pt x="380" y="493"/>
                  <a:pt x="376" y="494"/>
                  <a:pt x="373" y="495"/>
                </a:cubicBezTo>
                <a:cubicBezTo>
                  <a:pt x="371" y="496"/>
                  <a:pt x="368" y="498"/>
                  <a:pt x="366" y="501"/>
                </a:cubicBezTo>
                <a:cubicBezTo>
                  <a:pt x="368" y="501"/>
                  <a:pt x="369" y="501"/>
                  <a:pt x="370" y="501"/>
                </a:cubicBezTo>
                <a:cubicBezTo>
                  <a:pt x="370" y="501"/>
                  <a:pt x="369" y="502"/>
                  <a:pt x="368" y="502"/>
                </a:cubicBezTo>
                <a:cubicBezTo>
                  <a:pt x="366" y="502"/>
                  <a:pt x="363" y="502"/>
                  <a:pt x="361" y="504"/>
                </a:cubicBezTo>
                <a:cubicBezTo>
                  <a:pt x="358" y="508"/>
                  <a:pt x="354" y="512"/>
                  <a:pt x="350" y="516"/>
                </a:cubicBezTo>
                <a:cubicBezTo>
                  <a:pt x="349" y="518"/>
                  <a:pt x="348" y="520"/>
                  <a:pt x="347" y="523"/>
                </a:cubicBezTo>
                <a:cubicBezTo>
                  <a:pt x="347" y="523"/>
                  <a:pt x="347" y="524"/>
                  <a:pt x="347" y="524"/>
                </a:cubicBezTo>
                <a:cubicBezTo>
                  <a:pt x="348" y="526"/>
                  <a:pt x="349" y="528"/>
                  <a:pt x="351" y="530"/>
                </a:cubicBezTo>
                <a:cubicBezTo>
                  <a:pt x="352" y="529"/>
                  <a:pt x="353" y="527"/>
                  <a:pt x="354" y="526"/>
                </a:cubicBezTo>
                <a:cubicBezTo>
                  <a:pt x="354" y="527"/>
                  <a:pt x="354" y="528"/>
                  <a:pt x="353" y="530"/>
                </a:cubicBezTo>
                <a:cubicBezTo>
                  <a:pt x="352" y="531"/>
                  <a:pt x="351" y="532"/>
                  <a:pt x="351" y="534"/>
                </a:cubicBezTo>
                <a:cubicBezTo>
                  <a:pt x="351" y="535"/>
                  <a:pt x="351" y="536"/>
                  <a:pt x="351" y="537"/>
                </a:cubicBezTo>
                <a:cubicBezTo>
                  <a:pt x="354" y="540"/>
                  <a:pt x="357" y="540"/>
                  <a:pt x="361" y="538"/>
                </a:cubicBezTo>
                <a:cubicBezTo>
                  <a:pt x="363" y="537"/>
                  <a:pt x="366" y="535"/>
                  <a:pt x="369" y="535"/>
                </a:cubicBezTo>
                <a:cubicBezTo>
                  <a:pt x="370" y="534"/>
                  <a:pt x="371" y="533"/>
                  <a:pt x="371" y="532"/>
                </a:cubicBezTo>
                <a:cubicBezTo>
                  <a:pt x="371" y="529"/>
                  <a:pt x="371" y="525"/>
                  <a:pt x="371" y="522"/>
                </a:cubicBezTo>
                <a:cubicBezTo>
                  <a:pt x="371" y="519"/>
                  <a:pt x="371" y="516"/>
                  <a:pt x="371" y="513"/>
                </a:cubicBezTo>
                <a:cubicBezTo>
                  <a:pt x="372" y="516"/>
                  <a:pt x="372" y="518"/>
                  <a:pt x="373" y="521"/>
                </a:cubicBezTo>
                <a:cubicBezTo>
                  <a:pt x="374" y="525"/>
                  <a:pt x="374" y="530"/>
                  <a:pt x="372" y="534"/>
                </a:cubicBezTo>
                <a:cubicBezTo>
                  <a:pt x="372" y="535"/>
                  <a:pt x="371" y="536"/>
                  <a:pt x="371" y="536"/>
                </a:cubicBezTo>
                <a:cubicBezTo>
                  <a:pt x="367" y="536"/>
                  <a:pt x="364" y="538"/>
                  <a:pt x="361" y="540"/>
                </a:cubicBezTo>
                <a:cubicBezTo>
                  <a:pt x="356" y="543"/>
                  <a:pt x="352" y="541"/>
                  <a:pt x="349" y="537"/>
                </a:cubicBezTo>
                <a:cubicBezTo>
                  <a:pt x="349" y="537"/>
                  <a:pt x="349" y="535"/>
                  <a:pt x="349" y="535"/>
                </a:cubicBezTo>
                <a:cubicBezTo>
                  <a:pt x="350" y="533"/>
                  <a:pt x="349" y="531"/>
                  <a:pt x="347" y="529"/>
                </a:cubicBezTo>
                <a:cubicBezTo>
                  <a:pt x="346" y="527"/>
                  <a:pt x="344" y="524"/>
                  <a:pt x="345" y="521"/>
                </a:cubicBezTo>
                <a:cubicBezTo>
                  <a:pt x="346" y="519"/>
                  <a:pt x="347" y="518"/>
                  <a:pt x="348" y="516"/>
                </a:cubicBezTo>
                <a:cubicBezTo>
                  <a:pt x="350" y="514"/>
                  <a:pt x="352" y="511"/>
                  <a:pt x="354" y="508"/>
                </a:cubicBezTo>
                <a:cubicBezTo>
                  <a:pt x="354" y="508"/>
                  <a:pt x="353" y="508"/>
                  <a:pt x="353" y="508"/>
                </a:cubicBezTo>
                <a:cubicBezTo>
                  <a:pt x="348" y="510"/>
                  <a:pt x="343" y="511"/>
                  <a:pt x="340" y="514"/>
                </a:cubicBezTo>
                <a:cubicBezTo>
                  <a:pt x="335" y="519"/>
                  <a:pt x="332" y="524"/>
                  <a:pt x="332" y="531"/>
                </a:cubicBezTo>
                <a:cubicBezTo>
                  <a:pt x="331" y="537"/>
                  <a:pt x="334" y="543"/>
                  <a:pt x="337" y="549"/>
                </a:cubicBezTo>
                <a:cubicBezTo>
                  <a:pt x="338" y="550"/>
                  <a:pt x="338" y="552"/>
                  <a:pt x="338" y="553"/>
                </a:cubicBezTo>
                <a:cubicBezTo>
                  <a:pt x="338" y="554"/>
                  <a:pt x="338" y="556"/>
                  <a:pt x="337" y="557"/>
                </a:cubicBezTo>
                <a:cubicBezTo>
                  <a:pt x="336" y="559"/>
                  <a:pt x="337" y="560"/>
                  <a:pt x="338" y="560"/>
                </a:cubicBezTo>
                <a:cubicBezTo>
                  <a:pt x="341" y="561"/>
                  <a:pt x="344" y="561"/>
                  <a:pt x="347" y="562"/>
                </a:cubicBezTo>
                <a:cubicBezTo>
                  <a:pt x="347" y="562"/>
                  <a:pt x="348" y="561"/>
                  <a:pt x="348" y="561"/>
                </a:cubicBezTo>
                <a:cubicBezTo>
                  <a:pt x="349" y="559"/>
                  <a:pt x="349" y="558"/>
                  <a:pt x="349" y="557"/>
                </a:cubicBezTo>
                <a:cubicBezTo>
                  <a:pt x="351" y="555"/>
                  <a:pt x="351" y="552"/>
                  <a:pt x="351" y="549"/>
                </a:cubicBezTo>
                <a:cubicBezTo>
                  <a:pt x="351" y="549"/>
                  <a:pt x="351" y="548"/>
                  <a:pt x="351" y="548"/>
                </a:cubicBezTo>
                <a:cubicBezTo>
                  <a:pt x="351" y="548"/>
                  <a:pt x="351" y="548"/>
                  <a:pt x="351" y="547"/>
                </a:cubicBezTo>
                <a:cubicBezTo>
                  <a:pt x="352" y="550"/>
                  <a:pt x="353" y="550"/>
                  <a:pt x="355" y="550"/>
                </a:cubicBezTo>
                <a:cubicBezTo>
                  <a:pt x="356" y="550"/>
                  <a:pt x="357" y="550"/>
                  <a:pt x="358" y="550"/>
                </a:cubicBezTo>
                <a:cubicBezTo>
                  <a:pt x="360" y="550"/>
                  <a:pt x="363" y="551"/>
                  <a:pt x="364" y="546"/>
                </a:cubicBezTo>
                <a:cubicBezTo>
                  <a:pt x="364" y="549"/>
                  <a:pt x="364" y="550"/>
                  <a:pt x="364" y="551"/>
                </a:cubicBezTo>
                <a:cubicBezTo>
                  <a:pt x="363" y="552"/>
                  <a:pt x="362" y="553"/>
                  <a:pt x="360" y="553"/>
                </a:cubicBezTo>
                <a:cubicBezTo>
                  <a:pt x="359" y="554"/>
                  <a:pt x="358" y="556"/>
                  <a:pt x="359" y="556"/>
                </a:cubicBezTo>
                <a:cubicBezTo>
                  <a:pt x="360" y="559"/>
                  <a:pt x="362" y="561"/>
                  <a:pt x="363" y="563"/>
                </a:cubicBezTo>
                <a:cubicBezTo>
                  <a:pt x="365" y="564"/>
                  <a:pt x="367" y="563"/>
                  <a:pt x="368" y="562"/>
                </a:cubicBezTo>
                <a:cubicBezTo>
                  <a:pt x="369" y="561"/>
                  <a:pt x="369" y="560"/>
                  <a:pt x="370" y="560"/>
                </a:cubicBezTo>
                <a:cubicBezTo>
                  <a:pt x="372" y="558"/>
                  <a:pt x="373" y="557"/>
                  <a:pt x="375" y="556"/>
                </a:cubicBezTo>
                <a:cubicBezTo>
                  <a:pt x="379" y="552"/>
                  <a:pt x="381" y="546"/>
                  <a:pt x="383" y="540"/>
                </a:cubicBezTo>
                <a:cubicBezTo>
                  <a:pt x="383" y="539"/>
                  <a:pt x="382" y="538"/>
                  <a:pt x="382" y="538"/>
                </a:cubicBezTo>
                <a:cubicBezTo>
                  <a:pt x="381" y="537"/>
                  <a:pt x="380" y="536"/>
                  <a:pt x="378" y="535"/>
                </a:cubicBezTo>
                <a:close/>
                <a:moveTo>
                  <a:pt x="331" y="542"/>
                </a:moveTo>
                <a:cubicBezTo>
                  <a:pt x="331" y="542"/>
                  <a:pt x="329" y="543"/>
                  <a:pt x="328" y="544"/>
                </a:cubicBezTo>
                <a:cubicBezTo>
                  <a:pt x="327" y="545"/>
                  <a:pt x="327" y="546"/>
                  <a:pt x="327" y="546"/>
                </a:cubicBezTo>
                <a:cubicBezTo>
                  <a:pt x="327" y="549"/>
                  <a:pt x="331" y="554"/>
                  <a:pt x="334" y="553"/>
                </a:cubicBezTo>
                <a:cubicBezTo>
                  <a:pt x="336" y="553"/>
                  <a:pt x="337" y="552"/>
                  <a:pt x="336" y="550"/>
                </a:cubicBezTo>
                <a:cubicBezTo>
                  <a:pt x="334" y="547"/>
                  <a:pt x="333" y="544"/>
                  <a:pt x="331" y="542"/>
                </a:cubicBezTo>
                <a:close/>
                <a:moveTo>
                  <a:pt x="384" y="544"/>
                </a:moveTo>
                <a:cubicBezTo>
                  <a:pt x="382" y="548"/>
                  <a:pt x="379" y="553"/>
                  <a:pt x="377" y="557"/>
                </a:cubicBezTo>
                <a:cubicBezTo>
                  <a:pt x="380" y="557"/>
                  <a:pt x="382" y="557"/>
                  <a:pt x="385" y="557"/>
                </a:cubicBezTo>
                <a:cubicBezTo>
                  <a:pt x="385" y="557"/>
                  <a:pt x="385" y="556"/>
                  <a:pt x="385" y="556"/>
                </a:cubicBezTo>
                <a:cubicBezTo>
                  <a:pt x="385" y="553"/>
                  <a:pt x="385" y="550"/>
                  <a:pt x="385" y="548"/>
                </a:cubicBezTo>
                <a:cubicBezTo>
                  <a:pt x="385" y="546"/>
                  <a:pt x="384" y="545"/>
                  <a:pt x="384" y="544"/>
                </a:cubicBezTo>
                <a:close/>
                <a:moveTo>
                  <a:pt x="331" y="523"/>
                </a:moveTo>
                <a:cubicBezTo>
                  <a:pt x="331" y="524"/>
                  <a:pt x="330" y="524"/>
                  <a:pt x="329" y="524"/>
                </a:cubicBezTo>
                <a:cubicBezTo>
                  <a:pt x="329" y="524"/>
                  <a:pt x="328" y="524"/>
                  <a:pt x="328" y="524"/>
                </a:cubicBezTo>
                <a:cubicBezTo>
                  <a:pt x="327" y="523"/>
                  <a:pt x="327" y="523"/>
                  <a:pt x="327" y="522"/>
                </a:cubicBezTo>
                <a:cubicBezTo>
                  <a:pt x="328" y="520"/>
                  <a:pt x="328" y="518"/>
                  <a:pt x="329" y="516"/>
                </a:cubicBezTo>
                <a:cubicBezTo>
                  <a:pt x="329" y="516"/>
                  <a:pt x="329" y="516"/>
                  <a:pt x="328" y="516"/>
                </a:cubicBezTo>
                <a:cubicBezTo>
                  <a:pt x="327" y="517"/>
                  <a:pt x="326" y="518"/>
                  <a:pt x="325" y="519"/>
                </a:cubicBezTo>
                <a:cubicBezTo>
                  <a:pt x="325" y="520"/>
                  <a:pt x="326" y="525"/>
                  <a:pt x="328" y="526"/>
                </a:cubicBezTo>
                <a:cubicBezTo>
                  <a:pt x="329" y="527"/>
                  <a:pt x="331" y="525"/>
                  <a:pt x="331" y="523"/>
                </a:cubicBezTo>
                <a:close/>
                <a:moveTo>
                  <a:pt x="331" y="542"/>
                </a:moveTo>
                <a:cubicBezTo>
                  <a:pt x="330" y="543"/>
                  <a:pt x="329" y="543"/>
                  <a:pt x="328" y="544"/>
                </a:cubicBezTo>
                <a:cubicBezTo>
                  <a:pt x="327" y="545"/>
                  <a:pt x="327" y="546"/>
                  <a:pt x="327" y="546"/>
                </a:cubicBezTo>
                <a:cubicBezTo>
                  <a:pt x="327" y="549"/>
                  <a:pt x="331" y="553"/>
                  <a:pt x="334" y="553"/>
                </a:cubicBezTo>
                <a:cubicBezTo>
                  <a:pt x="336" y="553"/>
                  <a:pt x="337" y="552"/>
                  <a:pt x="336" y="550"/>
                </a:cubicBezTo>
                <a:cubicBezTo>
                  <a:pt x="334" y="547"/>
                  <a:pt x="333" y="544"/>
                  <a:pt x="331" y="542"/>
                </a:cubicBezTo>
                <a:close/>
                <a:moveTo>
                  <a:pt x="384" y="544"/>
                </a:moveTo>
                <a:cubicBezTo>
                  <a:pt x="381" y="548"/>
                  <a:pt x="379" y="553"/>
                  <a:pt x="377" y="557"/>
                </a:cubicBezTo>
                <a:cubicBezTo>
                  <a:pt x="379" y="557"/>
                  <a:pt x="382" y="558"/>
                  <a:pt x="385" y="557"/>
                </a:cubicBezTo>
                <a:cubicBezTo>
                  <a:pt x="385" y="557"/>
                  <a:pt x="385" y="556"/>
                  <a:pt x="385" y="556"/>
                </a:cubicBezTo>
                <a:cubicBezTo>
                  <a:pt x="385" y="553"/>
                  <a:pt x="385" y="550"/>
                  <a:pt x="385" y="548"/>
                </a:cubicBezTo>
                <a:cubicBezTo>
                  <a:pt x="385" y="547"/>
                  <a:pt x="384" y="545"/>
                  <a:pt x="384" y="544"/>
                </a:cubicBezTo>
                <a:close/>
                <a:moveTo>
                  <a:pt x="331" y="523"/>
                </a:moveTo>
                <a:cubicBezTo>
                  <a:pt x="330" y="524"/>
                  <a:pt x="330" y="524"/>
                  <a:pt x="329" y="524"/>
                </a:cubicBezTo>
                <a:cubicBezTo>
                  <a:pt x="328" y="524"/>
                  <a:pt x="328" y="524"/>
                  <a:pt x="328" y="524"/>
                </a:cubicBezTo>
                <a:cubicBezTo>
                  <a:pt x="327" y="523"/>
                  <a:pt x="327" y="523"/>
                  <a:pt x="327" y="522"/>
                </a:cubicBezTo>
                <a:cubicBezTo>
                  <a:pt x="328" y="520"/>
                  <a:pt x="328" y="518"/>
                  <a:pt x="329" y="516"/>
                </a:cubicBezTo>
                <a:cubicBezTo>
                  <a:pt x="328" y="516"/>
                  <a:pt x="328" y="516"/>
                  <a:pt x="328" y="516"/>
                </a:cubicBezTo>
                <a:cubicBezTo>
                  <a:pt x="327" y="517"/>
                  <a:pt x="326" y="517"/>
                  <a:pt x="326" y="519"/>
                </a:cubicBezTo>
                <a:cubicBezTo>
                  <a:pt x="325" y="520"/>
                  <a:pt x="326" y="525"/>
                  <a:pt x="328" y="526"/>
                </a:cubicBezTo>
                <a:cubicBezTo>
                  <a:pt x="329" y="526"/>
                  <a:pt x="331" y="525"/>
                  <a:pt x="331" y="523"/>
                </a:cubicBezTo>
                <a:close/>
                <a:moveTo>
                  <a:pt x="383" y="515"/>
                </a:moveTo>
                <a:cubicBezTo>
                  <a:pt x="387" y="512"/>
                  <a:pt x="387" y="512"/>
                  <a:pt x="391" y="511"/>
                </a:cubicBezTo>
                <a:cubicBezTo>
                  <a:pt x="391" y="512"/>
                  <a:pt x="392" y="514"/>
                  <a:pt x="393" y="514"/>
                </a:cubicBezTo>
                <a:cubicBezTo>
                  <a:pt x="391" y="515"/>
                  <a:pt x="389" y="516"/>
                  <a:pt x="387" y="517"/>
                </a:cubicBezTo>
                <a:cubicBezTo>
                  <a:pt x="386" y="517"/>
                  <a:pt x="386" y="516"/>
                  <a:pt x="385" y="515"/>
                </a:cubicBezTo>
                <a:cubicBezTo>
                  <a:pt x="385" y="515"/>
                  <a:pt x="384" y="515"/>
                  <a:pt x="383" y="515"/>
                </a:cubicBezTo>
                <a:close/>
                <a:moveTo>
                  <a:pt x="389" y="515"/>
                </a:moveTo>
                <a:cubicBezTo>
                  <a:pt x="389" y="514"/>
                  <a:pt x="388" y="514"/>
                  <a:pt x="387" y="514"/>
                </a:cubicBezTo>
                <a:cubicBezTo>
                  <a:pt x="387" y="514"/>
                  <a:pt x="386" y="515"/>
                  <a:pt x="386" y="515"/>
                </a:cubicBezTo>
                <a:cubicBezTo>
                  <a:pt x="386" y="515"/>
                  <a:pt x="387" y="516"/>
                  <a:pt x="387" y="516"/>
                </a:cubicBezTo>
                <a:cubicBezTo>
                  <a:pt x="388" y="516"/>
                  <a:pt x="388" y="515"/>
                  <a:pt x="389" y="515"/>
                </a:cubicBezTo>
                <a:close/>
                <a:moveTo>
                  <a:pt x="370" y="505"/>
                </a:moveTo>
                <a:cubicBezTo>
                  <a:pt x="364" y="504"/>
                  <a:pt x="361" y="507"/>
                  <a:pt x="360" y="515"/>
                </a:cubicBezTo>
                <a:cubicBezTo>
                  <a:pt x="361" y="513"/>
                  <a:pt x="362" y="510"/>
                  <a:pt x="363" y="508"/>
                </a:cubicBezTo>
                <a:cubicBezTo>
                  <a:pt x="364" y="508"/>
                  <a:pt x="364" y="508"/>
                  <a:pt x="364" y="508"/>
                </a:cubicBezTo>
                <a:cubicBezTo>
                  <a:pt x="364" y="509"/>
                  <a:pt x="364" y="510"/>
                  <a:pt x="364" y="511"/>
                </a:cubicBezTo>
                <a:cubicBezTo>
                  <a:pt x="365" y="508"/>
                  <a:pt x="367" y="506"/>
                  <a:pt x="370" y="505"/>
                </a:cubicBezTo>
                <a:close/>
                <a:moveTo>
                  <a:pt x="414" y="507"/>
                </a:moveTo>
                <a:cubicBezTo>
                  <a:pt x="412" y="508"/>
                  <a:pt x="410" y="510"/>
                  <a:pt x="409" y="511"/>
                </a:cubicBezTo>
                <a:cubicBezTo>
                  <a:pt x="411" y="511"/>
                  <a:pt x="413" y="510"/>
                  <a:pt x="414" y="507"/>
                </a:cubicBezTo>
                <a:close/>
                <a:moveTo>
                  <a:pt x="381" y="509"/>
                </a:moveTo>
                <a:cubicBezTo>
                  <a:pt x="382" y="508"/>
                  <a:pt x="383" y="506"/>
                  <a:pt x="384" y="505"/>
                </a:cubicBezTo>
                <a:cubicBezTo>
                  <a:pt x="381" y="506"/>
                  <a:pt x="380" y="507"/>
                  <a:pt x="381" y="509"/>
                </a:cubicBezTo>
                <a:close/>
                <a:moveTo>
                  <a:pt x="391" y="530"/>
                </a:moveTo>
                <a:cubicBezTo>
                  <a:pt x="389" y="531"/>
                  <a:pt x="388" y="531"/>
                  <a:pt x="388" y="532"/>
                </a:cubicBezTo>
                <a:cubicBezTo>
                  <a:pt x="389" y="532"/>
                  <a:pt x="390" y="531"/>
                  <a:pt x="391" y="530"/>
                </a:cubicBezTo>
                <a:close/>
                <a:moveTo>
                  <a:pt x="390" y="515"/>
                </a:moveTo>
                <a:cubicBezTo>
                  <a:pt x="389" y="514"/>
                  <a:pt x="388" y="514"/>
                  <a:pt x="388" y="514"/>
                </a:cubicBezTo>
                <a:cubicBezTo>
                  <a:pt x="387" y="514"/>
                  <a:pt x="386" y="515"/>
                  <a:pt x="386" y="515"/>
                </a:cubicBezTo>
                <a:cubicBezTo>
                  <a:pt x="386" y="516"/>
                  <a:pt x="387" y="516"/>
                  <a:pt x="387" y="516"/>
                </a:cubicBezTo>
                <a:cubicBezTo>
                  <a:pt x="388" y="516"/>
                  <a:pt x="388" y="516"/>
                  <a:pt x="390" y="515"/>
                </a:cubicBezTo>
                <a:close/>
                <a:moveTo>
                  <a:pt x="680" y="492"/>
                </a:moveTo>
                <a:cubicBezTo>
                  <a:pt x="680" y="492"/>
                  <a:pt x="680" y="492"/>
                  <a:pt x="680" y="492"/>
                </a:cubicBezTo>
                <a:cubicBezTo>
                  <a:pt x="676" y="492"/>
                  <a:pt x="676" y="492"/>
                  <a:pt x="676" y="492"/>
                </a:cubicBezTo>
                <a:cubicBezTo>
                  <a:pt x="674" y="494"/>
                  <a:pt x="672" y="495"/>
                  <a:pt x="670" y="496"/>
                </a:cubicBezTo>
                <a:cubicBezTo>
                  <a:pt x="668" y="497"/>
                  <a:pt x="666" y="498"/>
                  <a:pt x="665" y="499"/>
                </a:cubicBezTo>
                <a:cubicBezTo>
                  <a:pt x="663" y="500"/>
                  <a:pt x="661" y="501"/>
                  <a:pt x="659" y="502"/>
                </a:cubicBezTo>
                <a:cubicBezTo>
                  <a:pt x="658" y="503"/>
                  <a:pt x="656" y="503"/>
                  <a:pt x="654" y="503"/>
                </a:cubicBezTo>
                <a:cubicBezTo>
                  <a:pt x="654" y="503"/>
                  <a:pt x="654" y="503"/>
                  <a:pt x="654" y="513"/>
                </a:cubicBezTo>
                <a:cubicBezTo>
                  <a:pt x="657" y="513"/>
                  <a:pt x="660" y="512"/>
                  <a:pt x="662" y="511"/>
                </a:cubicBezTo>
                <a:cubicBezTo>
                  <a:pt x="664" y="510"/>
                  <a:pt x="667" y="508"/>
                  <a:pt x="668" y="507"/>
                </a:cubicBezTo>
                <a:cubicBezTo>
                  <a:pt x="668" y="507"/>
                  <a:pt x="668" y="507"/>
                  <a:pt x="668" y="566"/>
                </a:cubicBezTo>
                <a:cubicBezTo>
                  <a:pt x="668" y="566"/>
                  <a:pt x="668" y="566"/>
                  <a:pt x="680" y="566"/>
                </a:cubicBezTo>
                <a:cubicBezTo>
                  <a:pt x="680" y="566"/>
                  <a:pt x="680" y="566"/>
                  <a:pt x="680" y="492"/>
                </a:cubicBezTo>
                <a:close/>
                <a:moveTo>
                  <a:pt x="801" y="492"/>
                </a:moveTo>
                <a:cubicBezTo>
                  <a:pt x="801" y="492"/>
                  <a:pt x="801" y="492"/>
                  <a:pt x="801" y="492"/>
                </a:cubicBezTo>
                <a:cubicBezTo>
                  <a:pt x="796" y="492"/>
                  <a:pt x="796" y="492"/>
                  <a:pt x="796" y="492"/>
                </a:cubicBezTo>
                <a:cubicBezTo>
                  <a:pt x="794" y="494"/>
                  <a:pt x="793" y="495"/>
                  <a:pt x="791" y="496"/>
                </a:cubicBezTo>
                <a:cubicBezTo>
                  <a:pt x="789" y="497"/>
                  <a:pt x="788" y="498"/>
                  <a:pt x="785" y="499"/>
                </a:cubicBezTo>
                <a:cubicBezTo>
                  <a:pt x="784" y="500"/>
                  <a:pt x="782" y="501"/>
                  <a:pt x="780" y="502"/>
                </a:cubicBezTo>
                <a:cubicBezTo>
                  <a:pt x="778" y="503"/>
                  <a:pt x="777" y="503"/>
                  <a:pt x="775" y="503"/>
                </a:cubicBezTo>
                <a:cubicBezTo>
                  <a:pt x="775" y="503"/>
                  <a:pt x="775" y="503"/>
                  <a:pt x="775" y="513"/>
                </a:cubicBezTo>
                <a:cubicBezTo>
                  <a:pt x="777" y="513"/>
                  <a:pt x="780" y="512"/>
                  <a:pt x="783" y="511"/>
                </a:cubicBezTo>
                <a:cubicBezTo>
                  <a:pt x="785" y="510"/>
                  <a:pt x="788" y="508"/>
                  <a:pt x="790" y="507"/>
                </a:cubicBezTo>
                <a:cubicBezTo>
                  <a:pt x="790" y="507"/>
                  <a:pt x="790" y="507"/>
                  <a:pt x="790" y="566"/>
                </a:cubicBezTo>
                <a:cubicBezTo>
                  <a:pt x="790" y="566"/>
                  <a:pt x="790" y="566"/>
                  <a:pt x="801" y="566"/>
                </a:cubicBezTo>
                <a:cubicBezTo>
                  <a:pt x="801" y="566"/>
                  <a:pt x="801" y="566"/>
                  <a:pt x="801" y="492"/>
                </a:cubicBezTo>
                <a:close/>
                <a:moveTo>
                  <a:pt x="848" y="492"/>
                </a:moveTo>
                <a:cubicBezTo>
                  <a:pt x="848" y="492"/>
                  <a:pt x="848" y="492"/>
                  <a:pt x="848" y="492"/>
                </a:cubicBezTo>
                <a:cubicBezTo>
                  <a:pt x="843" y="492"/>
                  <a:pt x="843" y="492"/>
                  <a:pt x="843" y="492"/>
                </a:cubicBezTo>
                <a:cubicBezTo>
                  <a:pt x="841" y="494"/>
                  <a:pt x="840" y="495"/>
                  <a:pt x="837" y="496"/>
                </a:cubicBezTo>
                <a:cubicBezTo>
                  <a:pt x="836" y="497"/>
                  <a:pt x="834" y="498"/>
                  <a:pt x="832" y="499"/>
                </a:cubicBezTo>
                <a:cubicBezTo>
                  <a:pt x="831" y="500"/>
                  <a:pt x="829" y="501"/>
                  <a:pt x="827" y="502"/>
                </a:cubicBezTo>
                <a:cubicBezTo>
                  <a:pt x="825" y="503"/>
                  <a:pt x="823" y="503"/>
                  <a:pt x="821" y="503"/>
                </a:cubicBezTo>
                <a:cubicBezTo>
                  <a:pt x="821" y="503"/>
                  <a:pt x="821" y="503"/>
                  <a:pt x="821" y="513"/>
                </a:cubicBezTo>
                <a:cubicBezTo>
                  <a:pt x="824" y="513"/>
                  <a:pt x="827" y="512"/>
                  <a:pt x="829" y="511"/>
                </a:cubicBezTo>
                <a:cubicBezTo>
                  <a:pt x="832" y="510"/>
                  <a:pt x="834" y="508"/>
                  <a:pt x="837" y="507"/>
                </a:cubicBezTo>
                <a:cubicBezTo>
                  <a:pt x="837" y="507"/>
                  <a:pt x="837" y="507"/>
                  <a:pt x="837" y="566"/>
                </a:cubicBezTo>
                <a:cubicBezTo>
                  <a:pt x="837" y="566"/>
                  <a:pt x="837" y="566"/>
                  <a:pt x="848" y="566"/>
                </a:cubicBezTo>
                <a:cubicBezTo>
                  <a:pt x="848" y="566"/>
                  <a:pt x="848" y="566"/>
                  <a:pt x="848" y="492"/>
                </a:cubicBezTo>
                <a:close/>
                <a:moveTo>
                  <a:pt x="894" y="492"/>
                </a:moveTo>
                <a:cubicBezTo>
                  <a:pt x="894" y="492"/>
                  <a:pt x="894" y="492"/>
                  <a:pt x="894" y="492"/>
                </a:cubicBezTo>
                <a:cubicBezTo>
                  <a:pt x="890" y="492"/>
                  <a:pt x="890" y="492"/>
                  <a:pt x="890" y="492"/>
                </a:cubicBezTo>
                <a:cubicBezTo>
                  <a:pt x="888" y="494"/>
                  <a:pt x="886" y="495"/>
                  <a:pt x="884" y="496"/>
                </a:cubicBezTo>
                <a:cubicBezTo>
                  <a:pt x="883" y="497"/>
                  <a:pt x="880" y="498"/>
                  <a:pt x="879" y="499"/>
                </a:cubicBezTo>
                <a:cubicBezTo>
                  <a:pt x="877" y="500"/>
                  <a:pt x="875" y="500"/>
                  <a:pt x="873" y="501"/>
                </a:cubicBezTo>
                <a:cubicBezTo>
                  <a:pt x="872" y="502"/>
                  <a:pt x="870" y="503"/>
                  <a:pt x="868" y="503"/>
                </a:cubicBezTo>
                <a:cubicBezTo>
                  <a:pt x="868" y="503"/>
                  <a:pt x="868" y="503"/>
                  <a:pt x="868" y="513"/>
                </a:cubicBezTo>
                <a:cubicBezTo>
                  <a:pt x="871" y="513"/>
                  <a:pt x="874" y="511"/>
                  <a:pt x="876" y="511"/>
                </a:cubicBezTo>
                <a:cubicBezTo>
                  <a:pt x="878" y="510"/>
                  <a:pt x="881" y="508"/>
                  <a:pt x="883" y="507"/>
                </a:cubicBezTo>
                <a:cubicBezTo>
                  <a:pt x="883" y="507"/>
                  <a:pt x="883" y="507"/>
                  <a:pt x="883" y="566"/>
                </a:cubicBezTo>
                <a:cubicBezTo>
                  <a:pt x="883" y="566"/>
                  <a:pt x="883" y="566"/>
                  <a:pt x="894" y="566"/>
                </a:cubicBezTo>
                <a:cubicBezTo>
                  <a:pt x="894" y="566"/>
                  <a:pt x="894" y="566"/>
                  <a:pt x="894" y="492"/>
                </a:cubicBezTo>
                <a:close/>
                <a:moveTo>
                  <a:pt x="700" y="525"/>
                </a:moveTo>
                <a:cubicBezTo>
                  <a:pt x="700" y="525"/>
                  <a:pt x="700" y="525"/>
                  <a:pt x="700" y="525"/>
                </a:cubicBezTo>
                <a:cubicBezTo>
                  <a:pt x="700" y="533"/>
                  <a:pt x="700" y="533"/>
                  <a:pt x="700" y="533"/>
                </a:cubicBezTo>
                <a:cubicBezTo>
                  <a:pt x="706" y="533"/>
                  <a:pt x="707" y="536"/>
                  <a:pt x="707" y="539"/>
                </a:cubicBezTo>
                <a:cubicBezTo>
                  <a:pt x="707" y="541"/>
                  <a:pt x="706" y="543"/>
                  <a:pt x="706" y="546"/>
                </a:cubicBezTo>
                <a:cubicBezTo>
                  <a:pt x="706" y="549"/>
                  <a:pt x="706" y="551"/>
                  <a:pt x="706" y="553"/>
                </a:cubicBezTo>
                <a:cubicBezTo>
                  <a:pt x="706" y="562"/>
                  <a:pt x="712" y="566"/>
                  <a:pt x="720" y="566"/>
                </a:cubicBezTo>
                <a:cubicBezTo>
                  <a:pt x="720" y="566"/>
                  <a:pt x="720" y="566"/>
                  <a:pt x="724" y="566"/>
                </a:cubicBezTo>
                <a:cubicBezTo>
                  <a:pt x="724" y="566"/>
                  <a:pt x="724" y="566"/>
                  <a:pt x="724" y="557"/>
                </a:cubicBezTo>
                <a:cubicBezTo>
                  <a:pt x="724" y="557"/>
                  <a:pt x="724" y="557"/>
                  <a:pt x="722" y="557"/>
                </a:cubicBezTo>
                <a:cubicBezTo>
                  <a:pt x="719" y="557"/>
                  <a:pt x="717" y="554"/>
                  <a:pt x="717" y="551"/>
                </a:cubicBezTo>
                <a:cubicBezTo>
                  <a:pt x="717" y="549"/>
                  <a:pt x="717" y="548"/>
                  <a:pt x="718" y="546"/>
                </a:cubicBezTo>
                <a:cubicBezTo>
                  <a:pt x="718" y="544"/>
                  <a:pt x="718" y="542"/>
                  <a:pt x="718" y="540"/>
                </a:cubicBezTo>
                <a:cubicBezTo>
                  <a:pt x="718" y="533"/>
                  <a:pt x="715" y="530"/>
                  <a:pt x="710" y="529"/>
                </a:cubicBezTo>
                <a:cubicBezTo>
                  <a:pt x="710" y="529"/>
                  <a:pt x="710" y="529"/>
                  <a:pt x="710" y="528"/>
                </a:cubicBezTo>
                <a:cubicBezTo>
                  <a:pt x="715" y="527"/>
                  <a:pt x="718" y="525"/>
                  <a:pt x="718" y="518"/>
                </a:cubicBezTo>
                <a:cubicBezTo>
                  <a:pt x="718" y="515"/>
                  <a:pt x="718" y="513"/>
                  <a:pt x="718" y="511"/>
                </a:cubicBezTo>
                <a:cubicBezTo>
                  <a:pt x="717" y="510"/>
                  <a:pt x="717" y="508"/>
                  <a:pt x="717" y="507"/>
                </a:cubicBezTo>
                <a:cubicBezTo>
                  <a:pt x="717" y="503"/>
                  <a:pt x="719" y="501"/>
                  <a:pt x="722" y="501"/>
                </a:cubicBezTo>
                <a:cubicBezTo>
                  <a:pt x="722" y="501"/>
                  <a:pt x="722" y="501"/>
                  <a:pt x="724" y="501"/>
                </a:cubicBezTo>
                <a:cubicBezTo>
                  <a:pt x="724" y="501"/>
                  <a:pt x="724" y="501"/>
                  <a:pt x="724" y="491"/>
                </a:cubicBezTo>
                <a:cubicBezTo>
                  <a:pt x="724" y="491"/>
                  <a:pt x="724" y="491"/>
                  <a:pt x="720" y="491"/>
                </a:cubicBezTo>
                <a:cubicBezTo>
                  <a:pt x="711" y="491"/>
                  <a:pt x="706" y="496"/>
                  <a:pt x="706" y="504"/>
                </a:cubicBezTo>
                <a:cubicBezTo>
                  <a:pt x="706" y="506"/>
                  <a:pt x="706" y="509"/>
                  <a:pt x="706" y="512"/>
                </a:cubicBezTo>
                <a:cubicBezTo>
                  <a:pt x="706" y="514"/>
                  <a:pt x="707" y="516"/>
                  <a:pt x="707" y="518"/>
                </a:cubicBezTo>
                <a:cubicBezTo>
                  <a:pt x="707" y="521"/>
                  <a:pt x="706" y="524"/>
                  <a:pt x="700" y="525"/>
                </a:cubicBezTo>
                <a:close/>
                <a:moveTo>
                  <a:pt x="755" y="533"/>
                </a:moveTo>
                <a:cubicBezTo>
                  <a:pt x="755" y="533"/>
                  <a:pt x="755" y="533"/>
                  <a:pt x="755" y="533"/>
                </a:cubicBezTo>
                <a:cubicBezTo>
                  <a:pt x="755" y="525"/>
                  <a:pt x="755" y="525"/>
                  <a:pt x="755" y="525"/>
                </a:cubicBezTo>
                <a:cubicBezTo>
                  <a:pt x="748" y="524"/>
                  <a:pt x="748" y="521"/>
                  <a:pt x="748" y="518"/>
                </a:cubicBezTo>
                <a:cubicBezTo>
                  <a:pt x="748" y="516"/>
                  <a:pt x="748" y="514"/>
                  <a:pt x="748" y="512"/>
                </a:cubicBezTo>
                <a:cubicBezTo>
                  <a:pt x="749" y="509"/>
                  <a:pt x="749" y="506"/>
                  <a:pt x="749" y="504"/>
                </a:cubicBezTo>
                <a:cubicBezTo>
                  <a:pt x="749" y="496"/>
                  <a:pt x="744" y="491"/>
                  <a:pt x="734" y="491"/>
                </a:cubicBezTo>
                <a:cubicBezTo>
                  <a:pt x="734" y="491"/>
                  <a:pt x="734" y="491"/>
                  <a:pt x="730" y="491"/>
                </a:cubicBezTo>
                <a:cubicBezTo>
                  <a:pt x="730" y="491"/>
                  <a:pt x="730" y="491"/>
                  <a:pt x="730" y="501"/>
                </a:cubicBezTo>
                <a:cubicBezTo>
                  <a:pt x="730" y="501"/>
                  <a:pt x="730" y="501"/>
                  <a:pt x="732" y="501"/>
                </a:cubicBezTo>
                <a:cubicBezTo>
                  <a:pt x="736" y="501"/>
                  <a:pt x="737" y="503"/>
                  <a:pt x="737" y="507"/>
                </a:cubicBezTo>
                <a:cubicBezTo>
                  <a:pt x="737" y="508"/>
                  <a:pt x="737" y="510"/>
                  <a:pt x="737" y="511"/>
                </a:cubicBezTo>
                <a:cubicBezTo>
                  <a:pt x="736" y="513"/>
                  <a:pt x="736" y="515"/>
                  <a:pt x="736" y="518"/>
                </a:cubicBezTo>
                <a:cubicBezTo>
                  <a:pt x="736" y="525"/>
                  <a:pt x="739" y="527"/>
                  <a:pt x="745" y="528"/>
                </a:cubicBezTo>
                <a:cubicBezTo>
                  <a:pt x="745" y="528"/>
                  <a:pt x="745" y="528"/>
                  <a:pt x="745" y="529"/>
                </a:cubicBezTo>
                <a:cubicBezTo>
                  <a:pt x="739" y="530"/>
                  <a:pt x="736" y="533"/>
                  <a:pt x="736" y="540"/>
                </a:cubicBezTo>
                <a:cubicBezTo>
                  <a:pt x="736" y="542"/>
                  <a:pt x="736" y="544"/>
                  <a:pt x="737" y="546"/>
                </a:cubicBezTo>
                <a:cubicBezTo>
                  <a:pt x="737" y="548"/>
                  <a:pt x="737" y="549"/>
                  <a:pt x="737" y="551"/>
                </a:cubicBezTo>
                <a:cubicBezTo>
                  <a:pt x="737" y="554"/>
                  <a:pt x="736" y="557"/>
                  <a:pt x="732" y="557"/>
                </a:cubicBezTo>
                <a:cubicBezTo>
                  <a:pt x="732" y="557"/>
                  <a:pt x="732" y="557"/>
                  <a:pt x="730" y="557"/>
                </a:cubicBezTo>
                <a:cubicBezTo>
                  <a:pt x="730" y="557"/>
                  <a:pt x="730" y="557"/>
                  <a:pt x="730" y="566"/>
                </a:cubicBezTo>
                <a:cubicBezTo>
                  <a:pt x="730" y="566"/>
                  <a:pt x="730" y="566"/>
                  <a:pt x="734" y="566"/>
                </a:cubicBezTo>
                <a:cubicBezTo>
                  <a:pt x="743" y="566"/>
                  <a:pt x="749" y="562"/>
                  <a:pt x="749" y="553"/>
                </a:cubicBezTo>
                <a:cubicBezTo>
                  <a:pt x="749" y="551"/>
                  <a:pt x="749" y="549"/>
                  <a:pt x="748" y="546"/>
                </a:cubicBezTo>
                <a:cubicBezTo>
                  <a:pt x="748" y="543"/>
                  <a:pt x="748" y="541"/>
                  <a:pt x="748" y="539"/>
                </a:cubicBezTo>
                <a:cubicBezTo>
                  <a:pt x="748" y="536"/>
                  <a:pt x="748" y="533"/>
                  <a:pt x="755" y="533"/>
                </a:cubicBezTo>
                <a:close/>
                <a:moveTo>
                  <a:pt x="938" y="566"/>
                </a:moveTo>
                <a:cubicBezTo>
                  <a:pt x="931" y="566"/>
                  <a:pt x="924" y="563"/>
                  <a:pt x="920" y="557"/>
                </a:cubicBezTo>
                <a:cubicBezTo>
                  <a:pt x="916" y="550"/>
                  <a:pt x="914" y="542"/>
                  <a:pt x="914" y="529"/>
                </a:cubicBezTo>
                <a:cubicBezTo>
                  <a:pt x="914" y="516"/>
                  <a:pt x="916" y="507"/>
                  <a:pt x="920" y="500"/>
                </a:cubicBezTo>
                <a:cubicBezTo>
                  <a:pt x="925" y="494"/>
                  <a:pt x="931" y="490"/>
                  <a:pt x="940" y="490"/>
                </a:cubicBezTo>
                <a:cubicBezTo>
                  <a:pt x="956" y="490"/>
                  <a:pt x="964" y="502"/>
                  <a:pt x="964" y="528"/>
                </a:cubicBezTo>
                <a:cubicBezTo>
                  <a:pt x="964" y="540"/>
                  <a:pt x="962" y="550"/>
                  <a:pt x="957" y="556"/>
                </a:cubicBezTo>
                <a:cubicBezTo>
                  <a:pt x="952" y="563"/>
                  <a:pt x="946" y="566"/>
                  <a:pt x="938" y="566"/>
                </a:cubicBezTo>
                <a:close/>
                <a:moveTo>
                  <a:pt x="939" y="499"/>
                </a:moveTo>
                <a:cubicBezTo>
                  <a:pt x="930" y="499"/>
                  <a:pt x="925" y="510"/>
                  <a:pt x="925" y="529"/>
                </a:cubicBezTo>
                <a:cubicBezTo>
                  <a:pt x="925" y="548"/>
                  <a:pt x="930" y="556"/>
                  <a:pt x="939" y="556"/>
                </a:cubicBezTo>
                <a:cubicBezTo>
                  <a:pt x="947" y="556"/>
                  <a:pt x="952" y="548"/>
                  <a:pt x="952" y="529"/>
                </a:cubicBezTo>
                <a:cubicBezTo>
                  <a:pt x="952" y="509"/>
                  <a:pt x="947" y="499"/>
                  <a:pt x="939" y="499"/>
                </a:cubicBezTo>
                <a:close/>
                <a:moveTo>
                  <a:pt x="1008" y="566"/>
                </a:moveTo>
                <a:cubicBezTo>
                  <a:pt x="1001" y="566"/>
                  <a:pt x="994" y="563"/>
                  <a:pt x="990" y="557"/>
                </a:cubicBezTo>
                <a:cubicBezTo>
                  <a:pt x="986" y="550"/>
                  <a:pt x="984" y="542"/>
                  <a:pt x="984" y="529"/>
                </a:cubicBezTo>
                <a:cubicBezTo>
                  <a:pt x="984" y="516"/>
                  <a:pt x="986" y="507"/>
                  <a:pt x="990" y="500"/>
                </a:cubicBezTo>
                <a:cubicBezTo>
                  <a:pt x="995" y="494"/>
                  <a:pt x="1002" y="490"/>
                  <a:pt x="1010" y="490"/>
                </a:cubicBezTo>
                <a:cubicBezTo>
                  <a:pt x="1027" y="490"/>
                  <a:pt x="1035" y="502"/>
                  <a:pt x="1035" y="528"/>
                </a:cubicBezTo>
                <a:cubicBezTo>
                  <a:pt x="1035" y="540"/>
                  <a:pt x="1033" y="550"/>
                  <a:pt x="1028" y="556"/>
                </a:cubicBezTo>
                <a:cubicBezTo>
                  <a:pt x="1023" y="563"/>
                  <a:pt x="1017" y="566"/>
                  <a:pt x="1008" y="566"/>
                </a:cubicBezTo>
                <a:close/>
                <a:moveTo>
                  <a:pt x="1010" y="499"/>
                </a:moveTo>
                <a:cubicBezTo>
                  <a:pt x="1001" y="499"/>
                  <a:pt x="996" y="510"/>
                  <a:pt x="996" y="529"/>
                </a:cubicBezTo>
                <a:cubicBezTo>
                  <a:pt x="996" y="548"/>
                  <a:pt x="1000" y="556"/>
                  <a:pt x="1009" y="556"/>
                </a:cubicBezTo>
                <a:cubicBezTo>
                  <a:pt x="1018" y="556"/>
                  <a:pt x="1022" y="548"/>
                  <a:pt x="1022" y="529"/>
                </a:cubicBezTo>
                <a:cubicBezTo>
                  <a:pt x="1022" y="509"/>
                  <a:pt x="1018" y="499"/>
                  <a:pt x="1010" y="499"/>
                </a:cubicBezTo>
                <a:close/>
                <a:moveTo>
                  <a:pt x="1081" y="492"/>
                </a:moveTo>
                <a:cubicBezTo>
                  <a:pt x="1081" y="492"/>
                  <a:pt x="1081" y="492"/>
                  <a:pt x="1081" y="492"/>
                </a:cubicBezTo>
                <a:cubicBezTo>
                  <a:pt x="1076" y="492"/>
                  <a:pt x="1076" y="492"/>
                  <a:pt x="1076" y="492"/>
                </a:cubicBezTo>
                <a:cubicBezTo>
                  <a:pt x="1074" y="494"/>
                  <a:pt x="1073" y="495"/>
                  <a:pt x="1070" y="496"/>
                </a:cubicBezTo>
                <a:cubicBezTo>
                  <a:pt x="1069" y="497"/>
                  <a:pt x="1067" y="498"/>
                  <a:pt x="1065" y="499"/>
                </a:cubicBezTo>
                <a:cubicBezTo>
                  <a:pt x="1064" y="500"/>
                  <a:pt x="1062" y="501"/>
                  <a:pt x="1060" y="502"/>
                </a:cubicBezTo>
                <a:cubicBezTo>
                  <a:pt x="1058" y="503"/>
                  <a:pt x="1057" y="503"/>
                  <a:pt x="1054" y="503"/>
                </a:cubicBezTo>
                <a:cubicBezTo>
                  <a:pt x="1054" y="503"/>
                  <a:pt x="1054" y="503"/>
                  <a:pt x="1054" y="513"/>
                </a:cubicBezTo>
                <a:cubicBezTo>
                  <a:pt x="1057" y="513"/>
                  <a:pt x="1060" y="512"/>
                  <a:pt x="1063" y="511"/>
                </a:cubicBezTo>
                <a:cubicBezTo>
                  <a:pt x="1065" y="510"/>
                  <a:pt x="1067" y="508"/>
                  <a:pt x="1070" y="507"/>
                </a:cubicBezTo>
                <a:cubicBezTo>
                  <a:pt x="1070" y="507"/>
                  <a:pt x="1070" y="507"/>
                  <a:pt x="1070" y="566"/>
                </a:cubicBezTo>
                <a:cubicBezTo>
                  <a:pt x="1070" y="566"/>
                  <a:pt x="1070" y="566"/>
                  <a:pt x="1081" y="566"/>
                </a:cubicBezTo>
                <a:cubicBezTo>
                  <a:pt x="1081" y="566"/>
                  <a:pt x="1081" y="566"/>
                  <a:pt x="1081" y="492"/>
                </a:cubicBezTo>
                <a:close/>
                <a:moveTo>
                  <a:pt x="1128" y="492"/>
                </a:moveTo>
                <a:cubicBezTo>
                  <a:pt x="1128" y="492"/>
                  <a:pt x="1128" y="492"/>
                  <a:pt x="1128" y="492"/>
                </a:cubicBezTo>
                <a:cubicBezTo>
                  <a:pt x="1123" y="492"/>
                  <a:pt x="1123" y="492"/>
                  <a:pt x="1123" y="492"/>
                </a:cubicBezTo>
                <a:cubicBezTo>
                  <a:pt x="1121" y="494"/>
                  <a:pt x="1119" y="495"/>
                  <a:pt x="1117" y="496"/>
                </a:cubicBezTo>
                <a:cubicBezTo>
                  <a:pt x="1116" y="497"/>
                  <a:pt x="1114" y="498"/>
                  <a:pt x="1112" y="499"/>
                </a:cubicBezTo>
                <a:cubicBezTo>
                  <a:pt x="1111" y="500"/>
                  <a:pt x="1108" y="501"/>
                  <a:pt x="1107" y="502"/>
                </a:cubicBezTo>
                <a:cubicBezTo>
                  <a:pt x="1105" y="503"/>
                  <a:pt x="1103" y="503"/>
                  <a:pt x="1101" y="503"/>
                </a:cubicBezTo>
                <a:cubicBezTo>
                  <a:pt x="1101" y="503"/>
                  <a:pt x="1101" y="503"/>
                  <a:pt x="1101" y="513"/>
                </a:cubicBezTo>
                <a:cubicBezTo>
                  <a:pt x="1104" y="513"/>
                  <a:pt x="1107" y="512"/>
                  <a:pt x="1109" y="511"/>
                </a:cubicBezTo>
                <a:cubicBezTo>
                  <a:pt x="1112" y="510"/>
                  <a:pt x="1114" y="508"/>
                  <a:pt x="1117" y="507"/>
                </a:cubicBezTo>
                <a:cubicBezTo>
                  <a:pt x="1117" y="507"/>
                  <a:pt x="1117" y="507"/>
                  <a:pt x="1117" y="566"/>
                </a:cubicBezTo>
                <a:cubicBezTo>
                  <a:pt x="1117" y="566"/>
                  <a:pt x="1117" y="566"/>
                  <a:pt x="1128" y="566"/>
                </a:cubicBezTo>
                <a:cubicBezTo>
                  <a:pt x="1128" y="566"/>
                  <a:pt x="1128" y="566"/>
                  <a:pt x="1128" y="492"/>
                </a:cubicBezTo>
                <a:close/>
                <a:moveTo>
                  <a:pt x="1174" y="492"/>
                </a:moveTo>
                <a:cubicBezTo>
                  <a:pt x="1174" y="492"/>
                  <a:pt x="1174" y="492"/>
                  <a:pt x="1174" y="492"/>
                </a:cubicBezTo>
                <a:cubicBezTo>
                  <a:pt x="1170" y="492"/>
                  <a:pt x="1170" y="492"/>
                  <a:pt x="1170" y="492"/>
                </a:cubicBezTo>
                <a:cubicBezTo>
                  <a:pt x="1167" y="494"/>
                  <a:pt x="1166" y="495"/>
                  <a:pt x="1164" y="496"/>
                </a:cubicBezTo>
                <a:cubicBezTo>
                  <a:pt x="1162" y="497"/>
                  <a:pt x="1160" y="498"/>
                  <a:pt x="1159" y="499"/>
                </a:cubicBezTo>
                <a:cubicBezTo>
                  <a:pt x="1157" y="500"/>
                  <a:pt x="1155" y="500"/>
                  <a:pt x="1153" y="501"/>
                </a:cubicBezTo>
                <a:cubicBezTo>
                  <a:pt x="1152" y="502"/>
                  <a:pt x="1149" y="503"/>
                  <a:pt x="1148" y="503"/>
                </a:cubicBezTo>
                <a:cubicBezTo>
                  <a:pt x="1148" y="503"/>
                  <a:pt x="1148" y="503"/>
                  <a:pt x="1148" y="513"/>
                </a:cubicBezTo>
                <a:cubicBezTo>
                  <a:pt x="1151" y="513"/>
                  <a:pt x="1154" y="511"/>
                  <a:pt x="1156" y="511"/>
                </a:cubicBezTo>
                <a:cubicBezTo>
                  <a:pt x="1158" y="510"/>
                  <a:pt x="1161" y="508"/>
                  <a:pt x="1162" y="507"/>
                </a:cubicBezTo>
                <a:cubicBezTo>
                  <a:pt x="1162" y="507"/>
                  <a:pt x="1162" y="507"/>
                  <a:pt x="1162" y="566"/>
                </a:cubicBezTo>
                <a:cubicBezTo>
                  <a:pt x="1162" y="566"/>
                  <a:pt x="1162" y="566"/>
                  <a:pt x="1174" y="566"/>
                </a:cubicBezTo>
                <a:cubicBezTo>
                  <a:pt x="1174" y="566"/>
                  <a:pt x="1174" y="566"/>
                  <a:pt x="1174" y="492"/>
                </a:cubicBezTo>
                <a:close/>
                <a:moveTo>
                  <a:pt x="983" y="467"/>
                </a:moveTo>
                <a:cubicBezTo>
                  <a:pt x="976" y="467"/>
                  <a:pt x="969" y="464"/>
                  <a:pt x="965" y="459"/>
                </a:cubicBezTo>
                <a:cubicBezTo>
                  <a:pt x="961" y="452"/>
                  <a:pt x="959" y="443"/>
                  <a:pt x="959" y="431"/>
                </a:cubicBezTo>
                <a:cubicBezTo>
                  <a:pt x="959" y="417"/>
                  <a:pt x="961" y="408"/>
                  <a:pt x="965" y="401"/>
                </a:cubicBezTo>
                <a:cubicBezTo>
                  <a:pt x="970" y="395"/>
                  <a:pt x="976" y="391"/>
                  <a:pt x="985" y="391"/>
                </a:cubicBezTo>
                <a:cubicBezTo>
                  <a:pt x="1001" y="391"/>
                  <a:pt x="1009" y="404"/>
                  <a:pt x="1009" y="429"/>
                </a:cubicBezTo>
                <a:cubicBezTo>
                  <a:pt x="1009" y="442"/>
                  <a:pt x="1007" y="451"/>
                  <a:pt x="1002" y="458"/>
                </a:cubicBezTo>
                <a:cubicBezTo>
                  <a:pt x="998" y="464"/>
                  <a:pt x="991" y="467"/>
                  <a:pt x="983" y="467"/>
                </a:cubicBezTo>
                <a:close/>
                <a:moveTo>
                  <a:pt x="984" y="401"/>
                </a:moveTo>
                <a:cubicBezTo>
                  <a:pt x="975" y="401"/>
                  <a:pt x="971" y="411"/>
                  <a:pt x="971" y="431"/>
                </a:cubicBezTo>
                <a:cubicBezTo>
                  <a:pt x="971" y="449"/>
                  <a:pt x="975" y="458"/>
                  <a:pt x="984" y="458"/>
                </a:cubicBezTo>
                <a:cubicBezTo>
                  <a:pt x="992" y="458"/>
                  <a:pt x="997" y="449"/>
                  <a:pt x="997" y="430"/>
                </a:cubicBezTo>
                <a:cubicBezTo>
                  <a:pt x="997" y="410"/>
                  <a:pt x="992" y="401"/>
                  <a:pt x="984" y="401"/>
                </a:cubicBezTo>
                <a:close/>
                <a:moveTo>
                  <a:pt x="1057" y="394"/>
                </a:moveTo>
                <a:cubicBezTo>
                  <a:pt x="1057" y="394"/>
                  <a:pt x="1057" y="394"/>
                  <a:pt x="1057" y="394"/>
                </a:cubicBezTo>
                <a:cubicBezTo>
                  <a:pt x="1052" y="394"/>
                  <a:pt x="1052" y="394"/>
                  <a:pt x="1052" y="394"/>
                </a:cubicBezTo>
                <a:cubicBezTo>
                  <a:pt x="1050" y="395"/>
                  <a:pt x="1048" y="397"/>
                  <a:pt x="1046" y="398"/>
                </a:cubicBezTo>
                <a:cubicBezTo>
                  <a:pt x="1044" y="399"/>
                  <a:pt x="1042" y="400"/>
                  <a:pt x="1041" y="401"/>
                </a:cubicBezTo>
                <a:cubicBezTo>
                  <a:pt x="1039" y="401"/>
                  <a:pt x="1037" y="402"/>
                  <a:pt x="1036" y="403"/>
                </a:cubicBezTo>
                <a:cubicBezTo>
                  <a:pt x="1034" y="403"/>
                  <a:pt x="1032" y="404"/>
                  <a:pt x="1030" y="405"/>
                </a:cubicBezTo>
                <a:cubicBezTo>
                  <a:pt x="1030" y="405"/>
                  <a:pt x="1030" y="405"/>
                  <a:pt x="1030" y="415"/>
                </a:cubicBezTo>
                <a:cubicBezTo>
                  <a:pt x="1033" y="414"/>
                  <a:pt x="1036" y="413"/>
                  <a:pt x="1038" y="412"/>
                </a:cubicBezTo>
                <a:cubicBezTo>
                  <a:pt x="1041" y="411"/>
                  <a:pt x="1043" y="410"/>
                  <a:pt x="1045" y="409"/>
                </a:cubicBezTo>
                <a:cubicBezTo>
                  <a:pt x="1045" y="409"/>
                  <a:pt x="1045" y="409"/>
                  <a:pt x="1045" y="467"/>
                </a:cubicBezTo>
                <a:cubicBezTo>
                  <a:pt x="1045" y="467"/>
                  <a:pt x="1045" y="467"/>
                  <a:pt x="1057" y="467"/>
                </a:cubicBezTo>
                <a:cubicBezTo>
                  <a:pt x="1057" y="467"/>
                  <a:pt x="1057" y="467"/>
                  <a:pt x="1057" y="394"/>
                </a:cubicBezTo>
                <a:close/>
                <a:moveTo>
                  <a:pt x="1104" y="394"/>
                </a:moveTo>
                <a:cubicBezTo>
                  <a:pt x="1104" y="394"/>
                  <a:pt x="1104" y="394"/>
                  <a:pt x="1104" y="394"/>
                </a:cubicBezTo>
                <a:cubicBezTo>
                  <a:pt x="1099" y="394"/>
                  <a:pt x="1099" y="394"/>
                  <a:pt x="1099" y="394"/>
                </a:cubicBezTo>
                <a:cubicBezTo>
                  <a:pt x="1097" y="395"/>
                  <a:pt x="1095" y="397"/>
                  <a:pt x="1093" y="398"/>
                </a:cubicBezTo>
                <a:cubicBezTo>
                  <a:pt x="1092" y="399"/>
                  <a:pt x="1090" y="400"/>
                  <a:pt x="1088" y="401"/>
                </a:cubicBezTo>
                <a:cubicBezTo>
                  <a:pt x="1087" y="402"/>
                  <a:pt x="1085" y="403"/>
                  <a:pt x="1083" y="403"/>
                </a:cubicBezTo>
                <a:cubicBezTo>
                  <a:pt x="1081" y="404"/>
                  <a:pt x="1080" y="405"/>
                  <a:pt x="1077" y="405"/>
                </a:cubicBezTo>
                <a:cubicBezTo>
                  <a:pt x="1077" y="405"/>
                  <a:pt x="1077" y="405"/>
                  <a:pt x="1077" y="415"/>
                </a:cubicBezTo>
                <a:cubicBezTo>
                  <a:pt x="1080" y="414"/>
                  <a:pt x="1083" y="414"/>
                  <a:pt x="1085" y="412"/>
                </a:cubicBezTo>
                <a:cubicBezTo>
                  <a:pt x="1088" y="411"/>
                  <a:pt x="1090" y="410"/>
                  <a:pt x="1092" y="409"/>
                </a:cubicBezTo>
                <a:cubicBezTo>
                  <a:pt x="1092" y="409"/>
                  <a:pt x="1092" y="409"/>
                  <a:pt x="1092" y="467"/>
                </a:cubicBezTo>
                <a:cubicBezTo>
                  <a:pt x="1092" y="467"/>
                  <a:pt x="1092" y="467"/>
                  <a:pt x="1104" y="467"/>
                </a:cubicBezTo>
                <a:cubicBezTo>
                  <a:pt x="1104" y="467"/>
                  <a:pt x="1104" y="467"/>
                  <a:pt x="1104" y="394"/>
                </a:cubicBezTo>
                <a:close/>
                <a:moveTo>
                  <a:pt x="1150" y="394"/>
                </a:moveTo>
                <a:cubicBezTo>
                  <a:pt x="1150" y="394"/>
                  <a:pt x="1150" y="394"/>
                  <a:pt x="1150" y="394"/>
                </a:cubicBezTo>
                <a:cubicBezTo>
                  <a:pt x="1146" y="394"/>
                  <a:pt x="1146" y="394"/>
                  <a:pt x="1146" y="394"/>
                </a:cubicBezTo>
                <a:cubicBezTo>
                  <a:pt x="1144" y="395"/>
                  <a:pt x="1142" y="397"/>
                  <a:pt x="1140" y="398"/>
                </a:cubicBezTo>
                <a:cubicBezTo>
                  <a:pt x="1139" y="399"/>
                  <a:pt x="1137" y="400"/>
                  <a:pt x="1135" y="401"/>
                </a:cubicBezTo>
                <a:cubicBezTo>
                  <a:pt x="1133" y="402"/>
                  <a:pt x="1132" y="403"/>
                  <a:pt x="1130" y="403"/>
                </a:cubicBezTo>
                <a:cubicBezTo>
                  <a:pt x="1128" y="404"/>
                  <a:pt x="1126" y="405"/>
                  <a:pt x="1124" y="405"/>
                </a:cubicBezTo>
                <a:cubicBezTo>
                  <a:pt x="1124" y="405"/>
                  <a:pt x="1124" y="405"/>
                  <a:pt x="1124" y="415"/>
                </a:cubicBezTo>
                <a:cubicBezTo>
                  <a:pt x="1127" y="414"/>
                  <a:pt x="1130" y="414"/>
                  <a:pt x="1132" y="412"/>
                </a:cubicBezTo>
                <a:cubicBezTo>
                  <a:pt x="1135" y="411"/>
                  <a:pt x="1137" y="410"/>
                  <a:pt x="1139" y="409"/>
                </a:cubicBezTo>
                <a:cubicBezTo>
                  <a:pt x="1139" y="409"/>
                  <a:pt x="1139" y="409"/>
                  <a:pt x="1139" y="467"/>
                </a:cubicBezTo>
                <a:cubicBezTo>
                  <a:pt x="1139" y="467"/>
                  <a:pt x="1139" y="467"/>
                  <a:pt x="1150" y="467"/>
                </a:cubicBezTo>
                <a:cubicBezTo>
                  <a:pt x="1150" y="467"/>
                  <a:pt x="1150" y="467"/>
                  <a:pt x="1150" y="394"/>
                </a:cubicBezTo>
                <a:close/>
                <a:moveTo>
                  <a:pt x="1198" y="394"/>
                </a:moveTo>
                <a:cubicBezTo>
                  <a:pt x="1198" y="394"/>
                  <a:pt x="1198" y="394"/>
                  <a:pt x="1198" y="394"/>
                </a:cubicBezTo>
                <a:cubicBezTo>
                  <a:pt x="1193" y="394"/>
                  <a:pt x="1193" y="394"/>
                  <a:pt x="1193" y="394"/>
                </a:cubicBezTo>
                <a:cubicBezTo>
                  <a:pt x="1191" y="395"/>
                  <a:pt x="1190" y="397"/>
                  <a:pt x="1187" y="398"/>
                </a:cubicBezTo>
                <a:cubicBezTo>
                  <a:pt x="1186" y="399"/>
                  <a:pt x="1184" y="400"/>
                  <a:pt x="1182" y="401"/>
                </a:cubicBezTo>
                <a:cubicBezTo>
                  <a:pt x="1181" y="402"/>
                  <a:pt x="1178" y="403"/>
                  <a:pt x="1177" y="403"/>
                </a:cubicBezTo>
                <a:cubicBezTo>
                  <a:pt x="1175" y="404"/>
                  <a:pt x="1173" y="405"/>
                  <a:pt x="1171" y="405"/>
                </a:cubicBezTo>
                <a:cubicBezTo>
                  <a:pt x="1171" y="405"/>
                  <a:pt x="1171" y="405"/>
                  <a:pt x="1171" y="415"/>
                </a:cubicBezTo>
                <a:cubicBezTo>
                  <a:pt x="1174" y="414"/>
                  <a:pt x="1177" y="414"/>
                  <a:pt x="1179" y="412"/>
                </a:cubicBezTo>
                <a:cubicBezTo>
                  <a:pt x="1182" y="411"/>
                  <a:pt x="1184" y="410"/>
                  <a:pt x="1187" y="409"/>
                </a:cubicBezTo>
                <a:cubicBezTo>
                  <a:pt x="1187" y="409"/>
                  <a:pt x="1187" y="409"/>
                  <a:pt x="1187" y="467"/>
                </a:cubicBezTo>
                <a:cubicBezTo>
                  <a:pt x="1187" y="467"/>
                  <a:pt x="1187" y="467"/>
                  <a:pt x="1198" y="467"/>
                </a:cubicBezTo>
                <a:cubicBezTo>
                  <a:pt x="1198" y="467"/>
                  <a:pt x="1198" y="467"/>
                  <a:pt x="1198" y="394"/>
                </a:cubicBezTo>
                <a:close/>
                <a:moveTo>
                  <a:pt x="1321" y="394"/>
                </a:moveTo>
                <a:cubicBezTo>
                  <a:pt x="1321" y="394"/>
                  <a:pt x="1321" y="394"/>
                  <a:pt x="1321" y="394"/>
                </a:cubicBezTo>
                <a:cubicBezTo>
                  <a:pt x="1316" y="394"/>
                  <a:pt x="1316" y="394"/>
                  <a:pt x="1316" y="394"/>
                </a:cubicBezTo>
                <a:cubicBezTo>
                  <a:pt x="1314" y="395"/>
                  <a:pt x="1313" y="397"/>
                  <a:pt x="1310" y="398"/>
                </a:cubicBezTo>
                <a:cubicBezTo>
                  <a:pt x="1309" y="399"/>
                  <a:pt x="1307" y="400"/>
                  <a:pt x="1305" y="401"/>
                </a:cubicBezTo>
                <a:cubicBezTo>
                  <a:pt x="1304" y="402"/>
                  <a:pt x="1302" y="403"/>
                  <a:pt x="1300" y="403"/>
                </a:cubicBezTo>
                <a:cubicBezTo>
                  <a:pt x="1298" y="404"/>
                  <a:pt x="1297" y="405"/>
                  <a:pt x="1294" y="405"/>
                </a:cubicBezTo>
                <a:cubicBezTo>
                  <a:pt x="1294" y="405"/>
                  <a:pt x="1294" y="405"/>
                  <a:pt x="1294" y="415"/>
                </a:cubicBezTo>
                <a:cubicBezTo>
                  <a:pt x="1297" y="414"/>
                  <a:pt x="1300" y="414"/>
                  <a:pt x="1303" y="412"/>
                </a:cubicBezTo>
                <a:cubicBezTo>
                  <a:pt x="1305" y="411"/>
                  <a:pt x="1307" y="410"/>
                  <a:pt x="1310" y="409"/>
                </a:cubicBezTo>
                <a:cubicBezTo>
                  <a:pt x="1310" y="409"/>
                  <a:pt x="1310" y="409"/>
                  <a:pt x="1310" y="467"/>
                </a:cubicBezTo>
                <a:cubicBezTo>
                  <a:pt x="1310" y="467"/>
                  <a:pt x="1310" y="467"/>
                  <a:pt x="1321" y="467"/>
                </a:cubicBezTo>
                <a:cubicBezTo>
                  <a:pt x="1321" y="467"/>
                  <a:pt x="1321" y="467"/>
                  <a:pt x="1321" y="394"/>
                </a:cubicBezTo>
                <a:close/>
                <a:moveTo>
                  <a:pt x="1369" y="394"/>
                </a:moveTo>
                <a:cubicBezTo>
                  <a:pt x="1369" y="394"/>
                  <a:pt x="1369" y="394"/>
                  <a:pt x="1369" y="394"/>
                </a:cubicBezTo>
                <a:cubicBezTo>
                  <a:pt x="1364" y="394"/>
                  <a:pt x="1364" y="394"/>
                  <a:pt x="1364" y="394"/>
                </a:cubicBezTo>
                <a:cubicBezTo>
                  <a:pt x="1362" y="395"/>
                  <a:pt x="1360" y="397"/>
                  <a:pt x="1358" y="398"/>
                </a:cubicBezTo>
                <a:cubicBezTo>
                  <a:pt x="1356" y="399"/>
                  <a:pt x="1354" y="400"/>
                  <a:pt x="1353" y="401"/>
                </a:cubicBezTo>
                <a:cubicBezTo>
                  <a:pt x="1351" y="402"/>
                  <a:pt x="1349" y="403"/>
                  <a:pt x="1348" y="403"/>
                </a:cubicBezTo>
                <a:cubicBezTo>
                  <a:pt x="1346" y="404"/>
                  <a:pt x="1344" y="405"/>
                  <a:pt x="1342" y="405"/>
                </a:cubicBezTo>
                <a:cubicBezTo>
                  <a:pt x="1342" y="405"/>
                  <a:pt x="1342" y="405"/>
                  <a:pt x="1342" y="415"/>
                </a:cubicBezTo>
                <a:cubicBezTo>
                  <a:pt x="1345" y="414"/>
                  <a:pt x="1348" y="414"/>
                  <a:pt x="1350" y="412"/>
                </a:cubicBezTo>
                <a:cubicBezTo>
                  <a:pt x="1353" y="411"/>
                  <a:pt x="1355" y="410"/>
                  <a:pt x="1357" y="409"/>
                </a:cubicBezTo>
                <a:cubicBezTo>
                  <a:pt x="1357" y="409"/>
                  <a:pt x="1357" y="409"/>
                  <a:pt x="1357" y="467"/>
                </a:cubicBezTo>
                <a:cubicBezTo>
                  <a:pt x="1357" y="467"/>
                  <a:pt x="1357" y="467"/>
                  <a:pt x="1369" y="467"/>
                </a:cubicBezTo>
                <a:cubicBezTo>
                  <a:pt x="1369" y="467"/>
                  <a:pt x="1369" y="467"/>
                  <a:pt x="1369" y="394"/>
                </a:cubicBezTo>
                <a:close/>
                <a:moveTo>
                  <a:pt x="1416" y="394"/>
                </a:moveTo>
                <a:cubicBezTo>
                  <a:pt x="1416" y="394"/>
                  <a:pt x="1416" y="394"/>
                  <a:pt x="1416" y="394"/>
                </a:cubicBezTo>
                <a:cubicBezTo>
                  <a:pt x="1411" y="394"/>
                  <a:pt x="1411" y="394"/>
                  <a:pt x="1411" y="394"/>
                </a:cubicBezTo>
                <a:cubicBezTo>
                  <a:pt x="1410" y="395"/>
                  <a:pt x="1408" y="397"/>
                  <a:pt x="1406" y="398"/>
                </a:cubicBezTo>
                <a:cubicBezTo>
                  <a:pt x="1404" y="399"/>
                  <a:pt x="1403" y="400"/>
                  <a:pt x="1400" y="401"/>
                </a:cubicBezTo>
                <a:cubicBezTo>
                  <a:pt x="1399" y="402"/>
                  <a:pt x="1397" y="403"/>
                  <a:pt x="1395" y="403"/>
                </a:cubicBezTo>
                <a:cubicBezTo>
                  <a:pt x="1393" y="404"/>
                  <a:pt x="1392" y="405"/>
                  <a:pt x="1389" y="405"/>
                </a:cubicBezTo>
                <a:cubicBezTo>
                  <a:pt x="1389" y="405"/>
                  <a:pt x="1389" y="405"/>
                  <a:pt x="1389" y="415"/>
                </a:cubicBezTo>
                <a:cubicBezTo>
                  <a:pt x="1392" y="414"/>
                  <a:pt x="1395" y="414"/>
                  <a:pt x="1398" y="412"/>
                </a:cubicBezTo>
                <a:cubicBezTo>
                  <a:pt x="1400" y="411"/>
                  <a:pt x="1403" y="410"/>
                  <a:pt x="1405" y="409"/>
                </a:cubicBezTo>
                <a:cubicBezTo>
                  <a:pt x="1405" y="409"/>
                  <a:pt x="1405" y="409"/>
                  <a:pt x="1405" y="467"/>
                </a:cubicBezTo>
                <a:cubicBezTo>
                  <a:pt x="1405" y="467"/>
                  <a:pt x="1405" y="467"/>
                  <a:pt x="1416" y="467"/>
                </a:cubicBezTo>
                <a:cubicBezTo>
                  <a:pt x="1416" y="467"/>
                  <a:pt x="1416" y="467"/>
                  <a:pt x="1416" y="394"/>
                </a:cubicBezTo>
                <a:close/>
                <a:moveTo>
                  <a:pt x="1463" y="394"/>
                </a:moveTo>
                <a:cubicBezTo>
                  <a:pt x="1463" y="394"/>
                  <a:pt x="1463" y="394"/>
                  <a:pt x="1463" y="394"/>
                </a:cubicBezTo>
                <a:cubicBezTo>
                  <a:pt x="1459" y="394"/>
                  <a:pt x="1459" y="394"/>
                  <a:pt x="1459" y="394"/>
                </a:cubicBezTo>
                <a:cubicBezTo>
                  <a:pt x="1456" y="395"/>
                  <a:pt x="1455" y="397"/>
                  <a:pt x="1453" y="398"/>
                </a:cubicBezTo>
                <a:cubicBezTo>
                  <a:pt x="1451" y="399"/>
                  <a:pt x="1449" y="400"/>
                  <a:pt x="1448" y="401"/>
                </a:cubicBezTo>
                <a:cubicBezTo>
                  <a:pt x="1446" y="401"/>
                  <a:pt x="1444" y="402"/>
                  <a:pt x="1442" y="403"/>
                </a:cubicBezTo>
                <a:cubicBezTo>
                  <a:pt x="1441" y="403"/>
                  <a:pt x="1438" y="404"/>
                  <a:pt x="1437" y="405"/>
                </a:cubicBezTo>
                <a:cubicBezTo>
                  <a:pt x="1437" y="405"/>
                  <a:pt x="1437" y="405"/>
                  <a:pt x="1437" y="415"/>
                </a:cubicBezTo>
                <a:cubicBezTo>
                  <a:pt x="1440" y="414"/>
                  <a:pt x="1443" y="413"/>
                  <a:pt x="1445" y="412"/>
                </a:cubicBezTo>
                <a:cubicBezTo>
                  <a:pt x="1447" y="411"/>
                  <a:pt x="1450" y="410"/>
                  <a:pt x="1451" y="409"/>
                </a:cubicBezTo>
                <a:cubicBezTo>
                  <a:pt x="1451" y="409"/>
                  <a:pt x="1451" y="409"/>
                  <a:pt x="1451" y="467"/>
                </a:cubicBezTo>
                <a:cubicBezTo>
                  <a:pt x="1451" y="467"/>
                  <a:pt x="1451" y="467"/>
                  <a:pt x="1463" y="467"/>
                </a:cubicBezTo>
                <a:cubicBezTo>
                  <a:pt x="1463" y="467"/>
                  <a:pt x="1463" y="467"/>
                  <a:pt x="1463" y="394"/>
                </a:cubicBezTo>
                <a:close/>
                <a:moveTo>
                  <a:pt x="1219" y="426"/>
                </a:moveTo>
                <a:cubicBezTo>
                  <a:pt x="1219" y="426"/>
                  <a:pt x="1219" y="426"/>
                  <a:pt x="1219" y="426"/>
                </a:cubicBezTo>
                <a:cubicBezTo>
                  <a:pt x="1219" y="435"/>
                  <a:pt x="1219" y="435"/>
                  <a:pt x="1219" y="435"/>
                </a:cubicBezTo>
                <a:cubicBezTo>
                  <a:pt x="1225" y="435"/>
                  <a:pt x="1226" y="438"/>
                  <a:pt x="1226" y="440"/>
                </a:cubicBezTo>
                <a:cubicBezTo>
                  <a:pt x="1226" y="443"/>
                  <a:pt x="1225" y="445"/>
                  <a:pt x="1225" y="448"/>
                </a:cubicBezTo>
                <a:cubicBezTo>
                  <a:pt x="1225" y="450"/>
                  <a:pt x="1225" y="452"/>
                  <a:pt x="1225" y="455"/>
                </a:cubicBezTo>
                <a:cubicBezTo>
                  <a:pt x="1225" y="464"/>
                  <a:pt x="1231" y="467"/>
                  <a:pt x="1239" y="467"/>
                </a:cubicBezTo>
                <a:cubicBezTo>
                  <a:pt x="1239" y="467"/>
                  <a:pt x="1239" y="467"/>
                  <a:pt x="1243" y="467"/>
                </a:cubicBezTo>
                <a:cubicBezTo>
                  <a:pt x="1243" y="467"/>
                  <a:pt x="1243" y="467"/>
                  <a:pt x="1243" y="458"/>
                </a:cubicBezTo>
                <a:cubicBezTo>
                  <a:pt x="1243" y="458"/>
                  <a:pt x="1243" y="458"/>
                  <a:pt x="1242" y="458"/>
                </a:cubicBezTo>
                <a:cubicBezTo>
                  <a:pt x="1238" y="458"/>
                  <a:pt x="1237" y="456"/>
                  <a:pt x="1237" y="452"/>
                </a:cubicBezTo>
                <a:cubicBezTo>
                  <a:pt x="1237" y="451"/>
                  <a:pt x="1237" y="449"/>
                  <a:pt x="1237" y="448"/>
                </a:cubicBezTo>
                <a:cubicBezTo>
                  <a:pt x="1237" y="446"/>
                  <a:pt x="1237" y="444"/>
                  <a:pt x="1237" y="442"/>
                </a:cubicBezTo>
                <a:cubicBezTo>
                  <a:pt x="1237" y="434"/>
                  <a:pt x="1234" y="432"/>
                  <a:pt x="1229" y="430"/>
                </a:cubicBezTo>
                <a:cubicBezTo>
                  <a:pt x="1229" y="430"/>
                  <a:pt x="1229" y="430"/>
                  <a:pt x="1229" y="430"/>
                </a:cubicBezTo>
                <a:cubicBezTo>
                  <a:pt x="1234" y="429"/>
                  <a:pt x="1237" y="427"/>
                  <a:pt x="1237" y="419"/>
                </a:cubicBezTo>
                <a:cubicBezTo>
                  <a:pt x="1237" y="417"/>
                  <a:pt x="1237" y="415"/>
                  <a:pt x="1237" y="413"/>
                </a:cubicBezTo>
                <a:cubicBezTo>
                  <a:pt x="1237" y="411"/>
                  <a:pt x="1237" y="409"/>
                  <a:pt x="1237" y="408"/>
                </a:cubicBezTo>
                <a:cubicBezTo>
                  <a:pt x="1237" y="405"/>
                  <a:pt x="1238" y="402"/>
                  <a:pt x="1242" y="402"/>
                </a:cubicBezTo>
                <a:cubicBezTo>
                  <a:pt x="1242" y="402"/>
                  <a:pt x="1242" y="402"/>
                  <a:pt x="1243" y="402"/>
                </a:cubicBezTo>
                <a:cubicBezTo>
                  <a:pt x="1243" y="402"/>
                  <a:pt x="1243" y="402"/>
                  <a:pt x="1243" y="393"/>
                </a:cubicBezTo>
                <a:cubicBezTo>
                  <a:pt x="1243" y="393"/>
                  <a:pt x="1243" y="393"/>
                  <a:pt x="1239" y="393"/>
                </a:cubicBezTo>
                <a:cubicBezTo>
                  <a:pt x="1230" y="393"/>
                  <a:pt x="1225" y="397"/>
                  <a:pt x="1225" y="406"/>
                </a:cubicBezTo>
                <a:cubicBezTo>
                  <a:pt x="1225" y="408"/>
                  <a:pt x="1225" y="411"/>
                  <a:pt x="1225" y="413"/>
                </a:cubicBezTo>
                <a:cubicBezTo>
                  <a:pt x="1225" y="415"/>
                  <a:pt x="1226" y="418"/>
                  <a:pt x="1226" y="420"/>
                </a:cubicBezTo>
                <a:cubicBezTo>
                  <a:pt x="1226" y="423"/>
                  <a:pt x="1225" y="426"/>
                  <a:pt x="1219" y="426"/>
                </a:cubicBezTo>
                <a:close/>
                <a:moveTo>
                  <a:pt x="1274" y="435"/>
                </a:moveTo>
                <a:cubicBezTo>
                  <a:pt x="1274" y="435"/>
                  <a:pt x="1274" y="435"/>
                  <a:pt x="1274" y="435"/>
                </a:cubicBezTo>
                <a:cubicBezTo>
                  <a:pt x="1274" y="426"/>
                  <a:pt x="1274" y="426"/>
                  <a:pt x="1274" y="426"/>
                </a:cubicBezTo>
                <a:cubicBezTo>
                  <a:pt x="1267" y="426"/>
                  <a:pt x="1267" y="423"/>
                  <a:pt x="1267" y="420"/>
                </a:cubicBezTo>
                <a:cubicBezTo>
                  <a:pt x="1267" y="418"/>
                  <a:pt x="1267" y="415"/>
                  <a:pt x="1267" y="413"/>
                </a:cubicBezTo>
                <a:cubicBezTo>
                  <a:pt x="1268" y="411"/>
                  <a:pt x="1268" y="408"/>
                  <a:pt x="1268" y="406"/>
                </a:cubicBezTo>
                <a:cubicBezTo>
                  <a:pt x="1268" y="397"/>
                  <a:pt x="1263" y="393"/>
                  <a:pt x="1253" y="393"/>
                </a:cubicBezTo>
                <a:cubicBezTo>
                  <a:pt x="1253" y="393"/>
                  <a:pt x="1253" y="393"/>
                  <a:pt x="1250" y="393"/>
                </a:cubicBezTo>
                <a:cubicBezTo>
                  <a:pt x="1250" y="393"/>
                  <a:pt x="1250" y="393"/>
                  <a:pt x="1250" y="402"/>
                </a:cubicBezTo>
                <a:cubicBezTo>
                  <a:pt x="1250" y="402"/>
                  <a:pt x="1250" y="402"/>
                  <a:pt x="1251" y="402"/>
                </a:cubicBezTo>
                <a:cubicBezTo>
                  <a:pt x="1255" y="402"/>
                  <a:pt x="1256" y="405"/>
                  <a:pt x="1256" y="408"/>
                </a:cubicBezTo>
                <a:cubicBezTo>
                  <a:pt x="1256" y="409"/>
                  <a:pt x="1256" y="411"/>
                  <a:pt x="1256" y="413"/>
                </a:cubicBezTo>
                <a:cubicBezTo>
                  <a:pt x="1256" y="415"/>
                  <a:pt x="1256" y="417"/>
                  <a:pt x="1256" y="419"/>
                </a:cubicBezTo>
                <a:cubicBezTo>
                  <a:pt x="1256" y="427"/>
                  <a:pt x="1258" y="429"/>
                  <a:pt x="1264" y="430"/>
                </a:cubicBezTo>
                <a:cubicBezTo>
                  <a:pt x="1264" y="430"/>
                  <a:pt x="1264" y="430"/>
                  <a:pt x="1264" y="430"/>
                </a:cubicBezTo>
                <a:cubicBezTo>
                  <a:pt x="1258" y="432"/>
                  <a:pt x="1256" y="434"/>
                  <a:pt x="1256" y="442"/>
                </a:cubicBezTo>
                <a:cubicBezTo>
                  <a:pt x="1256" y="444"/>
                  <a:pt x="1256" y="446"/>
                  <a:pt x="1256" y="448"/>
                </a:cubicBezTo>
                <a:cubicBezTo>
                  <a:pt x="1256" y="449"/>
                  <a:pt x="1256" y="451"/>
                  <a:pt x="1256" y="452"/>
                </a:cubicBezTo>
                <a:cubicBezTo>
                  <a:pt x="1256" y="456"/>
                  <a:pt x="1255" y="458"/>
                  <a:pt x="1251" y="458"/>
                </a:cubicBezTo>
                <a:cubicBezTo>
                  <a:pt x="1251" y="458"/>
                  <a:pt x="1251" y="458"/>
                  <a:pt x="1250" y="458"/>
                </a:cubicBezTo>
                <a:cubicBezTo>
                  <a:pt x="1250" y="458"/>
                  <a:pt x="1250" y="458"/>
                  <a:pt x="1250" y="467"/>
                </a:cubicBezTo>
                <a:cubicBezTo>
                  <a:pt x="1250" y="467"/>
                  <a:pt x="1250" y="467"/>
                  <a:pt x="1253" y="467"/>
                </a:cubicBezTo>
                <a:cubicBezTo>
                  <a:pt x="1262" y="467"/>
                  <a:pt x="1268" y="464"/>
                  <a:pt x="1268" y="455"/>
                </a:cubicBezTo>
                <a:cubicBezTo>
                  <a:pt x="1268" y="452"/>
                  <a:pt x="1268" y="450"/>
                  <a:pt x="1267" y="448"/>
                </a:cubicBezTo>
                <a:cubicBezTo>
                  <a:pt x="1267" y="445"/>
                  <a:pt x="1267" y="443"/>
                  <a:pt x="1267" y="440"/>
                </a:cubicBezTo>
                <a:cubicBezTo>
                  <a:pt x="1267" y="438"/>
                  <a:pt x="1267" y="435"/>
                  <a:pt x="1274" y="435"/>
                </a:cubicBezTo>
                <a:close/>
                <a:moveTo>
                  <a:pt x="1601" y="426"/>
                </a:moveTo>
                <a:cubicBezTo>
                  <a:pt x="1601" y="426"/>
                  <a:pt x="1601" y="426"/>
                  <a:pt x="1601" y="426"/>
                </a:cubicBezTo>
                <a:cubicBezTo>
                  <a:pt x="1601" y="435"/>
                  <a:pt x="1601" y="435"/>
                  <a:pt x="1601" y="435"/>
                </a:cubicBezTo>
                <a:cubicBezTo>
                  <a:pt x="1607" y="435"/>
                  <a:pt x="1608" y="438"/>
                  <a:pt x="1608" y="440"/>
                </a:cubicBezTo>
                <a:cubicBezTo>
                  <a:pt x="1608" y="443"/>
                  <a:pt x="1607" y="445"/>
                  <a:pt x="1607" y="448"/>
                </a:cubicBezTo>
                <a:cubicBezTo>
                  <a:pt x="1607" y="450"/>
                  <a:pt x="1607" y="452"/>
                  <a:pt x="1607" y="455"/>
                </a:cubicBezTo>
                <a:cubicBezTo>
                  <a:pt x="1607" y="464"/>
                  <a:pt x="1613" y="467"/>
                  <a:pt x="1621" y="467"/>
                </a:cubicBezTo>
                <a:cubicBezTo>
                  <a:pt x="1621" y="467"/>
                  <a:pt x="1621" y="467"/>
                  <a:pt x="1625" y="467"/>
                </a:cubicBezTo>
                <a:cubicBezTo>
                  <a:pt x="1625" y="467"/>
                  <a:pt x="1625" y="467"/>
                  <a:pt x="1625" y="458"/>
                </a:cubicBezTo>
                <a:cubicBezTo>
                  <a:pt x="1625" y="458"/>
                  <a:pt x="1625" y="458"/>
                  <a:pt x="1624" y="458"/>
                </a:cubicBezTo>
                <a:cubicBezTo>
                  <a:pt x="1620" y="458"/>
                  <a:pt x="1619" y="456"/>
                  <a:pt x="1619" y="452"/>
                </a:cubicBezTo>
                <a:cubicBezTo>
                  <a:pt x="1619" y="451"/>
                  <a:pt x="1619" y="449"/>
                  <a:pt x="1619" y="448"/>
                </a:cubicBezTo>
                <a:cubicBezTo>
                  <a:pt x="1619" y="446"/>
                  <a:pt x="1619" y="444"/>
                  <a:pt x="1619" y="442"/>
                </a:cubicBezTo>
                <a:cubicBezTo>
                  <a:pt x="1619" y="434"/>
                  <a:pt x="1616" y="432"/>
                  <a:pt x="1611" y="430"/>
                </a:cubicBezTo>
                <a:cubicBezTo>
                  <a:pt x="1611" y="430"/>
                  <a:pt x="1611" y="430"/>
                  <a:pt x="1611" y="430"/>
                </a:cubicBezTo>
                <a:cubicBezTo>
                  <a:pt x="1616" y="429"/>
                  <a:pt x="1619" y="427"/>
                  <a:pt x="1619" y="419"/>
                </a:cubicBezTo>
                <a:cubicBezTo>
                  <a:pt x="1619" y="417"/>
                  <a:pt x="1619" y="415"/>
                  <a:pt x="1619" y="413"/>
                </a:cubicBezTo>
                <a:cubicBezTo>
                  <a:pt x="1619" y="411"/>
                  <a:pt x="1619" y="409"/>
                  <a:pt x="1619" y="408"/>
                </a:cubicBezTo>
                <a:cubicBezTo>
                  <a:pt x="1619" y="405"/>
                  <a:pt x="1620" y="402"/>
                  <a:pt x="1624" y="402"/>
                </a:cubicBezTo>
                <a:cubicBezTo>
                  <a:pt x="1624" y="402"/>
                  <a:pt x="1624" y="402"/>
                  <a:pt x="1625" y="402"/>
                </a:cubicBezTo>
                <a:cubicBezTo>
                  <a:pt x="1625" y="402"/>
                  <a:pt x="1625" y="402"/>
                  <a:pt x="1625" y="393"/>
                </a:cubicBezTo>
                <a:cubicBezTo>
                  <a:pt x="1625" y="393"/>
                  <a:pt x="1625" y="393"/>
                  <a:pt x="1621" y="393"/>
                </a:cubicBezTo>
                <a:cubicBezTo>
                  <a:pt x="1612" y="393"/>
                  <a:pt x="1607" y="397"/>
                  <a:pt x="1607" y="406"/>
                </a:cubicBezTo>
                <a:cubicBezTo>
                  <a:pt x="1607" y="408"/>
                  <a:pt x="1607" y="411"/>
                  <a:pt x="1607" y="413"/>
                </a:cubicBezTo>
                <a:cubicBezTo>
                  <a:pt x="1607" y="415"/>
                  <a:pt x="1608" y="418"/>
                  <a:pt x="1608" y="420"/>
                </a:cubicBezTo>
                <a:cubicBezTo>
                  <a:pt x="1608" y="423"/>
                  <a:pt x="1607" y="426"/>
                  <a:pt x="1601" y="426"/>
                </a:cubicBezTo>
                <a:close/>
                <a:moveTo>
                  <a:pt x="1656" y="435"/>
                </a:moveTo>
                <a:cubicBezTo>
                  <a:pt x="1656" y="435"/>
                  <a:pt x="1656" y="435"/>
                  <a:pt x="1656" y="435"/>
                </a:cubicBezTo>
                <a:cubicBezTo>
                  <a:pt x="1656" y="426"/>
                  <a:pt x="1656" y="426"/>
                  <a:pt x="1656" y="426"/>
                </a:cubicBezTo>
                <a:cubicBezTo>
                  <a:pt x="1650" y="426"/>
                  <a:pt x="1649" y="423"/>
                  <a:pt x="1649" y="420"/>
                </a:cubicBezTo>
                <a:cubicBezTo>
                  <a:pt x="1649" y="418"/>
                  <a:pt x="1649" y="415"/>
                  <a:pt x="1650" y="413"/>
                </a:cubicBezTo>
                <a:cubicBezTo>
                  <a:pt x="1650" y="411"/>
                  <a:pt x="1650" y="408"/>
                  <a:pt x="1650" y="406"/>
                </a:cubicBezTo>
                <a:cubicBezTo>
                  <a:pt x="1650" y="397"/>
                  <a:pt x="1645" y="393"/>
                  <a:pt x="1636" y="393"/>
                </a:cubicBezTo>
                <a:cubicBezTo>
                  <a:pt x="1636" y="393"/>
                  <a:pt x="1636" y="393"/>
                  <a:pt x="1632" y="393"/>
                </a:cubicBezTo>
                <a:cubicBezTo>
                  <a:pt x="1632" y="393"/>
                  <a:pt x="1632" y="393"/>
                  <a:pt x="1632" y="402"/>
                </a:cubicBezTo>
                <a:cubicBezTo>
                  <a:pt x="1632" y="402"/>
                  <a:pt x="1632" y="402"/>
                  <a:pt x="1633" y="402"/>
                </a:cubicBezTo>
                <a:cubicBezTo>
                  <a:pt x="1637" y="402"/>
                  <a:pt x="1638" y="405"/>
                  <a:pt x="1638" y="408"/>
                </a:cubicBezTo>
                <a:cubicBezTo>
                  <a:pt x="1638" y="409"/>
                  <a:pt x="1638" y="411"/>
                  <a:pt x="1638" y="413"/>
                </a:cubicBezTo>
                <a:cubicBezTo>
                  <a:pt x="1638" y="415"/>
                  <a:pt x="1638" y="417"/>
                  <a:pt x="1638" y="419"/>
                </a:cubicBezTo>
                <a:cubicBezTo>
                  <a:pt x="1638" y="427"/>
                  <a:pt x="1640" y="429"/>
                  <a:pt x="1646" y="430"/>
                </a:cubicBezTo>
                <a:cubicBezTo>
                  <a:pt x="1646" y="430"/>
                  <a:pt x="1646" y="430"/>
                  <a:pt x="1646" y="430"/>
                </a:cubicBezTo>
                <a:cubicBezTo>
                  <a:pt x="1640" y="432"/>
                  <a:pt x="1638" y="434"/>
                  <a:pt x="1638" y="442"/>
                </a:cubicBezTo>
                <a:cubicBezTo>
                  <a:pt x="1638" y="444"/>
                  <a:pt x="1638" y="446"/>
                  <a:pt x="1638" y="448"/>
                </a:cubicBezTo>
                <a:cubicBezTo>
                  <a:pt x="1638" y="449"/>
                  <a:pt x="1638" y="451"/>
                  <a:pt x="1638" y="452"/>
                </a:cubicBezTo>
                <a:cubicBezTo>
                  <a:pt x="1638" y="456"/>
                  <a:pt x="1637" y="458"/>
                  <a:pt x="1633" y="458"/>
                </a:cubicBezTo>
                <a:cubicBezTo>
                  <a:pt x="1633" y="458"/>
                  <a:pt x="1633" y="458"/>
                  <a:pt x="1632" y="458"/>
                </a:cubicBezTo>
                <a:cubicBezTo>
                  <a:pt x="1632" y="458"/>
                  <a:pt x="1632" y="458"/>
                  <a:pt x="1632" y="467"/>
                </a:cubicBezTo>
                <a:cubicBezTo>
                  <a:pt x="1632" y="467"/>
                  <a:pt x="1632" y="467"/>
                  <a:pt x="1636" y="467"/>
                </a:cubicBezTo>
                <a:cubicBezTo>
                  <a:pt x="1644" y="467"/>
                  <a:pt x="1650" y="464"/>
                  <a:pt x="1650" y="455"/>
                </a:cubicBezTo>
                <a:cubicBezTo>
                  <a:pt x="1650" y="452"/>
                  <a:pt x="1650" y="450"/>
                  <a:pt x="1650" y="448"/>
                </a:cubicBezTo>
                <a:cubicBezTo>
                  <a:pt x="1649" y="445"/>
                  <a:pt x="1649" y="443"/>
                  <a:pt x="1649" y="440"/>
                </a:cubicBezTo>
                <a:cubicBezTo>
                  <a:pt x="1649" y="438"/>
                  <a:pt x="1650" y="435"/>
                  <a:pt x="1656" y="435"/>
                </a:cubicBezTo>
                <a:close/>
                <a:moveTo>
                  <a:pt x="1703" y="394"/>
                </a:moveTo>
                <a:cubicBezTo>
                  <a:pt x="1703" y="394"/>
                  <a:pt x="1703" y="394"/>
                  <a:pt x="1703" y="394"/>
                </a:cubicBezTo>
                <a:cubicBezTo>
                  <a:pt x="1698" y="394"/>
                  <a:pt x="1698" y="394"/>
                  <a:pt x="1698" y="394"/>
                </a:cubicBezTo>
                <a:cubicBezTo>
                  <a:pt x="1696" y="395"/>
                  <a:pt x="1695" y="397"/>
                  <a:pt x="1692" y="398"/>
                </a:cubicBezTo>
                <a:cubicBezTo>
                  <a:pt x="1691" y="399"/>
                  <a:pt x="1689" y="400"/>
                  <a:pt x="1687" y="401"/>
                </a:cubicBezTo>
                <a:cubicBezTo>
                  <a:pt x="1685" y="401"/>
                  <a:pt x="1684" y="402"/>
                  <a:pt x="1682" y="403"/>
                </a:cubicBezTo>
                <a:cubicBezTo>
                  <a:pt x="1680" y="403"/>
                  <a:pt x="1679" y="404"/>
                  <a:pt x="1676" y="405"/>
                </a:cubicBezTo>
                <a:cubicBezTo>
                  <a:pt x="1676" y="405"/>
                  <a:pt x="1676" y="405"/>
                  <a:pt x="1676" y="415"/>
                </a:cubicBezTo>
                <a:cubicBezTo>
                  <a:pt x="1679" y="414"/>
                  <a:pt x="1682" y="413"/>
                  <a:pt x="1684" y="412"/>
                </a:cubicBezTo>
                <a:cubicBezTo>
                  <a:pt x="1687" y="411"/>
                  <a:pt x="1690" y="410"/>
                  <a:pt x="1692" y="409"/>
                </a:cubicBezTo>
                <a:cubicBezTo>
                  <a:pt x="1692" y="409"/>
                  <a:pt x="1692" y="409"/>
                  <a:pt x="1692" y="467"/>
                </a:cubicBezTo>
                <a:cubicBezTo>
                  <a:pt x="1692" y="467"/>
                  <a:pt x="1692" y="467"/>
                  <a:pt x="1703" y="467"/>
                </a:cubicBezTo>
                <a:cubicBezTo>
                  <a:pt x="1703" y="467"/>
                  <a:pt x="1703" y="467"/>
                  <a:pt x="1703" y="394"/>
                </a:cubicBezTo>
                <a:close/>
                <a:moveTo>
                  <a:pt x="1750" y="394"/>
                </a:moveTo>
                <a:cubicBezTo>
                  <a:pt x="1750" y="394"/>
                  <a:pt x="1750" y="394"/>
                  <a:pt x="1750" y="394"/>
                </a:cubicBezTo>
                <a:cubicBezTo>
                  <a:pt x="1745" y="394"/>
                  <a:pt x="1745" y="394"/>
                  <a:pt x="1745" y="394"/>
                </a:cubicBezTo>
                <a:cubicBezTo>
                  <a:pt x="1743" y="395"/>
                  <a:pt x="1742" y="397"/>
                  <a:pt x="1740" y="398"/>
                </a:cubicBezTo>
                <a:cubicBezTo>
                  <a:pt x="1738" y="399"/>
                  <a:pt x="1736" y="400"/>
                  <a:pt x="1735" y="401"/>
                </a:cubicBezTo>
                <a:cubicBezTo>
                  <a:pt x="1733" y="402"/>
                  <a:pt x="1731" y="403"/>
                  <a:pt x="1730" y="403"/>
                </a:cubicBezTo>
                <a:cubicBezTo>
                  <a:pt x="1728" y="404"/>
                  <a:pt x="1726" y="405"/>
                  <a:pt x="1724" y="405"/>
                </a:cubicBezTo>
                <a:cubicBezTo>
                  <a:pt x="1724" y="405"/>
                  <a:pt x="1724" y="405"/>
                  <a:pt x="1724" y="415"/>
                </a:cubicBezTo>
                <a:cubicBezTo>
                  <a:pt x="1727" y="414"/>
                  <a:pt x="1730" y="414"/>
                  <a:pt x="1732" y="412"/>
                </a:cubicBezTo>
                <a:cubicBezTo>
                  <a:pt x="1735" y="411"/>
                  <a:pt x="1737" y="410"/>
                  <a:pt x="1739" y="409"/>
                </a:cubicBezTo>
                <a:cubicBezTo>
                  <a:pt x="1739" y="409"/>
                  <a:pt x="1739" y="409"/>
                  <a:pt x="1739" y="467"/>
                </a:cubicBezTo>
                <a:cubicBezTo>
                  <a:pt x="1739" y="467"/>
                  <a:pt x="1739" y="467"/>
                  <a:pt x="1750" y="467"/>
                </a:cubicBezTo>
                <a:cubicBezTo>
                  <a:pt x="1750" y="467"/>
                  <a:pt x="1750" y="467"/>
                  <a:pt x="1750" y="394"/>
                </a:cubicBezTo>
                <a:close/>
                <a:moveTo>
                  <a:pt x="1797" y="394"/>
                </a:moveTo>
                <a:cubicBezTo>
                  <a:pt x="1797" y="394"/>
                  <a:pt x="1797" y="394"/>
                  <a:pt x="1797" y="394"/>
                </a:cubicBezTo>
                <a:cubicBezTo>
                  <a:pt x="1793" y="394"/>
                  <a:pt x="1793" y="394"/>
                  <a:pt x="1793" y="394"/>
                </a:cubicBezTo>
                <a:cubicBezTo>
                  <a:pt x="1790" y="395"/>
                  <a:pt x="1789" y="397"/>
                  <a:pt x="1787" y="398"/>
                </a:cubicBezTo>
                <a:cubicBezTo>
                  <a:pt x="1785" y="399"/>
                  <a:pt x="1783" y="400"/>
                  <a:pt x="1782" y="401"/>
                </a:cubicBezTo>
                <a:cubicBezTo>
                  <a:pt x="1780" y="402"/>
                  <a:pt x="1778" y="403"/>
                  <a:pt x="1776" y="403"/>
                </a:cubicBezTo>
                <a:cubicBezTo>
                  <a:pt x="1775" y="404"/>
                  <a:pt x="1772" y="405"/>
                  <a:pt x="1771" y="405"/>
                </a:cubicBezTo>
                <a:cubicBezTo>
                  <a:pt x="1771" y="405"/>
                  <a:pt x="1771" y="405"/>
                  <a:pt x="1771" y="415"/>
                </a:cubicBezTo>
                <a:cubicBezTo>
                  <a:pt x="1774" y="414"/>
                  <a:pt x="1777" y="414"/>
                  <a:pt x="1779" y="412"/>
                </a:cubicBezTo>
                <a:cubicBezTo>
                  <a:pt x="1781" y="411"/>
                  <a:pt x="1784" y="410"/>
                  <a:pt x="1785" y="409"/>
                </a:cubicBezTo>
                <a:cubicBezTo>
                  <a:pt x="1785" y="409"/>
                  <a:pt x="1785" y="409"/>
                  <a:pt x="1785" y="467"/>
                </a:cubicBezTo>
                <a:cubicBezTo>
                  <a:pt x="1785" y="467"/>
                  <a:pt x="1785" y="467"/>
                  <a:pt x="1797" y="467"/>
                </a:cubicBezTo>
                <a:cubicBezTo>
                  <a:pt x="1797" y="467"/>
                  <a:pt x="1797" y="467"/>
                  <a:pt x="1797" y="394"/>
                </a:cubicBezTo>
                <a:close/>
                <a:moveTo>
                  <a:pt x="1920" y="394"/>
                </a:moveTo>
                <a:cubicBezTo>
                  <a:pt x="1920" y="394"/>
                  <a:pt x="1920" y="394"/>
                  <a:pt x="1920" y="394"/>
                </a:cubicBezTo>
                <a:cubicBezTo>
                  <a:pt x="1915" y="394"/>
                  <a:pt x="1915" y="394"/>
                  <a:pt x="1915" y="394"/>
                </a:cubicBezTo>
                <a:cubicBezTo>
                  <a:pt x="1913" y="395"/>
                  <a:pt x="1911" y="397"/>
                  <a:pt x="1909" y="398"/>
                </a:cubicBezTo>
                <a:cubicBezTo>
                  <a:pt x="1908" y="399"/>
                  <a:pt x="1906" y="400"/>
                  <a:pt x="1904" y="401"/>
                </a:cubicBezTo>
                <a:cubicBezTo>
                  <a:pt x="1903" y="402"/>
                  <a:pt x="1900" y="403"/>
                  <a:pt x="1899" y="403"/>
                </a:cubicBezTo>
                <a:cubicBezTo>
                  <a:pt x="1897" y="404"/>
                  <a:pt x="1895" y="405"/>
                  <a:pt x="1893" y="405"/>
                </a:cubicBezTo>
                <a:cubicBezTo>
                  <a:pt x="1893" y="405"/>
                  <a:pt x="1893" y="405"/>
                  <a:pt x="1893" y="415"/>
                </a:cubicBezTo>
                <a:cubicBezTo>
                  <a:pt x="1896" y="414"/>
                  <a:pt x="1899" y="414"/>
                  <a:pt x="1902" y="412"/>
                </a:cubicBezTo>
                <a:cubicBezTo>
                  <a:pt x="1904" y="411"/>
                  <a:pt x="1906" y="410"/>
                  <a:pt x="1909" y="409"/>
                </a:cubicBezTo>
                <a:cubicBezTo>
                  <a:pt x="1909" y="409"/>
                  <a:pt x="1909" y="409"/>
                  <a:pt x="1909" y="467"/>
                </a:cubicBezTo>
                <a:cubicBezTo>
                  <a:pt x="1909" y="467"/>
                  <a:pt x="1909" y="467"/>
                  <a:pt x="1920" y="467"/>
                </a:cubicBezTo>
                <a:cubicBezTo>
                  <a:pt x="1920" y="467"/>
                  <a:pt x="1920" y="467"/>
                  <a:pt x="1920" y="394"/>
                </a:cubicBezTo>
                <a:close/>
                <a:moveTo>
                  <a:pt x="1818" y="426"/>
                </a:moveTo>
                <a:cubicBezTo>
                  <a:pt x="1818" y="426"/>
                  <a:pt x="1818" y="426"/>
                  <a:pt x="1818" y="426"/>
                </a:cubicBezTo>
                <a:cubicBezTo>
                  <a:pt x="1818" y="435"/>
                  <a:pt x="1818" y="435"/>
                  <a:pt x="1818" y="435"/>
                </a:cubicBezTo>
                <a:cubicBezTo>
                  <a:pt x="1824" y="435"/>
                  <a:pt x="1825" y="438"/>
                  <a:pt x="1825" y="440"/>
                </a:cubicBezTo>
                <a:cubicBezTo>
                  <a:pt x="1825" y="443"/>
                  <a:pt x="1824" y="445"/>
                  <a:pt x="1824" y="448"/>
                </a:cubicBezTo>
                <a:cubicBezTo>
                  <a:pt x="1824" y="450"/>
                  <a:pt x="1824" y="452"/>
                  <a:pt x="1824" y="455"/>
                </a:cubicBezTo>
                <a:cubicBezTo>
                  <a:pt x="1824" y="464"/>
                  <a:pt x="1829" y="467"/>
                  <a:pt x="1838" y="467"/>
                </a:cubicBezTo>
                <a:cubicBezTo>
                  <a:pt x="1838" y="467"/>
                  <a:pt x="1838" y="467"/>
                  <a:pt x="1842" y="467"/>
                </a:cubicBezTo>
                <a:cubicBezTo>
                  <a:pt x="1842" y="467"/>
                  <a:pt x="1842" y="467"/>
                  <a:pt x="1842" y="458"/>
                </a:cubicBezTo>
                <a:cubicBezTo>
                  <a:pt x="1842" y="458"/>
                  <a:pt x="1842" y="458"/>
                  <a:pt x="1840" y="458"/>
                </a:cubicBezTo>
                <a:cubicBezTo>
                  <a:pt x="1836" y="458"/>
                  <a:pt x="1835" y="456"/>
                  <a:pt x="1835" y="452"/>
                </a:cubicBezTo>
                <a:cubicBezTo>
                  <a:pt x="1835" y="451"/>
                  <a:pt x="1835" y="449"/>
                  <a:pt x="1836" y="448"/>
                </a:cubicBezTo>
                <a:cubicBezTo>
                  <a:pt x="1836" y="446"/>
                  <a:pt x="1836" y="444"/>
                  <a:pt x="1836" y="442"/>
                </a:cubicBezTo>
                <a:cubicBezTo>
                  <a:pt x="1836" y="434"/>
                  <a:pt x="1833" y="432"/>
                  <a:pt x="1828" y="430"/>
                </a:cubicBezTo>
                <a:cubicBezTo>
                  <a:pt x="1828" y="430"/>
                  <a:pt x="1828" y="430"/>
                  <a:pt x="1828" y="430"/>
                </a:cubicBezTo>
                <a:cubicBezTo>
                  <a:pt x="1833" y="429"/>
                  <a:pt x="1836" y="427"/>
                  <a:pt x="1836" y="419"/>
                </a:cubicBezTo>
                <a:cubicBezTo>
                  <a:pt x="1836" y="417"/>
                  <a:pt x="1836" y="415"/>
                  <a:pt x="1836" y="413"/>
                </a:cubicBezTo>
                <a:cubicBezTo>
                  <a:pt x="1835" y="411"/>
                  <a:pt x="1835" y="409"/>
                  <a:pt x="1835" y="408"/>
                </a:cubicBezTo>
                <a:cubicBezTo>
                  <a:pt x="1835" y="405"/>
                  <a:pt x="1836" y="402"/>
                  <a:pt x="1840" y="402"/>
                </a:cubicBezTo>
                <a:cubicBezTo>
                  <a:pt x="1840" y="402"/>
                  <a:pt x="1840" y="402"/>
                  <a:pt x="1842" y="402"/>
                </a:cubicBezTo>
                <a:cubicBezTo>
                  <a:pt x="1842" y="402"/>
                  <a:pt x="1842" y="402"/>
                  <a:pt x="1842" y="393"/>
                </a:cubicBezTo>
                <a:cubicBezTo>
                  <a:pt x="1842" y="393"/>
                  <a:pt x="1842" y="393"/>
                  <a:pt x="1838" y="393"/>
                </a:cubicBezTo>
                <a:cubicBezTo>
                  <a:pt x="1829" y="393"/>
                  <a:pt x="1824" y="397"/>
                  <a:pt x="1824" y="406"/>
                </a:cubicBezTo>
                <a:cubicBezTo>
                  <a:pt x="1824" y="408"/>
                  <a:pt x="1824" y="411"/>
                  <a:pt x="1824" y="413"/>
                </a:cubicBezTo>
                <a:cubicBezTo>
                  <a:pt x="1824" y="415"/>
                  <a:pt x="1825" y="418"/>
                  <a:pt x="1825" y="420"/>
                </a:cubicBezTo>
                <a:cubicBezTo>
                  <a:pt x="1825" y="423"/>
                  <a:pt x="1824" y="426"/>
                  <a:pt x="1818" y="426"/>
                </a:cubicBezTo>
                <a:close/>
                <a:moveTo>
                  <a:pt x="1873" y="435"/>
                </a:moveTo>
                <a:cubicBezTo>
                  <a:pt x="1873" y="435"/>
                  <a:pt x="1873" y="435"/>
                  <a:pt x="1873" y="435"/>
                </a:cubicBezTo>
                <a:cubicBezTo>
                  <a:pt x="1873" y="426"/>
                  <a:pt x="1873" y="426"/>
                  <a:pt x="1873" y="426"/>
                </a:cubicBezTo>
                <a:cubicBezTo>
                  <a:pt x="1866" y="426"/>
                  <a:pt x="1866" y="423"/>
                  <a:pt x="1866" y="420"/>
                </a:cubicBezTo>
                <a:cubicBezTo>
                  <a:pt x="1866" y="418"/>
                  <a:pt x="1866" y="415"/>
                  <a:pt x="1866" y="413"/>
                </a:cubicBezTo>
                <a:cubicBezTo>
                  <a:pt x="1867" y="411"/>
                  <a:pt x="1867" y="408"/>
                  <a:pt x="1867" y="406"/>
                </a:cubicBezTo>
                <a:cubicBezTo>
                  <a:pt x="1867" y="397"/>
                  <a:pt x="1862" y="393"/>
                  <a:pt x="1852" y="393"/>
                </a:cubicBezTo>
                <a:cubicBezTo>
                  <a:pt x="1852" y="393"/>
                  <a:pt x="1852" y="393"/>
                  <a:pt x="1848" y="393"/>
                </a:cubicBezTo>
                <a:cubicBezTo>
                  <a:pt x="1848" y="393"/>
                  <a:pt x="1848" y="393"/>
                  <a:pt x="1848" y="402"/>
                </a:cubicBezTo>
                <a:cubicBezTo>
                  <a:pt x="1848" y="402"/>
                  <a:pt x="1848" y="402"/>
                  <a:pt x="1850" y="402"/>
                </a:cubicBezTo>
                <a:cubicBezTo>
                  <a:pt x="1854" y="402"/>
                  <a:pt x="1855" y="405"/>
                  <a:pt x="1855" y="408"/>
                </a:cubicBezTo>
                <a:cubicBezTo>
                  <a:pt x="1855" y="409"/>
                  <a:pt x="1855" y="411"/>
                  <a:pt x="1855" y="413"/>
                </a:cubicBezTo>
                <a:cubicBezTo>
                  <a:pt x="1854" y="415"/>
                  <a:pt x="1854" y="417"/>
                  <a:pt x="1854" y="419"/>
                </a:cubicBezTo>
                <a:cubicBezTo>
                  <a:pt x="1854" y="427"/>
                  <a:pt x="1857" y="429"/>
                  <a:pt x="1863" y="430"/>
                </a:cubicBezTo>
                <a:cubicBezTo>
                  <a:pt x="1863" y="430"/>
                  <a:pt x="1863" y="430"/>
                  <a:pt x="1863" y="430"/>
                </a:cubicBezTo>
                <a:cubicBezTo>
                  <a:pt x="1857" y="432"/>
                  <a:pt x="1854" y="434"/>
                  <a:pt x="1854" y="442"/>
                </a:cubicBezTo>
                <a:cubicBezTo>
                  <a:pt x="1854" y="444"/>
                  <a:pt x="1854" y="446"/>
                  <a:pt x="1855" y="448"/>
                </a:cubicBezTo>
                <a:cubicBezTo>
                  <a:pt x="1855" y="449"/>
                  <a:pt x="1855" y="451"/>
                  <a:pt x="1855" y="452"/>
                </a:cubicBezTo>
                <a:cubicBezTo>
                  <a:pt x="1855" y="456"/>
                  <a:pt x="1854" y="458"/>
                  <a:pt x="1850" y="458"/>
                </a:cubicBezTo>
                <a:cubicBezTo>
                  <a:pt x="1850" y="458"/>
                  <a:pt x="1850" y="458"/>
                  <a:pt x="1848" y="458"/>
                </a:cubicBezTo>
                <a:cubicBezTo>
                  <a:pt x="1848" y="458"/>
                  <a:pt x="1848" y="458"/>
                  <a:pt x="1848" y="467"/>
                </a:cubicBezTo>
                <a:cubicBezTo>
                  <a:pt x="1848" y="467"/>
                  <a:pt x="1848" y="467"/>
                  <a:pt x="1852" y="467"/>
                </a:cubicBezTo>
                <a:cubicBezTo>
                  <a:pt x="1861" y="467"/>
                  <a:pt x="1867" y="464"/>
                  <a:pt x="1867" y="455"/>
                </a:cubicBezTo>
                <a:cubicBezTo>
                  <a:pt x="1867" y="452"/>
                  <a:pt x="1867" y="450"/>
                  <a:pt x="1866" y="448"/>
                </a:cubicBezTo>
                <a:cubicBezTo>
                  <a:pt x="1866" y="445"/>
                  <a:pt x="1866" y="443"/>
                  <a:pt x="1866" y="440"/>
                </a:cubicBezTo>
                <a:cubicBezTo>
                  <a:pt x="1866" y="438"/>
                  <a:pt x="1866" y="435"/>
                  <a:pt x="1873" y="435"/>
                </a:cubicBezTo>
                <a:close/>
                <a:moveTo>
                  <a:pt x="1014" y="345"/>
                </a:moveTo>
                <a:cubicBezTo>
                  <a:pt x="1014" y="347"/>
                  <a:pt x="1015" y="348"/>
                  <a:pt x="1015" y="350"/>
                </a:cubicBezTo>
                <a:cubicBezTo>
                  <a:pt x="1016" y="351"/>
                  <a:pt x="1016" y="353"/>
                  <a:pt x="1017" y="355"/>
                </a:cubicBezTo>
                <a:cubicBezTo>
                  <a:pt x="1017" y="356"/>
                  <a:pt x="1017" y="358"/>
                  <a:pt x="1017" y="360"/>
                </a:cubicBezTo>
                <a:cubicBezTo>
                  <a:pt x="1018" y="363"/>
                  <a:pt x="1017" y="364"/>
                  <a:pt x="1014" y="364"/>
                </a:cubicBezTo>
                <a:cubicBezTo>
                  <a:pt x="1011" y="364"/>
                  <a:pt x="1008" y="364"/>
                  <a:pt x="1005" y="364"/>
                </a:cubicBezTo>
                <a:cubicBezTo>
                  <a:pt x="1005" y="364"/>
                  <a:pt x="1004" y="364"/>
                  <a:pt x="1004" y="364"/>
                </a:cubicBezTo>
                <a:cubicBezTo>
                  <a:pt x="1002" y="366"/>
                  <a:pt x="1001" y="367"/>
                  <a:pt x="999" y="369"/>
                </a:cubicBezTo>
                <a:cubicBezTo>
                  <a:pt x="997" y="371"/>
                  <a:pt x="994" y="371"/>
                  <a:pt x="992" y="369"/>
                </a:cubicBezTo>
                <a:cubicBezTo>
                  <a:pt x="990" y="367"/>
                  <a:pt x="989" y="365"/>
                  <a:pt x="987" y="362"/>
                </a:cubicBezTo>
                <a:cubicBezTo>
                  <a:pt x="986" y="360"/>
                  <a:pt x="987" y="359"/>
                  <a:pt x="989" y="357"/>
                </a:cubicBezTo>
                <a:cubicBezTo>
                  <a:pt x="986" y="357"/>
                  <a:pt x="985" y="357"/>
                  <a:pt x="983" y="357"/>
                </a:cubicBezTo>
                <a:cubicBezTo>
                  <a:pt x="982" y="359"/>
                  <a:pt x="981" y="361"/>
                  <a:pt x="980" y="363"/>
                </a:cubicBezTo>
                <a:cubicBezTo>
                  <a:pt x="980" y="364"/>
                  <a:pt x="980" y="365"/>
                  <a:pt x="980" y="365"/>
                </a:cubicBezTo>
                <a:cubicBezTo>
                  <a:pt x="980" y="369"/>
                  <a:pt x="979" y="370"/>
                  <a:pt x="976" y="369"/>
                </a:cubicBezTo>
                <a:cubicBezTo>
                  <a:pt x="973" y="369"/>
                  <a:pt x="970" y="368"/>
                  <a:pt x="967" y="367"/>
                </a:cubicBezTo>
                <a:cubicBezTo>
                  <a:pt x="965" y="367"/>
                  <a:pt x="964" y="365"/>
                  <a:pt x="965" y="363"/>
                </a:cubicBezTo>
                <a:cubicBezTo>
                  <a:pt x="965" y="362"/>
                  <a:pt x="965" y="362"/>
                  <a:pt x="965" y="362"/>
                </a:cubicBezTo>
                <a:cubicBezTo>
                  <a:pt x="963" y="360"/>
                  <a:pt x="961" y="360"/>
                  <a:pt x="959" y="358"/>
                </a:cubicBezTo>
                <a:cubicBezTo>
                  <a:pt x="958" y="357"/>
                  <a:pt x="956" y="355"/>
                  <a:pt x="956" y="354"/>
                </a:cubicBezTo>
                <a:cubicBezTo>
                  <a:pt x="955" y="352"/>
                  <a:pt x="955" y="350"/>
                  <a:pt x="957" y="348"/>
                </a:cubicBezTo>
                <a:cubicBezTo>
                  <a:pt x="960" y="346"/>
                  <a:pt x="961" y="343"/>
                  <a:pt x="960" y="339"/>
                </a:cubicBezTo>
                <a:cubicBezTo>
                  <a:pt x="960" y="337"/>
                  <a:pt x="960" y="335"/>
                  <a:pt x="960" y="333"/>
                </a:cubicBezTo>
                <a:cubicBezTo>
                  <a:pt x="959" y="333"/>
                  <a:pt x="957" y="332"/>
                  <a:pt x="956" y="331"/>
                </a:cubicBezTo>
                <a:cubicBezTo>
                  <a:pt x="955" y="329"/>
                  <a:pt x="954" y="327"/>
                  <a:pt x="954" y="325"/>
                </a:cubicBezTo>
                <a:cubicBezTo>
                  <a:pt x="954" y="323"/>
                  <a:pt x="957" y="320"/>
                  <a:pt x="960" y="319"/>
                </a:cubicBezTo>
                <a:cubicBezTo>
                  <a:pt x="960" y="320"/>
                  <a:pt x="960" y="321"/>
                  <a:pt x="961" y="322"/>
                </a:cubicBezTo>
                <a:cubicBezTo>
                  <a:pt x="961" y="323"/>
                  <a:pt x="961" y="323"/>
                  <a:pt x="961" y="325"/>
                </a:cubicBezTo>
                <a:cubicBezTo>
                  <a:pt x="960" y="324"/>
                  <a:pt x="960" y="324"/>
                  <a:pt x="960" y="324"/>
                </a:cubicBezTo>
                <a:cubicBezTo>
                  <a:pt x="959" y="325"/>
                  <a:pt x="959" y="327"/>
                  <a:pt x="958" y="329"/>
                </a:cubicBezTo>
                <a:cubicBezTo>
                  <a:pt x="959" y="328"/>
                  <a:pt x="960" y="328"/>
                  <a:pt x="960" y="328"/>
                </a:cubicBezTo>
                <a:cubicBezTo>
                  <a:pt x="961" y="327"/>
                  <a:pt x="962" y="326"/>
                  <a:pt x="963" y="325"/>
                </a:cubicBezTo>
                <a:cubicBezTo>
                  <a:pt x="967" y="318"/>
                  <a:pt x="973" y="314"/>
                  <a:pt x="981" y="312"/>
                </a:cubicBezTo>
                <a:cubicBezTo>
                  <a:pt x="984" y="312"/>
                  <a:pt x="988" y="311"/>
                  <a:pt x="990" y="308"/>
                </a:cubicBezTo>
                <a:cubicBezTo>
                  <a:pt x="990" y="308"/>
                  <a:pt x="991" y="307"/>
                  <a:pt x="991" y="307"/>
                </a:cubicBezTo>
                <a:cubicBezTo>
                  <a:pt x="994" y="307"/>
                  <a:pt x="995" y="304"/>
                  <a:pt x="997" y="303"/>
                </a:cubicBezTo>
                <a:cubicBezTo>
                  <a:pt x="1005" y="295"/>
                  <a:pt x="1017" y="295"/>
                  <a:pt x="1025" y="301"/>
                </a:cubicBezTo>
                <a:cubicBezTo>
                  <a:pt x="1027" y="303"/>
                  <a:pt x="1030" y="305"/>
                  <a:pt x="1032" y="307"/>
                </a:cubicBezTo>
                <a:cubicBezTo>
                  <a:pt x="1034" y="308"/>
                  <a:pt x="1035" y="310"/>
                  <a:pt x="1036" y="312"/>
                </a:cubicBezTo>
                <a:cubicBezTo>
                  <a:pt x="1037" y="314"/>
                  <a:pt x="1038" y="314"/>
                  <a:pt x="1039" y="312"/>
                </a:cubicBezTo>
                <a:cubicBezTo>
                  <a:pt x="1040" y="312"/>
                  <a:pt x="1040" y="311"/>
                  <a:pt x="1041" y="310"/>
                </a:cubicBezTo>
                <a:cubicBezTo>
                  <a:pt x="1043" y="308"/>
                  <a:pt x="1046" y="308"/>
                  <a:pt x="1047" y="311"/>
                </a:cubicBezTo>
                <a:cubicBezTo>
                  <a:pt x="1049" y="314"/>
                  <a:pt x="1049" y="317"/>
                  <a:pt x="1050" y="320"/>
                </a:cubicBezTo>
                <a:cubicBezTo>
                  <a:pt x="1051" y="324"/>
                  <a:pt x="1050" y="329"/>
                  <a:pt x="1049" y="333"/>
                </a:cubicBezTo>
                <a:cubicBezTo>
                  <a:pt x="1046" y="339"/>
                  <a:pt x="1042" y="343"/>
                  <a:pt x="1035" y="343"/>
                </a:cubicBezTo>
                <a:cubicBezTo>
                  <a:pt x="1034" y="343"/>
                  <a:pt x="1034" y="343"/>
                  <a:pt x="1033" y="343"/>
                </a:cubicBezTo>
                <a:cubicBezTo>
                  <a:pt x="1030" y="343"/>
                  <a:pt x="1029" y="343"/>
                  <a:pt x="1029" y="345"/>
                </a:cubicBezTo>
                <a:cubicBezTo>
                  <a:pt x="1027" y="350"/>
                  <a:pt x="1021" y="351"/>
                  <a:pt x="1018" y="348"/>
                </a:cubicBezTo>
                <a:cubicBezTo>
                  <a:pt x="1017" y="347"/>
                  <a:pt x="1016" y="346"/>
                  <a:pt x="1015" y="345"/>
                </a:cubicBezTo>
                <a:cubicBezTo>
                  <a:pt x="1014" y="345"/>
                  <a:pt x="1014" y="345"/>
                  <a:pt x="1014" y="345"/>
                </a:cubicBezTo>
                <a:close/>
                <a:moveTo>
                  <a:pt x="1008" y="341"/>
                </a:moveTo>
                <a:cubicBezTo>
                  <a:pt x="1012" y="343"/>
                  <a:pt x="1015" y="344"/>
                  <a:pt x="1018" y="346"/>
                </a:cubicBezTo>
                <a:cubicBezTo>
                  <a:pt x="1020" y="348"/>
                  <a:pt x="1022" y="349"/>
                  <a:pt x="1024" y="348"/>
                </a:cubicBezTo>
                <a:cubicBezTo>
                  <a:pt x="1027" y="347"/>
                  <a:pt x="1028" y="345"/>
                  <a:pt x="1028" y="342"/>
                </a:cubicBezTo>
                <a:cubicBezTo>
                  <a:pt x="1028" y="343"/>
                  <a:pt x="1027" y="343"/>
                  <a:pt x="1027" y="343"/>
                </a:cubicBezTo>
                <a:cubicBezTo>
                  <a:pt x="1027" y="344"/>
                  <a:pt x="1025" y="345"/>
                  <a:pt x="1025" y="346"/>
                </a:cubicBezTo>
                <a:cubicBezTo>
                  <a:pt x="1023" y="348"/>
                  <a:pt x="1022" y="347"/>
                  <a:pt x="1021" y="347"/>
                </a:cubicBezTo>
                <a:cubicBezTo>
                  <a:pt x="1021" y="347"/>
                  <a:pt x="1020" y="346"/>
                  <a:pt x="1020" y="345"/>
                </a:cubicBezTo>
                <a:cubicBezTo>
                  <a:pt x="1020" y="343"/>
                  <a:pt x="1021" y="341"/>
                  <a:pt x="1021" y="339"/>
                </a:cubicBezTo>
                <a:cubicBezTo>
                  <a:pt x="1024" y="339"/>
                  <a:pt x="1027" y="341"/>
                  <a:pt x="1031" y="341"/>
                </a:cubicBezTo>
                <a:cubicBezTo>
                  <a:pt x="1038" y="342"/>
                  <a:pt x="1044" y="341"/>
                  <a:pt x="1047" y="332"/>
                </a:cubicBezTo>
                <a:cubicBezTo>
                  <a:pt x="1049" y="327"/>
                  <a:pt x="1049" y="322"/>
                  <a:pt x="1048" y="317"/>
                </a:cubicBezTo>
                <a:cubicBezTo>
                  <a:pt x="1047" y="315"/>
                  <a:pt x="1047" y="314"/>
                  <a:pt x="1046" y="312"/>
                </a:cubicBezTo>
                <a:cubicBezTo>
                  <a:pt x="1045" y="310"/>
                  <a:pt x="1044" y="310"/>
                  <a:pt x="1043" y="311"/>
                </a:cubicBezTo>
                <a:cubicBezTo>
                  <a:pt x="1041" y="313"/>
                  <a:pt x="1040" y="314"/>
                  <a:pt x="1038" y="315"/>
                </a:cubicBezTo>
                <a:cubicBezTo>
                  <a:pt x="1037" y="316"/>
                  <a:pt x="1036" y="316"/>
                  <a:pt x="1036" y="318"/>
                </a:cubicBezTo>
                <a:cubicBezTo>
                  <a:pt x="1037" y="321"/>
                  <a:pt x="1036" y="324"/>
                  <a:pt x="1035" y="327"/>
                </a:cubicBezTo>
                <a:cubicBezTo>
                  <a:pt x="1035" y="325"/>
                  <a:pt x="1036" y="323"/>
                  <a:pt x="1036" y="322"/>
                </a:cubicBezTo>
                <a:cubicBezTo>
                  <a:pt x="1036" y="321"/>
                  <a:pt x="1035" y="320"/>
                  <a:pt x="1035" y="320"/>
                </a:cubicBezTo>
                <a:cubicBezTo>
                  <a:pt x="1034" y="320"/>
                  <a:pt x="1034" y="320"/>
                  <a:pt x="1034" y="321"/>
                </a:cubicBezTo>
                <a:cubicBezTo>
                  <a:pt x="1033" y="322"/>
                  <a:pt x="1032" y="323"/>
                  <a:pt x="1031" y="325"/>
                </a:cubicBezTo>
                <a:cubicBezTo>
                  <a:pt x="1031" y="325"/>
                  <a:pt x="1031" y="325"/>
                  <a:pt x="1031" y="325"/>
                </a:cubicBezTo>
                <a:cubicBezTo>
                  <a:pt x="1031" y="323"/>
                  <a:pt x="1032" y="322"/>
                  <a:pt x="1032" y="319"/>
                </a:cubicBezTo>
                <a:cubicBezTo>
                  <a:pt x="1031" y="320"/>
                  <a:pt x="1030" y="320"/>
                  <a:pt x="1030" y="321"/>
                </a:cubicBezTo>
                <a:cubicBezTo>
                  <a:pt x="1029" y="322"/>
                  <a:pt x="1029" y="322"/>
                  <a:pt x="1029" y="323"/>
                </a:cubicBezTo>
                <a:cubicBezTo>
                  <a:pt x="1029" y="320"/>
                  <a:pt x="1029" y="320"/>
                  <a:pt x="1035" y="318"/>
                </a:cubicBezTo>
                <a:cubicBezTo>
                  <a:pt x="1035" y="318"/>
                  <a:pt x="1034" y="317"/>
                  <a:pt x="1034" y="317"/>
                </a:cubicBezTo>
                <a:cubicBezTo>
                  <a:pt x="1031" y="318"/>
                  <a:pt x="1030" y="316"/>
                  <a:pt x="1030" y="314"/>
                </a:cubicBezTo>
                <a:cubicBezTo>
                  <a:pt x="1032" y="314"/>
                  <a:pt x="1033" y="313"/>
                  <a:pt x="1035" y="313"/>
                </a:cubicBezTo>
                <a:cubicBezTo>
                  <a:pt x="1033" y="310"/>
                  <a:pt x="1032" y="308"/>
                  <a:pt x="1029" y="307"/>
                </a:cubicBezTo>
                <a:cubicBezTo>
                  <a:pt x="1028" y="307"/>
                  <a:pt x="1028" y="307"/>
                  <a:pt x="1028" y="306"/>
                </a:cubicBezTo>
                <a:cubicBezTo>
                  <a:pt x="1025" y="304"/>
                  <a:pt x="1023" y="302"/>
                  <a:pt x="1020" y="300"/>
                </a:cubicBezTo>
                <a:cubicBezTo>
                  <a:pt x="1018" y="299"/>
                  <a:pt x="1015" y="298"/>
                  <a:pt x="1013" y="298"/>
                </a:cubicBezTo>
                <a:cubicBezTo>
                  <a:pt x="1010" y="299"/>
                  <a:pt x="1006" y="300"/>
                  <a:pt x="1003" y="301"/>
                </a:cubicBezTo>
                <a:cubicBezTo>
                  <a:pt x="1001" y="302"/>
                  <a:pt x="998" y="303"/>
                  <a:pt x="996" y="306"/>
                </a:cubicBezTo>
                <a:cubicBezTo>
                  <a:pt x="998" y="306"/>
                  <a:pt x="999" y="306"/>
                  <a:pt x="1000" y="306"/>
                </a:cubicBezTo>
                <a:cubicBezTo>
                  <a:pt x="1000" y="307"/>
                  <a:pt x="999" y="307"/>
                  <a:pt x="998" y="307"/>
                </a:cubicBezTo>
                <a:cubicBezTo>
                  <a:pt x="996" y="308"/>
                  <a:pt x="993" y="307"/>
                  <a:pt x="991" y="310"/>
                </a:cubicBezTo>
                <a:cubicBezTo>
                  <a:pt x="988" y="314"/>
                  <a:pt x="984" y="317"/>
                  <a:pt x="980" y="322"/>
                </a:cubicBezTo>
                <a:cubicBezTo>
                  <a:pt x="978" y="323"/>
                  <a:pt x="978" y="326"/>
                  <a:pt x="976" y="328"/>
                </a:cubicBezTo>
                <a:cubicBezTo>
                  <a:pt x="976" y="329"/>
                  <a:pt x="976" y="329"/>
                  <a:pt x="977" y="330"/>
                </a:cubicBezTo>
                <a:cubicBezTo>
                  <a:pt x="978" y="332"/>
                  <a:pt x="979" y="334"/>
                  <a:pt x="981" y="336"/>
                </a:cubicBezTo>
                <a:cubicBezTo>
                  <a:pt x="982" y="334"/>
                  <a:pt x="983" y="333"/>
                  <a:pt x="984" y="331"/>
                </a:cubicBezTo>
                <a:cubicBezTo>
                  <a:pt x="984" y="333"/>
                  <a:pt x="984" y="334"/>
                  <a:pt x="983" y="335"/>
                </a:cubicBezTo>
                <a:cubicBezTo>
                  <a:pt x="982" y="337"/>
                  <a:pt x="981" y="338"/>
                  <a:pt x="981" y="339"/>
                </a:cubicBezTo>
                <a:cubicBezTo>
                  <a:pt x="980" y="340"/>
                  <a:pt x="981" y="341"/>
                  <a:pt x="981" y="342"/>
                </a:cubicBezTo>
                <a:cubicBezTo>
                  <a:pt x="984" y="346"/>
                  <a:pt x="987" y="346"/>
                  <a:pt x="991" y="344"/>
                </a:cubicBezTo>
                <a:cubicBezTo>
                  <a:pt x="993" y="342"/>
                  <a:pt x="996" y="341"/>
                  <a:pt x="999" y="340"/>
                </a:cubicBezTo>
                <a:cubicBezTo>
                  <a:pt x="1000" y="340"/>
                  <a:pt x="1001" y="339"/>
                  <a:pt x="1001" y="337"/>
                </a:cubicBezTo>
                <a:cubicBezTo>
                  <a:pt x="1001" y="334"/>
                  <a:pt x="1001" y="331"/>
                  <a:pt x="1001" y="327"/>
                </a:cubicBezTo>
                <a:cubicBezTo>
                  <a:pt x="1001" y="324"/>
                  <a:pt x="1001" y="322"/>
                  <a:pt x="1001" y="318"/>
                </a:cubicBezTo>
                <a:cubicBezTo>
                  <a:pt x="1002" y="321"/>
                  <a:pt x="1002" y="324"/>
                  <a:pt x="1003" y="326"/>
                </a:cubicBezTo>
                <a:cubicBezTo>
                  <a:pt x="1004" y="331"/>
                  <a:pt x="1004" y="335"/>
                  <a:pt x="1002" y="340"/>
                </a:cubicBezTo>
                <a:cubicBezTo>
                  <a:pt x="1002" y="341"/>
                  <a:pt x="1001" y="341"/>
                  <a:pt x="1001" y="341"/>
                </a:cubicBezTo>
                <a:cubicBezTo>
                  <a:pt x="997" y="342"/>
                  <a:pt x="994" y="344"/>
                  <a:pt x="991" y="345"/>
                </a:cubicBezTo>
                <a:cubicBezTo>
                  <a:pt x="986" y="348"/>
                  <a:pt x="982" y="346"/>
                  <a:pt x="979" y="343"/>
                </a:cubicBezTo>
                <a:cubicBezTo>
                  <a:pt x="978" y="342"/>
                  <a:pt x="978" y="341"/>
                  <a:pt x="979" y="341"/>
                </a:cubicBezTo>
                <a:cubicBezTo>
                  <a:pt x="980" y="338"/>
                  <a:pt x="979" y="336"/>
                  <a:pt x="977" y="334"/>
                </a:cubicBezTo>
                <a:cubicBezTo>
                  <a:pt x="976" y="332"/>
                  <a:pt x="974" y="330"/>
                  <a:pt x="975" y="327"/>
                </a:cubicBezTo>
                <a:cubicBezTo>
                  <a:pt x="976" y="325"/>
                  <a:pt x="977" y="323"/>
                  <a:pt x="978" y="322"/>
                </a:cubicBezTo>
                <a:cubicBezTo>
                  <a:pt x="980" y="319"/>
                  <a:pt x="982" y="317"/>
                  <a:pt x="984" y="314"/>
                </a:cubicBezTo>
                <a:cubicBezTo>
                  <a:pt x="984" y="314"/>
                  <a:pt x="983" y="314"/>
                  <a:pt x="983" y="314"/>
                </a:cubicBezTo>
                <a:cubicBezTo>
                  <a:pt x="978" y="315"/>
                  <a:pt x="973" y="317"/>
                  <a:pt x="969" y="320"/>
                </a:cubicBezTo>
                <a:cubicBezTo>
                  <a:pt x="965" y="324"/>
                  <a:pt x="962" y="329"/>
                  <a:pt x="961" y="336"/>
                </a:cubicBezTo>
                <a:cubicBezTo>
                  <a:pt x="961" y="343"/>
                  <a:pt x="963" y="349"/>
                  <a:pt x="967" y="355"/>
                </a:cubicBezTo>
                <a:cubicBezTo>
                  <a:pt x="967" y="356"/>
                  <a:pt x="968" y="357"/>
                  <a:pt x="968" y="358"/>
                </a:cubicBezTo>
                <a:cubicBezTo>
                  <a:pt x="968" y="360"/>
                  <a:pt x="967" y="362"/>
                  <a:pt x="967" y="363"/>
                </a:cubicBezTo>
                <a:cubicBezTo>
                  <a:pt x="966" y="365"/>
                  <a:pt x="967" y="365"/>
                  <a:pt x="968" y="366"/>
                </a:cubicBezTo>
                <a:cubicBezTo>
                  <a:pt x="971" y="367"/>
                  <a:pt x="974" y="367"/>
                  <a:pt x="976" y="367"/>
                </a:cubicBezTo>
                <a:cubicBezTo>
                  <a:pt x="977" y="367"/>
                  <a:pt x="978" y="367"/>
                  <a:pt x="978" y="366"/>
                </a:cubicBezTo>
                <a:cubicBezTo>
                  <a:pt x="978" y="365"/>
                  <a:pt x="978" y="363"/>
                  <a:pt x="979" y="363"/>
                </a:cubicBezTo>
                <a:cubicBezTo>
                  <a:pt x="981" y="360"/>
                  <a:pt x="981" y="358"/>
                  <a:pt x="981" y="355"/>
                </a:cubicBezTo>
                <a:cubicBezTo>
                  <a:pt x="981" y="354"/>
                  <a:pt x="981" y="354"/>
                  <a:pt x="981" y="354"/>
                </a:cubicBezTo>
                <a:cubicBezTo>
                  <a:pt x="981" y="353"/>
                  <a:pt x="981" y="353"/>
                  <a:pt x="981" y="353"/>
                </a:cubicBezTo>
                <a:cubicBezTo>
                  <a:pt x="982" y="356"/>
                  <a:pt x="983" y="356"/>
                  <a:pt x="985" y="356"/>
                </a:cubicBezTo>
                <a:cubicBezTo>
                  <a:pt x="986" y="356"/>
                  <a:pt x="987" y="356"/>
                  <a:pt x="988" y="356"/>
                </a:cubicBezTo>
                <a:cubicBezTo>
                  <a:pt x="990" y="356"/>
                  <a:pt x="993" y="356"/>
                  <a:pt x="994" y="352"/>
                </a:cubicBezTo>
                <a:cubicBezTo>
                  <a:pt x="994" y="354"/>
                  <a:pt x="994" y="356"/>
                  <a:pt x="994" y="357"/>
                </a:cubicBezTo>
                <a:cubicBezTo>
                  <a:pt x="993" y="358"/>
                  <a:pt x="991" y="358"/>
                  <a:pt x="990" y="359"/>
                </a:cubicBezTo>
                <a:cubicBezTo>
                  <a:pt x="989" y="360"/>
                  <a:pt x="988" y="361"/>
                  <a:pt x="989" y="362"/>
                </a:cubicBezTo>
                <a:cubicBezTo>
                  <a:pt x="990" y="364"/>
                  <a:pt x="991" y="366"/>
                  <a:pt x="993" y="368"/>
                </a:cubicBezTo>
                <a:cubicBezTo>
                  <a:pt x="995" y="369"/>
                  <a:pt x="997" y="369"/>
                  <a:pt x="998" y="367"/>
                </a:cubicBezTo>
                <a:cubicBezTo>
                  <a:pt x="999" y="367"/>
                  <a:pt x="999" y="366"/>
                  <a:pt x="1000" y="365"/>
                </a:cubicBezTo>
                <a:cubicBezTo>
                  <a:pt x="1002" y="364"/>
                  <a:pt x="1003" y="363"/>
                  <a:pt x="1005" y="362"/>
                </a:cubicBezTo>
                <a:cubicBezTo>
                  <a:pt x="1009" y="357"/>
                  <a:pt x="1011" y="351"/>
                  <a:pt x="1013" y="345"/>
                </a:cubicBezTo>
                <a:cubicBezTo>
                  <a:pt x="1013" y="345"/>
                  <a:pt x="1012" y="344"/>
                  <a:pt x="1012" y="344"/>
                </a:cubicBezTo>
                <a:cubicBezTo>
                  <a:pt x="1011" y="343"/>
                  <a:pt x="1010" y="342"/>
                  <a:pt x="1008" y="341"/>
                </a:cubicBezTo>
                <a:close/>
                <a:moveTo>
                  <a:pt x="961" y="347"/>
                </a:moveTo>
                <a:cubicBezTo>
                  <a:pt x="960" y="348"/>
                  <a:pt x="959" y="349"/>
                  <a:pt x="958" y="350"/>
                </a:cubicBezTo>
                <a:cubicBezTo>
                  <a:pt x="957" y="350"/>
                  <a:pt x="957" y="351"/>
                  <a:pt x="957" y="352"/>
                </a:cubicBezTo>
                <a:cubicBezTo>
                  <a:pt x="957" y="355"/>
                  <a:pt x="961" y="359"/>
                  <a:pt x="964" y="359"/>
                </a:cubicBezTo>
                <a:cubicBezTo>
                  <a:pt x="966" y="359"/>
                  <a:pt x="967" y="358"/>
                  <a:pt x="966" y="356"/>
                </a:cubicBezTo>
                <a:cubicBezTo>
                  <a:pt x="964" y="353"/>
                  <a:pt x="963" y="350"/>
                  <a:pt x="961" y="347"/>
                </a:cubicBezTo>
                <a:close/>
                <a:moveTo>
                  <a:pt x="1014" y="349"/>
                </a:moveTo>
                <a:cubicBezTo>
                  <a:pt x="1012" y="354"/>
                  <a:pt x="1009" y="358"/>
                  <a:pt x="1007" y="363"/>
                </a:cubicBezTo>
                <a:cubicBezTo>
                  <a:pt x="1010" y="363"/>
                  <a:pt x="1012" y="363"/>
                  <a:pt x="1015" y="363"/>
                </a:cubicBezTo>
                <a:cubicBezTo>
                  <a:pt x="1015" y="363"/>
                  <a:pt x="1015" y="362"/>
                  <a:pt x="1015" y="361"/>
                </a:cubicBezTo>
                <a:cubicBezTo>
                  <a:pt x="1015" y="358"/>
                  <a:pt x="1015" y="356"/>
                  <a:pt x="1015" y="354"/>
                </a:cubicBezTo>
                <a:cubicBezTo>
                  <a:pt x="1015" y="352"/>
                  <a:pt x="1014" y="351"/>
                  <a:pt x="1014" y="349"/>
                </a:cubicBezTo>
                <a:close/>
                <a:moveTo>
                  <a:pt x="961" y="329"/>
                </a:moveTo>
                <a:cubicBezTo>
                  <a:pt x="960" y="329"/>
                  <a:pt x="960" y="330"/>
                  <a:pt x="959" y="330"/>
                </a:cubicBezTo>
                <a:cubicBezTo>
                  <a:pt x="958" y="330"/>
                  <a:pt x="958" y="330"/>
                  <a:pt x="958" y="329"/>
                </a:cubicBezTo>
                <a:cubicBezTo>
                  <a:pt x="957" y="329"/>
                  <a:pt x="957" y="328"/>
                  <a:pt x="957" y="327"/>
                </a:cubicBezTo>
                <a:cubicBezTo>
                  <a:pt x="958" y="325"/>
                  <a:pt x="958" y="323"/>
                  <a:pt x="959" y="322"/>
                </a:cubicBezTo>
                <a:cubicBezTo>
                  <a:pt x="958" y="322"/>
                  <a:pt x="958" y="322"/>
                  <a:pt x="958" y="322"/>
                </a:cubicBezTo>
                <a:cubicBezTo>
                  <a:pt x="957" y="322"/>
                  <a:pt x="956" y="323"/>
                  <a:pt x="955" y="324"/>
                </a:cubicBezTo>
                <a:cubicBezTo>
                  <a:pt x="954" y="325"/>
                  <a:pt x="956" y="331"/>
                  <a:pt x="958" y="331"/>
                </a:cubicBezTo>
                <a:cubicBezTo>
                  <a:pt x="959" y="332"/>
                  <a:pt x="961" y="331"/>
                  <a:pt x="961" y="329"/>
                </a:cubicBezTo>
                <a:close/>
                <a:moveTo>
                  <a:pt x="961" y="347"/>
                </a:moveTo>
                <a:cubicBezTo>
                  <a:pt x="960" y="348"/>
                  <a:pt x="959" y="349"/>
                  <a:pt x="958" y="350"/>
                </a:cubicBezTo>
                <a:cubicBezTo>
                  <a:pt x="957" y="350"/>
                  <a:pt x="957" y="351"/>
                  <a:pt x="957" y="352"/>
                </a:cubicBezTo>
                <a:cubicBezTo>
                  <a:pt x="957" y="355"/>
                  <a:pt x="961" y="359"/>
                  <a:pt x="964" y="359"/>
                </a:cubicBezTo>
                <a:cubicBezTo>
                  <a:pt x="966" y="359"/>
                  <a:pt x="967" y="357"/>
                  <a:pt x="966" y="356"/>
                </a:cubicBezTo>
                <a:cubicBezTo>
                  <a:pt x="964" y="353"/>
                  <a:pt x="963" y="350"/>
                  <a:pt x="961" y="347"/>
                </a:cubicBezTo>
                <a:close/>
                <a:moveTo>
                  <a:pt x="1014" y="349"/>
                </a:moveTo>
                <a:cubicBezTo>
                  <a:pt x="1012" y="354"/>
                  <a:pt x="1009" y="358"/>
                  <a:pt x="1007" y="362"/>
                </a:cubicBezTo>
                <a:cubicBezTo>
                  <a:pt x="1010" y="362"/>
                  <a:pt x="1012" y="363"/>
                  <a:pt x="1015" y="362"/>
                </a:cubicBezTo>
                <a:cubicBezTo>
                  <a:pt x="1015" y="362"/>
                  <a:pt x="1016" y="361"/>
                  <a:pt x="1016" y="361"/>
                </a:cubicBezTo>
                <a:cubicBezTo>
                  <a:pt x="1016" y="358"/>
                  <a:pt x="1016" y="356"/>
                  <a:pt x="1015" y="353"/>
                </a:cubicBezTo>
                <a:cubicBezTo>
                  <a:pt x="1015" y="352"/>
                  <a:pt x="1014" y="350"/>
                  <a:pt x="1014" y="349"/>
                </a:cubicBezTo>
                <a:close/>
                <a:moveTo>
                  <a:pt x="961" y="329"/>
                </a:moveTo>
                <a:cubicBezTo>
                  <a:pt x="961" y="329"/>
                  <a:pt x="960" y="330"/>
                  <a:pt x="959" y="330"/>
                </a:cubicBezTo>
                <a:cubicBezTo>
                  <a:pt x="959" y="330"/>
                  <a:pt x="958" y="330"/>
                  <a:pt x="958" y="329"/>
                </a:cubicBezTo>
                <a:cubicBezTo>
                  <a:pt x="957" y="329"/>
                  <a:pt x="957" y="328"/>
                  <a:pt x="957" y="327"/>
                </a:cubicBezTo>
                <a:cubicBezTo>
                  <a:pt x="958" y="325"/>
                  <a:pt x="958" y="323"/>
                  <a:pt x="959" y="321"/>
                </a:cubicBezTo>
                <a:cubicBezTo>
                  <a:pt x="959" y="321"/>
                  <a:pt x="959" y="321"/>
                  <a:pt x="958" y="321"/>
                </a:cubicBezTo>
                <a:cubicBezTo>
                  <a:pt x="957" y="322"/>
                  <a:pt x="956" y="323"/>
                  <a:pt x="955" y="324"/>
                </a:cubicBezTo>
                <a:cubicBezTo>
                  <a:pt x="955" y="325"/>
                  <a:pt x="956" y="330"/>
                  <a:pt x="958" y="331"/>
                </a:cubicBezTo>
                <a:cubicBezTo>
                  <a:pt x="959" y="332"/>
                  <a:pt x="961" y="331"/>
                  <a:pt x="961" y="329"/>
                </a:cubicBezTo>
                <a:close/>
                <a:moveTo>
                  <a:pt x="1014" y="321"/>
                </a:moveTo>
                <a:cubicBezTo>
                  <a:pt x="1017" y="317"/>
                  <a:pt x="1017" y="317"/>
                  <a:pt x="1021" y="316"/>
                </a:cubicBezTo>
                <a:cubicBezTo>
                  <a:pt x="1021" y="318"/>
                  <a:pt x="1022" y="319"/>
                  <a:pt x="1023" y="319"/>
                </a:cubicBezTo>
                <a:cubicBezTo>
                  <a:pt x="1021" y="320"/>
                  <a:pt x="1019" y="322"/>
                  <a:pt x="1017" y="323"/>
                </a:cubicBezTo>
                <a:cubicBezTo>
                  <a:pt x="1016" y="322"/>
                  <a:pt x="1016" y="321"/>
                  <a:pt x="1015" y="320"/>
                </a:cubicBezTo>
                <a:cubicBezTo>
                  <a:pt x="1015" y="320"/>
                  <a:pt x="1014" y="320"/>
                  <a:pt x="1014" y="321"/>
                </a:cubicBezTo>
                <a:close/>
                <a:moveTo>
                  <a:pt x="1019" y="320"/>
                </a:moveTo>
                <a:cubicBezTo>
                  <a:pt x="1019" y="320"/>
                  <a:pt x="1018" y="319"/>
                  <a:pt x="1017" y="319"/>
                </a:cubicBezTo>
                <a:cubicBezTo>
                  <a:pt x="1017" y="319"/>
                  <a:pt x="1016" y="320"/>
                  <a:pt x="1016" y="321"/>
                </a:cubicBezTo>
                <a:cubicBezTo>
                  <a:pt x="1016" y="321"/>
                  <a:pt x="1017" y="321"/>
                  <a:pt x="1017" y="322"/>
                </a:cubicBezTo>
                <a:cubicBezTo>
                  <a:pt x="1018" y="321"/>
                  <a:pt x="1018" y="321"/>
                  <a:pt x="1019" y="320"/>
                </a:cubicBezTo>
                <a:close/>
                <a:moveTo>
                  <a:pt x="1001" y="311"/>
                </a:moveTo>
                <a:cubicBezTo>
                  <a:pt x="994" y="310"/>
                  <a:pt x="991" y="312"/>
                  <a:pt x="990" y="320"/>
                </a:cubicBezTo>
                <a:cubicBezTo>
                  <a:pt x="991" y="318"/>
                  <a:pt x="992" y="316"/>
                  <a:pt x="993" y="313"/>
                </a:cubicBezTo>
                <a:cubicBezTo>
                  <a:pt x="994" y="313"/>
                  <a:pt x="994" y="313"/>
                  <a:pt x="994" y="313"/>
                </a:cubicBezTo>
                <a:cubicBezTo>
                  <a:pt x="994" y="315"/>
                  <a:pt x="994" y="315"/>
                  <a:pt x="994" y="316"/>
                </a:cubicBezTo>
                <a:cubicBezTo>
                  <a:pt x="995" y="313"/>
                  <a:pt x="997" y="311"/>
                  <a:pt x="1001" y="311"/>
                </a:cubicBezTo>
                <a:close/>
                <a:moveTo>
                  <a:pt x="1044" y="312"/>
                </a:moveTo>
                <a:cubicBezTo>
                  <a:pt x="1042" y="314"/>
                  <a:pt x="1040" y="315"/>
                  <a:pt x="1039" y="316"/>
                </a:cubicBezTo>
                <a:cubicBezTo>
                  <a:pt x="1040" y="317"/>
                  <a:pt x="1043" y="315"/>
                  <a:pt x="1044" y="312"/>
                </a:cubicBezTo>
                <a:close/>
                <a:moveTo>
                  <a:pt x="1011" y="314"/>
                </a:moveTo>
                <a:cubicBezTo>
                  <a:pt x="1012" y="313"/>
                  <a:pt x="1013" y="312"/>
                  <a:pt x="1014" y="310"/>
                </a:cubicBezTo>
                <a:cubicBezTo>
                  <a:pt x="1011" y="312"/>
                  <a:pt x="1010" y="312"/>
                  <a:pt x="1011" y="314"/>
                </a:cubicBezTo>
                <a:close/>
                <a:moveTo>
                  <a:pt x="1020" y="335"/>
                </a:moveTo>
                <a:cubicBezTo>
                  <a:pt x="1019" y="336"/>
                  <a:pt x="1018" y="337"/>
                  <a:pt x="1018" y="338"/>
                </a:cubicBezTo>
                <a:cubicBezTo>
                  <a:pt x="1018" y="337"/>
                  <a:pt x="1020" y="336"/>
                  <a:pt x="1020" y="335"/>
                </a:cubicBezTo>
                <a:close/>
                <a:moveTo>
                  <a:pt x="1019" y="320"/>
                </a:moveTo>
                <a:cubicBezTo>
                  <a:pt x="1019" y="320"/>
                  <a:pt x="1018" y="320"/>
                  <a:pt x="1017" y="320"/>
                </a:cubicBezTo>
                <a:cubicBezTo>
                  <a:pt x="1017" y="320"/>
                  <a:pt x="1016" y="320"/>
                  <a:pt x="1016" y="321"/>
                </a:cubicBezTo>
                <a:cubicBezTo>
                  <a:pt x="1016" y="321"/>
                  <a:pt x="1016" y="322"/>
                  <a:pt x="1017" y="322"/>
                </a:cubicBezTo>
                <a:cubicBezTo>
                  <a:pt x="1018" y="322"/>
                  <a:pt x="1018" y="321"/>
                  <a:pt x="1019" y="320"/>
                </a:cubicBezTo>
                <a:close/>
                <a:moveTo>
                  <a:pt x="1544" y="441"/>
                </a:moveTo>
                <a:cubicBezTo>
                  <a:pt x="1544" y="443"/>
                  <a:pt x="1545" y="444"/>
                  <a:pt x="1545" y="446"/>
                </a:cubicBezTo>
                <a:cubicBezTo>
                  <a:pt x="1546" y="447"/>
                  <a:pt x="1546" y="449"/>
                  <a:pt x="1547" y="451"/>
                </a:cubicBezTo>
                <a:cubicBezTo>
                  <a:pt x="1547" y="452"/>
                  <a:pt x="1547" y="454"/>
                  <a:pt x="1547" y="456"/>
                </a:cubicBezTo>
                <a:cubicBezTo>
                  <a:pt x="1548" y="459"/>
                  <a:pt x="1547" y="460"/>
                  <a:pt x="1543" y="460"/>
                </a:cubicBezTo>
                <a:cubicBezTo>
                  <a:pt x="1541" y="460"/>
                  <a:pt x="1538" y="460"/>
                  <a:pt x="1535" y="460"/>
                </a:cubicBezTo>
                <a:cubicBezTo>
                  <a:pt x="1535" y="460"/>
                  <a:pt x="1534" y="460"/>
                  <a:pt x="1534" y="460"/>
                </a:cubicBezTo>
                <a:cubicBezTo>
                  <a:pt x="1532" y="462"/>
                  <a:pt x="1530" y="463"/>
                  <a:pt x="1529" y="465"/>
                </a:cubicBezTo>
                <a:cubicBezTo>
                  <a:pt x="1527" y="467"/>
                  <a:pt x="1524" y="467"/>
                  <a:pt x="1522" y="465"/>
                </a:cubicBezTo>
                <a:cubicBezTo>
                  <a:pt x="1520" y="463"/>
                  <a:pt x="1519" y="461"/>
                  <a:pt x="1517" y="458"/>
                </a:cubicBezTo>
                <a:cubicBezTo>
                  <a:pt x="1516" y="456"/>
                  <a:pt x="1517" y="455"/>
                  <a:pt x="1519" y="453"/>
                </a:cubicBezTo>
                <a:cubicBezTo>
                  <a:pt x="1516" y="453"/>
                  <a:pt x="1515" y="453"/>
                  <a:pt x="1513" y="453"/>
                </a:cubicBezTo>
                <a:cubicBezTo>
                  <a:pt x="1512" y="455"/>
                  <a:pt x="1511" y="457"/>
                  <a:pt x="1510" y="459"/>
                </a:cubicBezTo>
                <a:cubicBezTo>
                  <a:pt x="1510" y="460"/>
                  <a:pt x="1510" y="461"/>
                  <a:pt x="1510" y="461"/>
                </a:cubicBezTo>
                <a:cubicBezTo>
                  <a:pt x="1510" y="465"/>
                  <a:pt x="1509" y="466"/>
                  <a:pt x="1506" y="465"/>
                </a:cubicBezTo>
                <a:cubicBezTo>
                  <a:pt x="1502" y="465"/>
                  <a:pt x="1500" y="464"/>
                  <a:pt x="1497" y="463"/>
                </a:cubicBezTo>
                <a:cubicBezTo>
                  <a:pt x="1495" y="463"/>
                  <a:pt x="1494" y="461"/>
                  <a:pt x="1495" y="459"/>
                </a:cubicBezTo>
                <a:cubicBezTo>
                  <a:pt x="1495" y="458"/>
                  <a:pt x="1495" y="458"/>
                  <a:pt x="1495" y="458"/>
                </a:cubicBezTo>
                <a:cubicBezTo>
                  <a:pt x="1493" y="456"/>
                  <a:pt x="1491" y="456"/>
                  <a:pt x="1489" y="454"/>
                </a:cubicBezTo>
                <a:cubicBezTo>
                  <a:pt x="1487" y="453"/>
                  <a:pt x="1486" y="451"/>
                  <a:pt x="1486" y="450"/>
                </a:cubicBezTo>
                <a:cubicBezTo>
                  <a:pt x="1485" y="448"/>
                  <a:pt x="1485" y="446"/>
                  <a:pt x="1487" y="444"/>
                </a:cubicBezTo>
                <a:cubicBezTo>
                  <a:pt x="1490" y="442"/>
                  <a:pt x="1491" y="439"/>
                  <a:pt x="1490" y="435"/>
                </a:cubicBezTo>
                <a:cubicBezTo>
                  <a:pt x="1490" y="433"/>
                  <a:pt x="1490" y="431"/>
                  <a:pt x="1490" y="429"/>
                </a:cubicBezTo>
                <a:cubicBezTo>
                  <a:pt x="1489" y="429"/>
                  <a:pt x="1487" y="428"/>
                  <a:pt x="1486" y="427"/>
                </a:cubicBezTo>
                <a:cubicBezTo>
                  <a:pt x="1485" y="425"/>
                  <a:pt x="1484" y="423"/>
                  <a:pt x="1484" y="421"/>
                </a:cubicBezTo>
                <a:cubicBezTo>
                  <a:pt x="1484" y="419"/>
                  <a:pt x="1487" y="416"/>
                  <a:pt x="1490" y="415"/>
                </a:cubicBezTo>
                <a:cubicBezTo>
                  <a:pt x="1490" y="416"/>
                  <a:pt x="1490" y="417"/>
                  <a:pt x="1491" y="418"/>
                </a:cubicBezTo>
                <a:cubicBezTo>
                  <a:pt x="1491" y="419"/>
                  <a:pt x="1491" y="419"/>
                  <a:pt x="1491" y="421"/>
                </a:cubicBezTo>
                <a:cubicBezTo>
                  <a:pt x="1490" y="420"/>
                  <a:pt x="1490" y="420"/>
                  <a:pt x="1489" y="420"/>
                </a:cubicBezTo>
                <a:cubicBezTo>
                  <a:pt x="1489" y="421"/>
                  <a:pt x="1489" y="423"/>
                  <a:pt x="1488" y="425"/>
                </a:cubicBezTo>
                <a:cubicBezTo>
                  <a:pt x="1489" y="424"/>
                  <a:pt x="1490" y="424"/>
                  <a:pt x="1490" y="424"/>
                </a:cubicBezTo>
                <a:cubicBezTo>
                  <a:pt x="1491" y="423"/>
                  <a:pt x="1492" y="422"/>
                  <a:pt x="1493" y="421"/>
                </a:cubicBezTo>
                <a:cubicBezTo>
                  <a:pt x="1497" y="414"/>
                  <a:pt x="1503" y="410"/>
                  <a:pt x="1511" y="408"/>
                </a:cubicBezTo>
                <a:cubicBezTo>
                  <a:pt x="1514" y="408"/>
                  <a:pt x="1517" y="407"/>
                  <a:pt x="1520" y="404"/>
                </a:cubicBezTo>
                <a:cubicBezTo>
                  <a:pt x="1520" y="404"/>
                  <a:pt x="1521" y="403"/>
                  <a:pt x="1521" y="403"/>
                </a:cubicBezTo>
                <a:cubicBezTo>
                  <a:pt x="1524" y="403"/>
                  <a:pt x="1525" y="400"/>
                  <a:pt x="1527" y="399"/>
                </a:cubicBezTo>
                <a:cubicBezTo>
                  <a:pt x="1535" y="391"/>
                  <a:pt x="1547" y="391"/>
                  <a:pt x="1554" y="397"/>
                </a:cubicBezTo>
                <a:cubicBezTo>
                  <a:pt x="1557" y="399"/>
                  <a:pt x="1560" y="401"/>
                  <a:pt x="1562" y="403"/>
                </a:cubicBezTo>
                <a:cubicBezTo>
                  <a:pt x="1564" y="404"/>
                  <a:pt x="1565" y="406"/>
                  <a:pt x="1566" y="408"/>
                </a:cubicBezTo>
                <a:cubicBezTo>
                  <a:pt x="1567" y="410"/>
                  <a:pt x="1567" y="410"/>
                  <a:pt x="1569" y="408"/>
                </a:cubicBezTo>
                <a:cubicBezTo>
                  <a:pt x="1569" y="408"/>
                  <a:pt x="1570" y="407"/>
                  <a:pt x="1571" y="406"/>
                </a:cubicBezTo>
                <a:cubicBezTo>
                  <a:pt x="1573" y="404"/>
                  <a:pt x="1576" y="404"/>
                  <a:pt x="1577" y="407"/>
                </a:cubicBezTo>
                <a:cubicBezTo>
                  <a:pt x="1579" y="410"/>
                  <a:pt x="1579" y="413"/>
                  <a:pt x="1580" y="416"/>
                </a:cubicBezTo>
                <a:cubicBezTo>
                  <a:pt x="1580" y="420"/>
                  <a:pt x="1580" y="425"/>
                  <a:pt x="1579" y="429"/>
                </a:cubicBezTo>
                <a:cubicBezTo>
                  <a:pt x="1576" y="435"/>
                  <a:pt x="1571" y="439"/>
                  <a:pt x="1565" y="439"/>
                </a:cubicBezTo>
                <a:cubicBezTo>
                  <a:pt x="1564" y="439"/>
                  <a:pt x="1564" y="439"/>
                  <a:pt x="1563" y="439"/>
                </a:cubicBezTo>
                <a:cubicBezTo>
                  <a:pt x="1560" y="439"/>
                  <a:pt x="1559" y="439"/>
                  <a:pt x="1558" y="441"/>
                </a:cubicBezTo>
                <a:cubicBezTo>
                  <a:pt x="1557" y="446"/>
                  <a:pt x="1551" y="447"/>
                  <a:pt x="1548" y="444"/>
                </a:cubicBezTo>
                <a:cubicBezTo>
                  <a:pt x="1547" y="443"/>
                  <a:pt x="1546" y="442"/>
                  <a:pt x="1545" y="441"/>
                </a:cubicBezTo>
                <a:cubicBezTo>
                  <a:pt x="1544" y="441"/>
                  <a:pt x="1544" y="441"/>
                  <a:pt x="1544" y="441"/>
                </a:cubicBezTo>
                <a:close/>
                <a:moveTo>
                  <a:pt x="1538" y="437"/>
                </a:moveTo>
                <a:cubicBezTo>
                  <a:pt x="1542" y="439"/>
                  <a:pt x="1545" y="440"/>
                  <a:pt x="1548" y="442"/>
                </a:cubicBezTo>
                <a:cubicBezTo>
                  <a:pt x="1550" y="444"/>
                  <a:pt x="1552" y="445"/>
                  <a:pt x="1554" y="444"/>
                </a:cubicBezTo>
                <a:cubicBezTo>
                  <a:pt x="1556" y="443"/>
                  <a:pt x="1558" y="441"/>
                  <a:pt x="1558" y="438"/>
                </a:cubicBezTo>
                <a:cubicBezTo>
                  <a:pt x="1558" y="439"/>
                  <a:pt x="1557" y="439"/>
                  <a:pt x="1557" y="439"/>
                </a:cubicBezTo>
                <a:cubicBezTo>
                  <a:pt x="1556" y="440"/>
                  <a:pt x="1555" y="441"/>
                  <a:pt x="1554" y="442"/>
                </a:cubicBezTo>
                <a:cubicBezTo>
                  <a:pt x="1553" y="444"/>
                  <a:pt x="1552" y="443"/>
                  <a:pt x="1551" y="443"/>
                </a:cubicBezTo>
                <a:cubicBezTo>
                  <a:pt x="1551" y="443"/>
                  <a:pt x="1550" y="442"/>
                  <a:pt x="1550" y="441"/>
                </a:cubicBezTo>
                <a:cubicBezTo>
                  <a:pt x="1550" y="439"/>
                  <a:pt x="1551" y="437"/>
                  <a:pt x="1551" y="435"/>
                </a:cubicBezTo>
                <a:cubicBezTo>
                  <a:pt x="1554" y="435"/>
                  <a:pt x="1557" y="437"/>
                  <a:pt x="1561" y="437"/>
                </a:cubicBezTo>
                <a:cubicBezTo>
                  <a:pt x="1568" y="438"/>
                  <a:pt x="1574" y="437"/>
                  <a:pt x="1577" y="428"/>
                </a:cubicBezTo>
                <a:cubicBezTo>
                  <a:pt x="1579" y="423"/>
                  <a:pt x="1579" y="418"/>
                  <a:pt x="1578" y="413"/>
                </a:cubicBezTo>
                <a:cubicBezTo>
                  <a:pt x="1577" y="411"/>
                  <a:pt x="1577" y="410"/>
                  <a:pt x="1576" y="408"/>
                </a:cubicBezTo>
                <a:cubicBezTo>
                  <a:pt x="1575" y="406"/>
                  <a:pt x="1574" y="406"/>
                  <a:pt x="1573" y="407"/>
                </a:cubicBezTo>
                <a:cubicBezTo>
                  <a:pt x="1571" y="409"/>
                  <a:pt x="1569" y="410"/>
                  <a:pt x="1567" y="411"/>
                </a:cubicBezTo>
                <a:cubicBezTo>
                  <a:pt x="1567" y="412"/>
                  <a:pt x="1566" y="412"/>
                  <a:pt x="1566" y="414"/>
                </a:cubicBezTo>
                <a:cubicBezTo>
                  <a:pt x="1567" y="417"/>
                  <a:pt x="1566" y="420"/>
                  <a:pt x="1565" y="423"/>
                </a:cubicBezTo>
                <a:cubicBezTo>
                  <a:pt x="1565" y="421"/>
                  <a:pt x="1566" y="419"/>
                  <a:pt x="1566" y="418"/>
                </a:cubicBezTo>
                <a:cubicBezTo>
                  <a:pt x="1566" y="417"/>
                  <a:pt x="1565" y="416"/>
                  <a:pt x="1565" y="416"/>
                </a:cubicBezTo>
                <a:cubicBezTo>
                  <a:pt x="1564" y="416"/>
                  <a:pt x="1564" y="416"/>
                  <a:pt x="1564" y="417"/>
                </a:cubicBezTo>
                <a:cubicBezTo>
                  <a:pt x="1563" y="418"/>
                  <a:pt x="1562" y="419"/>
                  <a:pt x="1561" y="421"/>
                </a:cubicBezTo>
                <a:cubicBezTo>
                  <a:pt x="1561" y="421"/>
                  <a:pt x="1561" y="421"/>
                  <a:pt x="1561" y="421"/>
                </a:cubicBezTo>
                <a:cubicBezTo>
                  <a:pt x="1561" y="419"/>
                  <a:pt x="1562" y="418"/>
                  <a:pt x="1562" y="415"/>
                </a:cubicBezTo>
                <a:cubicBezTo>
                  <a:pt x="1561" y="416"/>
                  <a:pt x="1560" y="416"/>
                  <a:pt x="1560" y="417"/>
                </a:cubicBezTo>
                <a:cubicBezTo>
                  <a:pt x="1559" y="418"/>
                  <a:pt x="1559" y="418"/>
                  <a:pt x="1558" y="419"/>
                </a:cubicBezTo>
                <a:cubicBezTo>
                  <a:pt x="1559" y="416"/>
                  <a:pt x="1559" y="416"/>
                  <a:pt x="1565" y="414"/>
                </a:cubicBezTo>
                <a:cubicBezTo>
                  <a:pt x="1565" y="414"/>
                  <a:pt x="1564" y="413"/>
                  <a:pt x="1564" y="413"/>
                </a:cubicBezTo>
                <a:cubicBezTo>
                  <a:pt x="1561" y="414"/>
                  <a:pt x="1560" y="412"/>
                  <a:pt x="1560" y="410"/>
                </a:cubicBezTo>
                <a:cubicBezTo>
                  <a:pt x="1562" y="410"/>
                  <a:pt x="1563" y="409"/>
                  <a:pt x="1565" y="409"/>
                </a:cubicBezTo>
                <a:cubicBezTo>
                  <a:pt x="1563" y="406"/>
                  <a:pt x="1562" y="404"/>
                  <a:pt x="1558" y="403"/>
                </a:cubicBezTo>
                <a:cubicBezTo>
                  <a:pt x="1558" y="403"/>
                  <a:pt x="1558" y="403"/>
                  <a:pt x="1558" y="402"/>
                </a:cubicBezTo>
                <a:cubicBezTo>
                  <a:pt x="1555" y="400"/>
                  <a:pt x="1553" y="398"/>
                  <a:pt x="1550" y="396"/>
                </a:cubicBezTo>
                <a:cubicBezTo>
                  <a:pt x="1548" y="395"/>
                  <a:pt x="1545" y="394"/>
                  <a:pt x="1543" y="394"/>
                </a:cubicBezTo>
                <a:cubicBezTo>
                  <a:pt x="1540" y="395"/>
                  <a:pt x="1536" y="396"/>
                  <a:pt x="1533" y="397"/>
                </a:cubicBezTo>
                <a:cubicBezTo>
                  <a:pt x="1530" y="398"/>
                  <a:pt x="1528" y="399"/>
                  <a:pt x="1526" y="402"/>
                </a:cubicBezTo>
                <a:cubicBezTo>
                  <a:pt x="1528" y="402"/>
                  <a:pt x="1529" y="402"/>
                  <a:pt x="1530" y="402"/>
                </a:cubicBezTo>
                <a:cubicBezTo>
                  <a:pt x="1530" y="403"/>
                  <a:pt x="1529" y="403"/>
                  <a:pt x="1528" y="403"/>
                </a:cubicBezTo>
                <a:cubicBezTo>
                  <a:pt x="1526" y="404"/>
                  <a:pt x="1523" y="403"/>
                  <a:pt x="1521" y="406"/>
                </a:cubicBezTo>
                <a:cubicBezTo>
                  <a:pt x="1517" y="410"/>
                  <a:pt x="1513" y="413"/>
                  <a:pt x="1510" y="418"/>
                </a:cubicBezTo>
                <a:cubicBezTo>
                  <a:pt x="1508" y="419"/>
                  <a:pt x="1508" y="422"/>
                  <a:pt x="1506" y="424"/>
                </a:cubicBezTo>
                <a:cubicBezTo>
                  <a:pt x="1506" y="425"/>
                  <a:pt x="1506" y="425"/>
                  <a:pt x="1507" y="426"/>
                </a:cubicBezTo>
                <a:cubicBezTo>
                  <a:pt x="1508" y="428"/>
                  <a:pt x="1509" y="430"/>
                  <a:pt x="1511" y="432"/>
                </a:cubicBezTo>
                <a:cubicBezTo>
                  <a:pt x="1512" y="430"/>
                  <a:pt x="1513" y="429"/>
                  <a:pt x="1514" y="427"/>
                </a:cubicBezTo>
                <a:cubicBezTo>
                  <a:pt x="1514" y="429"/>
                  <a:pt x="1513" y="430"/>
                  <a:pt x="1513" y="431"/>
                </a:cubicBezTo>
                <a:cubicBezTo>
                  <a:pt x="1512" y="433"/>
                  <a:pt x="1511" y="434"/>
                  <a:pt x="1511" y="435"/>
                </a:cubicBezTo>
                <a:cubicBezTo>
                  <a:pt x="1510" y="436"/>
                  <a:pt x="1511" y="437"/>
                  <a:pt x="1511" y="438"/>
                </a:cubicBezTo>
                <a:cubicBezTo>
                  <a:pt x="1513" y="442"/>
                  <a:pt x="1517" y="442"/>
                  <a:pt x="1521" y="440"/>
                </a:cubicBezTo>
                <a:cubicBezTo>
                  <a:pt x="1523" y="438"/>
                  <a:pt x="1526" y="437"/>
                  <a:pt x="1528" y="436"/>
                </a:cubicBezTo>
                <a:cubicBezTo>
                  <a:pt x="1530" y="436"/>
                  <a:pt x="1531" y="435"/>
                  <a:pt x="1531" y="433"/>
                </a:cubicBezTo>
                <a:cubicBezTo>
                  <a:pt x="1531" y="430"/>
                  <a:pt x="1531" y="427"/>
                  <a:pt x="1531" y="423"/>
                </a:cubicBezTo>
                <a:cubicBezTo>
                  <a:pt x="1531" y="420"/>
                  <a:pt x="1531" y="418"/>
                  <a:pt x="1531" y="414"/>
                </a:cubicBezTo>
                <a:cubicBezTo>
                  <a:pt x="1532" y="417"/>
                  <a:pt x="1532" y="420"/>
                  <a:pt x="1533" y="422"/>
                </a:cubicBezTo>
                <a:cubicBezTo>
                  <a:pt x="1534" y="427"/>
                  <a:pt x="1534" y="431"/>
                  <a:pt x="1532" y="436"/>
                </a:cubicBezTo>
                <a:cubicBezTo>
                  <a:pt x="1532" y="437"/>
                  <a:pt x="1531" y="437"/>
                  <a:pt x="1531" y="437"/>
                </a:cubicBezTo>
                <a:cubicBezTo>
                  <a:pt x="1527" y="438"/>
                  <a:pt x="1524" y="440"/>
                  <a:pt x="1521" y="441"/>
                </a:cubicBezTo>
                <a:cubicBezTo>
                  <a:pt x="1516" y="444"/>
                  <a:pt x="1512" y="442"/>
                  <a:pt x="1509" y="439"/>
                </a:cubicBezTo>
                <a:cubicBezTo>
                  <a:pt x="1508" y="438"/>
                  <a:pt x="1508" y="437"/>
                  <a:pt x="1509" y="437"/>
                </a:cubicBezTo>
                <a:cubicBezTo>
                  <a:pt x="1510" y="434"/>
                  <a:pt x="1509" y="432"/>
                  <a:pt x="1507" y="430"/>
                </a:cubicBezTo>
                <a:cubicBezTo>
                  <a:pt x="1506" y="428"/>
                  <a:pt x="1504" y="426"/>
                  <a:pt x="1505" y="423"/>
                </a:cubicBezTo>
                <a:cubicBezTo>
                  <a:pt x="1506" y="421"/>
                  <a:pt x="1507" y="419"/>
                  <a:pt x="1508" y="418"/>
                </a:cubicBezTo>
                <a:cubicBezTo>
                  <a:pt x="1510" y="415"/>
                  <a:pt x="1512" y="413"/>
                  <a:pt x="1514" y="410"/>
                </a:cubicBezTo>
                <a:cubicBezTo>
                  <a:pt x="1513" y="410"/>
                  <a:pt x="1513" y="410"/>
                  <a:pt x="1513" y="410"/>
                </a:cubicBezTo>
                <a:cubicBezTo>
                  <a:pt x="1508" y="411"/>
                  <a:pt x="1503" y="413"/>
                  <a:pt x="1499" y="416"/>
                </a:cubicBezTo>
                <a:cubicBezTo>
                  <a:pt x="1495" y="420"/>
                  <a:pt x="1492" y="425"/>
                  <a:pt x="1491" y="432"/>
                </a:cubicBezTo>
                <a:cubicBezTo>
                  <a:pt x="1491" y="439"/>
                  <a:pt x="1493" y="445"/>
                  <a:pt x="1497" y="451"/>
                </a:cubicBezTo>
                <a:cubicBezTo>
                  <a:pt x="1497" y="452"/>
                  <a:pt x="1498" y="453"/>
                  <a:pt x="1498" y="454"/>
                </a:cubicBezTo>
                <a:cubicBezTo>
                  <a:pt x="1498" y="456"/>
                  <a:pt x="1497" y="458"/>
                  <a:pt x="1497" y="459"/>
                </a:cubicBezTo>
                <a:cubicBezTo>
                  <a:pt x="1496" y="461"/>
                  <a:pt x="1497" y="461"/>
                  <a:pt x="1498" y="462"/>
                </a:cubicBezTo>
                <a:cubicBezTo>
                  <a:pt x="1501" y="463"/>
                  <a:pt x="1504" y="463"/>
                  <a:pt x="1506" y="463"/>
                </a:cubicBezTo>
                <a:cubicBezTo>
                  <a:pt x="1507" y="463"/>
                  <a:pt x="1508" y="463"/>
                  <a:pt x="1508" y="462"/>
                </a:cubicBezTo>
                <a:cubicBezTo>
                  <a:pt x="1508" y="461"/>
                  <a:pt x="1508" y="459"/>
                  <a:pt x="1509" y="459"/>
                </a:cubicBezTo>
                <a:cubicBezTo>
                  <a:pt x="1511" y="456"/>
                  <a:pt x="1511" y="454"/>
                  <a:pt x="1511" y="451"/>
                </a:cubicBezTo>
                <a:cubicBezTo>
                  <a:pt x="1511" y="450"/>
                  <a:pt x="1511" y="450"/>
                  <a:pt x="1511" y="450"/>
                </a:cubicBezTo>
                <a:cubicBezTo>
                  <a:pt x="1511" y="449"/>
                  <a:pt x="1511" y="449"/>
                  <a:pt x="1511" y="449"/>
                </a:cubicBezTo>
                <a:cubicBezTo>
                  <a:pt x="1512" y="452"/>
                  <a:pt x="1513" y="452"/>
                  <a:pt x="1515" y="452"/>
                </a:cubicBezTo>
                <a:cubicBezTo>
                  <a:pt x="1516" y="452"/>
                  <a:pt x="1517" y="452"/>
                  <a:pt x="1518" y="452"/>
                </a:cubicBezTo>
                <a:cubicBezTo>
                  <a:pt x="1520" y="452"/>
                  <a:pt x="1523" y="452"/>
                  <a:pt x="1524" y="448"/>
                </a:cubicBezTo>
                <a:cubicBezTo>
                  <a:pt x="1524" y="450"/>
                  <a:pt x="1524" y="452"/>
                  <a:pt x="1524" y="453"/>
                </a:cubicBezTo>
                <a:cubicBezTo>
                  <a:pt x="1523" y="454"/>
                  <a:pt x="1521" y="454"/>
                  <a:pt x="1520" y="455"/>
                </a:cubicBezTo>
                <a:cubicBezTo>
                  <a:pt x="1519" y="456"/>
                  <a:pt x="1518" y="457"/>
                  <a:pt x="1519" y="458"/>
                </a:cubicBezTo>
                <a:cubicBezTo>
                  <a:pt x="1520" y="460"/>
                  <a:pt x="1521" y="462"/>
                  <a:pt x="1523" y="464"/>
                </a:cubicBezTo>
                <a:cubicBezTo>
                  <a:pt x="1525" y="465"/>
                  <a:pt x="1526" y="465"/>
                  <a:pt x="1528" y="463"/>
                </a:cubicBezTo>
                <a:cubicBezTo>
                  <a:pt x="1528" y="463"/>
                  <a:pt x="1529" y="462"/>
                  <a:pt x="1530" y="461"/>
                </a:cubicBezTo>
                <a:cubicBezTo>
                  <a:pt x="1532" y="460"/>
                  <a:pt x="1533" y="459"/>
                  <a:pt x="1535" y="458"/>
                </a:cubicBezTo>
                <a:cubicBezTo>
                  <a:pt x="1539" y="453"/>
                  <a:pt x="1541" y="447"/>
                  <a:pt x="1543" y="441"/>
                </a:cubicBezTo>
                <a:cubicBezTo>
                  <a:pt x="1543" y="441"/>
                  <a:pt x="1542" y="440"/>
                  <a:pt x="1541" y="440"/>
                </a:cubicBezTo>
                <a:cubicBezTo>
                  <a:pt x="1541" y="439"/>
                  <a:pt x="1540" y="438"/>
                  <a:pt x="1538" y="437"/>
                </a:cubicBezTo>
                <a:close/>
                <a:moveTo>
                  <a:pt x="1491" y="443"/>
                </a:moveTo>
                <a:cubicBezTo>
                  <a:pt x="1490" y="444"/>
                  <a:pt x="1489" y="445"/>
                  <a:pt x="1487" y="446"/>
                </a:cubicBezTo>
                <a:cubicBezTo>
                  <a:pt x="1487" y="446"/>
                  <a:pt x="1487" y="447"/>
                  <a:pt x="1487" y="448"/>
                </a:cubicBezTo>
                <a:cubicBezTo>
                  <a:pt x="1487" y="451"/>
                  <a:pt x="1491" y="455"/>
                  <a:pt x="1494" y="455"/>
                </a:cubicBezTo>
                <a:cubicBezTo>
                  <a:pt x="1496" y="455"/>
                  <a:pt x="1497" y="454"/>
                  <a:pt x="1496" y="452"/>
                </a:cubicBezTo>
                <a:cubicBezTo>
                  <a:pt x="1494" y="449"/>
                  <a:pt x="1493" y="446"/>
                  <a:pt x="1491" y="443"/>
                </a:cubicBezTo>
                <a:close/>
                <a:moveTo>
                  <a:pt x="1544" y="445"/>
                </a:moveTo>
                <a:cubicBezTo>
                  <a:pt x="1541" y="450"/>
                  <a:pt x="1539" y="454"/>
                  <a:pt x="1537" y="459"/>
                </a:cubicBezTo>
                <a:cubicBezTo>
                  <a:pt x="1540" y="459"/>
                  <a:pt x="1542" y="459"/>
                  <a:pt x="1545" y="459"/>
                </a:cubicBezTo>
                <a:cubicBezTo>
                  <a:pt x="1545" y="459"/>
                  <a:pt x="1545" y="458"/>
                  <a:pt x="1545" y="457"/>
                </a:cubicBezTo>
                <a:cubicBezTo>
                  <a:pt x="1545" y="454"/>
                  <a:pt x="1545" y="452"/>
                  <a:pt x="1545" y="450"/>
                </a:cubicBezTo>
                <a:cubicBezTo>
                  <a:pt x="1545" y="448"/>
                  <a:pt x="1544" y="447"/>
                  <a:pt x="1544" y="445"/>
                </a:cubicBezTo>
                <a:close/>
                <a:moveTo>
                  <a:pt x="1491" y="425"/>
                </a:moveTo>
                <a:cubicBezTo>
                  <a:pt x="1490" y="425"/>
                  <a:pt x="1489" y="426"/>
                  <a:pt x="1489" y="426"/>
                </a:cubicBezTo>
                <a:cubicBezTo>
                  <a:pt x="1488" y="426"/>
                  <a:pt x="1487" y="426"/>
                  <a:pt x="1487" y="425"/>
                </a:cubicBezTo>
                <a:cubicBezTo>
                  <a:pt x="1487" y="425"/>
                  <a:pt x="1487" y="424"/>
                  <a:pt x="1487" y="423"/>
                </a:cubicBezTo>
                <a:cubicBezTo>
                  <a:pt x="1487" y="421"/>
                  <a:pt x="1488" y="419"/>
                  <a:pt x="1489" y="418"/>
                </a:cubicBezTo>
                <a:cubicBezTo>
                  <a:pt x="1488" y="418"/>
                  <a:pt x="1488" y="418"/>
                  <a:pt x="1488" y="418"/>
                </a:cubicBezTo>
                <a:cubicBezTo>
                  <a:pt x="1487" y="418"/>
                  <a:pt x="1486" y="419"/>
                  <a:pt x="1485" y="420"/>
                </a:cubicBezTo>
                <a:cubicBezTo>
                  <a:pt x="1484" y="421"/>
                  <a:pt x="1486" y="427"/>
                  <a:pt x="1487" y="427"/>
                </a:cubicBezTo>
                <a:cubicBezTo>
                  <a:pt x="1489" y="428"/>
                  <a:pt x="1491" y="427"/>
                  <a:pt x="1491" y="425"/>
                </a:cubicBezTo>
                <a:close/>
                <a:moveTo>
                  <a:pt x="1491" y="443"/>
                </a:moveTo>
                <a:cubicBezTo>
                  <a:pt x="1490" y="444"/>
                  <a:pt x="1489" y="445"/>
                  <a:pt x="1488" y="446"/>
                </a:cubicBezTo>
                <a:cubicBezTo>
                  <a:pt x="1487" y="446"/>
                  <a:pt x="1487" y="447"/>
                  <a:pt x="1487" y="448"/>
                </a:cubicBezTo>
                <a:cubicBezTo>
                  <a:pt x="1487" y="451"/>
                  <a:pt x="1491" y="455"/>
                  <a:pt x="1494" y="455"/>
                </a:cubicBezTo>
                <a:cubicBezTo>
                  <a:pt x="1496" y="455"/>
                  <a:pt x="1496" y="453"/>
                  <a:pt x="1496" y="452"/>
                </a:cubicBezTo>
                <a:cubicBezTo>
                  <a:pt x="1494" y="449"/>
                  <a:pt x="1493" y="446"/>
                  <a:pt x="1491" y="443"/>
                </a:cubicBezTo>
                <a:close/>
                <a:moveTo>
                  <a:pt x="1544" y="445"/>
                </a:moveTo>
                <a:cubicBezTo>
                  <a:pt x="1542" y="450"/>
                  <a:pt x="1539" y="454"/>
                  <a:pt x="1537" y="458"/>
                </a:cubicBezTo>
                <a:cubicBezTo>
                  <a:pt x="1540" y="458"/>
                  <a:pt x="1542" y="459"/>
                  <a:pt x="1545" y="458"/>
                </a:cubicBezTo>
                <a:cubicBezTo>
                  <a:pt x="1545" y="458"/>
                  <a:pt x="1545" y="457"/>
                  <a:pt x="1545" y="457"/>
                </a:cubicBezTo>
                <a:cubicBezTo>
                  <a:pt x="1545" y="454"/>
                  <a:pt x="1545" y="452"/>
                  <a:pt x="1545" y="449"/>
                </a:cubicBezTo>
                <a:cubicBezTo>
                  <a:pt x="1545" y="448"/>
                  <a:pt x="1544" y="446"/>
                  <a:pt x="1544" y="445"/>
                </a:cubicBezTo>
                <a:close/>
                <a:moveTo>
                  <a:pt x="1491" y="425"/>
                </a:moveTo>
                <a:cubicBezTo>
                  <a:pt x="1490" y="425"/>
                  <a:pt x="1490" y="426"/>
                  <a:pt x="1489" y="426"/>
                </a:cubicBezTo>
                <a:cubicBezTo>
                  <a:pt x="1488" y="426"/>
                  <a:pt x="1488" y="426"/>
                  <a:pt x="1488" y="425"/>
                </a:cubicBezTo>
                <a:cubicBezTo>
                  <a:pt x="1487" y="425"/>
                  <a:pt x="1487" y="424"/>
                  <a:pt x="1487" y="423"/>
                </a:cubicBezTo>
                <a:cubicBezTo>
                  <a:pt x="1488" y="421"/>
                  <a:pt x="1488" y="419"/>
                  <a:pt x="1489" y="417"/>
                </a:cubicBezTo>
                <a:cubicBezTo>
                  <a:pt x="1488" y="417"/>
                  <a:pt x="1488" y="417"/>
                  <a:pt x="1488" y="417"/>
                </a:cubicBezTo>
                <a:cubicBezTo>
                  <a:pt x="1487" y="418"/>
                  <a:pt x="1486" y="419"/>
                  <a:pt x="1485" y="420"/>
                </a:cubicBezTo>
                <a:cubicBezTo>
                  <a:pt x="1484" y="421"/>
                  <a:pt x="1486" y="426"/>
                  <a:pt x="1488" y="427"/>
                </a:cubicBezTo>
                <a:cubicBezTo>
                  <a:pt x="1489" y="428"/>
                  <a:pt x="1491" y="427"/>
                  <a:pt x="1491" y="425"/>
                </a:cubicBezTo>
                <a:close/>
                <a:moveTo>
                  <a:pt x="1544" y="417"/>
                </a:moveTo>
                <a:cubicBezTo>
                  <a:pt x="1547" y="413"/>
                  <a:pt x="1547" y="413"/>
                  <a:pt x="1550" y="412"/>
                </a:cubicBezTo>
                <a:cubicBezTo>
                  <a:pt x="1550" y="414"/>
                  <a:pt x="1552" y="415"/>
                  <a:pt x="1553" y="415"/>
                </a:cubicBezTo>
                <a:cubicBezTo>
                  <a:pt x="1551" y="416"/>
                  <a:pt x="1549" y="418"/>
                  <a:pt x="1547" y="419"/>
                </a:cubicBezTo>
                <a:cubicBezTo>
                  <a:pt x="1546" y="418"/>
                  <a:pt x="1546" y="417"/>
                  <a:pt x="1545" y="416"/>
                </a:cubicBezTo>
                <a:cubicBezTo>
                  <a:pt x="1545" y="416"/>
                  <a:pt x="1544" y="416"/>
                  <a:pt x="1544" y="417"/>
                </a:cubicBezTo>
                <a:close/>
                <a:moveTo>
                  <a:pt x="1549" y="416"/>
                </a:moveTo>
                <a:cubicBezTo>
                  <a:pt x="1549" y="416"/>
                  <a:pt x="1548" y="415"/>
                  <a:pt x="1547" y="415"/>
                </a:cubicBezTo>
                <a:cubicBezTo>
                  <a:pt x="1547" y="415"/>
                  <a:pt x="1546" y="416"/>
                  <a:pt x="1546" y="417"/>
                </a:cubicBezTo>
                <a:cubicBezTo>
                  <a:pt x="1546" y="417"/>
                  <a:pt x="1547" y="417"/>
                  <a:pt x="1547" y="418"/>
                </a:cubicBezTo>
                <a:cubicBezTo>
                  <a:pt x="1548" y="417"/>
                  <a:pt x="1548" y="417"/>
                  <a:pt x="1549" y="416"/>
                </a:cubicBezTo>
                <a:close/>
                <a:moveTo>
                  <a:pt x="1531" y="407"/>
                </a:moveTo>
                <a:cubicBezTo>
                  <a:pt x="1524" y="406"/>
                  <a:pt x="1521" y="408"/>
                  <a:pt x="1520" y="416"/>
                </a:cubicBezTo>
                <a:cubicBezTo>
                  <a:pt x="1521" y="414"/>
                  <a:pt x="1522" y="412"/>
                  <a:pt x="1524" y="409"/>
                </a:cubicBezTo>
                <a:cubicBezTo>
                  <a:pt x="1524" y="409"/>
                  <a:pt x="1524" y="409"/>
                  <a:pt x="1524" y="409"/>
                </a:cubicBezTo>
                <a:cubicBezTo>
                  <a:pt x="1524" y="411"/>
                  <a:pt x="1524" y="411"/>
                  <a:pt x="1524" y="412"/>
                </a:cubicBezTo>
                <a:cubicBezTo>
                  <a:pt x="1525" y="409"/>
                  <a:pt x="1527" y="407"/>
                  <a:pt x="1531" y="407"/>
                </a:cubicBezTo>
                <a:close/>
                <a:moveTo>
                  <a:pt x="1574" y="408"/>
                </a:moveTo>
                <a:cubicBezTo>
                  <a:pt x="1572" y="410"/>
                  <a:pt x="1570" y="411"/>
                  <a:pt x="1568" y="412"/>
                </a:cubicBezTo>
                <a:cubicBezTo>
                  <a:pt x="1570" y="413"/>
                  <a:pt x="1573" y="411"/>
                  <a:pt x="1574" y="408"/>
                </a:cubicBezTo>
                <a:close/>
                <a:moveTo>
                  <a:pt x="1541" y="410"/>
                </a:moveTo>
                <a:cubicBezTo>
                  <a:pt x="1542" y="409"/>
                  <a:pt x="1543" y="408"/>
                  <a:pt x="1544" y="406"/>
                </a:cubicBezTo>
                <a:cubicBezTo>
                  <a:pt x="1541" y="408"/>
                  <a:pt x="1540" y="408"/>
                  <a:pt x="1541" y="410"/>
                </a:cubicBezTo>
                <a:close/>
                <a:moveTo>
                  <a:pt x="1550" y="431"/>
                </a:moveTo>
                <a:cubicBezTo>
                  <a:pt x="1549" y="432"/>
                  <a:pt x="1548" y="433"/>
                  <a:pt x="1548" y="433"/>
                </a:cubicBezTo>
                <a:cubicBezTo>
                  <a:pt x="1548" y="433"/>
                  <a:pt x="1549" y="432"/>
                  <a:pt x="1550" y="431"/>
                </a:cubicBezTo>
                <a:close/>
                <a:moveTo>
                  <a:pt x="1549" y="416"/>
                </a:moveTo>
                <a:cubicBezTo>
                  <a:pt x="1548" y="416"/>
                  <a:pt x="1548" y="415"/>
                  <a:pt x="1547" y="415"/>
                </a:cubicBezTo>
                <a:cubicBezTo>
                  <a:pt x="1547" y="415"/>
                  <a:pt x="1546" y="416"/>
                  <a:pt x="1546" y="417"/>
                </a:cubicBezTo>
                <a:cubicBezTo>
                  <a:pt x="1546" y="417"/>
                  <a:pt x="1546" y="417"/>
                  <a:pt x="1547" y="418"/>
                </a:cubicBezTo>
                <a:cubicBezTo>
                  <a:pt x="1548" y="417"/>
                  <a:pt x="1548" y="417"/>
                  <a:pt x="1549" y="416"/>
                </a:cubicBezTo>
                <a:close/>
                <a:moveTo>
                  <a:pt x="1097" y="298"/>
                </a:moveTo>
                <a:cubicBezTo>
                  <a:pt x="1097" y="298"/>
                  <a:pt x="1097" y="298"/>
                  <a:pt x="1097" y="298"/>
                </a:cubicBezTo>
                <a:cubicBezTo>
                  <a:pt x="1092" y="298"/>
                  <a:pt x="1092" y="298"/>
                  <a:pt x="1092" y="298"/>
                </a:cubicBezTo>
                <a:cubicBezTo>
                  <a:pt x="1090" y="299"/>
                  <a:pt x="1088" y="301"/>
                  <a:pt x="1086" y="302"/>
                </a:cubicBezTo>
                <a:cubicBezTo>
                  <a:pt x="1085" y="303"/>
                  <a:pt x="1083" y="304"/>
                  <a:pt x="1081" y="305"/>
                </a:cubicBezTo>
                <a:cubicBezTo>
                  <a:pt x="1080" y="306"/>
                  <a:pt x="1078" y="307"/>
                  <a:pt x="1076" y="307"/>
                </a:cubicBezTo>
                <a:cubicBezTo>
                  <a:pt x="1074" y="308"/>
                  <a:pt x="1072" y="309"/>
                  <a:pt x="1070" y="309"/>
                </a:cubicBezTo>
                <a:cubicBezTo>
                  <a:pt x="1070" y="309"/>
                  <a:pt x="1070" y="309"/>
                  <a:pt x="1070" y="319"/>
                </a:cubicBezTo>
                <a:cubicBezTo>
                  <a:pt x="1073" y="318"/>
                  <a:pt x="1076" y="318"/>
                  <a:pt x="1078" y="316"/>
                </a:cubicBezTo>
                <a:cubicBezTo>
                  <a:pt x="1081" y="315"/>
                  <a:pt x="1083" y="314"/>
                  <a:pt x="1086" y="313"/>
                </a:cubicBezTo>
                <a:cubicBezTo>
                  <a:pt x="1086" y="313"/>
                  <a:pt x="1086" y="313"/>
                  <a:pt x="1086" y="371"/>
                </a:cubicBezTo>
                <a:cubicBezTo>
                  <a:pt x="1086" y="371"/>
                  <a:pt x="1086" y="371"/>
                  <a:pt x="1097" y="371"/>
                </a:cubicBezTo>
                <a:cubicBezTo>
                  <a:pt x="1097" y="371"/>
                  <a:pt x="1097" y="371"/>
                  <a:pt x="1097" y="298"/>
                </a:cubicBezTo>
                <a:close/>
                <a:moveTo>
                  <a:pt x="1144" y="298"/>
                </a:moveTo>
                <a:cubicBezTo>
                  <a:pt x="1144" y="298"/>
                  <a:pt x="1144" y="298"/>
                  <a:pt x="1144" y="298"/>
                </a:cubicBezTo>
                <a:cubicBezTo>
                  <a:pt x="1139" y="298"/>
                  <a:pt x="1139" y="298"/>
                  <a:pt x="1139" y="298"/>
                </a:cubicBezTo>
                <a:cubicBezTo>
                  <a:pt x="1138" y="299"/>
                  <a:pt x="1135" y="301"/>
                  <a:pt x="1134" y="302"/>
                </a:cubicBezTo>
                <a:cubicBezTo>
                  <a:pt x="1132" y="303"/>
                  <a:pt x="1130" y="304"/>
                  <a:pt x="1128" y="305"/>
                </a:cubicBezTo>
                <a:cubicBezTo>
                  <a:pt x="1127" y="306"/>
                  <a:pt x="1125" y="307"/>
                  <a:pt x="1123" y="307"/>
                </a:cubicBezTo>
                <a:cubicBezTo>
                  <a:pt x="1121" y="308"/>
                  <a:pt x="1119" y="309"/>
                  <a:pt x="1117" y="309"/>
                </a:cubicBezTo>
                <a:cubicBezTo>
                  <a:pt x="1117" y="309"/>
                  <a:pt x="1117" y="309"/>
                  <a:pt x="1117" y="319"/>
                </a:cubicBezTo>
                <a:cubicBezTo>
                  <a:pt x="1120" y="318"/>
                  <a:pt x="1123" y="318"/>
                  <a:pt x="1126" y="316"/>
                </a:cubicBezTo>
                <a:cubicBezTo>
                  <a:pt x="1128" y="315"/>
                  <a:pt x="1130" y="314"/>
                  <a:pt x="1133" y="313"/>
                </a:cubicBezTo>
                <a:cubicBezTo>
                  <a:pt x="1133" y="313"/>
                  <a:pt x="1133" y="313"/>
                  <a:pt x="1133" y="371"/>
                </a:cubicBezTo>
                <a:cubicBezTo>
                  <a:pt x="1133" y="371"/>
                  <a:pt x="1133" y="371"/>
                  <a:pt x="1144" y="371"/>
                </a:cubicBezTo>
                <a:cubicBezTo>
                  <a:pt x="1144" y="371"/>
                  <a:pt x="1144" y="371"/>
                  <a:pt x="1144" y="298"/>
                </a:cubicBezTo>
                <a:close/>
                <a:moveTo>
                  <a:pt x="1190" y="298"/>
                </a:moveTo>
                <a:cubicBezTo>
                  <a:pt x="1190" y="298"/>
                  <a:pt x="1190" y="298"/>
                  <a:pt x="1190" y="298"/>
                </a:cubicBezTo>
                <a:cubicBezTo>
                  <a:pt x="1186" y="298"/>
                  <a:pt x="1186" y="298"/>
                  <a:pt x="1186" y="298"/>
                </a:cubicBezTo>
                <a:cubicBezTo>
                  <a:pt x="1184" y="299"/>
                  <a:pt x="1182" y="301"/>
                  <a:pt x="1180" y="302"/>
                </a:cubicBezTo>
                <a:cubicBezTo>
                  <a:pt x="1179" y="303"/>
                  <a:pt x="1176" y="304"/>
                  <a:pt x="1175" y="305"/>
                </a:cubicBezTo>
                <a:cubicBezTo>
                  <a:pt x="1173" y="305"/>
                  <a:pt x="1171" y="306"/>
                  <a:pt x="1169" y="307"/>
                </a:cubicBezTo>
                <a:cubicBezTo>
                  <a:pt x="1168" y="307"/>
                  <a:pt x="1165" y="308"/>
                  <a:pt x="1164" y="309"/>
                </a:cubicBezTo>
                <a:cubicBezTo>
                  <a:pt x="1164" y="309"/>
                  <a:pt x="1164" y="309"/>
                  <a:pt x="1164" y="319"/>
                </a:cubicBezTo>
                <a:cubicBezTo>
                  <a:pt x="1167" y="318"/>
                  <a:pt x="1170" y="317"/>
                  <a:pt x="1172" y="316"/>
                </a:cubicBezTo>
                <a:cubicBezTo>
                  <a:pt x="1174" y="315"/>
                  <a:pt x="1177" y="314"/>
                  <a:pt x="1179" y="313"/>
                </a:cubicBezTo>
                <a:cubicBezTo>
                  <a:pt x="1179" y="313"/>
                  <a:pt x="1179" y="313"/>
                  <a:pt x="1179" y="371"/>
                </a:cubicBezTo>
                <a:cubicBezTo>
                  <a:pt x="1179" y="371"/>
                  <a:pt x="1179" y="371"/>
                  <a:pt x="1190" y="371"/>
                </a:cubicBezTo>
                <a:cubicBezTo>
                  <a:pt x="1190" y="371"/>
                  <a:pt x="1190" y="371"/>
                  <a:pt x="1190" y="298"/>
                </a:cubicBezTo>
                <a:close/>
                <a:moveTo>
                  <a:pt x="1327" y="330"/>
                </a:moveTo>
                <a:cubicBezTo>
                  <a:pt x="1327" y="330"/>
                  <a:pt x="1327" y="330"/>
                  <a:pt x="1327" y="330"/>
                </a:cubicBezTo>
                <a:cubicBezTo>
                  <a:pt x="1327" y="339"/>
                  <a:pt x="1327" y="339"/>
                  <a:pt x="1327" y="339"/>
                </a:cubicBezTo>
                <a:cubicBezTo>
                  <a:pt x="1333" y="339"/>
                  <a:pt x="1334" y="342"/>
                  <a:pt x="1334" y="344"/>
                </a:cubicBezTo>
                <a:cubicBezTo>
                  <a:pt x="1334" y="347"/>
                  <a:pt x="1333" y="349"/>
                  <a:pt x="1333" y="352"/>
                </a:cubicBezTo>
                <a:cubicBezTo>
                  <a:pt x="1333" y="354"/>
                  <a:pt x="1332" y="356"/>
                  <a:pt x="1332" y="359"/>
                </a:cubicBezTo>
                <a:cubicBezTo>
                  <a:pt x="1332" y="368"/>
                  <a:pt x="1338" y="371"/>
                  <a:pt x="1347" y="371"/>
                </a:cubicBezTo>
                <a:cubicBezTo>
                  <a:pt x="1347" y="371"/>
                  <a:pt x="1347" y="371"/>
                  <a:pt x="1351" y="371"/>
                </a:cubicBezTo>
                <a:cubicBezTo>
                  <a:pt x="1351" y="371"/>
                  <a:pt x="1351" y="371"/>
                  <a:pt x="1351" y="362"/>
                </a:cubicBezTo>
                <a:cubicBezTo>
                  <a:pt x="1351" y="362"/>
                  <a:pt x="1351" y="362"/>
                  <a:pt x="1349" y="362"/>
                </a:cubicBezTo>
                <a:cubicBezTo>
                  <a:pt x="1345" y="362"/>
                  <a:pt x="1344" y="360"/>
                  <a:pt x="1344" y="356"/>
                </a:cubicBezTo>
                <a:cubicBezTo>
                  <a:pt x="1344" y="355"/>
                  <a:pt x="1344" y="353"/>
                  <a:pt x="1345" y="352"/>
                </a:cubicBezTo>
                <a:cubicBezTo>
                  <a:pt x="1345" y="350"/>
                  <a:pt x="1345" y="348"/>
                  <a:pt x="1345" y="346"/>
                </a:cubicBezTo>
                <a:cubicBezTo>
                  <a:pt x="1345" y="338"/>
                  <a:pt x="1342" y="336"/>
                  <a:pt x="1337" y="334"/>
                </a:cubicBezTo>
                <a:cubicBezTo>
                  <a:pt x="1337" y="334"/>
                  <a:pt x="1337" y="334"/>
                  <a:pt x="1337" y="334"/>
                </a:cubicBezTo>
                <a:cubicBezTo>
                  <a:pt x="1342" y="333"/>
                  <a:pt x="1345" y="331"/>
                  <a:pt x="1345" y="323"/>
                </a:cubicBezTo>
                <a:cubicBezTo>
                  <a:pt x="1345" y="321"/>
                  <a:pt x="1345" y="319"/>
                  <a:pt x="1345" y="317"/>
                </a:cubicBezTo>
                <a:cubicBezTo>
                  <a:pt x="1344" y="315"/>
                  <a:pt x="1344" y="313"/>
                  <a:pt x="1344" y="312"/>
                </a:cubicBezTo>
                <a:cubicBezTo>
                  <a:pt x="1344" y="309"/>
                  <a:pt x="1345" y="306"/>
                  <a:pt x="1349" y="306"/>
                </a:cubicBezTo>
                <a:cubicBezTo>
                  <a:pt x="1349" y="306"/>
                  <a:pt x="1349" y="306"/>
                  <a:pt x="1351" y="306"/>
                </a:cubicBezTo>
                <a:cubicBezTo>
                  <a:pt x="1351" y="306"/>
                  <a:pt x="1351" y="306"/>
                  <a:pt x="1351" y="297"/>
                </a:cubicBezTo>
                <a:cubicBezTo>
                  <a:pt x="1351" y="297"/>
                  <a:pt x="1351" y="297"/>
                  <a:pt x="1347" y="297"/>
                </a:cubicBezTo>
                <a:cubicBezTo>
                  <a:pt x="1338" y="297"/>
                  <a:pt x="1332" y="301"/>
                  <a:pt x="1332" y="310"/>
                </a:cubicBezTo>
                <a:cubicBezTo>
                  <a:pt x="1332" y="312"/>
                  <a:pt x="1333" y="315"/>
                  <a:pt x="1333" y="317"/>
                </a:cubicBezTo>
                <a:cubicBezTo>
                  <a:pt x="1333" y="319"/>
                  <a:pt x="1334" y="322"/>
                  <a:pt x="1334" y="324"/>
                </a:cubicBezTo>
                <a:cubicBezTo>
                  <a:pt x="1334" y="327"/>
                  <a:pt x="1333" y="330"/>
                  <a:pt x="1327" y="330"/>
                </a:cubicBezTo>
                <a:close/>
                <a:moveTo>
                  <a:pt x="1381" y="339"/>
                </a:moveTo>
                <a:cubicBezTo>
                  <a:pt x="1381" y="339"/>
                  <a:pt x="1381" y="339"/>
                  <a:pt x="1381" y="339"/>
                </a:cubicBezTo>
                <a:cubicBezTo>
                  <a:pt x="1381" y="330"/>
                  <a:pt x="1381" y="330"/>
                  <a:pt x="1381" y="330"/>
                </a:cubicBezTo>
                <a:cubicBezTo>
                  <a:pt x="1375" y="330"/>
                  <a:pt x="1375" y="327"/>
                  <a:pt x="1375" y="324"/>
                </a:cubicBezTo>
                <a:cubicBezTo>
                  <a:pt x="1375" y="322"/>
                  <a:pt x="1375" y="319"/>
                  <a:pt x="1375" y="317"/>
                </a:cubicBezTo>
                <a:cubicBezTo>
                  <a:pt x="1375" y="315"/>
                  <a:pt x="1375" y="312"/>
                  <a:pt x="1375" y="310"/>
                </a:cubicBezTo>
                <a:cubicBezTo>
                  <a:pt x="1375" y="301"/>
                  <a:pt x="1370" y="297"/>
                  <a:pt x="1361" y="297"/>
                </a:cubicBezTo>
                <a:cubicBezTo>
                  <a:pt x="1361" y="297"/>
                  <a:pt x="1361" y="297"/>
                  <a:pt x="1357" y="297"/>
                </a:cubicBezTo>
                <a:cubicBezTo>
                  <a:pt x="1357" y="297"/>
                  <a:pt x="1357" y="297"/>
                  <a:pt x="1357" y="306"/>
                </a:cubicBezTo>
                <a:cubicBezTo>
                  <a:pt x="1357" y="306"/>
                  <a:pt x="1357" y="306"/>
                  <a:pt x="1359" y="306"/>
                </a:cubicBezTo>
                <a:cubicBezTo>
                  <a:pt x="1362" y="306"/>
                  <a:pt x="1364" y="309"/>
                  <a:pt x="1364" y="312"/>
                </a:cubicBezTo>
                <a:cubicBezTo>
                  <a:pt x="1364" y="313"/>
                  <a:pt x="1364" y="315"/>
                  <a:pt x="1364" y="317"/>
                </a:cubicBezTo>
                <a:cubicBezTo>
                  <a:pt x="1363" y="319"/>
                  <a:pt x="1363" y="321"/>
                  <a:pt x="1363" y="323"/>
                </a:cubicBezTo>
                <a:cubicBezTo>
                  <a:pt x="1363" y="331"/>
                  <a:pt x="1366" y="333"/>
                  <a:pt x="1372" y="334"/>
                </a:cubicBezTo>
                <a:cubicBezTo>
                  <a:pt x="1372" y="334"/>
                  <a:pt x="1372" y="334"/>
                  <a:pt x="1372" y="334"/>
                </a:cubicBezTo>
                <a:cubicBezTo>
                  <a:pt x="1366" y="336"/>
                  <a:pt x="1363" y="338"/>
                  <a:pt x="1363" y="346"/>
                </a:cubicBezTo>
                <a:cubicBezTo>
                  <a:pt x="1363" y="348"/>
                  <a:pt x="1363" y="350"/>
                  <a:pt x="1364" y="352"/>
                </a:cubicBezTo>
                <a:cubicBezTo>
                  <a:pt x="1364" y="353"/>
                  <a:pt x="1364" y="355"/>
                  <a:pt x="1364" y="356"/>
                </a:cubicBezTo>
                <a:cubicBezTo>
                  <a:pt x="1364" y="360"/>
                  <a:pt x="1363" y="362"/>
                  <a:pt x="1359" y="362"/>
                </a:cubicBezTo>
                <a:cubicBezTo>
                  <a:pt x="1359" y="362"/>
                  <a:pt x="1359" y="362"/>
                  <a:pt x="1357" y="362"/>
                </a:cubicBezTo>
                <a:cubicBezTo>
                  <a:pt x="1357" y="362"/>
                  <a:pt x="1357" y="362"/>
                  <a:pt x="1357" y="371"/>
                </a:cubicBezTo>
                <a:cubicBezTo>
                  <a:pt x="1357" y="371"/>
                  <a:pt x="1357" y="371"/>
                  <a:pt x="1361" y="371"/>
                </a:cubicBezTo>
                <a:cubicBezTo>
                  <a:pt x="1370" y="371"/>
                  <a:pt x="1375" y="368"/>
                  <a:pt x="1375" y="359"/>
                </a:cubicBezTo>
                <a:cubicBezTo>
                  <a:pt x="1375" y="356"/>
                  <a:pt x="1375" y="354"/>
                  <a:pt x="1375" y="352"/>
                </a:cubicBezTo>
                <a:cubicBezTo>
                  <a:pt x="1375" y="349"/>
                  <a:pt x="1375" y="347"/>
                  <a:pt x="1375" y="344"/>
                </a:cubicBezTo>
                <a:cubicBezTo>
                  <a:pt x="1375" y="342"/>
                  <a:pt x="1375" y="339"/>
                  <a:pt x="1381" y="339"/>
                </a:cubicBezTo>
                <a:close/>
                <a:moveTo>
                  <a:pt x="1428" y="298"/>
                </a:moveTo>
                <a:cubicBezTo>
                  <a:pt x="1428" y="298"/>
                  <a:pt x="1428" y="298"/>
                  <a:pt x="1428" y="298"/>
                </a:cubicBezTo>
                <a:cubicBezTo>
                  <a:pt x="1423" y="298"/>
                  <a:pt x="1423" y="298"/>
                  <a:pt x="1423" y="298"/>
                </a:cubicBezTo>
                <a:cubicBezTo>
                  <a:pt x="1421" y="299"/>
                  <a:pt x="1420" y="301"/>
                  <a:pt x="1417" y="302"/>
                </a:cubicBezTo>
                <a:cubicBezTo>
                  <a:pt x="1416" y="303"/>
                  <a:pt x="1414" y="304"/>
                  <a:pt x="1412" y="305"/>
                </a:cubicBezTo>
                <a:cubicBezTo>
                  <a:pt x="1410" y="305"/>
                  <a:pt x="1409" y="306"/>
                  <a:pt x="1407" y="307"/>
                </a:cubicBezTo>
                <a:cubicBezTo>
                  <a:pt x="1405" y="307"/>
                  <a:pt x="1404" y="308"/>
                  <a:pt x="1401" y="309"/>
                </a:cubicBezTo>
                <a:cubicBezTo>
                  <a:pt x="1401" y="309"/>
                  <a:pt x="1401" y="309"/>
                  <a:pt x="1401" y="319"/>
                </a:cubicBezTo>
                <a:cubicBezTo>
                  <a:pt x="1404" y="318"/>
                  <a:pt x="1407" y="317"/>
                  <a:pt x="1409" y="316"/>
                </a:cubicBezTo>
                <a:cubicBezTo>
                  <a:pt x="1412" y="315"/>
                  <a:pt x="1415" y="314"/>
                  <a:pt x="1417" y="313"/>
                </a:cubicBezTo>
                <a:cubicBezTo>
                  <a:pt x="1417" y="313"/>
                  <a:pt x="1417" y="313"/>
                  <a:pt x="1417" y="371"/>
                </a:cubicBezTo>
                <a:cubicBezTo>
                  <a:pt x="1417" y="371"/>
                  <a:pt x="1417" y="371"/>
                  <a:pt x="1428" y="371"/>
                </a:cubicBezTo>
                <a:cubicBezTo>
                  <a:pt x="1428" y="371"/>
                  <a:pt x="1428" y="371"/>
                  <a:pt x="1428" y="298"/>
                </a:cubicBezTo>
                <a:close/>
                <a:moveTo>
                  <a:pt x="1475" y="298"/>
                </a:moveTo>
                <a:cubicBezTo>
                  <a:pt x="1475" y="298"/>
                  <a:pt x="1475" y="298"/>
                  <a:pt x="1475" y="298"/>
                </a:cubicBezTo>
                <a:cubicBezTo>
                  <a:pt x="1470" y="298"/>
                  <a:pt x="1470" y="298"/>
                  <a:pt x="1470" y="298"/>
                </a:cubicBezTo>
                <a:cubicBezTo>
                  <a:pt x="1468" y="299"/>
                  <a:pt x="1466" y="301"/>
                  <a:pt x="1464" y="302"/>
                </a:cubicBezTo>
                <a:cubicBezTo>
                  <a:pt x="1463" y="303"/>
                  <a:pt x="1460" y="304"/>
                  <a:pt x="1459" y="305"/>
                </a:cubicBezTo>
                <a:cubicBezTo>
                  <a:pt x="1457" y="306"/>
                  <a:pt x="1455" y="307"/>
                  <a:pt x="1454" y="307"/>
                </a:cubicBezTo>
                <a:cubicBezTo>
                  <a:pt x="1452" y="308"/>
                  <a:pt x="1450" y="309"/>
                  <a:pt x="1448" y="309"/>
                </a:cubicBezTo>
                <a:cubicBezTo>
                  <a:pt x="1448" y="309"/>
                  <a:pt x="1448" y="309"/>
                  <a:pt x="1448" y="319"/>
                </a:cubicBezTo>
                <a:cubicBezTo>
                  <a:pt x="1451" y="318"/>
                  <a:pt x="1454" y="318"/>
                  <a:pt x="1456" y="316"/>
                </a:cubicBezTo>
                <a:cubicBezTo>
                  <a:pt x="1459" y="315"/>
                  <a:pt x="1461" y="314"/>
                  <a:pt x="1463" y="313"/>
                </a:cubicBezTo>
                <a:cubicBezTo>
                  <a:pt x="1463" y="313"/>
                  <a:pt x="1463" y="313"/>
                  <a:pt x="1463" y="371"/>
                </a:cubicBezTo>
                <a:cubicBezTo>
                  <a:pt x="1463" y="371"/>
                  <a:pt x="1463" y="371"/>
                  <a:pt x="1475" y="371"/>
                </a:cubicBezTo>
                <a:cubicBezTo>
                  <a:pt x="1475" y="371"/>
                  <a:pt x="1475" y="371"/>
                  <a:pt x="1475" y="298"/>
                </a:cubicBezTo>
                <a:close/>
                <a:moveTo>
                  <a:pt x="1520" y="298"/>
                </a:moveTo>
                <a:cubicBezTo>
                  <a:pt x="1520" y="298"/>
                  <a:pt x="1520" y="298"/>
                  <a:pt x="1520" y="298"/>
                </a:cubicBezTo>
                <a:cubicBezTo>
                  <a:pt x="1516" y="298"/>
                  <a:pt x="1516" y="298"/>
                  <a:pt x="1516" y="298"/>
                </a:cubicBezTo>
                <a:cubicBezTo>
                  <a:pt x="1514" y="299"/>
                  <a:pt x="1513" y="301"/>
                  <a:pt x="1510" y="302"/>
                </a:cubicBezTo>
                <a:cubicBezTo>
                  <a:pt x="1509" y="303"/>
                  <a:pt x="1507" y="304"/>
                  <a:pt x="1505" y="305"/>
                </a:cubicBezTo>
                <a:cubicBezTo>
                  <a:pt x="1503" y="306"/>
                  <a:pt x="1502" y="307"/>
                  <a:pt x="1500" y="307"/>
                </a:cubicBezTo>
                <a:cubicBezTo>
                  <a:pt x="1498" y="308"/>
                  <a:pt x="1496" y="309"/>
                  <a:pt x="1495" y="309"/>
                </a:cubicBezTo>
                <a:cubicBezTo>
                  <a:pt x="1495" y="309"/>
                  <a:pt x="1495" y="309"/>
                  <a:pt x="1495" y="319"/>
                </a:cubicBezTo>
                <a:cubicBezTo>
                  <a:pt x="1497" y="318"/>
                  <a:pt x="1500" y="318"/>
                  <a:pt x="1502" y="316"/>
                </a:cubicBezTo>
                <a:cubicBezTo>
                  <a:pt x="1505" y="315"/>
                  <a:pt x="1508" y="314"/>
                  <a:pt x="1509" y="313"/>
                </a:cubicBezTo>
                <a:cubicBezTo>
                  <a:pt x="1509" y="313"/>
                  <a:pt x="1509" y="313"/>
                  <a:pt x="1509" y="371"/>
                </a:cubicBezTo>
                <a:cubicBezTo>
                  <a:pt x="1509" y="371"/>
                  <a:pt x="1509" y="371"/>
                  <a:pt x="1520" y="371"/>
                </a:cubicBezTo>
                <a:cubicBezTo>
                  <a:pt x="1520" y="371"/>
                  <a:pt x="1520" y="371"/>
                  <a:pt x="1520" y="298"/>
                </a:cubicBezTo>
                <a:close/>
                <a:moveTo>
                  <a:pt x="1270" y="345"/>
                </a:moveTo>
                <a:cubicBezTo>
                  <a:pt x="1270" y="347"/>
                  <a:pt x="1271" y="348"/>
                  <a:pt x="1272" y="350"/>
                </a:cubicBezTo>
                <a:cubicBezTo>
                  <a:pt x="1272" y="351"/>
                  <a:pt x="1272" y="353"/>
                  <a:pt x="1273" y="355"/>
                </a:cubicBezTo>
                <a:cubicBezTo>
                  <a:pt x="1273" y="356"/>
                  <a:pt x="1273" y="358"/>
                  <a:pt x="1273" y="360"/>
                </a:cubicBezTo>
                <a:cubicBezTo>
                  <a:pt x="1274" y="363"/>
                  <a:pt x="1273" y="364"/>
                  <a:pt x="1270" y="364"/>
                </a:cubicBezTo>
                <a:cubicBezTo>
                  <a:pt x="1267" y="364"/>
                  <a:pt x="1264" y="364"/>
                  <a:pt x="1261" y="364"/>
                </a:cubicBezTo>
                <a:cubicBezTo>
                  <a:pt x="1261" y="364"/>
                  <a:pt x="1260" y="364"/>
                  <a:pt x="1260" y="364"/>
                </a:cubicBezTo>
                <a:cubicBezTo>
                  <a:pt x="1258" y="366"/>
                  <a:pt x="1257" y="367"/>
                  <a:pt x="1255" y="369"/>
                </a:cubicBezTo>
                <a:cubicBezTo>
                  <a:pt x="1253" y="371"/>
                  <a:pt x="1250" y="371"/>
                  <a:pt x="1248" y="369"/>
                </a:cubicBezTo>
                <a:cubicBezTo>
                  <a:pt x="1246" y="367"/>
                  <a:pt x="1245" y="365"/>
                  <a:pt x="1243" y="362"/>
                </a:cubicBezTo>
                <a:cubicBezTo>
                  <a:pt x="1242" y="360"/>
                  <a:pt x="1243" y="359"/>
                  <a:pt x="1245" y="357"/>
                </a:cubicBezTo>
                <a:cubicBezTo>
                  <a:pt x="1242" y="357"/>
                  <a:pt x="1241" y="357"/>
                  <a:pt x="1239" y="357"/>
                </a:cubicBezTo>
                <a:cubicBezTo>
                  <a:pt x="1239" y="359"/>
                  <a:pt x="1237" y="361"/>
                  <a:pt x="1237" y="363"/>
                </a:cubicBezTo>
                <a:cubicBezTo>
                  <a:pt x="1237" y="364"/>
                  <a:pt x="1236" y="365"/>
                  <a:pt x="1236" y="365"/>
                </a:cubicBezTo>
                <a:cubicBezTo>
                  <a:pt x="1236" y="369"/>
                  <a:pt x="1235" y="370"/>
                  <a:pt x="1232" y="369"/>
                </a:cubicBezTo>
                <a:cubicBezTo>
                  <a:pt x="1229" y="369"/>
                  <a:pt x="1226" y="368"/>
                  <a:pt x="1223" y="367"/>
                </a:cubicBezTo>
                <a:cubicBezTo>
                  <a:pt x="1221" y="367"/>
                  <a:pt x="1221" y="365"/>
                  <a:pt x="1221" y="363"/>
                </a:cubicBezTo>
                <a:cubicBezTo>
                  <a:pt x="1221" y="362"/>
                  <a:pt x="1221" y="362"/>
                  <a:pt x="1222" y="362"/>
                </a:cubicBezTo>
                <a:cubicBezTo>
                  <a:pt x="1219" y="360"/>
                  <a:pt x="1217" y="360"/>
                  <a:pt x="1215" y="358"/>
                </a:cubicBezTo>
                <a:cubicBezTo>
                  <a:pt x="1214" y="357"/>
                  <a:pt x="1213" y="355"/>
                  <a:pt x="1212" y="354"/>
                </a:cubicBezTo>
                <a:cubicBezTo>
                  <a:pt x="1211" y="352"/>
                  <a:pt x="1211" y="350"/>
                  <a:pt x="1213" y="348"/>
                </a:cubicBezTo>
                <a:cubicBezTo>
                  <a:pt x="1216" y="346"/>
                  <a:pt x="1217" y="343"/>
                  <a:pt x="1216" y="339"/>
                </a:cubicBezTo>
                <a:cubicBezTo>
                  <a:pt x="1216" y="337"/>
                  <a:pt x="1216" y="335"/>
                  <a:pt x="1216" y="333"/>
                </a:cubicBezTo>
                <a:cubicBezTo>
                  <a:pt x="1215" y="333"/>
                  <a:pt x="1213" y="332"/>
                  <a:pt x="1212" y="331"/>
                </a:cubicBezTo>
                <a:cubicBezTo>
                  <a:pt x="1211" y="329"/>
                  <a:pt x="1210" y="327"/>
                  <a:pt x="1210" y="325"/>
                </a:cubicBezTo>
                <a:cubicBezTo>
                  <a:pt x="1210" y="323"/>
                  <a:pt x="1213" y="320"/>
                  <a:pt x="1216" y="319"/>
                </a:cubicBezTo>
                <a:cubicBezTo>
                  <a:pt x="1217" y="320"/>
                  <a:pt x="1217" y="321"/>
                  <a:pt x="1217" y="322"/>
                </a:cubicBezTo>
                <a:cubicBezTo>
                  <a:pt x="1217" y="323"/>
                  <a:pt x="1217" y="323"/>
                  <a:pt x="1217" y="325"/>
                </a:cubicBezTo>
                <a:cubicBezTo>
                  <a:pt x="1217" y="324"/>
                  <a:pt x="1216" y="324"/>
                  <a:pt x="1216" y="324"/>
                </a:cubicBezTo>
                <a:cubicBezTo>
                  <a:pt x="1215" y="325"/>
                  <a:pt x="1215" y="327"/>
                  <a:pt x="1214" y="329"/>
                </a:cubicBezTo>
                <a:cubicBezTo>
                  <a:pt x="1215" y="328"/>
                  <a:pt x="1216" y="328"/>
                  <a:pt x="1217" y="328"/>
                </a:cubicBezTo>
                <a:cubicBezTo>
                  <a:pt x="1218" y="327"/>
                  <a:pt x="1219" y="326"/>
                  <a:pt x="1219" y="325"/>
                </a:cubicBezTo>
                <a:cubicBezTo>
                  <a:pt x="1224" y="318"/>
                  <a:pt x="1230" y="314"/>
                  <a:pt x="1237" y="312"/>
                </a:cubicBezTo>
                <a:cubicBezTo>
                  <a:pt x="1241" y="312"/>
                  <a:pt x="1244" y="311"/>
                  <a:pt x="1246" y="308"/>
                </a:cubicBezTo>
                <a:cubicBezTo>
                  <a:pt x="1246" y="308"/>
                  <a:pt x="1247" y="307"/>
                  <a:pt x="1247" y="307"/>
                </a:cubicBezTo>
                <a:cubicBezTo>
                  <a:pt x="1250" y="307"/>
                  <a:pt x="1252" y="304"/>
                  <a:pt x="1253" y="303"/>
                </a:cubicBezTo>
                <a:cubicBezTo>
                  <a:pt x="1261" y="295"/>
                  <a:pt x="1273" y="295"/>
                  <a:pt x="1281" y="301"/>
                </a:cubicBezTo>
                <a:cubicBezTo>
                  <a:pt x="1283" y="303"/>
                  <a:pt x="1286" y="305"/>
                  <a:pt x="1288" y="307"/>
                </a:cubicBezTo>
                <a:cubicBezTo>
                  <a:pt x="1290" y="308"/>
                  <a:pt x="1291" y="310"/>
                  <a:pt x="1292" y="312"/>
                </a:cubicBezTo>
                <a:cubicBezTo>
                  <a:pt x="1293" y="314"/>
                  <a:pt x="1293" y="314"/>
                  <a:pt x="1295" y="312"/>
                </a:cubicBezTo>
                <a:cubicBezTo>
                  <a:pt x="1295" y="312"/>
                  <a:pt x="1296" y="311"/>
                  <a:pt x="1297" y="310"/>
                </a:cubicBezTo>
                <a:cubicBezTo>
                  <a:pt x="1299" y="308"/>
                  <a:pt x="1302" y="308"/>
                  <a:pt x="1303" y="311"/>
                </a:cubicBezTo>
                <a:cubicBezTo>
                  <a:pt x="1304" y="314"/>
                  <a:pt x="1305" y="317"/>
                  <a:pt x="1306" y="320"/>
                </a:cubicBezTo>
                <a:cubicBezTo>
                  <a:pt x="1306" y="324"/>
                  <a:pt x="1306" y="329"/>
                  <a:pt x="1304" y="333"/>
                </a:cubicBezTo>
                <a:cubicBezTo>
                  <a:pt x="1302" y="339"/>
                  <a:pt x="1297" y="343"/>
                  <a:pt x="1291" y="343"/>
                </a:cubicBezTo>
                <a:cubicBezTo>
                  <a:pt x="1290" y="343"/>
                  <a:pt x="1290" y="343"/>
                  <a:pt x="1289" y="343"/>
                </a:cubicBezTo>
                <a:cubicBezTo>
                  <a:pt x="1286" y="343"/>
                  <a:pt x="1285" y="343"/>
                  <a:pt x="1284" y="345"/>
                </a:cubicBezTo>
                <a:cubicBezTo>
                  <a:pt x="1283" y="350"/>
                  <a:pt x="1277" y="351"/>
                  <a:pt x="1274" y="348"/>
                </a:cubicBezTo>
                <a:cubicBezTo>
                  <a:pt x="1273" y="347"/>
                  <a:pt x="1272" y="346"/>
                  <a:pt x="1271" y="345"/>
                </a:cubicBezTo>
                <a:cubicBezTo>
                  <a:pt x="1270" y="345"/>
                  <a:pt x="1270" y="345"/>
                  <a:pt x="1270" y="345"/>
                </a:cubicBezTo>
                <a:close/>
                <a:moveTo>
                  <a:pt x="1264" y="341"/>
                </a:moveTo>
                <a:cubicBezTo>
                  <a:pt x="1268" y="343"/>
                  <a:pt x="1272" y="344"/>
                  <a:pt x="1274" y="346"/>
                </a:cubicBezTo>
                <a:cubicBezTo>
                  <a:pt x="1276" y="348"/>
                  <a:pt x="1278" y="349"/>
                  <a:pt x="1280" y="348"/>
                </a:cubicBezTo>
                <a:cubicBezTo>
                  <a:pt x="1282" y="347"/>
                  <a:pt x="1284" y="345"/>
                  <a:pt x="1284" y="342"/>
                </a:cubicBezTo>
                <a:cubicBezTo>
                  <a:pt x="1284" y="343"/>
                  <a:pt x="1283" y="343"/>
                  <a:pt x="1283" y="343"/>
                </a:cubicBezTo>
                <a:cubicBezTo>
                  <a:pt x="1282" y="344"/>
                  <a:pt x="1281" y="345"/>
                  <a:pt x="1281" y="346"/>
                </a:cubicBezTo>
                <a:cubicBezTo>
                  <a:pt x="1279" y="348"/>
                  <a:pt x="1278" y="347"/>
                  <a:pt x="1277" y="347"/>
                </a:cubicBezTo>
                <a:cubicBezTo>
                  <a:pt x="1277" y="347"/>
                  <a:pt x="1276" y="346"/>
                  <a:pt x="1276" y="345"/>
                </a:cubicBezTo>
                <a:cubicBezTo>
                  <a:pt x="1276" y="343"/>
                  <a:pt x="1277" y="341"/>
                  <a:pt x="1277" y="339"/>
                </a:cubicBezTo>
                <a:cubicBezTo>
                  <a:pt x="1280" y="339"/>
                  <a:pt x="1283" y="341"/>
                  <a:pt x="1287" y="341"/>
                </a:cubicBezTo>
                <a:cubicBezTo>
                  <a:pt x="1294" y="342"/>
                  <a:pt x="1300" y="341"/>
                  <a:pt x="1303" y="332"/>
                </a:cubicBezTo>
                <a:cubicBezTo>
                  <a:pt x="1305" y="327"/>
                  <a:pt x="1304" y="322"/>
                  <a:pt x="1304" y="317"/>
                </a:cubicBezTo>
                <a:cubicBezTo>
                  <a:pt x="1303" y="315"/>
                  <a:pt x="1302" y="314"/>
                  <a:pt x="1302" y="312"/>
                </a:cubicBezTo>
                <a:cubicBezTo>
                  <a:pt x="1301" y="310"/>
                  <a:pt x="1300" y="310"/>
                  <a:pt x="1299" y="311"/>
                </a:cubicBezTo>
                <a:cubicBezTo>
                  <a:pt x="1297" y="313"/>
                  <a:pt x="1295" y="314"/>
                  <a:pt x="1293" y="315"/>
                </a:cubicBezTo>
                <a:cubicBezTo>
                  <a:pt x="1293" y="316"/>
                  <a:pt x="1292" y="316"/>
                  <a:pt x="1292" y="318"/>
                </a:cubicBezTo>
                <a:cubicBezTo>
                  <a:pt x="1293" y="321"/>
                  <a:pt x="1292" y="324"/>
                  <a:pt x="1291" y="327"/>
                </a:cubicBezTo>
                <a:cubicBezTo>
                  <a:pt x="1291" y="325"/>
                  <a:pt x="1292" y="323"/>
                  <a:pt x="1292" y="322"/>
                </a:cubicBezTo>
                <a:cubicBezTo>
                  <a:pt x="1292" y="321"/>
                  <a:pt x="1291" y="320"/>
                  <a:pt x="1291" y="320"/>
                </a:cubicBezTo>
                <a:cubicBezTo>
                  <a:pt x="1290" y="320"/>
                  <a:pt x="1290" y="320"/>
                  <a:pt x="1290" y="321"/>
                </a:cubicBezTo>
                <a:cubicBezTo>
                  <a:pt x="1289" y="322"/>
                  <a:pt x="1288" y="323"/>
                  <a:pt x="1287" y="325"/>
                </a:cubicBezTo>
                <a:cubicBezTo>
                  <a:pt x="1287" y="325"/>
                  <a:pt x="1287" y="325"/>
                  <a:pt x="1287" y="325"/>
                </a:cubicBezTo>
                <a:cubicBezTo>
                  <a:pt x="1287" y="323"/>
                  <a:pt x="1288" y="322"/>
                  <a:pt x="1288" y="319"/>
                </a:cubicBezTo>
                <a:cubicBezTo>
                  <a:pt x="1287" y="320"/>
                  <a:pt x="1286" y="320"/>
                  <a:pt x="1286" y="321"/>
                </a:cubicBezTo>
                <a:cubicBezTo>
                  <a:pt x="1285" y="322"/>
                  <a:pt x="1285" y="322"/>
                  <a:pt x="1284" y="323"/>
                </a:cubicBezTo>
                <a:cubicBezTo>
                  <a:pt x="1285" y="320"/>
                  <a:pt x="1285" y="320"/>
                  <a:pt x="1291" y="318"/>
                </a:cubicBezTo>
                <a:cubicBezTo>
                  <a:pt x="1291" y="318"/>
                  <a:pt x="1290" y="317"/>
                  <a:pt x="1290" y="317"/>
                </a:cubicBezTo>
                <a:cubicBezTo>
                  <a:pt x="1287" y="318"/>
                  <a:pt x="1286" y="316"/>
                  <a:pt x="1286" y="314"/>
                </a:cubicBezTo>
                <a:cubicBezTo>
                  <a:pt x="1288" y="314"/>
                  <a:pt x="1289" y="313"/>
                  <a:pt x="1291" y="313"/>
                </a:cubicBezTo>
                <a:cubicBezTo>
                  <a:pt x="1289" y="310"/>
                  <a:pt x="1288" y="308"/>
                  <a:pt x="1284" y="307"/>
                </a:cubicBezTo>
                <a:cubicBezTo>
                  <a:pt x="1284" y="307"/>
                  <a:pt x="1284" y="307"/>
                  <a:pt x="1284" y="306"/>
                </a:cubicBezTo>
                <a:cubicBezTo>
                  <a:pt x="1281" y="304"/>
                  <a:pt x="1279" y="302"/>
                  <a:pt x="1276" y="300"/>
                </a:cubicBezTo>
                <a:cubicBezTo>
                  <a:pt x="1274" y="299"/>
                  <a:pt x="1271" y="298"/>
                  <a:pt x="1269" y="298"/>
                </a:cubicBezTo>
                <a:cubicBezTo>
                  <a:pt x="1266" y="299"/>
                  <a:pt x="1262" y="300"/>
                  <a:pt x="1259" y="301"/>
                </a:cubicBezTo>
                <a:cubicBezTo>
                  <a:pt x="1257" y="302"/>
                  <a:pt x="1254" y="303"/>
                  <a:pt x="1252" y="306"/>
                </a:cubicBezTo>
                <a:cubicBezTo>
                  <a:pt x="1254" y="306"/>
                  <a:pt x="1255" y="306"/>
                  <a:pt x="1256" y="306"/>
                </a:cubicBezTo>
                <a:cubicBezTo>
                  <a:pt x="1256" y="307"/>
                  <a:pt x="1255" y="307"/>
                  <a:pt x="1254" y="307"/>
                </a:cubicBezTo>
                <a:cubicBezTo>
                  <a:pt x="1252" y="308"/>
                  <a:pt x="1249" y="307"/>
                  <a:pt x="1247" y="310"/>
                </a:cubicBezTo>
                <a:cubicBezTo>
                  <a:pt x="1244" y="314"/>
                  <a:pt x="1240" y="317"/>
                  <a:pt x="1236" y="322"/>
                </a:cubicBezTo>
                <a:cubicBezTo>
                  <a:pt x="1235" y="323"/>
                  <a:pt x="1234" y="326"/>
                  <a:pt x="1233" y="328"/>
                </a:cubicBezTo>
                <a:cubicBezTo>
                  <a:pt x="1233" y="329"/>
                  <a:pt x="1233" y="329"/>
                  <a:pt x="1233" y="330"/>
                </a:cubicBezTo>
                <a:cubicBezTo>
                  <a:pt x="1234" y="332"/>
                  <a:pt x="1235" y="334"/>
                  <a:pt x="1237" y="336"/>
                </a:cubicBezTo>
                <a:cubicBezTo>
                  <a:pt x="1238" y="334"/>
                  <a:pt x="1239" y="333"/>
                  <a:pt x="1241" y="331"/>
                </a:cubicBezTo>
                <a:cubicBezTo>
                  <a:pt x="1240" y="333"/>
                  <a:pt x="1240" y="334"/>
                  <a:pt x="1239" y="335"/>
                </a:cubicBezTo>
                <a:cubicBezTo>
                  <a:pt x="1238" y="337"/>
                  <a:pt x="1237" y="338"/>
                  <a:pt x="1237" y="339"/>
                </a:cubicBezTo>
                <a:cubicBezTo>
                  <a:pt x="1237" y="340"/>
                  <a:pt x="1237" y="341"/>
                  <a:pt x="1237" y="342"/>
                </a:cubicBezTo>
                <a:cubicBezTo>
                  <a:pt x="1240" y="346"/>
                  <a:pt x="1243" y="346"/>
                  <a:pt x="1247" y="344"/>
                </a:cubicBezTo>
                <a:cubicBezTo>
                  <a:pt x="1249" y="342"/>
                  <a:pt x="1252" y="341"/>
                  <a:pt x="1255" y="340"/>
                </a:cubicBezTo>
                <a:cubicBezTo>
                  <a:pt x="1256" y="340"/>
                  <a:pt x="1257" y="339"/>
                  <a:pt x="1257" y="337"/>
                </a:cubicBezTo>
                <a:cubicBezTo>
                  <a:pt x="1257" y="334"/>
                  <a:pt x="1257" y="331"/>
                  <a:pt x="1257" y="327"/>
                </a:cubicBezTo>
                <a:cubicBezTo>
                  <a:pt x="1257" y="324"/>
                  <a:pt x="1257" y="322"/>
                  <a:pt x="1257" y="318"/>
                </a:cubicBezTo>
                <a:cubicBezTo>
                  <a:pt x="1258" y="321"/>
                  <a:pt x="1259" y="324"/>
                  <a:pt x="1259" y="326"/>
                </a:cubicBezTo>
                <a:cubicBezTo>
                  <a:pt x="1260" y="331"/>
                  <a:pt x="1260" y="335"/>
                  <a:pt x="1259" y="340"/>
                </a:cubicBezTo>
                <a:cubicBezTo>
                  <a:pt x="1258" y="341"/>
                  <a:pt x="1257" y="341"/>
                  <a:pt x="1257" y="341"/>
                </a:cubicBezTo>
                <a:cubicBezTo>
                  <a:pt x="1253" y="342"/>
                  <a:pt x="1250" y="344"/>
                  <a:pt x="1247" y="345"/>
                </a:cubicBezTo>
                <a:cubicBezTo>
                  <a:pt x="1242" y="348"/>
                  <a:pt x="1239" y="346"/>
                  <a:pt x="1235" y="343"/>
                </a:cubicBezTo>
                <a:cubicBezTo>
                  <a:pt x="1235" y="342"/>
                  <a:pt x="1235" y="341"/>
                  <a:pt x="1235" y="341"/>
                </a:cubicBezTo>
                <a:cubicBezTo>
                  <a:pt x="1236" y="338"/>
                  <a:pt x="1235" y="336"/>
                  <a:pt x="1233" y="334"/>
                </a:cubicBezTo>
                <a:cubicBezTo>
                  <a:pt x="1232" y="332"/>
                  <a:pt x="1230" y="330"/>
                  <a:pt x="1232" y="327"/>
                </a:cubicBezTo>
                <a:cubicBezTo>
                  <a:pt x="1232" y="325"/>
                  <a:pt x="1233" y="323"/>
                  <a:pt x="1234" y="322"/>
                </a:cubicBezTo>
                <a:cubicBezTo>
                  <a:pt x="1236" y="319"/>
                  <a:pt x="1238" y="317"/>
                  <a:pt x="1240" y="314"/>
                </a:cubicBezTo>
                <a:cubicBezTo>
                  <a:pt x="1240" y="314"/>
                  <a:pt x="1239" y="314"/>
                  <a:pt x="1239" y="314"/>
                </a:cubicBezTo>
                <a:cubicBezTo>
                  <a:pt x="1234" y="315"/>
                  <a:pt x="1230" y="317"/>
                  <a:pt x="1226" y="320"/>
                </a:cubicBezTo>
                <a:cubicBezTo>
                  <a:pt x="1221" y="324"/>
                  <a:pt x="1218" y="329"/>
                  <a:pt x="1218" y="336"/>
                </a:cubicBezTo>
                <a:cubicBezTo>
                  <a:pt x="1217" y="343"/>
                  <a:pt x="1220" y="349"/>
                  <a:pt x="1223" y="355"/>
                </a:cubicBezTo>
                <a:cubicBezTo>
                  <a:pt x="1224" y="356"/>
                  <a:pt x="1224" y="357"/>
                  <a:pt x="1224" y="358"/>
                </a:cubicBezTo>
                <a:cubicBezTo>
                  <a:pt x="1224" y="360"/>
                  <a:pt x="1224" y="362"/>
                  <a:pt x="1223" y="363"/>
                </a:cubicBezTo>
                <a:cubicBezTo>
                  <a:pt x="1222" y="365"/>
                  <a:pt x="1223" y="365"/>
                  <a:pt x="1224" y="366"/>
                </a:cubicBezTo>
                <a:cubicBezTo>
                  <a:pt x="1227" y="367"/>
                  <a:pt x="1230" y="367"/>
                  <a:pt x="1233" y="367"/>
                </a:cubicBezTo>
                <a:cubicBezTo>
                  <a:pt x="1233" y="367"/>
                  <a:pt x="1234" y="367"/>
                  <a:pt x="1234" y="366"/>
                </a:cubicBezTo>
                <a:cubicBezTo>
                  <a:pt x="1235" y="365"/>
                  <a:pt x="1235" y="363"/>
                  <a:pt x="1235" y="363"/>
                </a:cubicBezTo>
                <a:cubicBezTo>
                  <a:pt x="1237" y="360"/>
                  <a:pt x="1237" y="358"/>
                  <a:pt x="1237" y="355"/>
                </a:cubicBezTo>
                <a:cubicBezTo>
                  <a:pt x="1237" y="354"/>
                  <a:pt x="1237" y="354"/>
                  <a:pt x="1237" y="354"/>
                </a:cubicBezTo>
                <a:cubicBezTo>
                  <a:pt x="1237" y="353"/>
                  <a:pt x="1237" y="353"/>
                  <a:pt x="1237" y="353"/>
                </a:cubicBezTo>
                <a:cubicBezTo>
                  <a:pt x="1238" y="356"/>
                  <a:pt x="1239" y="356"/>
                  <a:pt x="1241" y="356"/>
                </a:cubicBezTo>
                <a:cubicBezTo>
                  <a:pt x="1242" y="356"/>
                  <a:pt x="1243" y="356"/>
                  <a:pt x="1244" y="356"/>
                </a:cubicBezTo>
                <a:cubicBezTo>
                  <a:pt x="1246" y="356"/>
                  <a:pt x="1250" y="356"/>
                  <a:pt x="1250" y="352"/>
                </a:cubicBezTo>
                <a:cubicBezTo>
                  <a:pt x="1250" y="354"/>
                  <a:pt x="1250" y="356"/>
                  <a:pt x="1250" y="357"/>
                </a:cubicBezTo>
                <a:cubicBezTo>
                  <a:pt x="1249" y="358"/>
                  <a:pt x="1248" y="358"/>
                  <a:pt x="1246" y="359"/>
                </a:cubicBezTo>
                <a:cubicBezTo>
                  <a:pt x="1245" y="360"/>
                  <a:pt x="1244" y="361"/>
                  <a:pt x="1245" y="362"/>
                </a:cubicBezTo>
                <a:cubicBezTo>
                  <a:pt x="1246" y="364"/>
                  <a:pt x="1248" y="366"/>
                  <a:pt x="1249" y="368"/>
                </a:cubicBezTo>
                <a:cubicBezTo>
                  <a:pt x="1251" y="369"/>
                  <a:pt x="1253" y="369"/>
                  <a:pt x="1254" y="367"/>
                </a:cubicBezTo>
                <a:cubicBezTo>
                  <a:pt x="1255" y="367"/>
                  <a:pt x="1255" y="366"/>
                  <a:pt x="1256" y="365"/>
                </a:cubicBezTo>
                <a:cubicBezTo>
                  <a:pt x="1258" y="364"/>
                  <a:pt x="1259" y="363"/>
                  <a:pt x="1261" y="362"/>
                </a:cubicBezTo>
                <a:cubicBezTo>
                  <a:pt x="1265" y="357"/>
                  <a:pt x="1267" y="351"/>
                  <a:pt x="1269" y="345"/>
                </a:cubicBezTo>
                <a:cubicBezTo>
                  <a:pt x="1269" y="345"/>
                  <a:pt x="1268" y="344"/>
                  <a:pt x="1268" y="344"/>
                </a:cubicBezTo>
                <a:cubicBezTo>
                  <a:pt x="1267" y="343"/>
                  <a:pt x="1266" y="342"/>
                  <a:pt x="1264" y="341"/>
                </a:cubicBezTo>
                <a:close/>
                <a:moveTo>
                  <a:pt x="1217" y="347"/>
                </a:moveTo>
                <a:cubicBezTo>
                  <a:pt x="1217" y="348"/>
                  <a:pt x="1215" y="349"/>
                  <a:pt x="1214" y="350"/>
                </a:cubicBezTo>
                <a:cubicBezTo>
                  <a:pt x="1213" y="350"/>
                  <a:pt x="1213" y="351"/>
                  <a:pt x="1213" y="352"/>
                </a:cubicBezTo>
                <a:cubicBezTo>
                  <a:pt x="1213" y="355"/>
                  <a:pt x="1217" y="359"/>
                  <a:pt x="1221" y="359"/>
                </a:cubicBezTo>
                <a:cubicBezTo>
                  <a:pt x="1222" y="359"/>
                  <a:pt x="1223" y="358"/>
                  <a:pt x="1222" y="356"/>
                </a:cubicBezTo>
                <a:cubicBezTo>
                  <a:pt x="1221" y="353"/>
                  <a:pt x="1219" y="350"/>
                  <a:pt x="1217" y="347"/>
                </a:cubicBezTo>
                <a:close/>
                <a:moveTo>
                  <a:pt x="1270" y="349"/>
                </a:moveTo>
                <a:cubicBezTo>
                  <a:pt x="1268" y="354"/>
                  <a:pt x="1265" y="358"/>
                  <a:pt x="1263" y="363"/>
                </a:cubicBezTo>
                <a:cubicBezTo>
                  <a:pt x="1266" y="363"/>
                  <a:pt x="1268" y="363"/>
                  <a:pt x="1271" y="363"/>
                </a:cubicBezTo>
                <a:cubicBezTo>
                  <a:pt x="1271" y="363"/>
                  <a:pt x="1272" y="362"/>
                  <a:pt x="1272" y="361"/>
                </a:cubicBezTo>
                <a:cubicBezTo>
                  <a:pt x="1272" y="358"/>
                  <a:pt x="1272" y="356"/>
                  <a:pt x="1271" y="354"/>
                </a:cubicBezTo>
                <a:cubicBezTo>
                  <a:pt x="1271" y="352"/>
                  <a:pt x="1270" y="351"/>
                  <a:pt x="1270" y="349"/>
                </a:cubicBezTo>
                <a:close/>
                <a:moveTo>
                  <a:pt x="1217" y="329"/>
                </a:moveTo>
                <a:cubicBezTo>
                  <a:pt x="1217" y="329"/>
                  <a:pt x="1216" y="330"/>
                  <a:pt x="1215" y="330"/>
                </a:cubicBezTo>
                <a:cubicBezTo>
                  <a:pt x="1215" y="330"/>
                  <a:pt x="1214" y="330"/>
                  <a:pt x="1214" y="329"/>
                </a:cubicBezTo>
                <a:cubicBezTo>
                  <a:pt x="1213" y="329"/>
                  <a:pt x="1213" y="328"/>
                  <a:pt x="1213" y="327"/>
                </a:cubicBezTo>
                <a:cubicBezTo>
                  <a:pt x="1214" y="325"/>
                  <a:pt x="1214" y="323"/>
                  <a:pt x="1215" y="322"/>
                </a:cubicBezTo>
                <a:cubicBezTo>
                  <a:pt x="1215" y="322"/>
                  <a:pt x="1215" y="322"/>
                  <a:pt x="1214" y="322"/>
                </a:cubicBezTo>
                <a:cubicBezTo>
                  <a:pt x="1213" y="322"/>
                  <a:pt x="1212" y="323"/>
                  <a:pt x="1212" y="324"/>
                </a:cubicBezTo>
                <a:cubicBezTo>
                  <a:pt x="1211" y="325"/>
                  <a:pt x="1212" y="331"/>
                  <a:pt x="1214" y="331"/>
                </a:cubicBezTo>
                <a:cubicBezTo>
                  <a:pt x="1215" y="332"/>
                  <a:pt x="1217" y="331"/>
                  <a:pt x="1217" y="329"/>
                </a:cubicBezTo>
                <a:close/>
                <a:moveTo>
                  <a:pt x="1218" y="347"/>
                </a:moveTo>
                <a:cubicBezTo>
                  <a:pt x="1217" y="348"/>
                  <a:pt x="1215" y="349"/>
                  <a:pt x="1214" y="350"/>
                </a:cubicBezTo>
                <a:cubicBezTo>
                  <a:pt x="1214" y="350"/>
                  <a:pt x="1213" y="351"/>
                  <a:pt x="1213" y="352"/>
                </a:cubicBezTo>
                <a:cubicBezTo>
                  <a:pt x="1213" y="355"/>
                  <a:pt x="1218" y="359"/>
                  <a:pt x="1221" y="359"/>
                </a:cubicBezTo>
                <a:cubicBezTo>
                  <a:pt x="1222" y="359"/>
                  <a:pt x="1223" y="357"/>
                  <a:pt x="1222" y="356"/>
                </a:cubicBezTo>
                <a:cubicBezTo>
                  <a:pt x="1221" y="353"/>
                  <a:pt x="1219" y="350"/>
                  <a:pt x="1218" y="347"/>
                </a:cubicBezTo>
                <a:close/>
                <a:moveTo>
                  <a:pt x="1270" y="349"/>
                </a:moveTo>
                <a:cubicBezTo>
                  <a:pt x="1267" y="354"/>
                  <a:pt x="1265" y="358"/>
                  <a:pt x="1263" y="362"/>
                </a:cubicBezTo>
                <a:cubicBezTo>
                  <a:pt x="1265" y="362"/>
                  <a:pt x="1268" y="363"/>
                  <a:pt x="1271" y="362"/>
                </a:cubicBezTo>
                <a:cubicBezTo>
                  <a:pt x="1271" y="362"/>
                  <a:pt x="1271" y="361"/>
                  <a:pt x="1271" y="361"/>
                </a:cubicBezTo>
                <a:cubicBezTo>
                  <a:pt x="1271" y="358"/>
                  <a:pt x="1271" y="356"/>
                  <a:pt x="1271" y="353"/>
                </a:cubicBezTo>
                <a:cubicBezTo>
                  <a:pt x="1271" y="352"/>
                  <a:pt x="1270" y="350"/>
                  <a:pt x="1270" y="349"/>
                </a:cubicBezTo>
                <a:close/>
                <a:moveTo>
                  <a:pt x="1217" y="329"/>
                </a:moveTo>
                <a:cubicBezTo>
                  <a:pt x="1216" y="329"/>
                  <a:pt x="1216" y="330"/>
                  <a:pt x="1215" y="330"/>
                </a:cubicBezTo>
                <a:cubicBezTo>
                  <a:pt x="1215" y="330"/>
                  <a:pt x="1214" y="330"/>
                  <a:pt x="1214" y="329"/>
                </a:cubicBezTo>
                <a:cubicBezTo>
                  <a:pt x="1213" y="329"/>
                  <a:pt x="1213" y="328"/>
                  <a:pt x="1213" y="327"/>
                </a:cubicBezTo>
                <a:cubicBezTo>
                  <a:pt x="1214" y="325"/>
                  <a:pt x="1214" y="323"/>
                  <a:pt x="1215" y="321"/>
                </a:cubicBezTo>
                <a:cubicBezTo>
                  <a:pt x="1215" y="321"/>
                  <a:pt x="1215" y="321"/>
                  <a:pt x="1214" y="321"/>
                </a:cubicBezTo>
                <a:cubicBezTo>
                  <a:pt x="1213" y="322"/>
                  <a:pt x="1212" y="323"/>
                  <a:pt x="1212" y="324"/>
                </a:cubicBezTo>
                <a:cubicBezTo>
                  <a:pt x="1211" y="325"/>
                  <a:pt x="1212" y="330"/>
                  <a:pt x="1214" y="331"/>
                </a:cubicBezTo>
                <a:cubicBezTo>
                  <a:pt x="1215" y="332"/>
                  <a:pt x="1217" y="331"/>
                  <a:pt x="1217" y="329"/>
                </a:cubicBezTo>
                <a:close/>
                <a:moveTo>
                  <a:pt x="1269" y="321"/>
                </a:moveTo>
                <a:cubicBezTo>
                  <a:pt x="1273" y="317"/>
                  <a:pt x="1273" y="317"/>
                  <a:pt x="1277" y="316"/>
                </a:cubicBezTo>
                <a:cubicBezTo>
                  <a:pt x="1277" y="318"/>
                  <a:pt x="1278" y="319"/>
                  <a:pt x="1280" y="319"/>
                </a:cubicBezTo>
                <a:cubicBezTo>
                  <a:pt x="1277" y="320"/>
                  <a:pt x="1275" y="322"/>
                  <a:pt x="1273" y="323"/>
                </a:cubicBezTo>
                <a:cubicBezTo>
                  <a:pt x="1272" y="322"/>
                  <a:pt x="1272" y="321"/>
                  <a:pt x="1271" y="320"/>
                </a:cubicBezTo>
                <a:cubicBezTo>
                  <a:pt x="1271" y="320"/>
                  <a:pt x="1270" y="320"/>
                  <a:pt x="1269" y="321"/>
                </a:cubicBezTo>
                <a:close/>
                <a:moveTo>
                  <a:pt x="1276" y="320"/>
                </a:moveTo>
                <a:cubicBezTo>
                  <a:pt x="1275" y="320"/>
                  <a:pt x="1274" y="319"/>
                  <a:pt x="1273" y="319"/>
                </a:cubicBezTo>
                <a:cubicBezTo>
                  <a:pt x="1273" y="319"/>
                  <a:pt x="1272" y="320"/>
                  <a:pt x="1272" y="321"/>
                </a:cubicBezTo>
                <a:cubicBezTo>
                  <a:pt x="1272" y="321"/>
                  <a:pt x="1273" y="321"/>
                  <a:pt x="1273" y="322"/>
                </a:cubicBezTo>
                <a:cubicBezTo>
                  <a:pt x="1274" y="321"/>
                  <a:pt x="1274" y="321"/>
                  <a:pt x="1276" y="320"/>
                </a:cubicBezTo>
                <a:close/>
                <a:moveTo>
                  <a:pt x="1256" y="311"/>
                </a:moveTo>
                <a:cubicBezTo>
                  <a:pt x="1250" y="310"/>
                  <a:pt x="1247" y="312"/>
                  <a:pt x="1246" y="320"/>
                </a:cubicBezTo>
                <a:cubicBezTo>
                  <a:pt x="1247" y="318"/>
                  <a:pt x="1248" y="316"/>
                  <a:pt x="1249" y="313"/>
                </a:cubicBezTo>
                <a:cubicBezTo>
                  <a:pt x="1250" y="313"/>
                  <a:pt x="1250" y="313"/>
                  <a:pt x="1250" y="313"/>
                </a:cubicBezTo>
                <a:cubicBezTo>
                  <a:pt x="1250" y="315"/>
                  <a:pt x="1250" y="315"/>
                  <a:pt x="1250" y="316"/>
                </a:cubicBezTo>
                <a:cubicBezTo>
                  <a:pt x="1251" y="313"/>
                  <a:pt x="1253" y="311"/>
                  <a:pt x="1256" y="311"/>
                </a:cubicBezTo>
                <a:close/>
                <a:moveTo>
                  <a:pt x="1300" y="312"/>
                </a:moveTo>
                <a:cubicBezTo>
                  <a:pt x="1298" y="314"/>
                  <a:pt x="1296" y="315"/>
                  <a:pt x="1295" y="316"/>
                </a:cubicBezTo>
                <a:cubicBezTo>
                  <a:pt x="1297" y="317"/>
                  <a:pt x="1299" y="315"/>
                  <a:pt x="1300" y="312"/>
                </a:cubicBezTo>
                <a:close/>
                <a:moveTo>
                  <a:pt x="1267" y="314"/>
                </a:moveTo>
                <a:cubicBezTo>
                  <a:pt x="1268" y="313"/>
                  <a:pt x="1269" y="312"/>
                  <a:pt x="1270" y="310"/>
                </a:cubicBezTo>
                <a:cubicBezTo>
                  <a:pt x="1267" y="312"/>
                  <a:pt x="1267" y="312"/>
                  <a:pt x="1267" y="314"/>
                </a:cubicBezTo>
                <a:close/>
                <a:moveTo>
                  <a:pt x="1277" y="335"/>
                </a:moveTo>
                <a:cubicBezTo>
                  <a:pt x="1275" y="336"/>
                  <a:pt x="1274" y="337"/>
                  <a:pt x="1274" y="338"/>
                </a:cubicBezTo>
                <a:cubicBezTo>
                  <a:pt x="1275" y="337"/>
                  <a:pt x="1276" y="336"/>
                  <a:pt x="1277" y="335"/>
                </a:cubicBezTo>
                <a:close/>
                <a:moveTo>
                  <a:pt x="1276" y="320"/>
                </a:moveTo>
                <a:cubicBezTo>
                  <a:pt x="1275" y="320"/>
                  <a:pt x="1274" y="320"/>
                  <a:pt x="1274" y="320"/>
                </a:cubicBezTo>
                <a:cubicBezTo>
                  <a:pt x="1273" y="320"/>
                  <a:pt x="1272" y="320"/>
                  <a:pt x="1272" y="321"/>
                </a:cubicBezTo>
                <a:cubicBezTo>
                  <a:pt x="1272" y="321"/>
                  <a:pt x="1273" y="322"/>
                  <a:pt x="1273" y="322"/>
                </a:cubicBezTo>
                <a:cubicBezTo>
                  <a:pt x="1274" y="322"/>
                  <a:pt x="1274" y="321"/>
                  <a:pt x="1276" y="320"/>
                </a:cubicBezTo>
                <a:close/>
                <a:moveTo>
                  <a:pt x="1567" y="298"/>
                </a:moveTo>
                <a:cubicBezTo>
                  <a:pt x="1567" y="298"/>
                  <a:pt x="1567" y="298"/>
                  <a:pt x="1567" y="298"/>
                </a:cubicBezTo>
                <a:cubicBezTo>
                  <a:pt x="1562" y="298"/>
                  <a:pt x="1562" y="298"/>
                  <a:pt x="1562" y="298"/>
                </a:cubicBezTo>
                <a:cubicBezTo>
                  <a:pt x="1560" y="299"/>
                  <a:pt x="1559" y="301"/>
                  <a:pt x="1556" y="302"/>
                </a:cubicBezTo>
                <a:cubicBezTo>
                  <a:pt x="1555" y="303"/>
                  <a:pt x="1553" y="304"/>
                  <a:pt x="1551" y="305"/>
                </a:cubicBezTo>
                <a:cubicBezTo>
                  <a:pt x="1549" y="306"/>
                  <a:pt x="1548" y="307"/>
                  <a:pt x="1546" y="307"/>
                </a:cubicBezTo>
                <a:cubicBezTo>
                  <a:pt x="1544" y="308"/>
                  <a:pt x="1542" y="309"/>
                  <a:pt x="1541" y="309"/>
                </a:cubicBezTo>
                <a:cubicBezTo>
                  <a:pt x="1541" y="309"/>
                  <a:pt x="1541" y="309"/>
                  <a:pt x="1541" y="319"/>
                </a:cubicBezTo>
                <a:cubicBezTo>
                  <a:pt x="1544" y="318"/>
                  <a:pt x="1546" y="318"/>
                  <a:pt x="1549" y="316"/>
                </a:cubicBezTo>
                <a:cubicBezTo>
                  <a:pt x="1551" y="315"/>
                  <a:pt x="1554" y="314"/>
                  <a:pt x="1555" y="313"/>
                </a:cubicBezTo>
                <a:cubicBezTo>
                  <a:pt x="1555" y="313"/>
                  <a:pt x="1555" y="313"/>
                  <a:pt x="1555" y="371"/>
                </a:cubicBezTo>
                <a:cubicBezTo>
                  <a:pt x="1555" y="371"/>
                  <a:pt x="1555" y="371"/>
                  <a:pt x="1567" y="371"/>
                </a:cubicBezTo>
                <a:cubicBezTo>
                  <a:pt x="1567" y="371"/>
                  <a:pt x="1567" y="371"/>
                  <a:pt x="1567" y="298"/>
                </a:cubicBezTo>
                <a:close/>
                <a:moveTo>
                  <a:pt x="1688" y="298"/>
                </a:moveTo>
                <a:cubicBezTo>
                  <a:pt x="1688" y="298"/>
                  <a:pt x="1688" y="298"/>
                  <a:pt x="1688" y="298"/>
                </a:cubicBezTo>
                <a:cubicBezTo>
                  <a:pt x="1683" y="298"/>
                  <a:pt x="1683" y="298"/>
                  <a:pt x="1683" y="298"/>
                </a:cubicBezTo>
                <a:cubicBezTo>
                  <a:pt x="1681" y="299"/>
                  <a:pt x="1680" y="301"/>
                  <a:pt x="1677" y="302"/>
                </a:cubicBezTo>
                <a:cubicBezTo>
                  <a:pt x="1676" y="303"/>
                  <a:pt x="1674" y="304"/>
                  <a:pt x="1672" y="305"/>
                </a:cubicBezTo>
                <a:cubicBezTo>
                  <a:pt x="1671" y="306"/>
                  <a:pt x="1669" y="307"/>
                  <a:pt x="1667" y="307"/>
                </a:cubicBezTo>
                <a:cubicBezTo>
                  <a:pt x="1665" y="308"/>
                  <a:pt x="1663" y="309"/>
                  <a:pt x="1661" y="309"/>
                </a:cubicBezTo>
                <a:cubicBezTo>
                  <a:pt x="1661" y="309"/>
                  <a:pt x="1661" y="309"/>
                  <a:pt x="1661" y="319"/>
                </a:cubicBezTo>
                <a:cubicBezTo>
                  <a:pt x="1664" y="318"/>
                  <a:pt x="1667" y="318"/>
                  <a:pt x="1670" y="316"/>
                </a:cubicBezTo>
                <a:cubicBezTo>
                  <a:pt x="1672" y="315"/>
                  <a:pt x="1674" y="314"/>
                  <a:pt x="1677" y="313"/>
                </a:cubicBezTo>
                <a:cubicBezTo>
                  <a:pt x="1677" y="313"/>
                  <a:pt x="1677" y="313"/>
                  <a:pt x="1677" y="371"/>
                </a:cubicBezTo>
                <a:cubicBezTo>
                  <a:pt x="1677" y="371"/>
                  <a:pt x="1677" y="371"/>
                  <a:pt x="1688" y="371"/>
                </a:cubicBezTo>
                <a:cubicBezTo>
                  <a:pt x="1688" y="371"/>
                  <a:pt x="1688" y="371"/>
                  <a:pt x="1688" y="298"/>
                </a:cubicBezTo>
                <a:close/>
                <a:moveTo>
                  <a:pt x="1735" y="298"/>
                </a:moveTo>
                <a:cubicBezTo>
                  <a:pt x="1735" y="298"/>
                  <a:pt x="1735" y="298"/>
                  <a:pt x="1735" y="298"/>
                </a:cubicBezTo>
                <a:cubicBezTo>
                  <a:pt x="1730" y="298"/>
                  <a:pt x="1730" y="298"/>
                  <a:pt x="1730" y="298"/>
                </a:cubicBezTo>
                <a:cubicBezTo>
                  <a:pt x="1728" y="299"/>
                  <a:pt x="1726" y="301"/>
                  <a:pt x="1724" y="302"/>
                </a:cubicBezTo>
                <a:cubicBezTo>
                  <a:pt x="1723" y="303"/>
                  <a:pt x="1721" y="304"/>
                  <a:pt x="1719" y="305"/>
                </a:cubicBezTo>
                <a:cubicBezTo>
                  <a:pt x="1718" y="306"/>
                  <a:pt x="1715" y="307"/>
                  <a:pt x="1714" y="307"/>
                </a:cubicBezTo>
                <a:cubicBezTo>
                  <a:pt x="1712" y="308"/>
                  <a:pt x="1710" y="309"/>
                  <a:pt x="1708" y="309"/>
                </a:cubicBezTo>
                <a:cubicBezTo>
                  <a:pt x="1708" y="309"/>
                  <a:pt x="1708" y="309"/>
                  <a:pt x="1708" y="319"/>
                </a:cubicBezTo>
                <a:cubicBezTo>
                  <a:pt x="1711" y="318"/>
                  <a:pt x="1714" y="318"/>
                  <a:pt x="1716" y="316"/>
                </a:cubicBezTo>
                <a:cubicBezTo>
                  <a:pt x="1719" y="315"/>
                  <a:pt x="1721" y="314"/>
                  <a:pt x="1723" y="313"/>
                </a:cubicBezTo>
                <a:cubicBezTo>
                  <a:pt x="1723" y="313"/>
                  <a:pt x="1723" y="313"/>
                  <a:pt x="1723" y="371"/>
                </a:cubicBezTo>
                <a:cubicBezTo>
                  <a:pt x="1723" y="371"/>
                  <a:pt x="1723" y="371"/>
                  <a:pt x="1735" y="371"/>
                </a:cubicBezTo>
                <a:cubicBezTo>
                  <a:pt x="1735" y="371"/>
                  <a:pt x="1735" y="371"/>
                  <a:pt x="1735" y="298"/>
                </a:cubicBezTo>
                <a:close/>
                <a:moveTo>
                  <a:pt x="1781" y="298"/>
                </a:moveTo>
                <a:cubicBezTo>
                  <a:pt x="1781" y="298"/>
                  <a:pt x="1781" y="298"/>
                  <a:pt x="1781" y="298"/>
                </a:cubicBezTo>
                <a:cubicBezTo>
                  <a:pt x="1777" y="298"/>
                  <a:pt x="1777" y="298"/>
                  <a:pt x="1777" y="298"/>
                </a:cubicBezTo>
                <a:cubicBezTo>
                  <a:pt x="1775" y="299"/>
                  <a:pt x="1773" y="301"/>
                  <a:pt x="1771" y="302"/>
                </a:cubicBezTo>
                <a:cubicBezTo>
                  <a:pt x="1770" y="303"/>
                  <a:pt x="1767" y="304"/>
                  <a:pt x="1766" y="305"/>
                </a:cubicBezTo>
                <a:cubicBezTo>
                  <a:pt x="1764" y="305"/>
                  <a:pt x="1762" y="306"/>
                  <a:pt x="1760" y="307"/>
                </a:cubicBezTo>
                <a:cubicBezTo>
                  <a:pt x="1759" y="307"/>
                  <a:pt x="1757" y="308"/>
                  <a:pt x="1755" y="309"/>
                </a:cubicBezTo>
                <a:cubicBezTo>
                  <a:pt x="1755" y="309"/>
                  <a:pt x="1755" y="309"/>
                  <a:pt x="1755" y="319"/>
                </a:cubicBezTo>
                <a:cubicBezTo>
                  <a:pt x="1758" y="318"/>
                  <a:pt x="1761" y="317"/>
                  <a:pt x="1763" y="316"/>
                </a:cubicBezTo>
                <a:cubicBezTo>
                  <a:pt x="1765" y="315"/>
                  <a:pt x="1768" y="314"/>
                  <a:pt x="1770" y="313"/>
                </a:cubicBezTo>
                <a:cubicBezTo>
                  <a:pt x="1770" y="313"/>
                  <a:pt x="1770" y="313"/>
                  <a:pt x="1770" y="371"/>
                </a:cubicBezTo>
                <a:cubicBezTo>
                  <a:pt x="1770" y="371"/>
                  <a:pt x="1770" y="371"/>
                  <a:pt x="1781" y="371"/>
                </a:cubicBezTo>
                <a:cubicBezTo>
                  <a:pt x="1781" y="371"/>
                  <a:pt x="1781" y="371"/>
                  <a:pt x="1781" y="298"/>
                </a:cubicBezTo>
                <a:close/>
                <a:moveTo>
                  <a:pt x="1587" y="330"/>
                </a:moveTo>
                <a:cubicBezTo>
                  <a:pt x="1587" y="330"/>
                  <a:pt x="1587" y="330"/>
                  <a:pt x="1587" y="330"/>
                </a:cubicBezTo>
                <a:cubicBezTo>
                  <a:pt x="1586" y="339"/>
                  <a:pt x="1586" y="339"/>
                  <a:pt x="1586" y="339"/>
                </a:cubicBezTo>
                <a:cubicBezTo>
                  <a:pt x="1593" y="339"/>
                  <a:pt x="1593" y="342"/>
                  <a:pt x="1593" y="344"/>
                </a:cubicBezTo>
                <a:cubicBezTo>
                  <a:pt x="1593" y="347"/>
                  <a:pt x="1593" y="349"/>
                  <a:pt x="1593" y="352"/>
                </a:cubicBezTo>
                <a:cubicBezTo>
                  <a:pt x="1593" y="354"/>
                  <a:pt x="1592" y="356"/>
                  <a:pt x="1592" y="359"/>
                </a:cubicBezTo>
                <a:cubicBezTo>
                  <a:pt x="1592" y="368"/>
                  <a:pt x="1598" y="371"/>
                  <a:pt x="1607" y="371"/>
                </a:cubicBezTo>
                <a:cubicBezTo>
                  <a:pt x="1607" y="371"/>
                  <a:pt x="1607" y="371"/>
                  <a:pt x="1610" y="371"/>
                </a:cubicBezTo>
                <a:cubicBezTo>
                  <a:pt x="1610" y="371"/>
                  <a:pt x="1610" y="371"/>
                  <a:pt x="1610" y="362"/>
                </a:cubicBezTo>
                <a:cubicBezTo>
                  <a:pt x="1610" y="362"/>
                  <a:pt x="1610" y="362"/>
                  <a:pt x="1609" y="362"/>
                </a:cubicBezTo>
                <a:cubicBezTo>
                  <a:pt x="1605" y="362"/>
                  <a:pt x="1604" y="360"/>
                  <a:pt x="1604" y="356"/>
                </a:cubicBezTo>
                <a:cubicBezTo>
                  <a:pt x="1604" y="355"/>
                  <a:pt x="1604" y="353"/>
                  <a:pt x="1604" y="352"/>
                </a:cubicBezTo>
                <a:cubicBezTo>
                  <a:pt x="1604" y="350"/>
                  <a:pt x="1605" y="348"/>
                  <a:pt x="1605" y="346"/>
                </a:cubicBezTo>
                <a:cubicBezTo>
                  <a:pt x="1605" y="338"/>
                  <a:pt x="1602" y="336"/>
                  <a:pt x="1596" y="334"/>
                </a:cubicBezTo>
                <a:cubicBezTo>
                  <a:pt x="1596" y="334"/>
                  <a:pt x="1596" y="334"/>
                  <a:pt x="1596" y="334"/>
                </a:cubicBezTo>
                <a:cubicBezTo>
                  <a:pt x="1602" y="333"/>
                  <a:pt x="1605" y="331"/>
                  <a:pt x="1605" y="323"/>
                </a:cubicBezTo>
                <a:cubicBezTo>
                  <a:pt x="1605" y="321"/>
                  <a:pt x="1604" y="319"/>
                  <a:pt x="1604" y="317"/>
                </a:cubicBezTo>
                <a:cubicBezTo>
                  <a:pt x="1604" y="315"/>
                  <a:pt x="1604" y="313"/>
                  <a:pt x="1604" y="312"/>
                </a:cubicBezTo>
                <a:cubicBezTo>
                  <a:pt x="1604" y="309"/>
                  <a:pt x="1605" y="306"/>
                  <a:pt x="1609" y="306"/>
                </a:cubicBezTo>
                <a:cubicBezTo>
                  <a:pt x="1609" y="306"/>
                  <a:pt x="1609" y="306"/>
                  <a:pt x="1610" y="306"/>
                </a:cubicBezTo>
                <a:cubicBezTo>
                  <a:pt x="1610" y="306"/>
                  <a:pt x="1610" y="306"/>
                  <a:pt x="1610" y="297"/>
                </a:cubicBezTo>
                <a:cubicBezTo>
                  <a:pt x="1610" y="297"/>
                  <a:pt x="1610" y="297"/>
                  <a:pt x="1607" y="297"/>
                </a:cubicBezTo>
                <a:cubicBezTo>
                  <a:pt x="1598" y="297"/>
                  <a:pt x="1592" y="301"/>
                  <a:pt x="1592" y="310"/>
                </a:cubicBezTo>
                <a:cubicBezTo>
                  <a:pt x="1592" y="312"/>
                  <a:pt x="1593" y="315"/>
                  <a:pt x="1593" y="317"/>
                </a:cubicBezTo>
                <a:cubicBezTo>
                  <a:pt x="1593" y="319"/>
                  <a:pt x="1593" y="322"/>
                  <a:pt x="1593" y="324"/>
                </a:cubicBezTo>
                <a:cubicBezTo>
                  <a:pt x="1593" y="327"/>
                  <a:pt x="1593" y="330"/>
                  <a:pt x="1587" y="330"/>
                </a:cubicBezTo>
                <a:close/>
                <a:moveTo>
                  <a:pt x="1641" y="339"/>
                </a:moveTo>
                <a:cubicBezTo>
                  <a:pt x="1641" y="339"/>
                  <a:pt x="1641" y="339"/>
                  <a:pt x="1641" y="339"/>
                </a:cubicBezTo>
                <a:cubicBezTo>
                  <a:pt x="1641" y="330"/>
                  <a:pt x="1641" y="330"/>
                  <a:pt x="1641" y="330"/>
                </a:cubicBezTo>
                <a:cubicBezTo>
                  <a:pt x="1635" y="330"/>
                  <a:pt x="1635" y="327"/>
                  <a:pt x="1635" y="324"/>
                </a:cubicBezTo>
                <a:cubicBezTo>
                  <a:pt x="1635" y="322"/>
                  <a:pt x="1635" y="319"/>
                  <a:pt x="1635" y="317"/>
                </a:cubicBezTo>
                <a:cubicBezTo>
                  <a:pt x="1636" y="315"/>
                  <a:pt x="1636" y="312"/>
                  <a:pt x="1636" y="310"/>
                </a:cubicBezTo>
                <a:cubicBezTo>
                  <a:pt x="1636" y="301"/>
                  <a:pt x="1630" y="297"/>
                  <a:pt x="1621" y="297"/>
                </a:cubicBezTo>
                <a:cubicBezTo>
                  <a:pt x="1621" y="297"/>
                  <a:pt x="1621" y="297"/>
                  <a:pt x="1617" y="297"/>
                </a:cubicBezTo>
                <a:cubicBezTo>
                  <a:pt x="1617" y="297"/>
                  <a:pt x="1617" y="297"/>
                  <a:pt x="1617" y="306"/>
                </a:cubicBezTo>
                <a:cubicBezTo>
                  <a:pt x="1617" y="306"/>
                  <a:pt x="1617" y="306"/>
                  <a:pt x="1619" y="306"/>
                </a:cubicBezTo>
                <a:cubicBezTo>
                  <a:pt x="1623" y="306"/>
                  <a:pt x="1624" y="309"/>
                  <a:pt x="1624" y="312"/>
                </a:cubicBezTo>
                <a:cubicBezTo>
                  <a:pt x="1624" y="313"/>
                  <a:pt x="1624" y="315"/>
                  <a:pt x="1624" y="317"/>
                </a:cubicBezTo>
                <a:cubicBezTo>
                  <a:pt x="1623" y="319"/>
                  <a:pt x="1623" y="321"/>
                  <a:pt x="1623" y="323"/>
                </a:cubicBezTo>
                <a:cubicBezTo>
                  <a:pt x="1623" y="331"/>
                  <a:pt x="1626" y="333"/>
                  <a:pt x="1632" y="334"/>
                </a:cubicBezTo>
                <a:cubicBezTo>
                  <a:pt x="1632" y="334"/>
                  <a:pt x="1632" y="334"/>
                  <a:pt x="1632" y="334"/>
                </a:cubicBezTo>
                <a:cubicBezTo>
                  <a:pt x="1626" y="336"/>
                  <a:pt x="1623" y="338"/>
                  <a:pt x="1623" y="346"/>
                </a:cubicBezTo>
                <a:cubicBezTo>
                  <a:pt x="1623" y="348"/>
                  <a:pt x="1623" y="350"/>
                  <a:pt x="1624" y="352"/>
                </a:cubicBezTo>
                <a:cubicBezTo>
                  <a:pt x="1624" y="353"/>
                  <a:pt x="1624" y="355"/>
                  <a:pt x="1624" y="356"/>
                </a:cubicBezTo>
                <a:cubicBezTo>
                  <a:pt x="1624" y="360"/>
                  <a:pt x="1623" y="362"/>
                  <a:pt x="1619" y="362"/>
                </a:cubicBezTo>
                <a:cubicBezTo>
                  <a:pt x="1619" y="362"/>
                  <a:pt x="1619" y="362"/>
                  <a:pt x="1617" y="362"/>
                </a:cubicBezTo>
                <a:cubicBezTo>
                  <a:pt x="1617" y="362"/>
                  <a:pt x="1617" y="362"/>
                  <a:pt x="1617" y="371"/>
                </a:cubicBezTo>
                <a:cubicBezTo>
                  <a:pt x="1617" y="371"/>
                  <a:pt x="1617" y="371"/>
                  <a:pt x="1621" y="371"/>
                </a:cubicBezTo>
                <a:cubicBezTo>
                  <a:pt x="1630" y="371"/>
                  <a:pt x="1636" y="368"/>
                  <a:pt x="1636" y="359"/>
                </a:cubicBezTo>
                <a:cubicBezTo>
                  <a:pt x="1636" y="356"/>
                  <a:pt x="1636" y="354"/>
                  <a:pt x="1635" y="352"/>
                </a:cubicBezTo>
                <a:cubicBezTo>
                  <a:pt x="1635" y="349"/>
                  <a:pt x="1635" y="347"/>
                  <a:pt x="1635" y="344"/>
                </a:cubicBezTo>
                <a:cubicBezTo>
                  <a:pt x="1635" y="342"/>
                  <a:pt x="1635" y="339"/>
                  <a:pt x="1641" y="339"/>
                </a:cubicBezTo>
                <a:close/>
                <a:moveTo>
                  <a:pt x="1825" y="371"/>
                </a:moveTo>
                <a:cubicBezTo>
                  <a:pt x="1818" y="371"/>
                  <a:pt x="1811" y="368"/>
                  <a:pt x="1807" y="363"/>
                </a:cubicBezTo>
                <a:cubicBezTo>
                  <a:pt x="1803" y="356"/>
                  <a:pt x="1801" y="347"/>
                  <a:pt x="1801" y="335"/>
                </a:cubicBezTo>
                <a:cubicBezTo>
                  <a:pt x="1801" y="321"/>
                  <a:pt x="1803" y="312"/>
                  <a:pt x="1807" y="305"/>
                </a:cubicBezTo>
                <a:cubicBezTo>
                  <a:pt x="1812" y="299"/>
                  <a:pt x="1818" y="295"/>
                  <a:pt x="1827" y="295"/>
                </a:cubicBezTo>
                <a:cubicBezTo>
                  <a:pt x="1843" y="295"/>
                  <a:pt x="1851" y="308"/>
                  <a:pt x="1851" y="333"/>
                </a:cubicBezTo>
                <a:cubicBezTo>
                  <a:pt x="1851" y="346"/>
                  <a:pt x="1849" y="355"/>
                  <a:pt x="1844" y="362"/>
                </a:cubicBezTo>
                <a:cubicBezTo>
                  <a:pt x="1840" y="368"/>
                  <a:pt x="1833" y="371"/>
                  <a:pt x="1825" y="371"/>
                </a:cubicBezTo>
                <a:close/>
                <a:moveTo>
                  <a:pt x="1826" y="305"/>
                </a:moveTo>
                <a:cubicBezTo>
                  <a:pt x="1817" y="305"/>
                  <a:pt x="1813" y="315"/>
                  <a:pt x="1813" y="335"/>
                </a:cubicBezTo>
                <a:cubicBezTo>
                  <a:pt x="1813" y="353"/>
                  <a:pt x="1817" y="362"/>
                  <a:pt x="1826" y="362"/>
                </a:cubicBezTo>
                <a:cubicBezTo>
                  <a:pt x="1834" y="362"/>
                  <a:pt x="1839" y="353"/>
                  <a:pt x="1839" y="334"/>
                </a:cubicBezTo>
                <a:cubicBezTo>
                  <a:pt x="1839" y="314"/>
                  <a:pt x="1834" y="305"/>
                  <a:pt x="1826" y="305"/>
                </a:cubicBezTo>
                <a:close/>
                <a:moveTo>
                  <a:pt x="1895" y="371"/>
                </a:moveTo>
                <a:cubicBezTo>
                  <a:pt x="1888" y="371"/>
                  <a:pt x="1882" y="368"/>
                  <a:pt x="1878" y="363"/>
                </a:cubicBezTo>
                <a:cubicBezTo>
                  <a:pt x="1874" y="356"/>
                  <a:pt x="1871" y="347"/>
                  <a:pt x="1871" y="335"/>
                </a:cubicBezTo>
                <a:cubicBezTo>
                  <a:pt x="1871" y="321"/>
                  <a:pt x="1874" y="312"/>
                  <a:pt x="1878" y="305"/>
                </a:cubicBezTo>
                <a:cubicBezTo>
                  <a:pt x="1882" y="299"/>
                  <a:pt x="1889" y="295"/>
                  <a:pt x="1898" y="295"/>
                </a:cubicBezTo>
                <a:cubicBezTo>
                  <a:pt x="1914" y="295"/>
                  <a:pt x="1922" y="308"/>
                  <a:pt x="1922" y="333"/>
                </a:cubicBezTo>
                <a:cubicBezTo>
                  <a:pt x="1922" y="346"/>
                  <a:pt x="1920" y="355"/>
                  <a:pt x="1915" y="362"/>
                </a:cubicBezTo>
                <a:cubicBezTo>
                  <a:pt x="1910" y="368"/>
                  <a:pt x="1904" y="371"/>
                  <a:pt x="1895" y="371"/>
                </a:cubicBezTo>
                <a:close/>
                <a:moveTo>
                  <a:pt x="1897" y="305"/>
                </a:moveTo>
                <a:cubicBezTo>
                  <a:pt x="1888" y="305"/>
                  <a:pt x="1883" y="315"/>
                  <a:pt x="1883" y="335"/>
                </a:cubicBezTo>
                <a:cubicBezTo>
                  <a:pt x="1883" y="353"/>
                  <a:pt x="1887" y="362"/>
                  <a:pt x="1896" y="362"/>
                </a:cubicBezTo>
                <a:cubicBezTo>
                  <a:pt x="1905" y="362"/>
                  <a:pt x="1909" y="353"/>
                  <a:pt x="1909" y="334"/>
                </a:cubicBezTo>
                <a:cubicBezTo>
                  <a:pt x="1909" y="314"/>
                  <a:pt x="1905" y="305"/>
                  <a:pt x="1897" y="305"/>
                </a:cubicBezTo>
                <a:close/>
                <a:moveTo>
                  <a:pt x="41" y="394"/>
                </a:moveTo>
                <a:cubicBezTo>
                  <a:pt x="41" y="394"/>
                  <a:pt x="41" y="394"/>
                  <a:pt x="41" y="394"/>
                </a:cubicBezTo>
                <a:cubicBezTo>
                  <a:pt x="36" y="394"/>
                  <a:pt x="36" y="394"/>
                  <a:pt x="36" y="394"/>
                </a:cubicBezTo>
                <a:cubicBezTo>
                  <a:pt x="33" y="395"/>
                  <a:pt x="32" y="397"/>
                  <a:pt x="30" y="398"/>
                </a:cubicBezTo>
                <a:cubicBezTo>
                  <a:pt x="28" y="399"/>
                  <a:pt x="27" y="400"/>
                  <a:pt x="25" y="401"/>
                </a:cubicBezTo>
                <a:cubicBezTo>
                  <a:pt x="23" y="402"/>
                  <a:pt x="21" y="403"/>
                  <a:pt x="20" y="403"/>
                </a:cubicBezTo>
                <a:cubicBezTo>
                  <a:pt x="17" y="404"/>
                  <a:pt x="16" y="405"/>
                  <a:pt x="14" y="405"/>
                </a:cubicBezTo>
                <a:cubicBezTo>
                  <a:pt x="14" y="405"/>
                  <a:pt x="14" y="405"/>
                  <a:pt x="14" y="415"/>
                </a:cubicBezTo>
                <a:cubicBezTo>
                  <a:pt x="17" y="414"/>
                  <a:pt x="20" y="414"/>
                  <a:pt x="22" y="412"/>
                </a:cubicBezTo>
                <a:cubicBezTo>
                  <a:pt x="25" y="411"/>
                  <a:pt x="27" y="410"/>
                  <a:pt x="29" y="409"/>
                </a:cubicBezTo>
                <a:cubicBezTo>
                  <a:pt x="29" y="409"/>
                  <a:pt x="29" y="409"/>
                  <a:pt x="29" y="467"/>
                </a:cubicBezTo>
                <a:cubicBezTo>
                  <a:pt x="29" y="467"/>
                  <a:pt x="29" y="467"/>
                  <a:pt x="41" y="467"/>
                </a:cubicBezTo>
                <a:cubicBezTo>
                  <a:pt x="41" y="467"/>
                  <a:pt x="41" y="467"/>
                  <a:pt x="41" y="394"/>
                </a:cubicBezTo>
                <a:close/>
                <a:moveTo>
                  <a:pt x="88" y="394"/>
                </a:moveTo>
                <a:cubicBezTo>
                  <a:pt x="88" y="394"/>
                  <a:pt x="88" y="394"/>
                  <a:pt x="88" y="394"/>
                </a:cubicBezTo>
                <a:cubicBezTo>
                  <a:pt x="83" y="394"/>
                  <a:pt x="83" y="394"/>
                  <a:pt x="83" y="394"/>
                </a:cubicBezTo>
                <a:cubicBezTo>
                  <a:pt x="81" y="395"/>
                  <a:pt x="79" y="397"/>
                  <a:pt x="77" y="398"/>
                </a:cubicBezTo>
                <a:cubicBezTo>
                  <a:pt x="76" y="399"/>
                  <a:pt x="74" y="400"/>
                  <a:pt x="72" y="401"/>
                </a:cubicBezTo>
                <a:cubicBezTo>
                  <a:pt x="71" y="402"/>
                  <a:pt x="69" y="403"/>
                  <a:pt x="67" y="403"/>
                </a:cubicBezTo>
                <a:cubicBezTo>
                  <a:pt x="65" y="404"/>
                  <a:pt x="63" y="405"/>
                  <a:pt x="61" y="405"/>
                </a:cubicBezTo>
                <a:cubicBezTo>
                  <a:pt x="61" y="405"/>
                  <a:pt x="61" y="405"/>
                  <a:pt x="61" y="415"/>
                </a:cubicBezTo>
                <a:cubicBezTo>
                  <a:pt x="64" y="414"/>
                  <a:pt x="67" y="414"/>
                  <a:pt x="69" y="412"/>
                </a:cubicBezTo>
                <a:cubicBezTo>
                  <a:pt x="72" y="411"/>
                  <a:pt x="74" y="410"/>
                  <a:pt x="77" y="409"/>
                </a:cubicBezTo>
                <a:cubicBezTo>
                  <a:pt x="77" y="409"/>
                  <a:pt x="77" y="409"/>
                  <a:pt x="77" y="467"/>
                </a:cubicBezTo>
                <a:cubicBezTo>
                  <a:pt x="77" y="467"/>
                  <a:pt x="77" y="467"/>
                  <a:pt x="88" y="467"/>
                </a:cubicBezTo>
                <a:cubicBezTo>
                  <a:pt x="88" y="467"/>
                  <a:pt x="88" y="467"/>
                  <a:pt x="88" y="394"/>
                </a:cubicBezTo>
                <a:close/>
                <a:moveTo>
                  <a:pt x="135" y="394"/>
                </a:moveTo>
                <a:cubicBezTo>
                  <a:pt x="135" y="394"/>
                  <a:pt x="135" y="394"/>
                  <a:pt x="135" y="394"/>
                </a:cubicBezTo>
                <a:cubicBezTo>
                  <a:pt x="130" y="394"/>
                  <a:pt x="130" y="394"/>
                  <a:pt x="130" y="394"/>
                </a:cubicBezTo>
                <a:cubicBezTo>
                  <a:pt x="128" y="395"/>
                  <a:pt x="127" y="397"/>
                  <a:pt x="125" y="398"/>
                </a:cubicBezTo>
                <a:cubicBezTo>
                  <a:pt x="123" y="399"/>
                  <a:pt x="121" y="400"/>
                  <a:pt x="120" y="401"/>
                </a:cubicBezTo>
                <a:cubicBezTo>
                  <a:pt x="117" y="401"/>
                  <a:pt x="116" y="402"/>
                  <a:pt x="114" y="403"/>
                </a:cubicBezTo>
                <a:cubicBezTo>
                  <a:pt x="112" y="403"/>
                  <a:pt x="110" y="404"/>
                  <a:pt x="109" y="405"/>
                </a:cubicBezTo>
                <a:cubicBezTo>
                  <a:pt x="109" y="405"/>
                  <a:pt x="109" y="405"/>
                  <a:pt x="109" y="415"/>
                </a:cubicBezTo>
                <a:cubicBezTo>
                  <a:pt x="112" y="414"/>
                  <a:pt x="115" y="413"/>
                  <a:pt x="117" y="412"/>
                </a:cubicBezTo>
                <a:cubicBezTo>
                  <a:pt x="119" y="411"/>
                  <a:pt x="122" y="410"/>
                  <a:pt x="123" y="409"/>
                </a:cubicBezTo>
                <a:cubicBezTo>
                  <a:pt x="123" y="409"/>
                  <a:pt x="123" y="409"/>
                  <a:pt x="123" y="467"/>
                </a:cubicBezTo>
                <a:cubicBezTo>
                  <a:pt x="123" y="467"/>
                  <a:pt x="123" y="467"/>
                  <a:pt x="135" y="467"/>
                </a:cubicBezTo>
                <a:cubicBezTo>
                  <a:pt x="135" y="467"/>
                  <a:pt x="135" y="467"/>
                  <a:pt x="135" y="394"/>
                </a:cubicBezTo>
                <a:close/>
                <a:moveTo>
                  <a:pt x="179" y="467"/>
                </a:moveTo>
                <a:cubicBezTo>
                  <a:pt x="172" y="467"/>
                  <a:pt x="166" y="464"/>
                  <a:pt x="161" y="459"/>
                </a:cubicBezTo>
                <a:cubicBezTo>
                  <a:pt x="158" y="452"/>
                  <a:pt x="155" y="443"/>
                  <a:pt x="155" y="431"/>
                </a:cubicBezTo>
                <a:cubicBezTo>
                  <a:pt x="155" y="417"/>
                  <a:pt x="158" y="408"/>
                  <a:pt x="162" y="401"/>
                </a:cubicBezTo>
                <a:cubicBezTo>
                  <a:pt x="166" y="395"/>
                  <a:pt x="173" y="391"/>
                  <a:pt x="182" y="391"/>
                </a:cubicBezTo>
                <a:cubicBezTo>
                  <a:pt x="198" y="391"/>
                  <a:pt x="206" y="404"/>
                  <a:pt x="206" y="429"/>
                </a:cubicBezTo>
                <a:cubicBezTo>
                  <a:pt x="206" y="442"/>
                  <a:pt x="204" y="451"/>
                  <a:pt x="198" y="458"/>
                </a:cubicBezTo>
                <a:cubicBezTo>
                  <a:pt x="194" y="464"/>
                  <a:pt x="188" y="467"/>
                  <a:pt x="179" y="467"/>
                </a:cubicBezTo>
                <a:close/>
                <a:moveTo>
                  <a:pt x="181" y="401"/>
                </a:moveTo>
                <a:cubicBezTo>
                  <a:pt x="171" y="401"/>
                  <a:pt x="167" y="411"/>
                  <a:pt x="167" y="431"/>
                </a:cubicBezTo>
                <a:cubicBezTo>
                  <a:pt x="167" y="449"/>
                  <a:pt x="171" y="458"/>
                  <a:pt x="180" y="458"/>
                </a:cubicBezTo>
                <a:cubicBezTo>
                  <a:pt x="189" y="458"/>
                  <a:pt x="193" y="449"/>
                  <a:pt x="193" y="430"/>
                </a:cubicBezTo>
                <a:cubicBezTo>
                  <a:pt x="193" y="410"/>
                  <a:pt x="189" y="401"/>
                  <a:pt x="181" y="401"/>
                </a:cubicBezTo>
                <a:close/>
                <a:moveTo>
                  <a:pt x="251" y="467"/>
                </a:moveTo>
                <a:cubicBezTo>
                  <a:pt x="243" y="467"/>
                  <a:pt x="237" y="464"/>
                  <a:pt x="233" y="459"/>
                </a:cubicBezTo>
                <a:cubicBezTo>
                  <a:pt x="229" y="452"/>
                  <a:pt x="226" y="443"/>
                  <a:pt x="226" y="431"/>
                </a:cubicBezTo>
                <a:cubicBezTo>
                  <a:pt x="226" y="417"/>
                  <a:pt x="229" y="408"/>
                  <a:pt x="233" y="401"/>
                </a:cubicBezTo>
                <a:cubicBezTo>
                  <a:pt x="237" y="395"/>
                  <a:pt x="244" y="391"/>
                  <a:pt x="253" y="391"/>
                </a:cubicBezTo>
                <a:cubicBezTo>
                  <a:pt x="269" y="391"/>
                  <a:pt x="277" y="404"/>
                  <a:pt x="277" y="429"/>
                </a:cubicBezTo>
                <a:cubicBezTo>
                  <a:pt x="277" y="442"/>
                  <a:pt x="275" y="451"/>
                  <a:pt x="270" y="458"/>
                </a:cubicBezTo>
                <a:cubicBezTo>
                  <a:pt x="265" y="464"/>
                  <a:pt x="259" y="467"/>
                  <a:pt x="251" y="467"/>
                </a:cubicBezTo>
                <a:close/>
                <a:moveTo>
                  <a:pt x="252" y="401"/>
                </a:moveTo>
                <a:cubicBezTo>
                  <a:pt x="243" y="401"/>
                  <a:pt x="238" y="411"/>
                  <a:pt x="238" y="431"/>
                </a:cubicBezTo>
                <a:cubicBezTo>
                  <a:pt x="238" y="449"/>
                  <a:pt x="242" y="458"/>
                  <a:pt x="251" y="458"/>
                </a:cubicBezTo>
                <a:cubicBezTo>
                  <a:pt x="260" y="458"/>
                  <a:pt x="264" y="449"/>
                  <a:pt x="264" y="430"/>
                </a:cubicBezTo>
                <a:cubicBezTo>
                  <a:pt x="264" y="410"/>
                  <a:pt x="260" y="401"/>
                  <a:pt x="252" y="401"/>
                </a:cubicBezTo>
                <a:close/>
                <a:moveTo>
                  <a:pt x="463" y="467"/>
                </a:moveTo>
                <a:cubicBezTo>
                  <a:pt x="456" y="467"/>
                  <a:pt x="450" y="464"/>
                  <a:pt x="446" y="458"/>
                </a:cubicBezTo>
                <a:cubicBezTo>
                  <a:pt x="441" y="452"/>
                  <a:pt x="439" y="442"/>
                  <a:pt x="439" y="431"/>
                </a:cubicBezTo>
                <a:cubicBezTo>
                  <a:pt x="439" y="417"/>
                  <a:pt x="441" y="408"/>
                  <a:pt x="446" y="401"/>
                </a:cubicBezTo>
                <a:cubicBezTo>
                  <a:pt x="450" y="394"/>
                  <a:pt x="457" y="391"/>
                  <a:pt x="466" y="391"/>
                </a:cubicBezTo>
                <a:cubicBezTo>
                  <a:pt x="482" y="391"/>
                  <a:pt x="490" y="404"/>
                  <a:pt x="490" y="429"/>
                </a:cubicBezTo>
                <a:cubicBezTo>
                  <a:pt x="490" y="442"/>
                  <a:pt x="488" y="451"/>
                  <a:pt x="483" y="458"/>
                </a:cubicBezTo>
                <a:cubicBezTo>
                  <a:pt x="478" y="464"/>
                  <a:pt x="472" y="467"/>
                  <a:pt x="463" y="467"/>
                </a:cubicBezTo>
                <a:close/>
                <a:moveTo>
                  <a:pt x="465" y="401"/>
                </a:moveTo>
                <a:cubicBezTo>
                  <a:pt x="456" y="401"/>
                  <a:pt x="452" y="410"/>
                  <a:pt x="452" y="430"/>
                </a:cubicBezTo>
                <a:cubicBezTo>
                  <a:pt x="452" y="448"/>
                  <a:pt x="456" y="458"/>
                  <a:pt x="465" y="458"/>
                </a:cubicBezTo>
                <a:cubicBezTo>
                  <a:pt x="473" y="458"/>
                  <a:pt x="477" y="448"/>
                  <a:pt x="477" y="430"/>
                </a:cubicBezTo>
                <a:cubicBezTo>
                  <a:pt x="477" y="410"/>
                  <a:pt x="474" y="401"/>
                  <a:pt x="465" y="401"/>
                </a:cubicBezTo>
                <a:close/>
                <a:moveTo>
                  <a:pt x="582" y="467"/>
                </a:moveTo>
                <a:cubicBezTo>
                  <a:pt x="574" y="467"/>
                  <a:pt x="569" y="464"/>
                  <a:pt x="564" y="458"/>
                </a:cubicBezTo>
                <a:cubicBezTo>
                  <a:pt x="560" y="452"/>
                  <a:pt x="558" y="442"/>
                  <a:pt x="558" y="431"/>
                </a:cubicBezTo>
                <a:cubicBezTo>
                  <a:pt x="558" y="417"/>
                  <a:pt x="560" y="408"/>
                  <a:pt x="564" y="401"/>
                </a:cubicBezTo>
                <a:cubicBezTo>
                  <a:pt x="569" y="394"/>
                  <a:pt x="575" y="391"/>
                  <a:pt x="584" y="391"/>
                </a:cubicBezTo>
                <a:cubicBezTo>
                  <a:pt x="600" y="391"/>
                  <a:pt x="608" y="404"/>
                  <a:pt x="608" y="429"/>
                </a:cubicBezTo>
                <a:cubicBezTo>
                  <a:pt x="608" y="442"/>
                  <a:pt x="606" y="451"/>
                  <a:pt x="601" y="458"/>
                </a:cubicBezTo>
                <a:cubicBezTo>
                  <a:pt x="596" y="464"/>
                  <a:pt x="590" y="467"/>
                  <a:pt x="582" y="467"/>
                </a:cubicBezTo>
                <a:close/>
                <a:moveTo>
                  <a:pt x="583" y="401"/>
                </a:moveTo>
                <a:cubicBezTo>
                  <a:pt x="574" y="401"/>
                  <a:pt x="570" y="410"/>
                  <a:pt x="570" y="430"/>
                </a:cubicBezTo>
                <a:cubicBezTo>
                  <a:pt x="570" y="448"/>
                  <a:pt x="574" y="458"/>
                  <a:pt x="583" y="458"/>
                </a:cubicBezTo>
                <a:cubicBezTo>
                  <a:pt x="591" y="458"/>
                  <a:pt x="596" y="448"/>
                  <a:pt x="596" y="430"/>
                </a:cubicBezTo>
                <a:cubicBezTo>
                  <a:pt x="596" y="410"/>
                  <a:pt x="592" y="401"/>
                  <a:pt x="583" y="401"/>
                </a:cubicBezTo>
                <a:close/>
                <a:moveTo>
                  <a:pt x="537" y="394"/>
                </a:moveTo>
                <a:cubicBezTo>
                  <a:pt x="537" y="394"/>
                  <a:pt x="537" y="394"/>
                  <a:pt x="537" y="394"/>
                </a:cubicBezTo>
                <a:cubicBezTo>
                  <a:pt x="532" y="394"/>
                  <a:pt x="532" y="394"/>
                  <a:pt x="532" y="394"/>
                </a:cubicBezTo>
                <a:cubicBezTo>
                  <a:pt x="530" y="395"/>
                  <a:pt x="528" y="397"/>
                  <a:pt x="526" y="398"/>
                </a:cubicBezTo>
                <a:cubicBezTo>
                  <a:pt x="525" y="399"/>
                  <a:pt x="522" y="400"/>
                  <a:pt x="521" y="401"/>
                </a:cubicBezTo>
                <a:cubicBezTo>
                  <a:pt x="520" y="401"/>
                  <a:pt x="517" y="402"/>
                  <a:pt x="516" y="403"/>
                </a:cubicBezTo>
                <a:cubicBezTo>
                  <a:pt x="514" y="403"/>
                  <a:pt x="512" y="404"/>
                  <a:pt x="510" y="405"/>
                </a:cubicBezTo>
                <a:cubicBezTo>
                  <a:pt x="510" y="405"/>
                  <a:pt x="510" y="405"/>
                  <a:pt x="510" y="415"/>
                </a:cubicBezTo>
                <a:cubicBezTo>
                  <a:pt x="513" y="414"/>
                  <a:pt x="516" y="413"/>
                  <a:pt x="518" y="412"/>
                </a:cubicBezTo>
                <a:cubicBezTo>
                  <a:pt x="521" y="411"/>
                  <a:pt x="523" y="410"/>
                  <a:pt x="525" y="409"/>
                </a:cubicBezTo>
                <a:cubicBezTo>
                  <a:pt x="525" y="409"/>
                  <a:pt x="525" y="409"/>
                  <a:pt x="525" y="467"/>
                </a:cubicBezTo>
                <a:cubicBezTo>
                  <a:pt x="525" y="467"/>
                  <a:pt x="525" y="467"/>
                  <a:pt x="537" y="467"/>
                </a:cubicBezTo>
                <a:cubicBezTo>
                  <a:pt x="537" y="467"/>
                  <a:pt x="537" y="467"/>
                  <a:pt x="537" y="394"/>
                </a:cubicBezTo>
                <a:close/>
                <a:moveTo>
                  <a:pt x="653" y="467"/>
                </a:moveTo>
                <a:cubicBezTo>
                  <a:pt x="645" y="467"/>
                  <a:pt x="638" y="464"/>
                  <a:pt x="635" y="459"/>
                </a:cubicBezTo>
                <a:cubicBezTo>
                  <a:pt x="630" y="452"/>
                  <a:pt x="628" y="443"/>
                  <a:pt x="628" y="431"/>
                </a:cubicBezTo>
                <a:cubicBezTo>
                  <a:pt x="628" y="417"/>
                  <a:pt x="630" y="408"/>
                  <a:pt x="635" y="401"/>
                </a:cubicBezTo>
                <a:cubicBezTo>
                  <a:pt x="639" y="395"/>
                  <a:pt x="646" y="391"/>
                  <a:pt x="655" y="391"/>
                </a:cubicBezTo>
                <a:cubicBezTo>
                  <a:pt x="671" y="391"/>
                  <a:pt x="679" y="404"/>
                  <a:pt x="679" y="429"/>
                </a:cubicBezTo>
                <a:cubicBezTo>
                  <a:pt x="679" y="442"/>
                  <a:pt x="677" y="451"/>
                  <a:pt x="672" y="458"/>
                </a:cubicBezTo>
                <a:cubicBezTo>
                  <a:pt x="667" y="464"/>
                  <a:pt x="661" y="467"/>
                  <a:pt x="653" y="467"/>
                </a:cubicBezTo>
                <a:close/>
                <a:moveTo>
                  <a:pt x="654" y="401"/>
                </a:moveTo>
                <a:cubicBezTo>
                  <a:pt x="645" y="401"/>
                  <a:pt x="640" y="411"/>
                  <a:pt x="640" y="431"/>
                </a:cubicBezTo>
                <a:cubicBezTo>
                  <a:pt x="640" y="449"/>
                  <a:pt x="644" y="458"/>
                  <a:pt x="653" y="458"/>
                </a:cubicBezTo>
                <a:cubicBezTo>
                  <a:pt x="662" y="458"/>
                  <a:pt x="667" y="449"/>
                  <a:pt x="667" y="430"/>
                </a:cubicBezTo>
                <a:cubicBezTo>
                  <a:pt x="667" y="410"/>
                  <a:pt x="662" y="401"/>
                  <a:pt x="654" y="401"/>
                </a:cubicBezTo>
                <a:close/>
                <a:moveTo>
                  <a:pt x="700" y="426"/>
                </a:moveTo>
                <a:cubicBezTo>
                  <a:pt x="700" y="426"/>
                  <a:pt x="700" y="426"/>
                  <a:pt x="700" y="426"/>
                </a:cubicBezTo>
                <a:cubicBezTo>
                  <a:pt x="699" y="435"/>
                  <a:pt x="699" y="435"/>
                  <a:pt x="699" y="435"/>
                </a:cubicBezTo>
                <a:cubicBezTo>
                  <a:pt x="706" y="435"/>
                  <a:pt x="706" y="438"/>
                  <a:pt x="706" y="440"/>
                </a:cubicBezTo>
                <a:cubicBezTo>
                  <a:pt x="706" y="443"/>
                  <a:pt x="706" y="445"/>
                  <a:pt x="706" y="448"/>
                </a:cubicBezTo>
                <a:cubicBezTo>
                  <a:pt x="706" y="450"/>
                  <a:pt x="705" y="452"/>
                  <a:pt x="705" y="455"/>
                </a:cubicBezTo>
                <a:cubicBezTo>
                  <a:pt x="705" y="464"/>
                  <a:pt x="711" y="467"/>
                  <a:pt x="720" y="467"/>
                </a:cubicBezTo>
                <a:cubicBezTo>
                  <a:pt x="720" y="467"/>
                  <a:pt x="720" y="467"/>
                  <a:pt x="724" y="467"/>
                </a:cubicBezTo>
                <a:cubicBezTo>
                  <a:pt x="724" y="467"/>
                  <a:pt x="724" y="467"/>
                  <a:pt x="724" y="458"/>
                </a:cubicBezTo>
                <a:cubicBezTo>
                  <a:pt x="724" y="458"/>
                  <a:pt x="724" y="458"/>
                  <a:pt x="722" y="458"/>
                </a:cubicBezTo>
                <a:cubicBezTo>
                  <a:pt x="718" y="458"/>
                  <a:pt x="717" y="456"/>
                  <a:pt x="717" y="452"/>
                </a:cubicBezTo>
                <a:cubicBezTo>
                  <a:pt x="717" y="451"/>
                  <a:pt x="717" y="449"/>
                  <a:pt x="718" y="448"/>
                </a:cubicBezTo>
                <a:cubicBezTo>
                  <a:pt x="718" y="446"/>
                  <a:pt x="718" y="444"/>
                  <a:pt x="718" y="442"/>
                </a:cubicBezTo>
                <a:cubicBezTo>
                  <a:pt x="718" y="434"/>
                  <a:pt x="715" y="432"/>
                  <a:pt x="709" y="430"/>
                </a:cubicBezTo>
                <a:cubicBezTo>
                  <a:pt x="709" y="430"/>
                  <a:pt x="709" y="430"/>
                  <a:pt x="709" y="430"/>
                </a:cubicBezTo>
                <a:cubicBezTo>
                  <a:pt x="715" y="429"/>
                  <a:pt x="718" y="427"/>
                  <a:pt x="718" y="419"/>
                </a:cubicBezTo>
                <a:cubicBezTo>
                  <a:pt x="718" y="417"/>
                  <a:pt x="718" y="415"/>
                  <a:pt x="718" y="413"/>
                </a:cubicBezTo>
                <a:cubicBezTo>
                  <a:pt x="717" y="411"/>
                  <a:pt x="717" y="409"/>
                  <a:pt x="717" y="408"/>
                </a:cubicBezTo>
                <a:cubicBezTo>
                  <a:pt x="717" y="405"/>
                  <a:pt x="718" y="402"/>
                  <a:pt x="722" y="402"/>
                </a:cubicBezTo>
                <a:cubicBezTo>
                  <a:pt x="722" y="402"/>
                  <a:pt x="722" y="402"/>
                  <a:pt x="724" y="402"/>
                </a:cubicBezTo>
                <a:cubicBezTo>
                  <a:pt x="724" y="402"/>
                  <a:pt x="724" y="402"/>
                  <a:pt x="724" y="393"/>
                </a:cubicBezTo>
                <a:cubicBezTo>
                  <a:pt x="724" y="393"/>
                  <a:pt x="724" y="393"/>
                  <a:pt x="720" y="393"/>
                </a:cubicBezTo>
                <a:cubicBezTo>
                  <a:pt x="711" y="393"/>
                  <a:pt x="705" y="397"/>
                  <a:pt x="705" y="406"/>
                </a:cubicBezTo>
                <a:cubicBezTo>
                  <a:pt x="705" y="408"/>
                  <a:pt x="706" y="411"/>
                  <a:pt x="706" y="413"/>
                </a:cubicBezTo>
                <a:cubicBezTo>
                  <a:pt x="706" y="415"/>
                  <a:pt x="706" y="418"/>
                  <a:pt x="706" y="420"/>
                </a:cubicBezTo>
                <a:cubicBezTo>
                  <a:pt x="706" y="423"/>
                  <a:pt x="706" y="426"/>
                  <a:pt x="700" y="426"/>
                </a:cubicBezTo>
                <a:close/>
                <a:moveTo>
                  <a:pt x="754" y="435"/>
                </a:moveTo>
                <a:cubicBezTo>
                  <a:pt x="754" y="435"/>
                  <a:pt x="754" y="435"/>
                  <a:pt x="754" y="435"/>
                </a:cubicBezTo>
                <a:cubicBezTo>
                  <a:pt x="754" y="426"/>
                  <a:pt x="754" y="426"/>
                  <a:pt x="754" y="426"/>
                </a:cubicBezTo>
                <a:cubicBezTo>
                  <a:pt x="748" y="426"/>
                  <a:pt x="748" y="423"/>
                  <a:pt x="748" y="420"/>
                </a:cubicBezTo>
                <a:cubicBezTo>
                  <a:pt x="748" y="418"/>
                  <a:pt x="748" y="415"/>
                  <a:pt x="748" y="413"/>
                </a:cubicBezTo>
                <a:cubicBezTo>
                  <a:pt x="749" y="411"/>
                  <a:pt x="749" y="408"/>
                  <a:pt x="749" y="406"/>
                </a:cubicBezTo>
                <a:cubicBezTo>
                  <a:pt x="749" y="397"/>
                  <a:pt x="743" y="393"/>
                  <a:pt x="734" y="393"/>
                </a:cubicBezTo>
                <a:cubicBezTo>
                  <a:pt x="734" y="393"/>
                  <a:pt x="734" y="393"/>
                  <a:pt x="730" y="393"/>
                </a:cubicBezTo>
                <a:cubicBezTo>
                  <a:pt x="730" y="393"/>
                  <a:pt x="730" y="393"/>
                  <a:pt x="730" y="402"/>
                </a:cubicBezTo>
                <a:cubicBezTo>
                  <a:pt x="730" y="402"/>
                  <a:pt x="730" y="402"/>
                  <a:pt x="732" y="402"/>
                </a:cubicBezTo>
                <a:cubicBezTo>
                  <a:pt x="736" y="402"/>
                  <a:pt x="737" y="405"/>
                  <a:pt x="737" y="408"/>
                </a:cubicBezTo>
                <a:cubicBezTo>
                  <a:pt x="737" y="409"/>
                  <a:pt x="737" y="411"/>
                  <a:pt x="737" y="413"/>
                </a:cubicBezTo>
                <a:cubicBezTo>
                  <a:pt x="736" y="415"/>
                  <a:pt x="736" y="417"/>
                  <a:pt x="736" y="419"/>
                </a:cubicBezTo>
                <a:cubicBezTo>
                  <a:pt x="736" y="427"/>
                  <a:pt x="739" y="429"/>
                  <a:pt x="745" y="430"/>
                </a:cubicBezTo>
                <a:cubicBezTo>
                  <a:pt x="745" y="430"/>
                  <a:pt x="745" y="430"/>
                  <a:pt x="745" y="430"/>
                </a:cubicBezTo>
                <a:cubicBezTo>
                  <a:pt x="739" y="432"/>
                  <a:pt x="736" y="434"/>
                  <a:pt x="736" y="442"/>
                </a:cubicBezTo>
                <a:cubicBezTo>
                  <a:pt x="736" y="444"/>
                  <a:pt x="736" y="446"/>
                  <a:pt x="737" y="448"/>
                </a:cubicBezTo>
                <a:cubicBezTo>
                  <a:pt x="737" y="449"/>
                  <a:pt x="737" y="451"/>
                  <a:pt x="737" y="452"/>
                </a:cubicBezTo>
                <a:cubicBezTo>
                  <a:pt x="737" y="456"/>
                  <a:pt x="736" y="458"/>
                  <a:pt x="732" y="458"/>
                </a:cubicBezTo>
                <a:cubicBezTo>
                  <a:pt x="732" y="458"/>
                  <a:pt x="732" y="458"/>
                  <a:pt x="730" y="458"/>
                </a:cubicBezTo>
                <a:cubicBezTo>
                  <a:pt x="730" y="458"/>
                  <a:pt x="730" y="458"/>
                  <a:pt x="730" y="467"/>
                </a:cubicBezTo>
                <a:cubicBezTo>
                  <a:pt x="730" y="467"/>
                  <a:pt x="730" y="467"/>
                  <a:pt x="734" y="467"/>
                </a:cubicBezTo>
                <a:cubicBezTo>
                  <a:pt x="743" y="467"/>
                  <a:pt x="749" y="464"/>
                  <a:pt x="749" y="455"/>
                </a:cubicBezTo>
                <a:cubicBezTo>
                  <a:pt x="749" y="452"/>
                  <a:pt x="749" y="450"/>
                  <a:pt x="748" y="448"/>
                </a:cubicBezTo>
                <a:cubicBezTo>
                  <a:pt x="748" y="445"/>
                  <a:pt x="748" y="443"/>
                  <a:pt x="748" y="440"/>
                </a:cubicBezTo>
                <a:cubicBezTo>
                  <a:pt x="748" y="438"/>
                  <a:pt x="748" y="435"/>
                  <a:pt x="754" y="435"/>
                </a:cubicBezTo>
                <a:close/>
                <a:moveTo>
                  <a:pt x="875" y="467"/>
                </a:moveTo>
                <a:cubicBezTo>
                  <a:pt x="867" y="467"/>
                  <a:pt x="861" y="464"/>
                  <a:pt x="856" y="459"/>
                </a:cubicBezTo>
                <a:cubicBezTo>
                  <a:pt x="853" y="452"/>
                  <a:pt x="850" y="443"/>
                  <a:pt x="850" y="431"/>
                </a:cubicBezTo>
                <a:cubicBezTo>
                  <a:pt x="850" y="417"/>
                  <a:pt x="853" y="408"/>
                  <a:pt x="857" y="401"/>
                </a:cubicBezTo>
                <a:cubicBezTo>
                  <a:pt x="861" y="395"/>
                  <a:pt x="868" y="391"/>
                  <a:pt x="877" y="391"/>
                </a:cubicBezTo>
                <a:cubicBezTo>
                  <a:pt x="893" y="391"/>
                  <a:pt x="901" y="404"/>
                  <a:pt x="901" y="429"/>
                </a:cubicBezTo>
                <a:cubicBezTo>
                  <a:pt x="901" y="442"/>
                  <a:pt x="899" y="451"/>
                  <a:pt x="894" y="458"/>
                </a:cubicBezTo>
                <a:cubicBezTo>
                  <a:pt x="889" y="464"/>
                  <a:pt x="883" y="467"/>
                  <a:pt x="875" y="467"/>
                </a:cubicBezTo>
                <a:close/>
                <a:moveTo>
                  <a:pt x="876" y="401"/>
                </a:moveTo>
                <a:cubicBezTo>
                  <a:pt x="867" y="401"/>
                  <a:pt x="862" y="411"/>
                  <a:pt x="862" y="431"/>
                </a:cubicBezTo>
                <a:cubicBezTo>
                  <a:pt x="862" y="449"/>
                  <a:pt x="867" y="458"/>
                  <a:pt x="875" y="458"/>
                </a:cubicBezTo>
                <a:cubicBezTo>
                  <a:pt x="884" y="458"/>
                  <a:pt x="889" y="449"/>
                  <a:pt x="889" y="430"/>
                </a:cubicBezTo>
                <a:cubicBezTo>
                  <a:pt x="889" y="410"/>
                  <a:pt x="884" y="401"/>
                  <a:pt x="876" y="401"/>
                </a:cubicBezTo>
                <a:close/>
                <a:moveTo>
                  <a:pt x="949" y="394"/>
                </a:moveTo>
                <a:cubicBezTo>
                  <a:pt x="949" y="394"/>
                  <a:pt x="949" y="394"/>
                  <a:pt x="949" y="394"/>
                </a:cubicBezTo>
                <a:cubicBezTo>
                  <a:pt x="944" y="394"/>
                  <a:pt x="944" y="394"/>
                  <a:pt x="944" y="394"/>
                </a:cubicBezTo>
                <a:cubicBezTo>
                  <a:pt x="941" y="395"/>
                  <a:pt x="940" y="397"/>
                  <a:pt x="938" y="398"/>
                </a:cubicBezTo>
                <a:cubicBezTo>
                  <a:pt x="936" y="399"/>
                  <a:pt x="934" y="400"/>
                  <a:pt x="933" y="401"/>
                </a:cubicBezTo>
                <a:cubicBezTo>
                  <a:pt x="930" y="401"/>
                  <a:pt x="929" y="402"/>
                  <a:pt x="927" y="403"/>
                </a:cubicBezTo>
                <a:cubicBezTo>
                  <a:pt x="925" y="403"/>
                  <a:pt x="924" y="404"/>
                  <a:pt x="921" y="405"/>
                </a:cubicBezTo>
                <a:cubicBezTo>
                  <a:pt x="921" y="405"/>
                  <a:pt x="921" y="405"/>
                  <a:pt x="921" y="415"/>
                </a:cubicBezTo>
                <a:cubicBezTo>
                  <a:pt x="924" y="414"/>
                  <a:pt x="927" y="413"/>
                  <a:pt x="930" y="412"/>
                </a:cubicBezTo>
                <a:cubicBezTo>
                  <a:pt x="933" y="411"/>
                  <a:pt x="935" y="410"/>
                  <a:pt x="937" y="409"/>
                </a:cubicBezTo>
                <a:cubicBezTo>
                  <a:pt x="937" y="409"/>
                  <a:pt x="937" y="409"/>
                  <a:pt x="937" y="467"/>
                </a:cubicBezTo>
                <a:cubicBezTo>
                  <a:pt x="937" y="467"/>
                  <a:pt x="937" y="467"/>
                  <a:pt x="949" y="467"/>
                </a:cubicBezTo>
                <a:cubicBezTo>
                  <a:pt x="949" y="467"/>
                  <a:pt x="949" y="467"/>
                  <a:pt x="949" y="394"/>
                </a:cubicBezTo>
                <a:close/>
                <a:moveTo>
                  <a:pt x="781" y="467"/>
                </a:moveTo>
                <a:cubicBezTo>
                  <a:pt x="784" y="448"/>
                  <a:pt x="784" y="448"/>
                  <a:pt x="784" y="448"/>
                </a:cubicBezTo>
                <a:cubicBezTo>
                  <a:pt x="775" y="448"/>
                  <a:pt x="775" y="448"/>
                  <a:pt x="775" y="448"/>
                </a:cubicBezTo>
                <a:cubicBezTo>
                  <a:pt x="775" y="436"/>
                  <a:pt x="775" y="436"/>
                  <a:pt x="775" y="436"/>
                </a:cubicBezTo>
                <a:cubicBezTo>
                  <a:pt x="786" y="436"/>
                  <a:pt x="786" y="436"/>
                  <a:pt x="786" y="436"/>
                </a:cubicBezTo>
                <a:cubicBezTo>
                  <a:pt x="787" y="425"/>
                  <a:pt x="787" y="425"/>
                  <a:pt x="787" y="425"/>
                </a:cubicBezTo>
                <a:cubicBezTo>
                  <a:pt x="778" y="425"/>
                  <a:pt x="778" y="425"/>
                  <a:pt x="778" y="425"/>
                </a:cubicBezTo>
                <a:cubicBezTo>
                  <a:pt x="778" y="413"/>
                  <a:pt x="778" y="413"/>
                  <a:pt x="778" y="413"/>
                </a:cubicBezTo>
                <a:cubicBezTo>
                  <a:pt x="789" y="413"/>
                  <a:pt x="789" y="413"/>
                  <a:pt x="789" y="413"/>
                </a:cubicBezTo>
                <a:cubicBezTo>
                  <a:pt x="792" y="395"/>
                  <a:pt x="792" y="395"/>
                  <a:pt x="792" y="395"/>
                </a:cubicBezTo>
                <a:cubicBezTo>
                  <a:pt x="803" y="395"/>
                  <a:pt x="803" y="395"/>
                  <a:pt x="803" y="395"/>
                </a:cubicBezTo>
                <a:cubicBezTo>
                  <a:pt x="800" y="413"/>
                  <a:pt x="800" y="413"/>
                  <a:pt x="800" y="413"/>
                </a:cubicBezTo>
                <a:cubicBezTo>
                  <a:pt x="810" y="413"/>
                  <a:pt x="810" y="413"/>
                  <a:pt x="810" y="413"/>
                </a:cubicBezTo>
                <a:cubicBezTo>
                  <a:pt x="813" y="395"/>
                  <a:pt x="813" y="395"/>
                  <a:pt x="813" y="395"/>
                </a:cubicBezTo>
                <a:cubicBezTo>
                  <a:pt x="824" y="395"/>
                  <a:pt x="824" y="395"/>
                  <a:pt x="824" y="395"/>
                </a:cubicBezTo>
                <a:cubicBezTo>
                  <a:pt x="821" y="413"/>
                  <a:pt x="821" y="413"/>
                  <a:pt x="821" y="413"/>
                </a:cubicBezTo>
                <a:cubicBezTo>
                  <a:pt x="830" y="413"/>
                  <a:pt x="830" y="413"/>
                  <a:pt x="830" y="413"/>
                </a:cubicBezTo>
                <a:cubicBezTo>
                  <a:pt x="830" y="425"/>
                  <a:pt x="830" y="425"/>
                  <a:pt x="830" y="425"/>
                </a:cubicBezTo>
                <a:cubicBezTo>
                  <a:pt x="820" y="425"/>
                  <a:pt x="820" y="425"/>
                  <a:pt x="820" y="425"/>
                </a:cubicBezTo>
                <a:cubicBezTo>
                  <a:pt x="818" y="436"/>
                  <a:pt x="818" y="436"/>
                  <a:pt x="818" y="436"/>
                </a:cubicBezTo>
                <a:cubicBezTo>
                  <a:pt x="827" y="436"/>
                  <a:pt x="827" y="436"/>
                  <a:pt x="827" y="436"/>
                </a:cubicBezTo>
                <a:cubicBezTo>
                  <a:pt x="827" y="448"/>
                  <a:pt x="827" y="448"/>
                  <a:pt x="827" y="448"/>
                </a:cubicBezTo>
                <a:cubicBezTo>
                  <a:pt x="816" y="448"/>
                  <a:pt x="816" y="448"/>
                  <a:pt x="816" y="448"/>
                </a:cubicBezTo>
                <a:cubicBezTo>
                  <a:pt x="813" y="467"/>
                  <a:pt x="813" y="467"/>
                  <a:pt x="813" y="467"/>
                </a:cubicBezTo>
                <a:cubicBezTo>
                  <a:pt x="802" y="467"/>
                  <a:pt x="802" y="467"/>
                  <a:pt x="802" y="467"/>
                </a:cubicBezTo>
                <a:cubicBezTo>
                  <a:pt x="805" y="448"/>
                  <a:pt x="805" y="448"/>
                  <a:pt x="805" y="448"/>
                </a:cubicBezTo>
                <a:cubicBezTo>
                  <a:pt x="795" y="448"/>
                  <a:pt x="795" y="448"/>
                  <a:pt x="795" y="448"/>
                </a:cubicBezTo>
                <a:cubicBezTo>
                  <a:pt x="792" y="467"/>
                  <a:pt x="792" y="467"/>
                  <a:pt x="792" y="467"/>
                </a:cubicBezTo>
                <a:cubicBezTo>
                  <a:pt x="781" y="467"/>
                  <a:pt x="781" y="467"/>
                  <a:pt x="781" y="467"/>
                </a:cubicBezTo>
                <a:cubicBezTo>
                  <a:pt x="781" y="467"/>
                  <a:pt x="781" y="467"/>
                  <a:pt x="781" y="467"/>
                </a:cubicBezTo>
                <a:close/>
                <a:moveTo>
                  <a:pt x="807" y="436"/>
                </a:moveTo>
                <a:cubicBezTo>
                  <a:pt x="808" y="425"/>
                  <a:pt x="808" y="425"/>
                  <a:pt x="808" y="425"/>
                </a:cubicBezTo>
                <a:cubicBezTo>
                  <a:pt x="799" y="425"/>
                  <a:pt x="799" y="425"/>
                  <a:pt x="799" y="425"/>
                </a:cubicBezTo>
                <a:cubicBezTo>
                  <a:pt x="797" y="436"/>
                  <a:pt x="797" y="436"/>
                  <a:pt x="797" y="436"/>
                </a:cubicBezTo>
                <a:cubicBezTo>
                  <a:pt x="807" y="436"/>
                  <a:pt x="807" y="436"/>
                  <a:pt x="807" y="436"/>
                </a:cubicBezTo>
                <a:cubicBezTo>
                  <a:pt x="807" y="436"/>
                  <a:pt x="807" y="436"/>
                  <a:pt x="807" y="436"/>
                </a:cubicBezTo>
                <a:close/>
                <a:moveTo>
                  <a:pt x="325" y="394"/>
                </a:moveTo>
                <a:cubicBezTo>
                  <a:pt x="325" y="394"/>
                  <a:pt x="325" y="394"/>
                  <a:pt x="325" y="394"/>
                </a:cubicBezTo>
                <a:cubicBezTo>
                  <a:pt x="320" y="394"/>
                  <a:pt x="320" y="394"/>
                  <a:pt x="320" y="394"/>
                </a:cubicBezTo>
                <a:cubicBezTo>
                  <a:pt x="317" y="395"/>
                  <a:pt x="316" y="397"/>
                  <a:pt x="314" y="398"/>
                </a:cubicBezTo>
                <a:cubicBezTo>
                  <a:pt x="312" y="399"/>
                  <a:pt x="311" y="400"/>
                  <a:pt x="309" y="401"/>
                </a:cubicBezTo>
                <a:cubicBezTo>
                  <a:pt x="307" y="402"/>
                  <a:pt x="305" y="403"/>
                  <a:pt x="303" y="403"/>
                </a:cubicBezTo>
                <a:cubicBezTo>
                  <a:pt x="301" y="404"/>
                  <a:pt x="300" y="405"/>
                  <a:pt x="297" y="405"/>
                </a:cubicBezTo>
                <a:cubicBezTo>
                  <a:pt x="297" y="405"/>
                  <a:pt x="297" y="405"/>
                  <a:pt x="297" y="415"/>
                </a:cubicBezTo>
                <a:cubicBezTo>
                  <a:pt x="300" y="414"/>
                  <a:pt x="303" y="414"/>
                  <a:pt x="306" y="412"/>
                </a:cubicBezTo>
                <a:cubicBezTo>
                  <a:pt x="309" y="411"/>
                  <a:pt x="311" y="410"/>
                  <a:pt x="313" y="409"/>
                </a:cubicBezTo>
                <a:cubicBezTo>
                  <a:pt x="313" y="409"/>
                  <a:pt x="313" y="409"/>
                  <a:pt x="313" y="467"/>
                </a:cubicBezTo>
                <a:cubicBezTo>
                  <a:pt x="313" y="467"/>
                  <a:pt x="313" y="467"/>
                  <a:pt x="325" y="467"/>
                </a:cubicBezTo>
                <a:cubicBezTo>
                  <a:pt x="325" y="467"/>
                  <a:pt x="325" y="467"/>
                  <a:pt x="325" y="394"/>
                </a:cubicBezTo>
                <a:close/>
                <a:moveTo>
                  <a:pt x="372" y="394"/>
                </a:moveTo>
                <a:cubicBezTo>
                  <a:pt x="372" y="394"/>
                  <a:pt x="372" y="394"/>
                  <a:pt x="372" y="394"/>
                </a:cubicBezTo>
                <a:cubicBezTo>
                  <a:pt x="367" y="394"/>
                  <a:pt x="367" y="394"/>
                  <a:pt x="367" y="394"/>
                </a:cubicBezTo>
                <a:cubicBezTo>
                  <a:pt x="365" y="395"/>
                  <a:pt x="363" y="397"/>
                  <a:pt x="361" y="398"/>
                </a:cubicBezTo>
                <a:cubicBezTo>
                  <a:pt x="360" y="399"/>
                  <a:pt x="358" y="400"/>
                  <a:pt x="356" y="401"/>
                </a:cubicBezTo>
                <a:cubicBezTo>
                  <a:pt x="355" y="402"/>
                  <a:pt x="352" y="403"/>
                  <a:pt x="351" y="403"/>
                </a:cubicBezTo>
                <a:cubicBezTo>
                  <a:pt x="349" y="404"/>
                  <a:pt x="347" y="405"/>
                  <a:pt x="345" y="405"/>
                </a:cubicBezTo>
                <a:cubicBezTo>
                  <a:pt x="345" y="405"/>
                  <a:pt x="345" y="405"/>
                  <a:pt x="345" y="415"/>
                </a:cubicBezTo>
                <a:cubicBezTo>
                  <a:pt x="348" y="414"/>
                  <a:pt x="351" y="414"/>
                  <a:pt x="353" y="412"/>
                </a:cubicBezTo>
                <a:cubicBezTo>
                  <a:pt x="356" y="411"/>
                  <a:pt x="358" y="410"/>
                  <a:pt x="361" y="409"/>
                </a:cubicBezTo>
                <a:cubicBezTo>
                  <a:pt x="361" y="409"/>
                  <a:pt x="361" y="409"/>
                  <a:pt x="361" y="467"/>
                </a:cubicBezTo>
                <a:cubicBezTo>
                  <a:pt x="361" y="467"/>
                  <a:pt x="361" y="467"/>
                  <a:pt x="372" y="467"/>
                </a:cubicBezTo>
                <a:cubicBezTo>
                  <a:pt x="372" y="467"/>
                  <a:pt x="372" y="467"/>
                  <a:pt x="372" y="394"/>
                </a:cubicBezTo>
                <a:close/>
                <a:moveTo>
                  <a:pt x="419" y="394"/>
                </a:moveTo>
                <a:cubicBezTo>
                  <a:pt x="419" y="394"/>
                  <a:pt x="419" y="394"/>
                  <a:pt x="419" y="394"/>
                </a:cubicBezTo>
                <a:cubicBezTo>
                  <a:pt x="414" y="394"/>
                  <a:pt x="414" y="394"/>
                  <a:pt x="414" y="394"/>
                </a:cubicBezTo>
                <a:cubicBezTo>
                  <a:pt x="412" y="395"/>
                  <a:pt x="411" y="397"/>
                  <a:pt x="409" y="398"/>
                </a:cubicBezTo>
                <a:cubicBezTo>
                  <a:pt x="407" y="399"/>
                  <a:pt x="405" y="400"/>
                  <a:pt x="403" y="401"/>
                </a:cubicBezTo>
                <a:cubicBezTo>
                  <a:pt x="401" y="401"/>
                  <a:pt x="400" y="402"/>
                  <a:pt x="398" y="403"/>
                </a:cubicBezTo>
                <a:cubicBezTo>
                  <a:pt x="396" y="403"/>
                  <a:pt x="394" y="404"/>
                  <a:pt x="392" y="405"/>
                </a:cubicBezTo>
                <a:cubicBezTo>
                  <a:pt x="392" y="405"/>
                  <a:pt x="392" y="405"/>
                  <a:pt x="392" y="415"/>
                </a:cubicBezTo>
                <a:cubicBezTo>
                  <a:pt x="395" y="414"/>
                  <a:pt x="398" y="413"/>
                  <a:pt x="401" y="412"/>
                </a:cubicBezTo>
                <a:cubicBezTo>
                  <a:pt x="403" y="411"/>
                  <a:pt x="406" y="410"/>
                  <a:pt x="407" y="409"/>
                </a:cubicBezTo>
                <a:cubicBezTo>
                  <a:pt x="407" y="409"/>
                  <a:pt x="407" y="409"/>
                  <a:pt x="407" y="467"/>
                </a:cubicBezTo>
                <a:cubicBezTo>
                  <a:pt x="407" y="467"/>
                  <a:pt x="407" y="467"/>
                  <a:pt x="419" y="467"/>
                </a:cubicBezTo>
                <a:cubicBezTo>
                  <a:pt x="419" y="467"/>
                  <a:pt x="419" y="467"/>
                  <a:pt x="419" y="394"/>
                </a:cubicBezTo>
                <a:close/>
                <a:moveTo>
                  <a:pt x="626" y="298"/>
                </a:moveTo>
                <a:cubicBezTo>
                  <a:pt x="626" y="298"/>
                  <a:pt x="626" y="298"/>
                  <a:pt x="626" y="298"/>
                </a:cubicBezTo>
                <a:cubicBezTo>
                  <a:pt x="621" y="298"/>
                  <a:pt x="621" y="298"/>
                  <a:pt x="621" y="298"/>
                </a:cubicBezTo>
                <a:cubicBezTo>
                  <a:pt x="619" y="299"/>
                  <a:pt x="617" y="301"/>
                  <a:pt x="615" y="302"/>
                </a:cubicBezTo>
                <a:cubicBezTo>
                  <a:pt x="613" y="303"/>
                  <a:pt x="611" y="304"/>
                  <a:pt x="610" y="305"/>
                </a:cubicBezTo>
                <a:cubicBezTo>
                  <a:pt x="608" y="305"/>
                  <a:pt x="606" y="306"/>
                  <a:pt x="605" y="307"/>
                </a:cubicBezTo>
                <a:cubicBezTo>
                  <a:pt x="603" y="307"/>
                  <a:pt x="601" y="308"/>
                  <a:pt x="599" y="309"/>
                </a:cubicBezTo>
                <a:cubicBezTo>
                  <a:pt x="599" y="309"/>
                  <a:pt x="599" y="309"/>
                  <a:pt x="599" y="319"/>
                </a:cubicBezTo>
                <a:cubicBezTo>
                  <a:pt x="602" y="318"/>
                  <a:pt x="605" y="317"/>
                  <a:pt x="607" y="316"/>
                </a:cubicBezTo>
                <a:cubicBezTo>
                  <a:pt x="610" y="315"/>
                  <a:pt x="612" y="314"/>
                  <a:pt x="614" y="313"/>
                </a:cubicBezTo>
                <a:cubicBezTo>
                  <a:pt x="614" y="313"/>
                  <a:pt x="614" y="313"/>
                  <a:pt x="614" y="371"/>
                </a:cubicBezTo>
                <a:cubicBezTo>
                  <a:pt x="614" y="371"/>
                  <a:pt x="614" y="371"/>
                  <a:pt x="626" y="371"/>
                </a:cubicBezTo>
                <a:cubicBezTo>
                  <a:pt x="626" y="371"/>
                  <a:pt x="626" y="371"/>
                  <a:pt x="626" y="298"/>
                </a:cubicBezTo>
                <a:close/>
                <a:moveTo>
                  <a:pt x="672" y="298"/>
                </a:moveTo>
                <a:cubicBezTo>
                  <a:pt x="672" y="298"/>
                  <a:pt x="672" y="298"/>
                  <a:pt x="672" y="298"/>
                </a:cubicBezTo>
                <a:cubicBezTo>
                  <a:pt x="667" y="298"/>
                  <a:pt x="667" y="298"/>
                  <a:pt x="667" y="298"/>
                </a:cubicBezTo>
                <a:cubicBezTo>
                  <a:pt x="665" y="299"/>
                  <a:pt x="664" y="301"/>
                  <a:pt x="662" y="302"/>
                </a:cubicBezTo>
                <a:cubicBezTo>
                  <a:pt x="660" y="303"/>
                  <a:pt x="658" y="304"/>
                  <a:pt x="657" y="305"/>
                </a:cubicBezTo>
                <a:cubicBezTo>
                  <a:pt x="655" y="306"/>
                  <a:pt x="653" y="307"/>
                  <a:pt x="652" y="307"/>
                </a:cubicBezTo>
                <a:cubicBezTo>
                  <a:pt x="650" y="308"/>
                  <a:pt x="648" y="309"/>
                  <a:pt x="646" y="309"/>
                </a:cubicBezTo>
                <a:cubicBezTo>
                  <a:pt x="646" y="309"/>
                  <a:pt x="646" y="309"/>
                  <a:pt x="646" y="319"/>
                </a:cubicBezTo>
                <a:cubicBezTo>
                  <a:pt x="649" y="318"/>
                  <a:pt x="652" y="318"/>
                  <a:pt x="654" y="316"/>
                </a:cubicBezTo>
                <a:cubicBezTo>
                  <a:pt x="657" y="315"/>
                  <a:pt x="659" y="314"/>
                  <a:pt x="661" y="313"/>
                </a:cubicBezTo>
                <a:cubicBezTo>
                  <a:pt x="661" y="313"/>
                  <a:pt x="661" y="313"/>
                  <a:pt x="661" y="371"/>
                </a:cubicBezTo>
                <a:cubicBezTo>
                  <a:pt x="661" y="371"/>
                  <a:pt x="661" y="371"/>
                  <a:pt x="672" y="371"/>
                </a:cubicBezTo>
                <a:cubicBezTo>
                  <a:pt x="672" y="371"/>
                  <a:pt x="672" y="371"/>
                  <a:pt x="672" y="298"/>
                </a:cubicBezTo>
                <a:close/>
                <a:moveTo>
                  <a:pt x="718" y="298"/>
                </a:moveTo>
                <a:cubicBezTo>
                  <a:pt x="718" y="298"/>
                  <a:pt x="718" y="298"/>
                  <a:pt x="718" y="298"/>
                </a:cubicBezTo>
                <a:cubicBezTo>
                  <a:pt x="714" y="298"/>
                  <a:pt x="714" y="298"/>
                  <a:pt x="714" y="298"/>
                </a:cubicBezTo>
                <a:cubicBezTo>
                  <a:pt x="712" y="299"/>
                  <a:pt x="710" y="301"/>
                  <a:pt x="708" y="302"/>
                </a:cubicBezTo>
                <a:cubicBezTo>
                  <a:pt x="707" y="303"/>
                  <a:pt x="704" y="304"/>
                  <a:pt x="703" y="305"/>
                </a:cubicBezTo>
                <a:cubicBezTo>
                  <a:pt x="701" y="306"/>
                  <a:pt x="699" y="307"/>
                  <a:pt x="697" y="307"/>
                </a:cubicBezTo>
                <a:cubicBezTo>
                  <a:pt x="696" y="308"/>
                  <a:pt x="693" y="309"/>
                  <a:pt x="692" y="309"/>
                </a:cubicBezTo>
                <a:cubicBezTo>
                  <a:pt x="692" y="309"/>
                  <a:pt x="692" y="309"/>
                  <a:pt x="692" y="319"/>
                </a:cubicBezTo>
                <a:cubicBezTo>
                  <a:pt x="695" y="318"/>
                  <a:pt x="698" y="318"/>
                  <a:pt x="700" y="316"/>
                </a:cubicBezTo>
                <a:cubicBezTo>
                  <a:pt x="702" y="315"/>
                  <a:pt x="705" y="314"/>
                  <a:pt x="707" y="313"/>
                </a:cubicBezTo>
                <a:cubicBezTo>
                  <a:pt x="707" y="313"/>
                  <a:pt x="707" y="313"/>
                  <a:pt x="707" y="371"/>
                </a:cubicBezTo>
                <a:cubicBezTo>
                  <a:pt x="707" y="371"/>
                  <a:pt x="707" y="371"/>
                  <a:pt x="718" y="371"/>
                </a:cubicBezTo>
                <a:cubicBezTo>
                  <a:pt x="718" y="371"/>
                  <a:pt x="718" y="371"/>
                  <a:pt x="718" y="298"/>
                </a:cubicBezTo>
                <a:close/>
                <a:moveTo>
                  <a:pt x="765" y="298"/>
                </a:moveTo>
                <a:cubicBezTo>
                  <a:pt x="765" y="298"/>
                  <a:pt x="765" y="298"/>
                  <a:pt x="765" y="298"/>
                </a:cubicBezTo>
                <a:cubicBezTo>
                  <a:pt x="760" y="298"/>
                  <a:pt x="760" y="298"/>
                  <a:pt x="760" y="298"/>
                </a:cubicBezTo>
                <a:cubicBezTo>
                  <a:pt x="758" y="299"/>
                  <a:pt x="756" y="301"/>
                  <a:pt x="754" y="302"/>
                </a:cubicBezTo>
                <a:cubicBezTo>
                  <a:pt x="753" y="303"/>
                  <a:pt x="751" y="304"/>
                  <a:pt x="749" y="305"/>
                </a:cubicBezTo>
                <a:cubicBezTo>
                  <a:pt x="748" y="306"/>
                  <a:pt x="745" y="307"/>
                  <a:pt x="744" y="307"/>
                </a:cubicBezTo>
                <a:cubicBezTo>
                  <a:pt x="742" y="308"/>
                  <a:pt x="740" y="309"/>
                  <a:pt x="738" y="309"/>
                </a:cubicBezTo>
                <a:cubicBezTo>
                  <a:pt x="738" y="309"/>
                  <a:pt x="738" y="309"/>
                  <a:pt x="738" y="319"/>
                </a:cubicBezTo>
                <a:cubicBezTo>
                  <a:pt x="741" y="318"/>
                  <a:pt x="744" y="318"/>
                  <a:pt x="746" y="316"/>
                </a:cubicBezTo>
                <a:cubicBezTo>
                  <a:pt x="749" y="315"/>
                  <a:pt x="751" y="314"/>
                  <a:pt x="753" y="313"/>
                </a:cubicBezTo>
                <a:cubicBezTo>
                  <a:pt x="753" y="313"/>
                  <a:pt x="753" y="313"/>
                  <a:pt x="753" y="371"/>
                </a:cubicBezTo>
                <a:cubicBezTo>
                  <a:pt x="753" y="371"/>
                  <a:pt x="753" y="371"/>
                  <a:pt x="765" y="371"/>
                </a:cubicBezTo>
                <a:cubicBezTo>
                  <a:pt x="765" y="371"/>
                  <a:pt x="765" y="371"/>
                  <a:pt x="765" y="298"/>
                </a:cubicBezTo>
                <a:close/>
                <a:moveTo>
                  <a:pt x="887" y="298"/>
                </a:moveTo>
                <a:cubicBezTo>
                  <a:pt x="887" y="298"/>
                  <a:pt x="887" y="298"/>
                  <a:pt x="887" y="298"/>
                </a:cubicBezTo>
                <a:cubicBezTo>
                  <a:pt x="882" y="298"/>
                  <a:pt x="882" y="298"/>
                  <a:pt x="882" y="298"/>
                </a:cubicBezTo>
                <a:cubicBezTo>
                  <a:pt x="880" y="299"/>
                  <a:pt x="878" y="301"/>
                  <a:pt x="876" y="302"/>
                </a:cubicBezTo>
                <a:cubicBezTo>
                  <a:pt x="875" y="303"/>
                  <a:pt x="873" y="304"/>
                  <a:pt x="871" y="305"/>
                </a:cubicBezTo>
                <a:cubicBezTo>
                  <a:pt x="869" y="306"/>
                  <a:pt x="867" y="307"/>
                  <a:pt x="866" y="307"/>
                </a:cubicBezTo>
                <a:cubicBezTo>
                  <a:pt x="864" y="308"/>
                  <a:pt x="862" y="309"/>
                  <a:pt x="860" y="309"/>
                </a:cubicBezTo>
                <a:cubicBezTo>
                  <a:pt x="860" y="309"/>
                  <a:pt x="860" y="309"/>
                  <a:pt x="860" y="319"/>
                </a:cubicBezTo>
                <a:cubicBezTo>
                  <a:pt x="863" y="318"/>
                  <a:pt x="866" y="318"/>
                  <a:pt x="869" y="316"/>
                </a:cubicBezTo>
                <a:cubicBezTo>
                  <a:pt x="871" y="315"/>
                  <a:pt x="873" y="314"/>
                  <a:pt x="875" y="313"/>
                </a:cubicBezTo>
                <a:cubicBezTo>
                  <a:pt x="875" y="313"/>
                  <a:pt x="875" y="313"/>
                  <a:pt x="875" y="371"/>
                </a:cubicBezTo>
                <a:cubicBezTo>
                  <a:pt x="875" y="371"/>
                  <a:pt x="875" y="371"/>
                  <a:pt x="887" y="371"/>
                </a:cubicBezTo>
                <a:cubicBezTo>
                  <a:pt x="887" y="371"/>
                  <a:pt x="887" y="371"/>
                  <a:pt x="887" y="298"/>
                </a:cubicBezTo>
                <a:close/>
                <a:moveTo>
                  <a:pt x="934" y="298"/>
                </a:moveTo>
                <a:cubicBezTo>
                  <a:pt x="934" y="298"/>
                  <a:pt x="934" y="298"/>
                  <a:pt x="934" y="298"/>
                </a:cubicBezTo>
                <a:cubicBezTo>
                  <a:pt x="929" y="298"/>
                  <a:pt x="929" y="298"/>
                  <a:pt x="929" y="298"/>
                </a:cubicBezTo>
                <a:cubicBezTo>
                  <a:pt x="927" y="299"/>
                  <a:pt x="925" y="301"/>
                  <a:pt x="923" y="302"/>
                </a:cubicBezTo>
                <a:cubicBezTo>
                  <a:pt x="921" y="303"/>
                  <a:pt x="919" y="304"/>
                  <a:pt x="918" y="305"/>
                </a:cubicBezTo>
                <a:cubicBezTo>
                  <a:pt x="916" y="306"/>
                  <a:pt x="914" y="307"/>
                  <a:pt x="912" y="307"/>
                </a:cubicBezTo>
                <a:cubicBezTo>
                  <a:pt x="910" y="308"/>
                  <a:pt x="909" y="309"/>
                  <a:pt x="907" y="309"/>
                </a:cubicBezTo>
                <a:cubicBezTo>
                  <a:pt x="907" y="309"/>
                  <a:pt x="907" y="309"/>
                  <a:pt x="907" y="319"/>
                </a:cubicBezTo>
                <a:cubicBezTo>
                  <a:pt x="910" y="318"/>
                  <a:pt x="912" y="318"/>
                  <a:pt x="915" y="316"/>
                </a:cubicBezTo>
                <a:cubicBezTo>
                  <a:pt x="918" y="315"/>
                  <a:pt x="920" y="314"/>
                  <a:pt x="922" y="313"/>
                </a:cubicBezTo>
                <a:cubicBezTo>
                  <a:pt x="922" y="313"/>
                  <a:pt x="922" y="313"/>
                  <a:pt x="922" y="371"/>
                </a:cubicBezTo>
                <a:cubicBezTo>
                  <a:pt x="922" y="371"/>
                  <a:pt x="922" y="371"/>
                  <a:pt x="934" y="371"/>
                </a:cubicBezTo>
                <a:cubicBezTo>
                  <a:pt x="934" y="371"/>
                  <a:pt x="934" y="371"/>
                  <a:pt x="934" y="298"/>
                </a:cubicBezTo>
                <a:close/>
                <a:moveTo>
                  <a:pt x="786" y="330"/>
                </a:moveTo>
                <a:cubicBezTo>
                  <a:pt x="786" y="330"/>
                  <a:pt x="786" y="330"/>
                  <a:pt x="786" y="330"/>
                </a:cubicBezTo>
                <a:cubicBezTo>
                  <a:pt x="785" y="339"/>
                  <a:pt x="785" y="339"/>
                  <a:pt x="785" y="339"/>
                </a:cubicBezTo>
                <a:cubicBezTo>
                  <a:pt x="791" y="339"/>
                  <a:pt x="792" y="342"/>
                  <a:pt x="792" y="344"/>
                </a:cubicBezTo>
                <a:cubicBezTo>
                  <a:pt x="792" y="347"/>
                  <a:pt x="792" y="349"/>
                  <a:pt x="792" y="352"/>
                </a:cubicBezTo>
                <a:cubicBezTo>
                  <a:pt x="791" y="354"/>
                  <a:pt x="791" y="356"/>
                  <a:pt x="791" y="359"/>
                </a:cubicBezTo>
                <a:cubicBezTo>
                  <a:pt x="791" y="368"/>
                  <a:pt x="797" y="371"/>
                  <a:pt x="805" y="371"/>
                </a:cubicBezTo>
                <a:cubicBezTo>
                  <a:pt x="805" y="371"/>
                  <a:pt x="805" y="371"/>
                  <a:pt x="809" y="371"/>
                </a:cubicBezTo>
                <a:cubicBezTo>
                  <a:pt x="809" y="371"/>
                  <a:pt x="809" y="371"/>
                  <a:pt x="809" y="362"/>
                </a:cubicBezTo>
                <a:cubicBezTo>
                  <a:pt x="809" y="362"/>
                  <a:pt x="809" y="362"/>
                  <a:pt x="808" y="362"/>
                </a:cubicBezTo>
                <a:cubicBezTo>
                  <a:pt x="804" y="362"/>
                  <a:pt x="803" y="360"/>
                  <a:pt x="803" y="356"/>
                </a:cubicBezTo>
                <a:cubicBezTo>
                  <a:pt x="803" y="355"/>
                  <a:pt x="803" y="353"/>
                  <a:pt x="803" y="352"/>
                </a:cubicBezTo>
                <a:cubicBezTo>
                  <a:pt x="803" y="350"/>
                  <a:pt x="804" y="348"/>
                  <a:pt x="804" y="346"/>
                </a:cubicBezTo>
                <a:cubicBezTo>
                  <a:pt x="804" y="338"/>
                  <a:pt x="801" y="336"/>
                  <a:pt x="795" y="334"/>
                </a:cubicBezTo>
                <a:cubicBezTo>
                  <a:pt x="795" y="334"/>
                  <a:pt x="795" y="334"/>
                  <a:pt x="795" y="334"/>
                </a:cubicBezTo>
                <a:cubicBezTo>
                  <a:pt x="801" y="333"/>
                  <a:pt x="804" y="331"/>
                  <a:pt x="804" y="323"/>
                </a:cubicBezTo>
                <a:cubicBezTo>
                  <a:pt x="804" y="321"/>
                  <a:pt x="803" y="319"/>
                  <a:pt x="803" y="317"/>
                </a:cubicBezTo>
                <a:cubicBezTo>
                  <a:pt x="803" y="315"/>
                  <a:pt x="803" y="313"/>
                  <a:pt x="803" y="312"/>
                </a:cubicBezTo>
                <a:cubicBezTo>
                  <a:pt x="803" y="309"/>
                  <a:pt x="804" y="306"/>
                  <a:pt x="808" y="306"/>
                </a:cubicBezTo>
                <a:cubicBezTo>
                  <a:pt x="808" y="306"/>
                  <a:pt x="808" y="306"/>
                  <a:pt x="809" y="306"/>
                </a:cubicBezTo>
                <a:cubicBezTo>
                  <a:pt x="809" y="306"/>
                  <a:pt x="809" y="306"/>
                  <a:pt x="809" y="297"/>
                </a:cubicBezTo>
                <a:cubicBezTo>
                  <a:pt x="809" y="297"/>
                  <a:pt x="809" y="297"/>
                  <a:pt x="805" y="297"/>
                </a:cubicBezTo>
                <a:cubicBezTo>
                  <a:pt x="797" y="297"/>
                  <a:pt x="791" y="301"/>
                  <a:pt x="791" y="310"/>
                </a:cubicBezTo>
                <a:cubicBezTo>
                  <a:pt x="791" y="312"/>
                  <a:pt x="791" y="315"/>
                  <a:pt x="791" y="317"/>
                </a:cubicBezTo>
                <a:cubicBezTo>
                  <a:pt x="792" y="319"/>
                  <a:pt x="792" y="322"/>
                  <a:pt x="792" y="324"/>
                </a:cubicBezTo>
                <a:cubicBezTo>
                  <a:pt x="792" y="327"/>
                  <a:pt x="791" y="330"/>
                  <a:pt x="786" y="330"/>
                </a:cubicBezTo>
                <a:close/>
                <a:moveTo>
                  <a:pt x="840" y="339"/>
                </a:moveTo>
                <a:cubicBezTo>
                  <a:pt x="840" y="339"/>
                  <a:pt x="840" y="339"/>
                  <a:pt x="840" y="339"/>
                </a:cubicBezTo>
                <a:cubicBezTo>
                  <a:pt x="840" y="330"/>
                  <a:pt x="840" y="330"/>
                  <a:pt x="840" y="330"/>
                </a:cubicBezTo>
                <a:cubicBezTo>
                  <a:pt x="834" y="330"/>
                  <a:pt x="833" y="327"/>
                  <a:pt x="833" y="324"/>
                </a:cubicBezTo>
                <a:cubicBezTo>
                  <a:pt x="833" y="322"/>
                  <a:pt x="833" y="319"/>
                  <a:pt x="834" y="317"/>
                </a:cubicBezTo>
                <a:cubicBezTo>
                  <a:pt x="834" y="315"/>
                  <a:pt x="834" y="312"/>
                  <a:pt x="834" y="310"/>
                </a:cubicBezTo>
                <a:cubicBezTo>
                  <a:pt x="834" y="301"/>
                  <a:pt x="829" y="297"/>
                  <a:pt x="820" y="297"/>
                </a:cubicBezTo>
                <a:cubicBezTo>
                  <a:pt x="820" y="297"/>
                  <a:pt x="820" y="297"/>
                  <a:pt x="816" y="297"/>
                </a:cubicBezTo>
                <a:cubicBezTo>
                  <a:pt x="816" y="297"/>
                  <a:pt x="816" y="297"/>
                  <a:pt x="816" y="306"/>
                </a:cubicBezTo>
                <a:cubicBezTo>
                  <a:pt x="816" y="306"/>
                  <a:pt x="816" y="306"/>
                  <a:pt x="817" y="306"/>
                </a:cubicBezTo>
                <a:cubicBezTo>
                  <a:pt x="821" y="306"/>
                  <a:pt x="822" y="309"/>
                  <a:pt x="822" y="312"/>
                </a:cubicBezTo>
                <a:cubicBezTo>
                  <a:pt x="822" y="313"/>
                  <a:pt x="822" y="315"/>
                  <a:pt x="822" y="317"/>
                </a:cubicBezTo>
                <a:cubicBezTo>
                  <a:pt x="822" y="319"/>
                  <a:pt x="822" y="321"/>
                  <a:pt x="822" y="323"/>
                </a:cubicBezTo>
                <a:cubicBezTo>
                  <a:pt x="822" y="331"/>
                  <a:pt x="824" y="333"/>
                  <a:pt x="830" y="334"/>
                </a:cubicBezTo>
                <a:cubicBezTo>
                  <a:pt x="830" y="334"/>
                  <a:pt x="830" y="334"/>
                  <a:pt x="830" y="334"/>
                </a:cubicBezTo>
                <a:cubicBezTo>
                  <a:pt x="824" y="336"/>
                  <a:pt x="822" y="338"/>
                  <a:pt x="822" y="346"/>
                </a:cubicBezTo>
                <a:cubicBezTo>
                  <a:pt x="822" y="348"/>
                  <a:pt x="822" y="350"/>
                  <a:pt x="822" y="352"/>
                </a:cubicBezTo>
                <a:cubicBezTo>
                  <a:pt x="822" y="353"/>
                  <a:pt x="822" y="355"/>
                  <a:pt x="822" y="356"/>
                </a:cubicBezTo>
                <a:cubicBezTo>
                  <a:pt x="822" y="360"/>
                  <a:pt x="821" y="362"/>
                  <a:pt x="817" y="362"/>
                </a:cubicBezTo>
                <a:cubicBezTo>
                  <a:pt x="817" y="362"/>
                  <a:pt x="817" y="362"/>
                  <a:pt x="816" y="362"/>
                </a:cubicBezTo>
                <a:cubicBezTo>
                  <a:pt x="816" y="362"/>
                  <a:pt x="816" y="362"/>
                  <a:pt x="816" y="371"/>
                </a:cubicBezTo>
                <a:cubicBezTo>
                  <a:pt x="816" y="371"/>
                  <a:pt x="816" y="371"/>
                  <a:pt x="820" y="371"/>
                </a:cubicBezTo>
                <a:cubicBezTo>
                  <a:pt x="828" y="371"/>
                  <a:pt x="834" y="368"/>
                  <a:pt x="834" y="359"/>
                </a:cubicBezTo>
                <a:cubicBezTo>
                  <a:pt x="834" y="356"/>
                  <a:pt x="834" y="354"/>
                  <a:pt x="834" y="352"/>
                </a:cubicBezTo>
                <a:cubicBezTo>
                  <a:pt x="833" y="349"/>
                  <a:pt x="833" y="347"/>
                  <a:pt x="833" y="344"/>
                </a:cubicBezTo>
                <a:cubicBezTo>
                  <a:pt x="833" y="342"/>
                  <a:pt x="834" y="339"/>
                  <a:pt x="840" y="339"/>
                </a:cubicBezTo>
                <a:close/>
                <a:moveTo>
                  <a:pt x="226" y="371"/>
                </a:moveTo>
                <a:cubicBezTo>
                  <a:pt x="219" y="371"/>
                  <a:pt x="212" y="368"/>
                  <a:pt x="208" y="363"/>
                </a:cubicBezTo>
                <a:cubicBezTo>
                  <a:pt x="204" y="356"/>
                  <a:pt x="202" y="347"/>
                  <a:pt x="202" y="335"/>
                </a:cubicBezTo>
                <a:cubicBezTo>
                  <a:pt x="202" y="321"/>
                  <a:pt x="204" y="312"/>
                  <a:pt x="209" y="305"/>
                </a:cubicBezTo>
                <a:cubicBezTo>
                  <a:pt x="213" y="299"/>
                  <a:pt x="219" y="295"/>
                  <a:pt x="228" y="295"/>
                </a:cubicBezTo>
                <a:cubicBezTo>
                  <a:pt x="244" y="295"/>
                  <a:pt x="252" y="308"/>
                  <a:pt x="252" y="333"/>
                </a:cubicBezTo>
                <a:cubicBezTo>
                  <a:pt x="252" y="346"/>
                  <a:pt x="250" y="355"/>
                  <a:pt x="245" y="362"/>
                </a:cubicBezTo>
                <a:cubicBezTo>
                  <a:pt x="241" y="368"/>
                  <a:pt x="234" y="371"/>
                  <a:pt x="226" y="371"/>
                </a:cubicBezTo>
                <a:close/>
                <a:moveTo>
                  <a:pt x="227" y="305"/>
                </a:moveTo>
                <a:cubicBezTo>
                  <a:pt x="218" y="305"/>
                  <a:pt x="214" y="315"/>
                  <a:pt x="214" y="335"/>
                </a:cubicBezTo>
                <a:cubicBezTo>
                  <a:pt x="214" y="353"/>
                  <a:pt x="218" y="362"/>
                  <a:pt x="227" y="362"/>
                </a:cubicBezTo>
                <a:cubicBezTo>
                  <a:pt x="236" y="362"/>
                  <a:pt x="240" y="353"/>
                  <a:pt x="240" y="334"/>
                </a:cubicBezTo>
                <a:cubicBezTo>
                  <a:pt x="240" y="314"/>
                  <a:pt x="236" y="305"/>
                  <a:pt x="227" y="305"/>
                </a:cubicBezTo>
                <a:close/>
                <a:moveTo>
                  <a:pt x="296" y="371"/>
                </a:moveTo>
                <a:cubicBezTo>
                  <a:pt x="289" y="371"/>
                  <a:pt x="282" y="368"/>
                  <a:pt x="279" y="363"/>
                </a:cubicBezTo>
                <a:cubicBezTo>
                  <a:pt x="274" y="356"/>
                  <a:pt x="272" y="347"/>
                  <a:pt x="272" y="335"/>
                </a:cubicBezTo>
                <a:cubicBezTo>
                  <a:pt x="272" y="321"/>
                  <a:pt x="274" y="312"/>
                  <a:pt x="279" y="305"/>
                </a:cubicBezTo>
                <a:cubicBezTo>
                  <a:pt x="283" y="299"/>
                  <a:pt x="290" y="295"/>
                  <a:pt x="298" y="295"/>
                </a:cubicBezTo>
                <a:cubicBezTo>
                  <a:pt x="314" y="295"/>
                  <a:pt x="322" y="308"/>
                  <a:pt x="322" y="333"/>
                </a:cubicBezTo>
                <a:cubicBezTo>
                  <a:pt x="322" y="346"/>
                  <a:pt x="320" y="355"/>
                  <a:pt x="316" y="362"/>
                </a:cubicBezTo>
                <a:cubicBezTo>
                  <a:pt x="311" y="368"/>
                  <a:pt x="305" y="371"/>
                  <a:pt x="296" y="371"/>
                </a:cubicBezTo>
                <a:close/>
                <a:moveTo>
                  <a:pt x="298" y="305"/>
                </a:moveTo>
                <a:cubicBezTo>
                  <a:pt x="289" y="305"/>
                  <a:pt x="284" y="315"/>
                  <a:pt x="284" y="335"/>
                </a:cubicBezTo>
                <a:cubicBezTo>
                  <a:pt x="284" y="353"/>
                  <a:pt x="288" y="362"/>
                  <a:pt x="297" y="362"/>
                </a:cubicBezTo>
                <a:cubicBezTo>
                  <a:pt x="306" y="362"/>
                  <a:pt x="310" y="353"/>
                  <a:pt x="310" y="334"/>
                </a:cubicBezTo>
                <a:cubicBezTo>
                  <a:pt x="310" y="314"/>
                  <a:pt x="306" y="305"/>
                  <a:pt x="298" y="305"/>
                </a:cubicBezTo>
                <a:close/>
                <a:moveTo>
                  <a:pt x="506" y="371"/>
                </a:moveTo>
                <a:cubicBezTo>
                  <a:pt x="499" y="371"/>
                  <a:pt x="493" y="368"/>
                  <a:pt x="489" y="362"/>
                </a:cubicBezTo>
                <a:cubicBezTo>
                  <a:pt x="484" y="356"/>
                  <a:pt x="482" y="346"/>
                  <a:pt x="482" y="335"/>
                </a:cubicBezTo>
                <a:cubicBezTo>
                  <a:pt x="482" y="321"/>
                  <a:pt x="484" y="312"/>
                  <a:pt x="489" y="305"/>
                </a:cubicBezTo>
                <a:cubicBezTo>
                  <a:pt x="493" y="298"/>
                  <a:pt x="500" y="295"/>
                  <a:pt x="509" y="295"/>
                </a:cubicBezTo>
                <a:cubicBezTo>
                  <a:pt x="525" y="295"/>
                  <a:pt x="533" y="308"/>
                  <a:pt x="533" y="333"/>
                </a:cubicBezTo>
                <a:cubicBezTo>
                  <a:pt x="533" y="346"/>
                  <a:pt x="530" y="355"/>
                  <a:pt x="526" y="362"/>
                </a:cubicBezTo>
                <a:cubicBezTo>
                  <a:pt x="521" y="368"/>
                  <a:pt x="515" y="371"/>
                  <a:pt x="506" y="371"/>
                </a:cubicBezTo>
                <a:close/>
                <a:moveTo>
                  <a:pt x="508" y="305"/>
                </a:moveTo>
                <a:cubicBezTo>
                  <a:pt x="499" y="305"/>
                  <a:pt x="495" y="314"/>
                  <a:pt x="495" y="334"/>
                </a:cubicBezTo>
                <a:cubicBezTo>
                  <a:pt x="495" y="352"/>
                  <a:pt x="499" y="362"/>
                  <a:pt x="508" y="362"/>
                </a:cubicBezTo>
                <a:cubicBezTo>
                  <a:pt x="516" y="362"/>
                  <a:pt x="520" y="352"/>
                  <a:pt x="520" y="334"/>
                </a:cubicBezTo>
                <a:cubicBezTo>
                  <a:pt x="520" y="314"/>
                  <a:pt x="517" y="305"/>
                  <a:pt x="508" y="305"/>
                </a:cubicBezTo>
                <a:close/>
                <a:moveTo>
                  <a:pt x="579" y="298"/>
                </a:moveTo>
                <a:cubicBezTo>
                  <a:pt x="579" y="298"/>
                  <a:pt x="579" y="298"/>
                  <a:pt x="579" y="298"/>
                </a:cubicBezTo>
                <a:cubicBezTo>
                  <a:pt x="574" y="298"/>
                  <a:pt x="574" y="298"/>
                  <a:pt x="574" y="298"/>
                </a:cubicBezTo>
                <a:cubicBezTo>
                  <a:pt x="572" y="299"/>
                  <a:pt x="570" y="301"/>
                  <a:pt x="568" y="302"/>
                </a:cubicBezTo>
                <a:cubicBezTo>
                  <a:pt x="567" y="303"/>
                  <a:pt x="565" y="304"/>
                  <a:pt x="563" y="305"/>
                </a:cubicBezTo>
                <a:cubicBezTo>
                  <a:pt x="562" y="305"/>
                  <a:pt x="560" y="306"/>
                  <a:pt x="558" y="307"/>
                </a:cubicBezTo>
                <a:cubicBezTo>
                  <a:pt x="556" y="307"/>
                  <a:pt x="555" y="308"/>
                  <a:pt x="552" y="309"/>
                </a:cubicBezTo>
                <a:cubicBezTo>
                  <a:pt x="552" y="309"/>
                  <a:pt x="552" y="309"/>
                  <a:pt x="552" y="319"/>
                </a:cubicBezTo>
                <a:cubicBezTo>
                  <a:pt x="555" y="318"/>
                  <a:pt x="558" y="317"/>
                  <a:pt x="560" y="316"/>
                </a:cubicBezTo>
                <a:cubicBezTo>
                  <a:pt x="563" y="315"/>
                  <a:pt x="565" y="314"/>
                  <a:pt x="568" y="313"/>
                </a:cubicBezTo>
                <a:cubicBezTo>
                  <a:pt x="568" y="313"/>
                  <a:pt x="568" y="313"/>
                  <a:pt x="568" y="371"/>
                </a:cubicBezTo>
                <a:cubicBezTo>
                  <a:pt x="568" y="371"/>
                  <a:pt x="568" y="371"/>
                  <a:pt x="579" y="371"/>
                </a:cubicBezTo>
                <a:cubicBezTo>
                  <a:pt x="579" y="371"/>
                  <a:pt x="579" y="371"/>
                  <a:pt x="579" y="298"/>
                </a:cubicBezTo>
                <a:close/>
                <a:moveTo>
                  <a:pt x="369" y="298"/>
                </a:moveTo>
                <a:cubicBezTo>
                  <a:pt x="369" y="298"/>
                  <a:pt x="369" y="298"/>
                  <a:pt x="369" y="298"/>
                </a:cubicBezTo>
                <a:cubicBezTo>
                  <a:pt x="364" y="298"/>
                  <a:pt x="364" y="298"/>
                  <a:pt x="364" y="298"/>
                </a:cubicBezTo>
                <a:cubicBezTo>
                  <a:pt x="362" y="299"/>
                  <a:pt x="361" y="301"/>
                  <a:pt x="359" y="302"/>
                </a:cubicBezTo>
                <a:cubicBezTo>
                  <a:pt x="357" y="303"/>
                  <a:pt x="356" y="304"/>
                  <a:pt x="353" y="305"/>
                </a:cubicBezTo>
                <a:cubicBezTo>
                  <a:pt x="352" y="306"/>
                  <a:pt x="350" y="307"/>
                  <a:pt x="348" y="307"/>
                </a:cubicBezTo>
                <a:cubicBezTo>
                  <a:pt x="346" y="308"/>
                  <a:pt x="345" y="309"/>
                  <a:pt x="343" y="309"/>
                </a:cubicBezTo>
                <a:cubicBezTo>
                  <a:pt x="343" y="309"/>
                  <a:pt x="343" y="309"/>
                  <a:pt x="343" y="319"/>
                </a:cubicBezTo>
                <a:cubicBezTo>
                  <a:pt x="345" y="318"/>
                  <a:pt x="348" y="318"/>
                  <a:pt x="351" y="316"/>
                </a:cubicBezTo>
                <a:cubicBezTo>
                  <a:pt x="353" y="315"/>
                  <a:pt x="356" y="314"/>
                  <a:pt x="358" y="313"/>
                </a:cubicBezTo>
                <a:cubicBezTo>
                  <a:pt x="358" y="313"/>
                  <a:pt x="358" y="313"/>
                  <a:pt x="358" y="371"/>
                </a:cubicBezTo>
                <a:cubicBezTo>
                  <a:pt x="358" y="371"/>
                  <a:pt x="358" y="371"/>
                  <a:pt x="369" y="371"/>
                </a:cubicBezTo>
                <a:cubicBezTo>
                  <a:pt x="369" y="371"/>
                  <a:pt x="369" y="371"/>
                  <a:pt x="369" y="298"/>
                </a:cubicBezTo>
                <a:close/>
                <a:moveTo>
                  <a:pt x="416" y="298"/>
                </a:moveTo>
                <a:cubicBezTo>
                  <a:pt x="416" y="298"/>
                  <a:pt x="416" y="298"/>
                  <a:pt x="416" y="298"/>
                </a:cubicBezTo>
                <a:cubicBezTo>
                  <a:pt x="411" y="298"/>
                  <a:pt x="411" y="298"/>
                  <a:pt x="411" y="298"/>
                </a:cubicBezTo>
                <a:cubicBezTo>
                  <a:pt x="409" y="299"/>
                  <a:pt x="408" y="301"/>
                  <a:pt x="406" y="302"/>
                </a:cubicBezTo>
                <a:cubicBezTo>
                  <a:pt x="404" y="303"/>
                  <a:pt x="402" y="304"/>
                  <a:pt x="401" y="305"/>
                </a:cubicBezTo>
                <a:cubicBezTo>
                  <a:pt x="399" y="306"/>
                  <a:pt x="397" y="307"/>
                  <a:pt x="395" y="307"/>
                </a:cubicBezTo>
                <a:cubicBezTo>
                  <a:pt x="393" y="308"/>
                  <a:pt x="392" y="309"/>
                  <a:pt x="390" y="309"/>
                </a:cubicBezTo>
                <a:cubicBezTo>
                  <a:pt x="390" y="309"/>
                  <a:pt x="390" y="309"/>
                  <a:pt x="390" y="319"/>
                </a:cubicBezTo>
                <a:cubicBezTo>
                  <a:pt x="393" y="318"/>
                  <a:pt x="395" y="318"/>
                  <a:pt x="398" y="316"/>
                </a:cubicBezTo>
                <a:cubicBezTo>
                  <a:pt x="401" y="315"/>
                  <a:pt x="403" y="314"/>
                  <a:pt x="405" y="313"/>
                </a:cubicBezTo>
                <a:cubicBezTo>
                  <a:pt x="405" y="313"/>
                  <a:pt x="405" y="313"/>
                  <a:pt x="405" y="371"/>
                </a:cubicBezTo>
                <a:cubicBezTo>
                  <a:pt x="405" y="371"/>
                  <a:pt x="405" y="371"/>
                  <a:pt x="416" y="371"/>
                </a:cubicBezTo>
                <a:cubicBezTo>
                  <a:pt x="416" y="371"/>
                  <a:pt x="416" y="371"/>
                  <a:pt x="416" y="298"/>
                </a:cubicBezTo>
                <a:close/>
                <a:moveTo>
                  <a:pt x="462" y="298"/>
                </a:moveTo>
                <a:cubicBezTo>
                  <a:pt x="462" y="298"/>
                  <a:pt x="462" y="298"/>
                  <a:pt x="462" y="298"/>
                </a:cubicBezTo>
                <a:cubicBezTo>
                  <a:pt x="458" y="298"/>
                  <a:pt x="458" y="298"/>
                  <a:pt x="458" y="298"/>
                </a:cubicBezTo>
                <a:cubicBezTo>
                  <a:pt x="456" y="299"/>
                  <a:pt x="454" y="301"/>
                  <a:pt x="452" y="302"/>
                </a:cubicBezTo>
                <a:cubicBezTo>
                  <a:pt x="451" y="303"/>
                  <a:pt x="448" y="304"/>
                  <a:pt x="447" y="305"/>
                </a:cubicBezTo>
                <a:cubicBezTo>
                  <a:pt x="445" y="305"/>
                  <a:pt x="443" y="306"/>
                  <a:pt x="441" y="307"/>
                </a:cubicBezTo>
                <a:cubicBezTo>
                  <a:pt x="440" y="307"/>
                  <a:pt x="438" y="308"/>
                  <a:pt x="436" y="309"/>
                </a:cubicBezTo>
                <a:cubicBezTo>
                  <a:pt x="436" y="309"/>
                  <a:pt x="436" y="309"/>
                  <a:pt x="436" y="319"/>
                </a:cubicBezTo>
                <a:cubicBezTo>
                  <a:pt x="439" y="318"/>
                  <a:pt x="442" y="317"/>
                  <a:pt x="444" y="316"/>
                </a:cubicBezTo>
                <a:cubicBezTo>
                  <a:pt x="446" y="315"/>
                  <a:pt x="449" y="314"/>
                  <a:pt x="451" y="313"/>
                </a:cubicBezTo>
                <a:cubicBezTo>
                  <a:pt x="451" y="313"/>
                  <a:pt x="451" y="313"/>
                  <a:pt x="451" y="371"/>
                </a:cubicBezTo>
                <a:cubicBezTo>
                  <a:pt x="451" y="371"/>
                  <a:pt x="451" y="371"/>
                  <a:pt x="462" y="371"/>
                </a:cubicBezTo>
                <a:cubicBezTo>
                  <a:pt x="462" y="371"/>
                  <a:pt x="462" y="371"/>
                  <a:pt x="462" y="298"/>
                </a:cubicBezTo>
                <a:close/>
                <a:moveTo>
                  <a:pt x="28" y="371"/>
                </a:moveTo>
                <a:cubicBezTo>
                  <a:pt x="20" y="371"/>
                  <a:pt x="14" y="368"/>
                  <a:pt x="10" y="363"/>
                </a:cubicBezTo>
                <a:cubicBezTo>
                  <a:pt x="6" y="356"/>
                  <a:pt x="4" y="347"/>
                  <a:pt x="4" y="335"/>
                </a:cubicBezTo>
                <a:cubicBezTo>
                  <a:pt x="4" y="321"/>
                  <a:pt x="6" y="312"/>
                  <a:pt x="10" y="305"/>
                </a:cubicBezTo>
                <a:cubicBezTo>
                  <a:pt x="15" y="299"/>
                  <a:pt x="21" y="295"/>
                  <a:pt x="30" y="295"/>
                </a:cubicBezTo>
                <a:cubicBezTo>
                  <a:pt x="46" y="295"/>
                  <a:pt x="54" y="308"/>
                  <a:pt x="54" y="333"/>
                </a:cubicBezTo>
                <a:cubicBezTo>
                  <a:pt x="54" y="346"/>
                  <a:pt x="52" y="355"/>
                  <a:pt x="48" y="362"/>
                </a:cubicBezTo>
                <a:cubicBezTo>
                  <a:pt x="42" y="368"/>
                  <a:pt x="37" y="371"/>
                  <a:pt x="28" y="371"/>
                </a:cubicBezTo>
                <a:close/>
                <a:moveTo>
                  <a:pt x="29" y="305"/>
                </a:moveTo>
                <a:cubicBezTo>
                  <a:pt x="20" y="305"/>
                  <a:pt x="15" y="315"/>
                  <a:pt x="15" y="335"/>
                </a:cubicBezTo>
                <a:cubicBezTo>
                  <a:pt x="15" y="353"/>
                  <a:pt x="20" y="362"/>
                  <a:pt x="29" y="362"/>
                </a:cubicBezTo>
                <a:cubicBezTo>
                  <a:pt x="37" y="362"/>
                  <a:pt x="42" y="353"/>
                  <a:pt x="42" y="334"/>
                </a:cubicBezTo>
                <a:cubicBezTo>
                  <a:pt x="42" y="314"/>
                  <a:pt x="37" y="305"/>
                  <a:pt x="29" y="305"/>
                </a:cubicBezTo>
                <a:close/>
                <a:moveTo>
                  <a:pt x="89" y="298"/>
                </a:moveTo>
                <a:cubicBezTo>
                  <a:pt x="89" y="298"/>
                  <a:pt x="89" y="298"/>
                  <a:pt x="89" y="298"/>
                </a:cubicBezTo>
                <a:cubicBezTo>
                  <a:pt x="84" y="298"/>
                  <a:pt x="84" y="298"/>
                  <a:pt x="84" y="298"/>
                </a:cubicBezTo>
                <a:cubicBezTo>
                  <a:pt x="82" y="299"/>
                  <a:pt x="80" y="301"/>
                  <a:pt x="78" y="302"/>
                </a:cubicBezTo>
                <a:cubicBezTo>
                  <a:pt x="77" y="303"/>
                  <a:pt x="75" y="304"/>
                  <a:pt x="73" y="305"/>
                </a:cubicBezTo>
                <a:cubicBezTo>
                  <a:pt x="72" y="306"/>
                  <a:pt x="70" y="307"/>
                  <a:pt x="68" y="307"/>
                </a:cubicBezTo>
                <a:cubicBezTo>
                  <a:pt x="66" y="308"/>
                  <a:pt x="64" y="309"/>
                  <a:pt x="62" y="309"/>
                </a:cubicBezTo>
                <a:cubicBezTo>
                  <a:pt x="62" y="309"/>
                  <a:pt x="62" y="309"/>
                  <a:pt x="62" y="319"/>
                </a:cubicBezTo>
                <a:cubicBezTo>
                  <a:pt x="65" y="318"/>
                  <a:pt x="68" y="318"/>
                  <a:pt x="71" y="316"/>
                </a:cubicBezTo>
                <a:cubicBezTo>
                  <a:pt x="73" y="315"/>
                  <a:pt x="75" y="314"/>
                  <a:pt x="78" y="313"/>
                </a:cubicBezTo>
                <a:cubicBezTo>
                  <a:pt x="78" y="313"/>
                  <a:pt x="78" y="313"/>
                  <a:pt x="78" y="371"/>
                </a:cubicBezTo>
                <a:cubicBezTo>
                  <a:pt x="78" y="371"/>
                  <a:pt x="78" y="371"/>
                  <a:pt x="89" y="371"/>
                </a:cubicBezTo>
                <a:cubicBezTo>
                  <a:pt x="89" y="371"/>
                  <a:pt x="89" y="371"/>
                  <a:pt x="89" y="298"/>
                </a:cubicBezTo>
                <a:close/>
                <a:moveTo>
                  <a:pt x="136" y="298"/>
                </a:moveTo>
                <a:cubicBezTo>
                  <a:pt x="136" y="298"/>
                  <a:pt x="136" y="298"/>
                  <a:pt x="136" y="298"/>
                </a:cubicBezTo>
                <a:cubicBezTo>
                  <a:pt x="131" y="298"/>
                  <a:pt x="131" y="298"/>
                  <a:pt x="131" y="298"/>
                </a:cubicBezTo>
                <a:cubicBezTo>
                  <a:pt x="129" y="299"/>
                  <a:pt x="127" y="301"/>
                  <a:pt x="125" y="302"/>
                </a:cubicBezTo>
                <a:cubicBezTo>
                  <a:pt x="124" y="303"/>
                  <a:pt x="121" y="304"/>
                  <a:pt x="120" y="305"/>
                </a:cubicBezTo>
                <a:cubicBezTo>
                  <a:pt x="118" y="306"/>
                  <a:pt x="116" y="307"/>
                  <a:pt x="115" y="307"/>
                </a:cubicBezTo>
                <a:cubicBezTo>
                  <a:pt x="113" y="308"/>
                  <a:pt x="111" y="309"/>
                  <a:pt x="109" y="309"/>
                </a:cubicBezTo>
                <a:cubicBezTo>
                  <a:pt x="109" y="309"/>
                  <a:pt x="109" y="309"/>
                  <a:pt x="109" y="319"/>
                </a:cubicBezTo>
                <a:cubicBezTo>
                  <a:pt x="112" y="318"/>
                  <a:pt x="115" y="318"/>
                  <a:pt x="117" y="316"/>
                </a:cubicBezTo>
                <a:cubicBezTo>
                  <a:pt x="120" y="315"/>
                  <a:pt x="122" y="314"/>
                  <a:pt x="124" y="313"/>
                </a:cubicBezTo>
                <a:cubicBezTo>
                  <a:pt x="124" y="313"/>
                  <a:pt x="124" y="313"/>
                  <a:pt x="124" y="371"/>
                </a:cubicBezTo>
                <a:cubicBezTo>
                  <a:pt x="124" y="371"/>
                  <a:pt x="124" y="371"/>
                  <a:pt x="136" y="371"/>
                </a:cubicBezTo>
                <a:cubicBezTo>
                  <a:pt x="136" y="371"/>
                  <a:pt x="136" y="371"/>
                  <a:pt x="136" y="298"/>
                </a:cubicBezTo>
                <a:close/>
                <a:moveTo>
                  <a:pt x="182" y="298"/>
                </a:moveTo>
                <a:cubicBezTo>
                  <a:pt x="182" y="298"/>
                  <a:pt x="182" y="298"/>
                  <a:pt x="182" y="298"/>
                </a:cubicBezTo>
                <a:cubicBezTo>
                  <a:pt x="177" y="298"/>
                  <a:pt x="177" y="298"/>
                  <a:pt x="177" y="298"/>
                </a:cubicBezTo>
                <a:cubicBezTo>
                  <a:pt x="175" y="299"/>
                  <a:pt x="174" y="301"/>
                  <a:pt x="172" y="302"/>
                </a:cubicBezTo>
                <a:cubicBezTo>
                  <a:pt x="170" y="303"/>
                  <a:pt x="168" y="304"/>
                  <a:pt x="167" y="305"/>
                </a:cubicBezTo>
                <a:cubicBezTo>
                  <a:pt x="164" y="305"/>
                  <a:pt x="163" y="306"/>
                  <a:pt x="161" y="307"/>
                </a:cubicBezTo>
                <a:cubicBezTo>
                  <a:pt x="159" y="307"/>
                  <a:pt x="157" y="308"/>
                  <a:pt x="156" y="309"/>
                </a:cubicBezTo>
                <a:cubicBezTo>
                  <a:pt x="156" y="309"/>
                  <a:pt x="156" y="309"/>
                  <a:pt x="156" y="319"/>
                </a:cubicBezTo>
                <a:cubicBezTo>
                  <a:pt x="159" y="318"/>
                  <a:pt x="162" y="317"/>
                  <a:pt x="164" y="316"/>
                </a:cubicBezTo>
                <a:cubicBezTo>
                  <a:pt x="166" y="315"/>
                  <a:pt x="169" y="314"/>
                  <a:pt x="170" y="313"/>
                </a:cubicBezTo>
                <a:cubicBezTo>
                  <a:pt x="170" y="313"/>
                  <a:pt x="170" y="313"/>
                  <a:pt x="170" y="371"/>
                </a:cubicBezTo>
                <a:cubicBezTo>
                  <a:pt x="170" y="371"/>
                  <a:pt x="170" y="371"/>
                  <a:pt x="182" y="371"/>
                </a:cubicBezTo>
                <a:cubicBezTo>
                  <a:pt x="182" y="371"/>
                  <a:pt x="182" y="371"/>
                  <a:pt x="182" y="298"/>
                </a:cubicBezTo>
                <a:close/>
                <a:moveTo>
                  <a:pt x="41" y="597"/>
                </a:moveTo>
                <a:cubicBezTo>
                  <a:pt x="41" y="597"/>
                  <a:pt x="41" y="597"/>
                  <a:pt x="41" y="597"/>
                </a:cubicBezTo>
                <a:cubicBezTo>
                  <a:pt x="36" y="597"/>
                  <a:pt x="36" y="597"/>
                  <a:pt x="36" y="597"/>
                </a:cubicBezTo>
                <a:cubicBezTo>
                  <a:pt x="34" y="598"/>
                  <a:pt x="32" y="599"/>
                  <a:pt x="30" y="600"/>
                </a:cubicBezTo>
                <a:cubicBezTo>
                  <a:pt x="29" y="602"/>
                  <a:pt x="26" y="602"/>
                  <a:pt x="25" y="603"/>
                </a:cubicBezTo>
                <a:cubicBezTo>
                  <a:pt x="23" y="605"/>
                  <a:pt x="21" y="605"/>
                  <a:pt x="20" y="606"/>
                </a:cubicBezTo>
                <a:cubicBezTo>
                  <a:pt x="17" y="607"/>
                  <a:pt x="16" y="607"/>
                  <a:pt x="14" y="607"/>
                </a:cubicBezTo>
                <a:cubicBezTo>
                  <a:pt x="14" y="607"/>
                  <a:pt x="14" y="607"/>
                  <a:pt x="14" y="618"/>
                </a:cubicBezTo>
                <a:cubicBezTo>
                  <a:pt x="17" y="617"/>
                  <a:pt x="20" y="616"/>
                  <a:pt x="22" y="615"/>
                </a:cubicBezTo>
                <a:cubicBezTo>
                  <a:pt x="25" y="614"/>
                  <a:pt x="27" y="613"/>
                  <a:pt x="29" y="611"/>
                </a:cubicBezTo>
                <a:cubicBezTo>
                  <a:pt x="29" y="611"/>
                  <a:pt x="29" y="611"/>
                  <a:pt x="29" y="670"/>
                </a:cubicBezTo>
                <a:cubicBezTo>
                  <a:pt x="29" y="670"/>
                  <a:pt x="29" y="670"/>
                  <a:pt x="41" y="670"/>
                </a:cubicBezTo>
                <a:cubicBezTo>
                  <a:pt x="41" y="670"/>
                  <a:pt x="41" y="670"/>
                  <a:pt x="41" y="597"/>
                </a:cubicBezTo>
                <a:close/>
                <a:moveTo>
                  <a:pt x="41" y="492"/>
                </a:moveTo>
                <a:cubicBezTo>
                  <a:pt x="41" y="492"/>
                  <a:pt x="41" y="492"/>
                  <a:pt x="41" y="492"/>
                </a:cubicBezTo>
                <a:cubicBezTo>
                  <a:pt x="37" y="492"/>
                  <a:pt x="37" y="492"/>
                  <a:pt x="37" y="492"/>
                </a:cubicBezTo>
                <a:cubicBezTo>
                  <a:pt x="35" y="494"/>
                  <a:pt x="33" y="495"/>
                  <a:pt x="31" y="496"/>
                </a:cubicBezTo>
                <a:cubicBezTo>
                  <a:pt x="30" y="497"/>
                  <a:pt x="27" y="498"/>
                  <a:pt x="26" y="499"/>
                </a:cubicBezTo>
                <a:cubicBezTo>
                  <a:pt x="24" y="500"/>
                  <a:pt x="22" y="500"/>
                  <a:pt x="20" y="501"/>
                </a:cubicBezTo>
                <a:cubicBezTo>
                  <a:pt x="19" y="502"/>
                  <a:pt x="17" y="503"/>
                  <a:pt x="15" y="503"/>
                </a:cubicBezTo>
                <a:cubicBezTo>
                  <a:pt x="15" y="503"/>
                  <a:pt x="15" y="503"/>
                  <a:pt x="15" y="513"/>
                </a:cubicBezTo>
                <a:cubicBezTo>
                  <a:pt x="18" y="513"/>
                  <a:pt x="21" y="511"/>
                  <a:pt x="23" y="511"/>
                </a:cubicBezTo>
                <a:cubicBezTo>
                  <a:pt x="25" y="510"/>
                  <a:pt x="28" y="508"/>
                  <a:pt x="30" y="507"/>
                </a:cubicBezTo>
                <a:cubicBezTo>
                  <a:pt x="30" y="507"/>
                  <a:pt x="30" y="507"/>
                  <a:pt x="30" y="566"/>
                </a:cubicBezTo>
                <a:cubicBezTo>
                  <a:pt x="30" y="566"/>
                  <a:pt x="30" y="566"/>
                  <a:pt x="41" y="566"/>
                </a:cubicBezTo>
                <a:cubicBezTo>
                  <a:pt x="41" y="566"/>
                  <a:pt x="41" y="566"/>
                  <a:pt x="41" y="492"/>
                </a:cubicBezTo>
                <a:close/>
                <a:moveTo>
                  <a:pt x="985" y="281"/>
                </a:moveTo>
                <a:cubicBezTo>
                  <a:pt x="978" y="281"/>
                  <a:pt x="971" y="278"/>
                  <a:pt x="967" y="272"/>
                </a:cubicBezTo>
                <a:cubicBezTo>
                  <a:pt x="963" y="265"/>
                  <a:pt x="961" y="257"/>
                  <a:pt x="961" y="244"/>
                </a:cubicBezTo>
                <a:cubicBezTo>
                  <a:pt x="961" y="231"/>
                  <a:pt x="963" y="222"/>
                  <a:pt x="967" y="215"/>
                </a:cubicBezTo>
                <a:cubicBezTo>
                  <a:pt x="972" y="208"/>
                  <a:pt x="978" y="205"/>
                  <a:pt x="987" y="205"/>
                </a:cubicBezTo>
                <a:cubicBezTo>
                  <a:pt x="1003" y="205"/>
                  <a:pt x="1011" y="217"/>
                  <a:pt x="1011" y="243"/>
                </a:cubicBezTo>
                <a:cubicBezTo>
                  <a:pt x="1011" y="255"/>
                  <a:pt x="1009" y="265"/>
                  <a:pt x="1004" y="271"/>
                </a:cubicBezTo>
                <a:cubicBezTo>
                  <a:pt x="1000" y="278"/>
                  <a:pt x="993" y="281"/>
                  <a:pt x="985" y="281"/>
                </a:cubicBezTo>
                <a:close/>
                <a:moveTo>
                  <a:pt x="986" y="214"/>
                </a:moveTo>
                <a:cubicBezTo>
                  <a:pt x="977" y="214"/>
                  <a:pt x="973" y="225"/>
                  <a:pt x="973" y="244"/>
                </a:cubicBezTo>
                <a:cubicBezTo>
                  <a:pt x="973" y="262"/>
                  <a:pt x="977" y="271"/>
                  <a:pt x="986" y="271"/>
                </a:cubicBezTo>
                <a:cubicBezTo>
                  <a:pt x="994" y="271"/>
                  <a:pt x="999" y="262"/>
                  <a:pt x="999" y="243"/>
                </a:cubicBezTo>
                <a:cubicBezTo>
                  <a:pt x="999" y="224"/>
                  <a:pt x="994" y="214"/>
                  <a:pt x="986" y="214"/>
                </a:cubicBezTo>
                <a:close/>
                <a:moveTo>
                  <a:pt x="1059" y="207"/>
                </a:moveTo>
                <a:cubicBezTo>
                  <a:pt x="1059" y="207"/>
                  <a:pt x="1059" y="207"/>
                  <a:pt x="1059" y="207"/>
                </a:cubicBezTo>
                <a:cubicBezTo>
                  <a:pt x="1054" y="207"/>
                  <a:pt x="1054" y="207"/>
                  <a:pt x="1054" y="207"/>
                </a:cubicBezTo>
                <a:cubicBezTo>
                  <a:pt x="1051" y="209"/>
                  <a:pt x="1050" y="210"/>
                  <a:pt x="1048" y="211"/>
                </a:cubicBezTo>
                <a:cubicBezTo>
                  <a:pt x="1046" y="212"/>
                  <a:pt x="1044" y="213"/>
                  <a:pt x="1043" y="214"/>
                </a:cubicBezTo>
                <a:cubicBezTo>
                  <a:pt x="1041" y="215"/>
                  <a:pt x="1039" y="215"/>
                  <a:pt x="1038" y="216"/>
                </a:cubicBezTo>
                <a:cubicBezTo>
                  <a:pt x="1035" y="217"/>
                  <a:pt x="1034" y="217"/>
                  <a:pt x="1032" y="218"/>
                </a:cubicBezTo>
                <a:cubicBezTo>
                  <a:pt x="1032" y="218"/>
                  <a:pt x="1032" y="218"/>
                  <a:pt x="1032" y="228"/>
                </a:cubicBezTo>
                <a:cubicBezTo>
                  <a:pt x="1035" y="228"/>
                  <a:pt x="1038" y="226"/>
                  <a:pt x="1040" y="225"/>
                </a:cubicBezTo>
                <a:cubicBezTo>
                  <a:pt x="1043" y="225"/>
                  <a:pt x="1045" y="223"/>
                  <a:pt x="1047" y="222"/>
                </a:cubicBezTo>
                <a:cubicBezTo>
                  <a:pt x="1047" y="222"/>
                  <a:pt x="1047" y="222"/>
                  <a:pt x="1047" y="281"/>
                </a:cubicBezTo>
                <a:cubicBezTo>
                  <a:pt x="1047" y="281"/>
                  <a:pt x="1047" y="281"/>
                  <a:pt x="1059" y="281"/>
                </a:cubicBezTo>
                <a:cubicBezTo>
                  <a:pt x="1059" y="281"/>
                  <a:pt x="1059" y="281"/>
                  <a:pt x="1059" y="207"/>
                </a:cubicBezTo>
                <a:close/>
                <a:moveTo>
                  <a:pt x="1106" y="207"/>
                </a:moveTo>
                <a:cubicBezTo>
                  <a:pt x="1106" y="207"/>
                  <a:pt x="1106" y="207"/>
                  <a:pt x="1106" y="207"/>
                </a:cubicBezTo>
                <a:cubicBezTo>
                  <a:pt x="1101" y="207"/>
                  <a:pt x="1101" y="207"/>
                  <a:pt x="1101" y="207"/>
                </a:cubicBezTo>
                <a:cubicBezTo>
                  <a:pt x="1099" y="209"/>
                  <a:pt x="1098" y="210"/>
                  <a:pt x="1095" y="211"/>
                </a:cubicBezTo>
                <a:cubicBezTo>
                  <a:pt x="1094" y="212"/>
                  <a:pt x="1092" y="213"/>
                  <a:pt x="1090" y="214"/>
                </a:cubicBezTo>
                <a:cubicBezTo>
                  <a:pt x="1089" y="215"/>
                  <a:pt x="1087" y="216"/>
                  <a:pt x="1085" y="217"/>
                </a:cubicBezTo>
                <a:cubicBezTo>
                  <a:pt x="1083" y="217"/>
                  <a:pt x="1082" y="218"/>
                  <a:pt x="1079" y="218"/>
                </a:cubicBezTo>
                <a:cubicBezTo>
                  <a:pt x="1079" y="218"/>
                  <a:pt x="1079" y="218"/>
                  <a:pt x="1079" y="228"/>
                </a:cubicBezTo>
                <a:cubicBezTo>
                  <a:pt x="1082" y="228"/>
                  <a:pt x="1085" y="227"/>
                  <a:pt x="1087" y="225"/>
                </a:cubicBezTo>
                <a:cubicBezTo>
                  <a:pt x="1090" y="225"/>
                  <a:pt x="1092" y="223"/>
                  <a:pt x="1095" y="222"/>
                </a:cubicBezTo>
                <a:cubicBezTo>
                  <a:pt x="1095" y="222"/>
                  <a:pt x="1095" y="222"/>
                  <a:pt x="1095" y="281"/>
                </a:cubicBezTo>
                <a:cubicBezTo>
                  <a:pt x="1095" y="281"/>
                  <a:pt x="1095" y="281"/>
                  <a:pt x="1106" y="281"/>
                </a:cubicBezTo>
                <a:cubicBezTo>
                  <a:pt x="1106" y="281"/>
                  <a:pt x="1106" y="281"/>
                  <a:pt x="1106" y="207"/>
                </a:cubicBezTo>
                <a:close/>
                <a:moveTo>
                  <a:pt x="1153" y="207"/>
                </a:moveTo>
                <a:cubicBezTo>
                  <a:pt x="1153" y="207"/>
                  <a:pt x="1153" y="207"/>
                  <a:pt x="1153" y="207"/>
                </a:cubicBezTo>
                <a:cubicBezTo>
                  <a:pt x="1148" y="207"/>
                  <a:pt x="1148" y="207"/>
                  <a:pt x="1148" y="207"/>
                </a:cubicBezTo>
                <a:cubicBezTo>
                  <a:pt x="1146" y="209"/>
                  <a:pt x="1145" y="210"/>
                  <a:pt x="1143" y="211"/>
                </a:cubicBezTo>
                <a:cubicBezTo>
                  <a:pt x="1141" y="212"/>
                  <a:pt x="1139" y="213"/>
                  <a:pt x="1137" y="214"/>
                </a:cubicBezTo>
                <a:cubicBezTo>
                  <a:pt x="1135" y="215"/>
                  <a:pt x="1134" y="216"/>
                  <a:pt x="1132" y="217"/>
                </a:cubicBezTo>
                <a:cubicBezTo>
                  <a:pt x="1130" y="217"/>
                  <a:pt x="1128" y="218"/>
                  <a:pt x="1126" y="218"/>
                </a:cubicBezTo>
                <a:cubicBezTo>
                  <a:pt x="1126" y="218"/>
                  <a:pt x="1126" y="218"/>
                  <a:pt x="1126" y="228"/>
                </a:cubicBezTo>
                <a:cubicBezTo>
                  <a:pt x="1129" y="228"/>
                  <a:pt x="1132" y="227"/>
                  <a:pt x="1134" y="225"/>
                </a:cubicBezTo>
                <a:cubicBezTo>
                  <a:pt x="1137" y="225"/>
                  <a:pt x="1140" y="223"/>
                  <a:pt x="1141" y="222"/>
                </a:cubicBezTo>
                <a:cubicBezTo>
                  <a:pt x="1141" y="222"/>
                  <a:pt x="1141" y="222"/>
                  <a:pt x="1141" y="281"/>
                </a:cubicBezTo>
                <a:cubicBezTo>
                  <a:pt x="1141" y="281"/>
                  <a:pt x="1141" y="281"/>
                  <a:pt x="1153" y="281"/>
                </a:cubicBezTo>
                <a:cubicBezTo>
                  <a:pt x="1153" y="281"/>
                  <a:pt x="1153" y="281"/>
                  <a:pt x="1153" y="207"/>
                </a:cubicBezTo>
                <a:close/>
                <a:moveTo>
                  <a:pt x="1200" y="207"/>
                </a:moveTo>
                <a:cubicBezTo>
                  <a:pt x="1200" y="207"/>
                  <a:pt x="1200" y="207"/>
                  <a:pt x="1200" y="207"/>
                </a:cubicBezTo>
                <a:cubicBezTo>
                  <a:pt x="1195" y="207"/>
                  <a:pt x="1195" y="207"/>
                  <a:pt x="1195" y="207"/>
                </a:cubicBezTo>
                <a:cubicBezTo>
                  <a:pt x="1193" y="209"/>
                  <a:pt x="1191" y="210"/>
                  <a:pt x="1189" y="211"/>
                </a:cubicBezTo>
                <a:cubicBezTo>
                  <a:pt x="1188" y="212"/>
                  <a:pt x="1186" y="213"/>
                  <a:pt x="1184" y="214"/>
                </a:cubicBezTo>
                <a:cubicBezTo>
                  <a:pt x="1183" y="215"/>
                  <a:pt x="1180" y="216"/>
                  <a:pt x="1179" y="217"/>
                </a:cubicBezTo>
                <a:cubicBezTo>
                  <a:pt x="1177" y="217"/>
                  <a:pt x="1175" y="218"/>
                  <a:pt x="1173" y="218"/>
                </a:cubicBezTo>
                <a:cubicBezTo>
                  <a:pt x="1173" y="218"/>
                  <a:pt x="1173" y="218"/>
                  <a:pt x="1173" y="228"/>
                </a:cubicBezTo>
                <a:cubicBezTo>
                  <a:pt x="1176" y="228"/>
                  <a:pt x="1179" y="227"/>
                  <a:pt x="1181" y="225"/>
                </a:cubicBezTo>
                <a:cubicBezTo>
                  <a:pt x="1184" y="225"/>
                  <a:pt x="1186" y="223"/>
                  <a:pt x="1189" y="222"/>
                </a:cubicBezTo>
                <a:cubicBezTo>
                  <a:pt x="1189" y="222"/>
                  <a:pt x="1189" y="222"/>
                  <a:pt x="1189" y="281"/>
                </a:cubicBezTo>
                <a:cubicBezTo>
                  <a:pt x="1189" y="281"/>
                  <a:pt x="1189" y="281"/>
                  <a:pt x="1200" y="281"/>
                </a:cubicBezTo>
                <a:cubicBezTo>
                  <a:pt x="1200" y="281"/>
                  <a:pt x="1200" y="281"/>
                  <a:pt x="1200" y="207"/>
                </a:cubicBezTo>
                <a:close/>
                <a:moveTo>
                  <a:pt x="1323" y="207"/>
                </a:moveTo>
                <a:cubicBezTo>
                  <a:pt x="1323" y="207"/>
                  <a:pt x="1323" y="207"/>
                  <a:pt x="1323" y="207"/>
                </a:cubicBezTo>
                <a:cubicBezTo>
                  <a:pt x="1318" y="207"/>
                  <a:pt x="1318" y="207"/>
                  <a:pt x="1318" y="207"/>
                </a:cubicBezTo>
                <a:cubicBezTo>
                  <a:pt x="1316" y="209"/>
                  <a:pt x="1314" y="210"/>
                  <a:pt x="1312" y="211"/>
                </a:cubicBezTo>
                <a:cubicBezTo>
                  <a:pt x="1311" y="212"/>
                  <a:pt x="1309" y="213"/>
                  <a:pt x="1307" y="214"/>
                </a:cubicBezTo>
                <a:cubicBezTo>
                  <a:pt x="1306" y="215"/>
                  <a:pt x="1304" y="216"/>
                  <a:pt x="1302" y="217"/>
                </a:cubicBezTo>
                <a:cubicBezTo>
                  <a:pt x="1300" y="217"/>
                  <a:pt x="1299" y="218"/>
                  <a:pt x="1296" y="218"/>
                </a:cubicBezTo>
                <a:cubicBezTo>
                  <a:pt x="1296" y="218"/>
                  <a:pt x="1296" y="218"/>
                  <a:pt x="1296" y="228"/>
                </a:cubicBezTo>
                <a:cubicBezTo>
                  <a:pt x="1299" y="228"/>
                  <a:pt x="1302" y="227"/>
                  <a:pt x="1305" y="225"/>
                </a:cubicBezTo>
                <a:cubicBezTo>
                  <a:pt x="1307" y="225"/>
                  <a:pt x="1309" y="223"/>
                  <a:pt x="1312" y="222"/>
                </a:cubicBezTo>
                <a:cubicBezTo>
                  <a:pt x="1312" y="222"/>
                  <a:pt x="1312" y="222"/>
                  <a:pt x="1312" y="281"/>
                </a:cubicBezTo>
                <a:cubicBezTo>
                  <a:pt x="1312" y="281"/>
                  <a:pt x="1312" y="281"/>
                  <a:pt x="1323" y="281"/>
                </a:cubicBezTo>
                <a:cubicBezTo>
                  <a:pt x="1323" y="281"/>
                  <a:pt x="1323" y="281"/>
                  <a:pt x="1323" y="207"/>
                </a:cubicBezTo>
                <a:close/>
                <a:moveTo>
                  <a:pt x="1371" y="207"/>
                </a:moveTo>
                <a:cubicBezTo>
                  <a:pt x="1371" y="207"/>
                  <a:pt x="1371" y="207"/>
                  <a:pt x="1371" y="207"/>
                </a:cubicBezTo>
                <a:cubicBezTo>
                  <a:pt x="1366" y="207"/>
                  <a:pt x="1366" y="207"/>
                  <a:pt x="1366" y="207"/>
                </a:cubicBezTo>
                <a:cubicBezTo>
                  <a:pt x="1363" y="209"/>
                  <a:pt x="1362" y="210"/>
                  <a:pt x="1360" y="211"/>
                </a:cubicBezTo>
                <a:cubicBezTo>
                  <a:pt x="1358" y="212"/>
                  <a:pt x="1356" y="213"/>
                  <a:pt x="1355" y="214"/>
                </a:cubicBezTo>
                <a:cubicBezTo>
                  <a:pt x="1353" y="215"/>
                  <a:pt x="1351" y="216"/>
                  <a:pt x="1350" y="217"/>
                </a:cubicBezTo>
                <a:cubicBezTo>
                  <a:pt x="1347" y="217"/>
                  <a:pt x="1346" y="218"/>
                  <a:pt x="1344" y="218"/>
                </a:cubicBezTo>
                <a:cubicBezTo>
                  <a:pt x="1344" y="218"/>
                  <a:pt x="1344" y="218"/>
                  <a:pt x="1344" y="228"/>
                </a:cubicBezTo>
                <a:cubicBezTo>
                  <a:pt x="1347" y="228"/>
                  <a:pt x="1350" y="227"/>
                  <a:pt x="1352" y="225"/>
                </a:cubicBezTo>
                <a:cubicBezTo>
                  <a:pt x="1355" y="225"/>
                  <a:pt x="1357" y="223"/>
                  <a:pt x="1359" y="222"/>
                </a:cubicBezTo>
                <a:cubicBezTo>
                  <a:pt x="1359" y="222"/>
                  <a:pt x="1359" y="222"/>
                  <a:pt x="1359" y="281"/>
                </a:cubicBezTo>
                <a:cubicBezTo>
                  <a:pt x="1359" y="281"/>
                  <a:pt x="1359" y="281"/>
                  <a:pt x="1371" y="281"/>
                </a:cubicBezTo>
                <a:cubicBezTo>
                  <a:pt x="1371" y="281"/>
                  <a:pt x="1371" y="281"/>
                  <a:pt x="1371" y="207"/>
                </a:cubicBezTo>
                <a:close/>
                <a:moveTo>
                  <a:pt x="1419" y="207"/>
                </a:moveTo>
                <a:cubicBezTo>
                  <a:pt x="1419" y="207"/>
                  <a:pt x="1419" y="207"/>
                  <a:pt x="1419" y="207"/>
                </a:cubicBezTo>
                <a:cubicBezTo>
                  <a:pt x="1414" y="207"/>
                  <a:pt x="1414" y="207"/>
                  <a:pt x="1414" y="207"/>
                </a:cubicBezTo>
                <a:cubicBezTo>
                  <a:pt x="1412" y="209"/>
                  <a:pt x="1410" y="210"/>
                  <a:pt x="1408" y="211"/>
                </a:cubicBezTo>
                <a:cubicBezTo>
                  <a:pt x="1406" y="212"/>
                  <a:pt x="1405" y="213"/>
                  <a:pt x="1402" y="214"/>
                </a:cubicBezTo>
                <a:cubicBezTo>
                  <a:pt x="1401" y="215"/>
                  <a:pt x="1399" y="216"/>
                  <a:pt x="1397" y="217"/>
                </a:cubicBezTo>
                <a:cubicBezTo>
                  <a:pt x="1395" y="217"/>
                  <a:pt x="1394" y="218"/>
                  <a:pt x="1391" y="218"/>
                </a:cubicBezTo>
                <a:cubicBezTo>
                  <a:pt x="1391" y="218"/>
                  <a:pt x="1391" y="218"/>
                  <a:pt x="1391" y="228"/>
                </a:cubicBezTo>
                <a:cubicBezTo>
                  <a:pt x="1394" y="228"/>
                  <a:pt x="1397" y="227"/>
                  <a:pt x="1400" y="225"/>
                </a:cubicBezTo>
                <a:cubicBezTo>
                  <a:pt x="1402" y="225"/>
                  <a:pt x="1405" y="223"/>
                  <a:pt x="1407" y="222"/>
                </a:cubicBezTo>
                <a:cubicBezTo>
                  <a:pt x="1407" y="222"/>
                  <a:pt x="1407" y="222"/>
                  <a:pt x="1407" y="281"/>
                </a:cubicBezTo>
                <a:cubicBezTo>
                  <a:pt x="1407" y="281"/>
                  <a:pt x="1407" y="281"/>
                  <a:pt x="1419" y="281"/>
                </a:cubicBezTo>
                <a:cubicBezTo>
                  <a:pt x="1419" y="281"/>
                  <a:pt x="1419" y="281"/>
                  <a:pt x="1419" y="207"/>
                </a:cubicBezTo>
                <a:close/>
                <a:moveTo>
                  <a:pt x="1465" y="207"/>
                </a:moveTo>
                <a:cubicBezTo>
                  <a:pt x="1465" y="207"/>
                  <a:pt x="1465" y="207"/>
                  <a:pt x="1465" y="207"/>
                </a:cubicBezTo>
                <a:cubicBezTo>
                  <a:pt x="1461" y="207"/>
                  <a:pt x="1461" y="207"/>
                  <a:pt x="1461" y="207"/>
                </a:cubicBezTo>
                <a:cubicBezTo>
                  <a:pt x="1459" y="209"/>
                  <a:pt x="1457" y="210"/>
                  <a:pt x="1455" y="211"/>
                </a:cubicBezTo>
                <a:cubicBezTo>
                  <a:pt x="1454" y="212"/>
                  <a:pt x="1451" y="213"/>
                  <a:pt x="1450" y="214"/>
                </a:cubicBezTo>
                <a:cubicBezTo>
                  <a:pt x="1448" y="215"/>
                  <a:pt x="1446" y="215"/>
                  <a:pt x="1444" y="216"/>
                </a:cubicBezTo>
                <a:cubicBezTo>
                  <a:pt x="1443" y="217"/>
                  <a:pt x="1440" y="217"/>
                  <a:pt x="1439" y="218"/>
                </a:cubicBezTo>
                <a:cubicBezTo>
                  <a:pt x="1439" y="218"/>
                  <a:pt x="1439" y="218"/>
                  <a:pt x="1439" y="228"/>
                </a:cubicBezTo>
                <a:cubicBezTo>
                  <a:pt x="1442" y="228"/>
                  <a:pt x="1445" y="226"/>
                  <a:pt x="1447" y="225"/>
                </a:cubicBezTo>
                <a:cubicBezTo>
                  <a:pt x="1449" y="225"/>
                  <a:pt x="1452" y="223"/>
                  <a:pt x="1454" y="222"/>
                </a:cubicBezTo>
                <a:cubicBezTo>
                  <a:pt x="1454" y="222"/>
                  <a:pt x="1454" y="222"/>
                  <a:pt x="1454" y="281"/>
                </a:cubicBezTo>
                <a:cubicBezTo>
                  <a:pt x="1454" y="281"/>
                  <a:pt x="1454" y="281"/>
                  <a:pt x="1465" y="281"/>
                </a:cubicBezTo>
                <a:cubicBezTo>
                  <a:pt x="1465" y="281"/>
                  <a:pt x="1465" y="281"/>
                  <a:pt x="1465" y="207"/>
                </a:cubicBezTo>
                <a:close/>
                <a:moveTo>
                  <a:pt x="1221" y="240"/>
                </a:moveTo>
                <a:cubicBezTo>
                  <a:pt x="1221" y="240"/>
                  <a:pt x="1221" y="240"/>
                  <a:pt x="1221" y="240"/>
                </a:cubicBezTo>
                <a:cubicBezTo>
                  <a:pt x="1220" y="248"/>
                  <a:pt x="1220" y="248"/>
                  <a:pt x="1220" y="248"/>
                </a:cubicBezTo>
                <a:cubicBezTo>
                  <a:pt x="1227" y="248"/>
                  <a:pt x="1228" y="251"/>
                  <a:pt x="1228" y="254"/>
                </a:cubicBezTo>
                <a:cubicBezTo>
                  <a:pt x="1228" y="256"/>
                  <a:pt x="1227" y="258"/>
                  <a:pt x="1227" y="261"/>
                </a:cubicBezTo>
                <a:cubicBezTo>
                  <a:pt x="1227" y="263"/>
                  <a:pt x="1227" y="266"/>
                  <a:pt x="1227" y="268"/>
                </a:cubicBezTo>
                <a:cubicBezTo>
                  <a:pt x="1227" y="277"/>
                  <a:pt x="1233" y="281"/>
                  <a:pt x="1241" y="281"/>
                </a:cubicBezTo>
                <a:cubicBezTo>
                  <a:pt x="1241" y="281"/>
                  <a:pt x="1241" y="281"/>
                  <a:pt x="1245" y="281"/>
                </a:cubicBezTo>
                <a:cubicBezTo>
                  <a:pt x="1245" y="281"/>
                  <a:pt x="1245" y="281"/>
                  <a:pt x="1245" y="272"/>
                </a:cubicBezTo>
                <a:cubicBezTo>
                  <a:pt x="1245" y="272"/>
                  <a:pt x="1245" y="272"/>
                  <a:pt x="1243" y="272"/>
                </a:cubicBezTo>
                <a:cubicBezTo>
                  <a:pt x="1240" y="272"/>
                  <a:pt x="1239" y="269"/>
                  <a:pt x="1239" y="266"/>
                </a:cubicBezTo>
                <a:cubicBezTo>
                  <a:pt x="1239" y="264"/>
                  <a:pt x="1239" y="263"/>
                  <a:pt x="1239" y="261"/>
                </a:cubicBezTo>
                <a:cubicBezTo>
                  <a:pt x="1239" y="259"/>
                  <a:pt x="1239" y="257"/>
                  <a:pt x="1239" y="255"/>
                </a:cubicBezTo>
                <a:cubicBezTo>
                  <a:pt x="1239" y="247"/>
                  <a:pt x="1236" y="245"/>
                  <a:pt x="1231" y="244"/>
                </a:cubicBezTo>
                <a:cubicBezTo>
                  <a:pt x="1231" y="244"/>
                  <a:pt x="1231" y="244"/>
                  <a:pt x="1231" y="243"/>
                </a:cubicBezTo>
                <a:cubicBezTo>
                  <a:pt x="1236" y="242"/>
                  <a:pt x="1239" y="240"/>
                  <a:pt x="1239" y="232"/>
                </a:cubicBezTo>
                <a:cubicBezTo>
                  <a:pt x="1239" y="230"/>
                  <a:pt x="1239" y="228"/>
                  <a:pt x="1239" y="226"/>
                </a:cubicBezTo>
                <a:cubicBezTo>
                  <a:pt x="1239" y="225"/>
                  <a:pt x="1239" y="223"/>
                  <a:pt x="1239" y="222"/>
                </a:cubicBezTo>
                <a:cubicBezTo>
                  <a:pt x="1239" y="218"/>
                  <a:pt x="1240" y="216"/>
                  <a:pt x="1243" y="216"/>
                </a:cubicBezTo>
                <a:cubicBezTo>
                  <a:pt x="1243" y="216"/>
                  <a:pt x="1243" y="216"/>
                  <a:pt x="1245" y="216"/>
                </a:cubicBezTo>
                <a:cubicBezTo>
                  <a:pt x="1245" y="216"/>
                  <a:pt x="1245" y="216"/>
                  <a:pt x="1245" y="206"/>
                </a:cubicBezTo>
                <a:cubicBezTo>
                  <a:pt x="1245" y="206"/>
                  <a:pt x="1245" y="206"/>
                  <a:pt x="1241" y="206"/>
                </a:cubicBezTo>
                <a:cubicBezTo>
                  <a:pt x="1232" y="206"/>
                  <a:pt x="1227" y="210"/>
                  <a:pt x="1227" y="219"/>
                </a:cubicBezTo>
                <a:cubicBezTo>
                  <a:pt x="1227" y="221"/>
                  <a:pt x="1227" y="224"/>
                  <a:pt x="1227" y="226"/>
                </a:cubicBezTo>
                <a:cubicBezTo>
                  <a:pt x="1227" y="229"/>
                  <a:pt x="1228" y="231"/>
                  <a:pt x="1228" y="233"/>
                </a:cubicBezTo>
                <a:cubicBezTo>
                  <a:pt x="1228" y="236"/>
                  <a:pt x="1227" y="239"/>
                  <a:pt x="1221" y="240"/>
                </a:cubicBezTo>
                <a:close/>
                <a:moveTo>
                  <a:pt x="1276" y="248"/>
                </a:moveTo>
                <a:cubicBezTo>
                  <a:pt x="1276" y="248"/>
                  <a:pt x="1276" y="248"/>
                  <a:pt x="1276" y="248"/>
                </a:cubicBezTo>
                <a:cubicBezTo>
                  <a:pt x="1276" y="240"/>
                  <a:pt x="1276" y="240"/>
                  <a:pt x="1276" y="240"/>
                </a:cubicBezTo>
                <a:cubicBezTo>
                  <a:pt x="1269" y="239"/>
                  <a:pt x="1269" y="236"/>
                  <a:pt x="1269" y="233"/>
                </a:cubicBezTo>
                <a:cubicBezTo>
                  <a:pt x="1269" y="231"/>
                  <a:pt x="1269" y="229"/>
                  <a:pt x="1269" y="226"/>
                </a:cubicBezTo>
                <a:cubicBezTo>
                  <a:pt x="1270" y="224"/>
                  <a:pt x="1270" y="221"/>
                  <a:pt x="1270" y="219"/>
                </a:cubicBezTo>
                <a:cubicBezTo>
                  <a:pt x="1270" y="210"/>
                  <a:pt x="1265" y="206"/>
                  <a:pt x="1255" y="206"/>
                </a:cubicBezTo>
                <a:cubicBezTo>
                  <a:pt x="1255" y="206"/>
                  <a:pt x="1255" y="206"/>
                  <a:pt x="1252" y="206"/>
                </a:cubicBezTo>
                <a:cubicBezTo>
                  <a:pt x="1252" y="206"/>
                  <a:pt x="1252" y="206"/>
                  <a:pt x="1252" y="216"/>
                </a:cubicBezTo>
                <a:cubicBezTo>
                  <a:pt x="1252" y="216"/>
                  <a:pt x="1252" y="216"/>
                  <a:pt x="1253" y="216"/>
                </a:cubicBezTo>
                <a:cubicBezTo>
                  <a:pt x="1257" y="216"/>
                  <a:pt x="1258" y="218"/>
                  <a:pt x="1258" y="222"/>
                </a:cubicBezTo>
                <a:cubicBezTo>
                  <a:pt x="1258" y="223"/>
                  <a:pt x="1258" y="225"/>
                  <a:pt x="1258" y="226"/>
                </a:cubicBezTo>
                <a:cubicBezTo>
                  <a:pt x="1258" y="228"/>
                  <a:pt x="1258" y="230"/>
                  <a:pt x="1258" y="232"/>
                </a:cubicBezTo>
                <a:cubicBezTo>
                  <a:pt x="1258" y="240"/>
                  <a:pt x="1260" y="242"/>
                  <a:pt x="1266" y="243"/>
                </a:cubicBezTo>
                <a:cubicBezTo>
                  <a:pt x="1266" y="243"/>
                  <a:pt x="1266" y="243"/>
                  <a:pt x="1266" y="244"/>
                </a:cubicBezTo>
                <a:cubicBezTo>
                  <a:pt x="1260" y="245"/>
                  <a:pt x="1258" y="247"/>
                  <a:pt x="1258" y="255"/>
                </a:cubicBezTo>
                <a:cubicBezTo>
                  <a:pt x="1258" y="257"/>
                  <a:pt x="1258" y="259"/>
                  <a:pt x="1258" y="261"/>
                </a:cubicBezTo>
                <a:cubicBezTo>
                  <a:pt x="1258" y="263"/>
                  <a:pt x="1258" y="264"/>
                  <a:pt x="1258" y="266"/>
                </a:cubicBezTo>
                <a:cubicBezTo>
                  <a:pt x="1258" y="269"/>
                  <a:pt x="1257" y="272"/>
                  <a:pt x="1253" y="272"/>
                </a:cubicBezTo>
                <a:cubicBezTo>
                  <a:pt x="1253" y="272"/>
                  <a:pt x="1253" y="272"/>
                  <a:pt x="1252" y="272"/>
                </a:cubicBezTo>
                <a:cubicBezTo>
                  <a:pt x="1252" y="272"/>
                  <a:pt x="1252" y="272"/>
                  <a:pt x="1252" y="281"/>
                </a:cubicBezTo>
                <a:cubicBezTo>
                  <a:pt x="1252" y="281"/>
                  <a:pt x="1252" y="281"/>
                  <a:pt x="1255" y="281"/>
                </a:cubicBezTo>
                <a:cubicBezTo>
                  <a:pt x="1264" y="281"/>
                  <a:pt x="1270" y="277"/>
                  <a:pt x="1270" y="268"/>
                </a:cubicBezTo>
                <a:cubicBezTo>
                  <a:pt x="1270" y="266"/>
                  <a:pt x="1270" y="263"/>
                  <a:pt x="1269" y="261"/>
                </a:cubicBezTo>
                <a:cubicBezTo>
                  <a:pt x="1269" y="258"/>
                  <a:pt x="1269" y="256"/>
                  <a:pt x="1269" y="254"/>
                </a:cubicBezTo>
                <a:cubicBezTo>
                  <a:pt x="1269" y="251"/>
                  <a:pt x="1269" y="248"/>
                  <a:pt x="1276" y="248"/>
                </a:cubicBezTo>
                <a:close/>
                <a:moveTo>
                  <a:pt x="1603" y="240"/>
                </a:moveTo>
                <a:cubicBezTo>
                  <a:pt x="1603" y="240"/>
                  <a:pt x="1603" y="240"/>
                  <a:pt x="1603" y="240"/>
                </a:cubicBezTo>
                <a:cubicBezTo>
                  <a:pt x="1603" y="248"/>
                  <a:pt x="1603" y="248"/>
                  <a:pt x="1603" y="248"/>
                </a:cubicBezTo>
                <a:cubicBezTo>
                  <a:pt x="1609" y="248"/>
                  <a:pt x="1610" y="251"/>
                  <a:pt x="1610" y="254"/>
                </a:cubicBezTo>
                <a:cubicBezTo>
                  <a:pt x="1610" y="256"/>
                  <a:pt x="1610" y="258"/>
                  <a:pt x="1610" y="261"/>
                </a:cubicBezTo>
                <a:cubicBezTo>
                  <a:pt x="1609" y="263"/>
                  <a:pt x="1609" y="266"/>
                  <a:pt x="1609" y="268"/>
                </a:cubicBezTo>
                <a:cubicBezTo>
                  <a:pt x="1609" y="277"/>
                  <a:pt x="1615" y="281"/>
                  <a:pt x="1623" y="281"/>
                </a:cubicBezTo>
                <a:cubicBezTo>
                  <a:pt x="1623" y="281"/>
                  <a:pt x="1623" y="281"/>
                  <a:pt x="1627" y="281"/>
                </a:cubicBezTo>
                <a:cubicBezTo>
                  <a:pt x="1627" y="281"/>
                  <a:pt x="1627" y="281"/>
                  <a:pt x="1627" y="272"/>
                </a:cubicBezTo>
                <a:cubicBezTo>
                  <a:pt x="1627" y="272"/>
                  <a:pt x="1627" y="272"/>
                  <a:pt x="1626" y="272"/>
                </a:cubicBezTo>
                <a:cubicBezTo>
                  <a:pt x="1622" y="272"/>
                  <a:pt x="1621" y="269"/>
                  <a:pt x="1621" y="266"/>
                </a:cubicBezTo>
                <a:cubicBezTo>
                  <a:pt x="1621" y="264"/>
                  <a:pt x="1621" y="263"/>
                  <a:pt x="1621" y="261"/>
                </a:cubicBezTo>
                <a:cubicBezTo>
                  <a:pt x="1621" y="259"/>
                  <a:pt x="1622" y="257"/>
                  <a:pt x="1622" y="255"/>
                </a:cubicBezTo>
                <a:cubicBezTo>
                  <a:pt x="1622" y="247"/>
                  <a:pt x="1619" y="245"/>
                  <a:pt x="1613" y="244"/>
                </a:cubicBezTo>
                <a:cubicBezTo>
                  <a:pt x="1613" y="244"/>
                  <a:pt x="1613" y="244"/>
                  <a:pt x="1613" y="243"/>
                </a:cubicBezTo>
                <a:cubicBezTo>
                  <a:pt x="1619" y="242"/>
                  <a:pt x="1622" y="240"/>
                  <a:pt x="1622" y="232"/>
                </a:cubicBezTo>
                <a:cubicBezTo>
                  <a:pt x="1622" y="230"/>
                  <a:pt x="1621" y="228"/>
                  <a:pt x="1621" y="226"/>
                </a:cubicBezTo>
                <a:cubicBezTo>
                  <a:pt x="1621" y="225"/>
                  <a:pt x="1621" y="223"/>
                  <a:pt x="1621" y="222"/>
                </a:cubicBezTo>
                <a:cubicBezTo>
                  <a:pt x="1621" y="218"/>
                  <a:pt x="1622" y="216"/>
                  <a:pt x="1626" y="216"/>
                </a:cubicBezTo>
                <a:cubicBezTo>
                  <a:pt x="1626" y="216"/>
                  <a:pt x="1626" y="216"/>
                  <a:pt x="1627" y="216"/>
                </a:cubicBezTo>
                <a:cubicBezTo>
                  <a:pt x="1627" y="216"/>
                  <a:pt x="1627" y="216"/>
                  <a:pt x="1627" y="206"/>
                </a:cubicBezTo>
                <a:cubicBezTo>
                  <a:pt x="1627" y="206"/>
                  <a:pt x="1627" y="206"/>
                  <a:pt x="1623" y="206"/>
                </a:cubicBezTo>
                <a:cubicBezTo>
                  <a:pt x="1614" y="206"/>
                  <a:pt x="1609" y="210"/>
                  <a:pt x="1609" y="219"/>
                </a:cubicBezTo>
                <a:cubicBezTo>
                  <a:pt x="1609" y="221"/>
                  <a:pt x="1609" y="224"/>
                  <a:pt x="1609" y="226"/>
                </a:cubicBezTo>
                <a:cubicBezTo>
                  <a:pt x="1610" y="229"/>
                  <a:pt x="1610" y="231"/>
                  <a:pt x="1610" y="233"/>
                </a:cubicBezTo>
                <a:cubicBezTo>
                  <a:pt x="1610" y="236"/>
                  <a:pt x="1609" y="239"/>
                  <a:pt x="1603" y="240"/>
                </a:cubicBezTo>
                <a:close/>
                <a:moveTo>
                  <a:pt x="1658" y="248"/>
                </a:moveTo>
                <a:cubicBezTo>
                  <a:pt x="1658" y="248"/>
                  <a:pt x="1658" y="248"/>
                  <a:pt x="1658" y="248"/>
                </a:cubicBezTo>
                <a:cubicBezTo>
                  <a:pt x="1658" y="240"/>
                  <a:pt x="1658" y="240"/>
                  <a:pt x="1658" y="240"/>
                </a:cubicBezTo>
                <a:cubicBezTo>
                  <a:pt x="1651" y="239"/>
                  <a:pt x="1651" y="236"/>
                  <a:pt x="1651" y="233"/>
                </a:cubicBezTo>
                <a:cubicBezTo>
                  <a:pt x="1651" y="231"/>
                  <a:pt x="1651" y="229"/>
                  <a:pt x="1651" y="226"/>
                </a:cubicBezTo>
                <a:cubicBezTo>
                  <a:pt x="1652" y="224"/>
                  <a:pt x="1652" y="221"/>
                  <a:pt x="1652" y="219"/>
                </a:cubicBezTo>
                <a:cubicBezTo>
                  <a:pt x="1652" y="210"/>
                  <a:pt x="1647" y="206"/>
                  <a:pt x="1637" y="206"/>
                </a:cubicBezTo>
                <a:cubicBezTo>
                  <a:pt x="1637" y="206"/>
                  <a:pt x="1637" y="206"/>
                  <a:pt x="1634" y="206"/>
                </a:cubicBezTo>
                <a:cubicBezTo>
                  <a:pt x="1634" y="206"/>
                  <a:pt x="1634" y="206"/>
                  <a:pt x="1634" y="216"/>
                </a:cubicBezTo>
                <a:cubicBezTo>
                  <a:pt x="1634" y="216"/>
                  <a:pt x="1634" y="216"/>
                  <a:pt x="1635" y="216"/>
                </a:cubicBezTo>
                <a:cubicBezTo>
                  <a:pt x="1639" y="216"/>
                  <a:pt x="1640" y="218"/>
                  <a:pt x="1640" y="222"/>
                </a:cubicBezTo>
                <a:cubicBezTo>
                  <a:pt x="1640" y="223"/>
                  <a:pt x="1640" y="225"/>
                  <a:pt x="1640" y="226"/>
                </a:cubicBezTo>
                <a:cubicBezTo>
                  <a:pt x="1640" y="228"/>
                  <a:pt x="1640" y="230"/>
                  <a:pt x="1640" y="232"/>
                </a:cubicBezTo>
                <a:cubicBezTo>
                  <a:pt x="1640" y="240"/>
                  <a:pt x="1642" y="242"/>
                  <a:pt x="1648" y="243"/>
                </a:cubicBezTo>
                <a:cubicBezTo>
                  <a:pt x="1648" y="243"/>
                  <a:pt x="1648" y="243"/>
                  <a:pt x="1648" y="244"/>
                </a:cubicBezTo>
                <a:cubicBezTo>
                  <a:pt x="1642" y="245"/>
                  <a:pt x="1640" y="247"/>
                  <a:pt x="1640" y="255"/>
                </a:cubicBezTo>
                <a:cubicBezTo>
                  <a:pt x="1640" y="257"/>
                  <a:pt x="1640" y="259"/>
                  <a:pt x="1640" y="261"/>
                </a:cubicBezTo>
                <a:cubicBezTo>
                  <a:pt x="1640" y="263"/>
                  <a:pt x="1640" y="264"/>
                  <a:pt x="1640" y="266"/>
                </a:cubicBezTo>
                <a:cubicBezTo>
                  <a:pt x="1640" y="269"/>
                  <a:pt x="1639" y="272"/>
                  <a:pt x="1635" y="272"/>
                </a:cubicBezTo>
                <a:cubicBezTo>
                  <a:pt x="1635" y="272"/>
                  <a:pt x="1635" y="272"/>
                  <a:pt x="1634" y="272"/>
                </a:cubicBezTo>
                <a:cubicBezTo>
                  <a:pt x="1634" y="272"/>
                  <a:pt x="1634" y="272"/>
                  <a:pt x="1634" y="281"/>
                </a:cubicBezTo>
                <a:cubicBezTo>
                  <a:pt x="1634" y="281"/>
                  <a:pt x="1634" y="281"/>
                  <a:pt x="1637" y="281"/>
                </a:cubicBezTo>
                <a:cubicBezTo>
                  <a:pt x="1646" y="281"/>
                  <a:pt x="1652" y="277"/>
                  <a:pt x="1652" y="268"/>
                </a:cubicBezTo>
                <a:cubicBezTo>
                  <a:pt x="1652" y="266"/>
                  <a:pt x="1652" y="263"/>
                  <a:pt x="1651" y="261"/>
                </a:cubicBezTo>
                <a:cubicBezTo>
                  <a:pt x="1651" y="258"/>
                  <a:pt x="1651" y="256"/>
                  <a:pt x="1651" y="254"/>
                </a:cubicBezTo>
                <a:cubicBezTo>
                  <a:pt x="1651" y="251"/>
                  <a:pt x="1651" y="248"/>
                  <a:pt x="1658" y="248"/>
                </a:cubicBezTo>
                <a:close/>
                <a:moveTo>
                  <a:pt x="1705" y="207"/>
                </a:moveTo>
                <a:cubicBezTo>
                  <a:pt x="1705" y="207"/>
                  <a:pt x="1705" y="207"/>
                  <a:pt x="1705" y="207"/>
                </a:cubicBezTo>
                <a:cubicBezTo>
                  <a:pt x="1700" y="207"/>
                  <a:pt x="1700" y="207"/>
                  <a:pt x="1700" y="207"/>
                </a:cubicBezTo>
                <a:cubicBezTo>
                  <a:pt x="1698" y="209"/>
                  <a:pt x="1697" y="210"/>
                  <a:pt x="1694" y="211"/>
                </a:cubicBezTo>
                <a:cubicBezTo>
                  <a:pt x="1693" y="212"/>
                  <a:pt x="1691" y="213"/>
                  <a:pt x="1689" y="214"/>
                </a:cubicBezTo>
                <a:cubicBezTo>
                  <a:pt x="1687" y="215"/>
                  <a:pt x="1686" y="215"/>
                  <a:pt x="1684" y="216"/>
                </a:cubicBezTo>
                <a:cubicBezTo>
                  <a:pt x="1682" y="217"/>
                  <a:pt x="1681" y="217"/>
                  <a:pt x="1678" y="218"/>
                </a:cubicBezTo>
                <a:cubicBezTo>
                  <a:pt x="1678" y="218"/>
                  <a:pt x="1678" y="218"/>
                  <a:pt x="1678" y="228"/>
                </a:cubicBezTo>
                <a:cubicBezTo>
                  <a:pt x="1681" y="228"/>
                  <a:pt x="1684" y="226"/>
                  <a:pt x="1686" y="225"/>
                </a:cubicBezTo>
                <a:cubicBezTo>
                  <a:pt x="1689" y="225"/>
                  <a:pt x="1691" y="223"/>
                  <a:pt x="1694" y="222"/>
                </a:cubicBezTo>
                <a:cubicBezTo>
                  <a:pt x="1694" y="222"/>
                  <a:pt x="1694" y="222"/>
                  <a:pt x="1694" y="281"/>
                </a:cubicBezTo>
                <a:cubicBezTo>
                  <a:pt x="1694" y="281"/>
                  <a:pt x="1694" y="281"/>
                  <a:pt x="1705" y="281"/>
                </a:cubicBezTo>
                <a:cubicBezTo>
                  <a:pt x="1705" y="281"/>
                  <a:pt x="1705" y="281"/>
                  <a:pt x="1705" y="207"/>
                </a:cubicBezTo>
                <a:close/>
                <a:moveTo>
                  <a:pt x="1752" y="207"/>
                </a:moveTo>
                <a:cubicBezTo>
                  <a:pt x="1752" y="207"/>
                  <a:pt x="1752" y="207"/>
                  <a:pt x="1752" y="207"/>
                </a:cubicBezTo>
                <a:cubicBezTo>
                  <a:pt x="1747" y="207"/>
                  <a:pt x="1747" y="207"/>
                  <a:pt x="1747" y="207"/>
                </a:cubicBezTo>
                <a:cubicBezTo>
                  <a:pt x="1745" y="209"/>
                  <a:pt x="1744" y="210"/>
                  <a:pt x="1742" y="211"/>
                </a:cubicBezTo>
                <a:cubicBezTo>
                  <a:pt x="1740" y="212"/>
                  <a:pt x="1738" y="213"/>
                  <a:pt x="1737" y="214"/>
                </a:cubicBezTo>
                <a:cubicBezTo>
                  <a:pt x="1735" y="215"/>
                  <a:pt x="1733" y="216"/>
                  <a:pt x="1732" y="217"/>
                </a:cubicBezTo>
                <a:cubicBezTo>
                  <a:pt x="1730" y="217"/>
                  <a:pt x="1728" y="218"/>
                  <a:pt x="1726" y="218"/>
                </a:cubicBezTo>
                <a:cubicBezTo>
                  <a:pt x="1726" y="218"/>
                  <a:pt x="1726" y="218"/>
                  <a:pt x="1726" y="228"/>
                </a:cubicBezTo>
                <a:cubicBezTo>
                  <a:pt x="1729" y="228"/>
                  <a:pt x="1732" y="227"/>
                  <a:pt x="1734" y="225"/>
                </a:cubicBezTo>
                <a:cubicBezTo>
                  <a:pt x="1737" y="225"/>
                  <a:pt x="1739" y="223"/>
                  <a:pt x="1741" y="222"/>
                </a:cubicBezTo>
                <a:cubicBezTo>
                  <a:pt x="1741" y="222"/>
                  <a:pt x="1741" y="222"/>
                  <a:pt x="1741" y="281"/>
                </a:cubicBezTo>
                <a:cubicBezTo>
                  <a:pt x="1741" y="281"/>
                  <a:pt x="1741" y="281"/>
                  <a:pt x="1752" y="281"/>
                </a:cubicBezTo>
                <a:cubicBezTo>
                  <a:pt x="1752" y="281"/>
                  <a:pt x="1752" y="281"/>
                  <a:pt x="1752" y="207"/>
                </a:cubicBezTo>
                <a:close/>
                <a:moveTo>
                  <a:pt x="1799" y="207"/>
                </a:moveTo>
                <a:cubicBezTo>
                  <a:pt x="1799" y="207"/>
                  <a:pt x="1799" y="207"/>
                  <a:pt x="1799" y="207"/>
                </a:cubicBezTo>
                <a:cubicBezTo>
                  <a:pt x="1795" y="207"/>
                  <a:pt x="1795" y="207"/>
                  <a:pt x="1795" y="207"/>
                </a:cubicBezTo>
                <a:cubicBezTo>
                  <a:pt x="1792" y="209"/>
                  <a:pt x="1791" y="210"/>
                  <a:pt x="1789" y="211"/>
                </a:cubicBezTo>
                <a:cubicBezTo>
                  <a:pt x="1787" y="212"/>
                  <a:pt x="1785" y="213"/>
                  <a:pt x="1784" y="214"/>
                </a:cubicBezTo>
                <a:cubicBezTo>
                  <a:pt x="1782" y="215"/>
                  <a:pt x="1780" y="216"/>
                  <a:pt x="1778" y="217"/>
                </a:cubicBezTo>
                <a:cubicBezTo>
                  <a:pt x="1777" y="217"/>
                  <a:pt x="1774" y="218"/>
                  <a:pt x="1773" y="218"/>
                </a:cubicBezTo>
                <a:cubicBezTo>
                  <a:pt x="1773" y="218"/>
                  <a:pt x="1773" y="218"/>
                  <a:pt x="1773" y="228"/>
                </a:cubicBezTo>
                <a:cubicBezTo>
                  <a:pt x="1776" y="228"/>
                  <a:pt x="1779" y="227"/>
                  <a:pt x="1781" y="225"/>
                </a:cubicBezTo>
                <a:cubicBezTo>
                  <a:pt x="1783" y="225"/>
                  <a:pt x="1786" y="223"/>
                  <a:pt x="1787" y="222"/>
                </a:cubicBezTo>
                <a:cubicBezTo>
                  <a:pt x="1787" y="222"/>
                  <a:pt x="1787" y="222"/>
                  <a:pt x="1787" y="281"/>
                </a:cubicBezTo>
                <a:cubicBezTo>
                  <a:pt x="1787" y="281"/>
                  <a:pt x="1787" y="281"/>
                  <a:pt x="1799" y="281"/>
                </a:cubicBezTo>
                <a:cubicBezTo>
                  <a:pt x="1799" y="281"/>
                  <a:pt x="1799" y="281"/>
                  <a:pt x="1799" y="207"/>
                </a:cubicBezTo>
                <a:close/>
                <a:moveTo>
                  <a:pt x="1922" y="207"/>
                </a:moveTo>
                <a:cubicBezTo>
                  <a:pt x="1922" y="207"/>
                  <a:pt x="1922" y="207"/>
                  <a:pt x="1922" y="207"/>
                </a:cubicBezTo>
                <a:cubicBezTo>
                  <a:pt x="1917" y="207"/>
                  <a:pt x="1917" y="207"/>
                  <a:pt x="1917" y="207"/>
                </a:cubicBezTo>
                <a:cubicBezTo>
                  <a:pt x="1915" y="209"/>
                  <a:pt x="1914" y="210"/>
                  <a:pt x="1911" y="211"/>
                </a:cubicBezTo>
                <a:cubicBezTo>
                  <a:pt x="1910" y="212"/>
                  <a:pt x="1908" y="213"/>
                  <a:pt x="1906" y="214"/>
                </a:cubicBezTo>
                <a:cubicBezTo>
                  <a:pt x="1905" y="215"/>
                  <a:pt x="1903" y="216"/>
                  <a:pt x="1901" y="217"/>
                </a:cubicBezTo>
                <a:cubicBezTo>
                  <a:pt x="1899" y="217"/>
                  <a:pt x="1898" y="218"/>
                  <a:pt x="1895" y="218"/>
                </a:cubicBezTo>
                <a:cubicBezTo>
                  <a:pt x="1895" y="218"/>
                  <a:pt x="1895" y="218"/>
                  <a:pt x="1895" y="228"/>
                </a:cubicBezTo>
                <a:cubicBezTo>
                  <a:pt x="1898" y="228"/>
                  <a:pt x="1901" y="227"/>
                  <a:pt x="1904" y="225"/>
                </a:cubicBezTo>
                <a:cubicBezTo>
                  <a:pt x="1906" y="225"/>
                  <a:pt x="1908" y="223"/>
                  <a:pt x="1911" y="222"/>
                </a:cubicBezTo>
                <a:cubicBezTo>
                  <a:pt x="1911" y="222"/>
                  <a:pt x="1911" y="222"/>
                  <a:pt x="1911" y="281"/>
                </a:cubicBezTo>
                <a:cubicBezTo>
                  <a:pt x="1911" y="281"/>
                  <a:pt x="1911" y="281"/>
                  <a:pt x="1922" y="281"/>
                </a:cubicBezTo>
                <a:cubicBezTo>
                  <a:pt x="1922" y="281"/>
                  <a:pt x="1922" y="281"/>
                  <a:pt x="1922" y="207"/>
                </a:cubicBezTo>
                <a:close/>
                <a:moveTo>
                  <a:pt x="1820" y="240"/>
                </a:moveTo>
                <a:cubicBezTo>
                  <a:pt x="1820" y="240"/>
                  <a:pt x="1820" y="240"/>
                  <a:pt x="1820" y="240"/>
                </a:cubicBezTo>
                <a:cubicBezTo>
                  <a:pt x="1820" y="248"/>
                  <a:pt x="1820" y="248"/>
                  <a:pt x="1820" y="248"/>
                </a:cubicBezTo>
                <a:cubicBezTo>
                  <a:pt x="1826" y="248"/>
                  <a:pt x="1827" y="251"/>
                  <a:pt x="1827" y="254"/>
                </a:cubicBezTo>
                <a:cubicBezTo>
                  <a:pt x="1827" y="256"/>
                  <a:pt x="1826" y="258"/>
                  <a:pt x="1826" y="261"/>
                </a:cubicBezTo>
                <a:cubicBezTo>
                  <a:pt x="1826" y="263"/>
                  <a:pt x="1826" y="266"/>
                  <a:pt x="1826" y="268"/>
                </a:cubicBezTo>
                <a:cubicBezTo>
                  <a:pt x="1826" y="277"/>
                  <a:pt x="1832" y="281"/>
                  <a:pt x="1840" y="281"/>
                </a:cubicBezTo>
                <a:cubicBezTo>
                  <a:pt x="1840" y="281"/>
                  <a:pt x="1840" y="281"/>
                  <a:pt x="1844" y="281"/>
                </a:cubicBezTo>
                <a:cubicBezTo>
                  <a:pt x="1844" y="281"/>
                  <a:pt x="1844" y="281"/>
                  <a:pt x="1844" y="272"/>
                </a:cubicBezTo>
                <a:cubicBezTo>
                  <a:pt x="1844" y="272"/>
                  <a:pt x="1844" y="272"/>
                  <a:pt x="1843" y="272"/>
                </a:cubicBezTo>
                <a:cubicBezTo>
                  <a:pt x="1839" y="272"/>
                  <a:pt x="1838" y="269"/>
                  <a:pt x="1838" y="266"/>
                </a:cubicBezTo>
                <a:cubicBezTo>
                  <a:pt x="1838" y="264"/>
                  <a:pt x="1838" y="263"/>
                  <a:pt x="1838" y="261"/>
                </a:cubicBezTo>
                <a:cubicBezTo>
                  <a:pt x="1838" y="259"/>
                  <a:pt x="1838" y="257"/>
                  <a:pt x="1838" y="255"/>
                </a:cubicBezTo>
                <a:cubicBezTo>
                  <a:pt x="1838" y="247"/>
                  <a:pt x="1835" y="245"/>
                  <a:pt x="1830" y="244"/>
                </a:cubicBezTo>
                <a:cubicBezTo>
                  <a:pt x="1830" y="244"/>
                  <a:pt x="1830" y="244"/>
                  <a:pt x="1830" y="243"/>
                </a:cubicBezTo>
                <a:cubicBezTo>
                  <a:pt x="1835" y="242"/>
                  <a:pt x="1838" y="240"/>
                  <a:pt x="1838" y="232"/>
                </a:cubicBezTo>
                <a:cubicBezTo>
                  <a:pt x="1838" y="230"/>
                  <a:pt x="1838" y="228"/>
                  <a:pt x="1838" y="226"/>
                </a:cubicBezTo>
                <a:cubicBezTo>
                  <a:pt x="1838" y="225"/>
                  <a:pt x="1838" y="223"/>
                  <a:pt x="1838" y="222"/>
                </a:cubicBezTo>
                <a:cubicBezTo>
                  <a:pt x="1838" y="218"/>
                  <a:pt x="1839" y="216"/>
                  <a:pt x="1843" y="216"/>
                </a:cubicBezTo>
                <a:cubicBezTo>
                  <a:pt x="1843" y="216"/>
                  <a:pt x="1843" y="216"/>
                  <a:pt x="1844" y="216"/>
                </a:cubicBezTo>
                <a:cubicBezTo>
                  <a:pt x="1844" y="216"/>
                  <a:pt x="1844" y="216"/>
                  <a:pt x="1844" y="206"/>
                </a:cubicBezTo>
                <a:cubicBezTo>
                  <a:pt x="1844" y="206"/>
                  <a:pt x="1844" y="206"/>
                  <a:pt x="1840" y="206"/>
                </a:cubicBezTo>
                <a:cubicBezTo>
                  <a:pt x="1831" y="206"/>
                  <a:pt x="1826" y="210"/>
                  <a:pt x="1826" y="219"/>
                </a:cubicBezTo>
                <a:cubicBezTo>
                  <a:pt x="1826" y="221"/>
                  <a:pt x="1826" y="224"/>
                  <a:pt x="1826" y="226"/>
                </a:cubicBezTo>
                <a:cubicBezTo>
                  <a:pt x="1826" y="229"/>
                  <a:pt x="1827" y="231"/>
                  <a:pt x="1827" y="233"/>
                </a:cubicBezTo>
                <a:cubicBezTo>
                  <a:pt x="1827" y="236"/>
                  <a:pt x="1826" y="239"/>
                  <a:pt x="1820" y="240"/>
                </a:cubicBezTo>
                <a:close/>
                <a:moveTo>
                  <a:pt x="1875" y="248"/>
                </a:moveTo>
                <a:cubicBezTo>
                  <a:pt x="1875" y="248"/>
                  <a:pt x="1875" y="248"/>
                  <a:pt x="1875" y="248"/>
                </a:cubicBezTo>
                <a:cubicBezTo>
                  <a:pt x="1875" y="240"/>
                  <a:pt x="1875" y="240"/>
                  <a:pt x="1875" y="240"/>
                </a:cubicBezTo>
                <a:cubicBezTo>
                  <a:pt x="1868" y="239"/>
                  <a:pt x="1868" y="236"/>
                  <a:pt x="1868" y="233"/>
                </a:cubicBezTo>
                <a:cubicBezTo>
                  <a:pt x="1868" y="231"/>
                  <a:pt x="1868" y="229"/>
                  <a:pt x="1868" y="226"/>
                </a:cubicBezTo>
                <a:cubicBezTo>
                  <a:pt x="1869" y="224"/>
                  <a:pt x="1869" y="221"/>
                  <a:pt x="1869" y="219"/>
                </a:cubicBezTo>
                <a:cubicBezTo>
                  <a:pt x="1869" y="210"/>
                  <a:pt x="1864" y="206"/>
                  <a:pt x="1854" y="206"/>
                </a:cubicBezTo>
                <a:cubicBezTo>
                  <a:pt x="1854" y="206"/>
                  <a:pt x="1854" y="206"/>
                  <a:pt x="1851" y="206"/>
                </a:cubicBezTo>
                <a:cubicBezTo>
                  <a:pt x="1851" y="206"/>
                  <a:pt x="1851" y="206"/>
                  <a:pt x="1851" y="216"/>
                </a:cubicBezTo>
                <a:cubicBezTo>
                  <a:pt x="1851" y="216"/>
                  <a:pt x="1851" y="216"/>
                  <a:pt x="1852" y="216"/>
                </a:cubicBezTo>
                <a:cubicBezTo>
                  <a:pt x="1856" y="216"/>
                  <a:pt x="1857" y="218"/>
                  <a:pt x="1857" y="222"/>
                </a:cubicBezTo>
                <a:cubicBezTo>
                  <a:pt x="1857" y="223"/>
                  <a:pt x="1857" y="225"/>
                  <a:pt x="1857" y="226"/>
                </a:cubicBezTo>
                <a:cubicBezTo>
                  <a:pt x="1857" y="228"/>
                  <a:pt x="1857" y="230"/>
                  <a:pt x="1857" y="232"/>
                </a:cubicBezTo>
                <a:cubicBezTo>
                  <a:pt x="1857" y="240"/>
                  <a:pt x="1859" y="242"/>
                  <a:pt x="1865" y="243"/>
                </a:cubicBezTo>
                <a:cubicBezTo>
                  <a:pt x="1865" y="243"/>
                  <a:pt x="1865" y="243"/>
                  <a:pt x="1865" y="244"/>
                </a:cubicBezTo>
                <a:cubicBezTo>
                  <a:pt x="1859" y="245"/>
                  <a:pt x="1857" y="247"/>
                  <a:pt x="1857" y="255"/>
                </a:cubicBezTo>
                <a:cubicBezTo>
                  <a:pt x="1857" y="257"/>
                  <a:pt x="1857" y="259"/>
                  <a:pt x="1857" y="261"/>
                </a:cubicBezTo>
                <a:cubicBezTo>
                  <a:pt x="1857" y="263"/>
                  <a:pt x="1857" y="264"/>
                  <a:pt x="1857" y="266"/>
                </a:cubicBezTo>
                <a:cubicBezTo>
                  <a:pt x="1857" y="269"/>
                  <a:pt x="1856" y="272"/>
                  <a:pt x="1852" y="272"/>
                </a:cubicBezTo>
                <a:cubicBezTo>
                  <a:pt x="1852" y="272"/>
                  <a:pt x="1852" y="272"/>
                  <a:pt x="1851" y="272"/>
                </a:cubicBezTo>
                <a:cubicBezTo>
                  <a:pt x="1851" y="272"/>
                  <a:pt x="1851" y="272"/>
                  <a:pt x="1851" y="281"/>
                </a:cubicBezTo>
                <a:cubicBezTo>
                  <a:pt x="1851" y="281"/>
                  <a:pt x="1851" y="281"/>
                  <a:pt x="1854" y="281"/>
                </a:cubicBezTo>
                <a:cubicBezTo>
                  <a:pt x="1863" y="281"/>
                  <a:pt x="1869" y="277"/>
                  <a:pt x="1869" y="268"/>
                </a:cubicBezTo>
                <a:cubicBezTo>
                  <a:pt x="1869" y="266"/>
                  <a:pt x="1869" y="263"/>
                  <a:pt x="1868" y="261"/>
                </a:cubicBezTo>
                <a:cubicBezTo>
                  <a:pt x="1868" y="258"/>
                  <a:pt x="1868" y="256"/>
                  <a:pt x="1868" y="254"/>
                </a:cubicBezTo>
                <a:cubicBezTo>
                  <a:pt x="1868" y="251"/>
                  <a:pt x="1868" y="248"/>
                  <a:pt x="1875" y="248"/>
                </a:cubicBezTo>
                <a:close/>
                <a:moveTo>
                  <a:pt x="1016" y="159"/>
                </a:moveTo>
                <a:cubicBezTo>
                  <a:pt x="1016" y="160"/>
                  <a:pt x="1017" y="161"/>
                  <a:pt x="1017" y="163"/>
                </a:cubicBezTo>
                <a:cubicBezTo>
                  <a:pt x="1018" y="164"/>
                  <a:pt x="1018" y="166"/>
                  <a:pt x="1019" y="168"/>
                </a:cubicBezTo>
                <a:cubicBezTo>
                  <a:pt x="1019" y="170"/>
                  <a:pt x="1019" y="171"/>
                  <a:pt x="1019" y="173"/>
                </a:cubicBezTo>
                <a:cubicBezTo>
                  <a:pt x="1020" y="176"/>
                  <a:pt x="1019" y="178"/>
                  <a:pt x="1015" y="178"/>
                </a:cubicBezTo>
                <a:cubicBezTo>
                  <a:pt x="1013" y="178"/>
                  <a:pt x="1010" y="177"/>
                  <a:pt x="1007" y="177"/>
                </a:cubicBezTo>
                <a:cubicBezTo>
                  <a:pt x="1007" y="177"/>
                  <a:pt x="1006" y="177"/>
                  <a:pt x="1006" y="178"/>
                </a:cubicBezTo>
                <a:cubicBezTo>
                  <a:pt x="1004" y="179"/>
                  <a:pt x="1002" y="180"/>
                  <a:pt x="1001" y="182"/>
                </a:cubicBezTo>
                <a:cubicBezTo>
                  <a:pt x="999" y="184"/>
                  <a:pt x="996" y="185"/>
                  <a:pt x="994" y="183"/>
                </a:cubicBezTo>
                <a:cubicBezTo>
                  <a:pt x="992" y="180"/>
                  <a:pt x="991" y="178"/>
                  <a:pt x="989" y="175"/>
                </a:cubicBezTo>
                <a:cubicBezTo>
                  <a:pt x="988" y="174"/>
                  <a:pt x="989" y="172"/>
                  <a:pt x="991" y="170"/>
                </a:cubicBezTo>
                <a:cubicBezTo>
                  <a:pt x="988" y="170"/>
                  <a:pt x="987" y="170"/>
                  <a:pt x="985" y="170"/>
                </a:cubicBezTo>
                <a:cubicBezTo>
                  <a:pt x="984" y="172"/>
                  <a:pt x="983" y="174"/>
                  <a:pt x="982" y="176"/>
                </a:cubicBezTo>
                <a:cubicBezTo>
                  <a:pt x="982" y="177"/>
                  <a:pt x="982" y="178"/>
                  <a:pt x="982" y="179"/>
                </a:cubicBezTo>
                <a:cubicBezTo>
                  <a:pt x="982" y="182"/>
                  <a:pt x="981" y="183"/>
                  <a:pt x="978" y="183"/>
                </a:cubicBezTo>
                <a:cubicBezTo>
                  <a:pt x="974" y="182"/>
                  <a:pt x="972" y="182"/>
                  <a:pt x="969" y="180"/>
                </a:cubicBezTo>
                <a:cubicBezTo>
                  <a:pt x="967" y="180"/>
                  <a:pt x="966" y="178"/>
                  <a:pt x="967" y="176"/>
                </a:cubicBezTo>
                <a:cubicBezTo>
                  <a:pt x="967" y="176"/>
                  <a:pt x="967" y="175"/>
                  <a:pt x="967" y="175"/>
                </a:cubicBezTo>
                <a:cubicBezTo>
                  <a:pt x="965" y="174"/>
                  <a:pt x="963" y="173"/>
                  <a:pt x="961" y="171"/>
                </a:cubicBezTo>
                <a:cubicBezTo>
                  <a:pt x="959" y="170"/>
                  <a:pt x="958" y="168"/>
                  <a:pt x="958" y="167"/>
                </a:cubicBezTo>
                <a:cubicBezTo>
                  <a:pt x="957" y="165"/>
                  <a:pt x="957" y="163"/>
                  <a:pt x="959" y="162"/>
                </a:cubicBezTo>
                <a:cubicBezTo>
                  <a:pt x="962" y="159"/>
                  <a:pt x="963" y="157"/>
                  <a:pt x="962" y="153"/>
                </a:cubicBezTo>
                <a:cubicBezTo>
                  <a:pt x="962" y="151"/>
                  <a:pt x="962" y="148"/>
                  <a:pt x="962" y="147"/>
                </a:cubicBezTo>
                <a:cubicBezTo>
                  <a:pt x="961" y="146"/>
                  <a:pt x="959" y="145"/>
                  <a:pt x="958" y="144"/>
                </a:cubicBezTo>
                <a:cubicBezTo>
                  <a:pt x="957" y="143"/>
                  <a:pt x="956" y="141"/>
                  <a:pt x="956" y="139"/>
                </a:cubicBezTo>
                <a:cubicBezTo>
                  <a:pt x="956" y="136"/>
                  <a:pt x="959" y="133"/>
                  <a:pt x="962" y="132"/>
                </a:cubicBezTo>
                <a:cubicBezTo>
                  <a:pt x="962" y="133"/>
                  <a:pt x="962" y="134"/>
                  <a:pt x="963" y="135"/>
                </a:cubicBezTo>
                <a:cubicBezTo>
                  <a:pt x="963" y="136"/>
                  <a:pt x="963" y="137"/>
                  <a:pt x="963" y="138"/>
                </a:cubicBezTo>
                <a:cubicBezTo>
                  <a:pt x="962" y="138"/>
                  <a:pt x="962" y="138"/>
                  <a:pt x="961" y="138"/>
                </a:cubicBezTo>
                <a:cubicBezTo>
                  <a:pt x="961" y="139"/>
                  <a:pt x="961" y="140"/>
                  <a:pt x="960" y="142"/>
                </a:cubicBezTo>
                <a:cubicBezTo>
                  <a:pt x="961" y="142"/>
                  <a:pt x="962" y="142"/>
                  <a:pt x="962" y="141"/>
                </a:cubicBezTo>
                <a:cubicBezTo>
                  <a:pt x="963" y="140"/>
                  <a:pt x="964" y="139"/>
                  <a:pt x="965" y="138"/>
                </a:cubicBezTo>
                <a:cubicBezTo>
                  <a:pt x="969" y="131"/>
                  <a:pt x="975" y="127"/>
                  <a:pt x="983" y="126"/>
                </a:cubicBezTo>
                <a:cubicBezTo>
                  <a:pt x="986" y="125"/>
                  <a:pt x="989" y="124"/>
                  <a:pt x="992" y="121"/>
                </a:cubicBezTo>
                <a:cubicBezTo>
                  <a:pt x="992" y="121"/>
                  <a:pt x="993" y="121"/>
                  <a:pt x="993" y="121"/>
                </a:cubicBezTo>
                <a:cubicBezTo>
                  <a:pt x="996" y="120"/>
                  <a:pt x="997" y="118"/>
                  <a:pt x="999" y="116"/>
                </a:cubicBezTo>
                <a:cubicBezTo>
                  <a:pt x="1007" y="108"/>
                  <a:pt x="1019" y="108"/>
                  <a:pt x="1026" y="115"/>
                </a:cubicBezTo>
                <a:cubicBezTo>
                  <a:pt x="1029" y="117"/>
                  <a:pt x="1032" y="119"/>
                  <a:pt x="1034" y="121"/>
                </a:cubicBezTo>
                <a:cubicBezTo>
                  <a:pt x="1036" y="122"/>
                  <a:pt x="1037" y="123"/>
                  <a:pt x="1038" y="125"/>
                </a:cubicBezTo>
                <a:cubicBezTo>
                  <a:pt x="1039" y="127"/>
                  <a:pt x="1039" y="127"/>
                  <a:pt x="1041" y="126"/>
                </a:cubicBezTo>
                <a:cubicBezTo>
                  <a:pt x="1041" y="125"/>
                  <a:pt x="1042" y="125"/>
                  <a:pt x="1043" y="124"/>
                </a:cubicBezTo>
                <a:cubicBezTo>
                  <a:pt x="1045" y="121"/>
                  <a:pt x="1048" y="121"/>
                  <a:pt x="1049" y="124"/>
                </a:cubicBezTo>
                <a:cubicBezTo>
                  <a:pt x="1051" y="127"/>
                  <a:pt x="1051" y="130"/>
                  <a:pt x="1052" y="133"/>
                </a:cubicBezTo>
                <a:cubicBezTo>
                  <a:pt x="1052" y="138"/>
                  <a:pt x="1052" y="142"/>
                  <a:pt x="1051" y="146"/>
                </a:cubicBezTo>
                <a:cubicBezTo>
                  <a:pt x="1048" y="153"/>
                  <a:pt x="1043" y="156"/>
                  <a:pt x="1037" y="156"/>
                </a:cubicBezTo>
                <a:cubicBezTo>
                  <a:pt x="1036" y="156"/>
                  <a:pt x="1036" y="156"/>
                  <a:pt x="1035" y="156"/>
                </a:cubicBezTo>
                <a:cubicBezTo>
                  <a:pt x="1032" y="156"/>
                  <a:pt x="1031" y="156"/>
                  <a:pt x="1030" y="159"/>
                </a:cubicBezTo>
                <a:cubicBezTo>
                  <a:pt x="1029" y="163"/>
                  <a:pt x="1023" y="164"/>
                  <a:pt x="1020" y="161"/>
                </a:cubicBezTo>
                <a:cubicBezTo>
                  <a:pt x="1019" y="160"/>
                  <a:pt x="1018" y="159"/>
                  <a:pt x="1017" y="158"/>
                </a:cubicBezTo>
                <a:cubicBezTo>
                  <a:pt x="1016" y="159"/>
                  <a:pt x="1016" y="159"/>
                  <a:pt x="1016" y="159"/>
                </a:cubicBezTo>
                <a:close/>
                <a:moveTo>
                  <a:pt x="1010" y="154"/>
                </a:moveTo>
                <a:cubicBezTo>
                  <a:pt x="1014" y="156"/>
                  <a:pt x="1017" y="157"/>
                  <a:pt x="1020" y="160"/>
                </a:cubicBezTo>
                <a:cubicBezTo>
                  <a:pt x="1022" y="161"/>
                  <a:pt x="1024" y="162"/>
                  <a:pt x="1026" y="161"/>
                </a:cubicBezTo>
                <a:cubicBezTo>
                  <a:pt x="1028" y="161"/>
                  <a:pt x="1030" y="159"/>
                  <a:pt x="1030" y="155"/>
                </a:cubicBezTo>
                <a:cubicBezTo>
                  <a:pt x="1030" y="156"/>
                  <a:pt x="1029" y="156"/>
                  <a:pt x="1029" y="156"/>
                </a:cubicBezTo>
                <a:cubicBezTo>
                  <a:pt x="1028" y="158"/>
                  <a:pt x="1027" y="159"/>
                  <a:pt x="1026" y="160"/>
                </a:cubicBezTo>
                <a:cubicBezTo>
                  <a:pt x="1025" y="161"/>
                  <a:pt x="1024" y="161"/>
                  <a:pt x="1023" y="160"/>
                </a:cubicBezTo>
                <a:cubicBezTo>
                  <a:pt x="1023" y="160"/>
                  <a:pt x="1022" y="159"/>
                  <a:pt x="1022" y="158"/>
                </a:cubicBezTo>
                <a:cubicBezTo>
                  <a:pt x="1022" y="156"/>
                  <a:pt x="1023" y="154"/>
                  <a:pt x="1023" y="152"/>
                </a:cubicBezTo>
                <a:cubicBezTo>
                  <a:pt x="1026" y="153"/>
                  <a:pt x="1029" y="154"/>
                  <a:pt x="1033" y="154"/>
                </a:cubicBezTo>
                <a:cubicBezTo>
                  <a:pt x="1040" y="155"/>
                  <a:pt x="1046" y="154"/>
                  <a:pt x="1049" y="145"/>
                </a:cubicBezTo>
                <a:cubicBezTo>
                  <a:pt x="1051" y="140"/>
                  <a:pt x="1051" y="136"/>
                  <a:pt x="1050" y="130"/>
                </a:cubicBezTo>
                <a:cubicBezTo>
                  <a:pt x="1049" y="128"/>
                  <a:pt x="1049" y="127"/>
                  <a:pt x="1048" y="125"/>
                </a:cubicBezTo>
                <a:cubicBezTo>
                  <a:pt x="1047" y="123"/>
                  <a:pt x="1046" y="123"/>
                  <a:pt x="1045" y="125"/>
                </a:cubicBezTo>
                <a:cubicBezTo>
                  <a:pt x="1043" y="126"/>
                  <a:pt x="1041" y="128"/>
                  <a:pt x="1039" y="128"/>
                </a:cubicBezTo>
                <a:cubicBezTo>
                  <a:pt x="1039" y="129"/>
                  <a:pt x="1038" y="130"/>
                  <a:pt x="1038" y="131"/>
                </a:cubicBezTo>
                <a:cubicBezTo>
                  <a:pt x="1039" y="134"/>
                  <a:pt x="1038" y="137"/>
                  <a:pt x="1037" y="140"/>
                </a:cubicBezTo>
                <a:cubicBezTo>
                  <a:pt x="1037" y="138"/>
                  <a:pt x="1038" y="136"/>
                  <a:pt x="1038" y="135"/>
                </a:cubicBezTo>
                <a:cubicBezTo>
                  <a:pt x="1038" y="134"/>
                  <a:pt x="1037" y="134"/>
                  <a:pt x="1037" y="133"/>
                </a:cubicBezTo>
                <a:cubicBezTo>
                  <a:pt x="1036" y="134"/>
                  <a:pt x="1036" y="134"/>
                  <a:pt x="1036" y="134"/>
                </a:cubicBezTo>
                <a:cubicBezTo>
                  <a:pt x="1035" y="135"/>
                  <a:pt x="1034" y="137"/>
                  <a:pt x="1033" y="138"/>
                </a:cubicBezTo>
                <a:cubicBezTo>
                  <a:pt x="1033" y="138"/>
                  <a:pt x="1033" y="138"/>
                  <a:pt x="1033" y="138"/>
                </a:cubicBezTo>
                <a:cubicBezTo>
                  <a:pt x="1033" y="136"/>
                  <a:pt x="1034" y="135"/>
                  <a:pt x="1034" y="132"/>
                </a:cubicBezTo>
                <a:cubicBezTo>
                  <a:pt x="1033" y="133"/>
                  <a:pt x="1032" y="134"/>
                  <a:pt x="1032" y="134"/>
                </a:cubicBezTo>
                <a:cubicBezTo>
                  <a:pt x="1031" y="135"/>
                  <a:pt x="1031" y="136"/>
                  <a:pt x="1030" y="136"/>
                </a:cubicBezTo>
                <a:cubicBezTo>
                  <a:pt x="1031" y="133"/>
                  <a:pt x="1031" y="133"/>
                  <a:pt x="1037" y="132"/>
                </a:cubicBezTo>
                <a:cubicBezTo>
                  <a:pt x="1037" y="131"/>
                  <a:pt x="1036" y="130"/>
                  <a:pt x="1036" y="130"/>
                </a:cubicBezTo>
                <a:cubicBezTo>
                  <a:pt x="1033" y="131"/>
                  <a:pt x="1032" y="130"/>
                  <a:pt x="1032" y="127"/>
                </a:cubicBezTo>
                <a:cubicBezTo>
                  <a:pt x="1034" y="127"/>
                  <a:pt x="1035" y="126"/>
                  <a:pt x="1037" y="126"/>
                </a:cubicBezTo>
                <a:cubicBezTo>
                  <a:pt x="1035" y="124"/>
                  <a:pt x="1034" y="121"/>
                  <a:pt x="1030" y="121"/>
                </a:cubicBezTo>
                <a:cubicBezTo>
                  <a:pt x="1030" y="121"/>
                  <a:pt x="1030" y="120"/>
                  <a:pt x="1030" y="120"/>
                </a:cubicBezTo>
                <a:cubicBezTo>
                  <a:pt x="1027" y="118"/>
                  <a:pt x="1025" y="115"/>
                  <a:pt x="1022" y="113"/>
                </a:cubicBezTo>
                <a:cubicBezTo>
                  <a:pt x="1020" y="112"/>
                  <a:pt x="1017" y="111"/>
                  <a:pt x="1015" y="111"/>
                </a:cubicBezTo>
                <a:cubicBezTo>
                  <a:pt x="1012" y="112"/>
                  <a:pt x="1008" y="113"/>
                  <a:pt x="1005" y="114"/>
                </a:cubicBezTo>
                <a:cubicBezTo>
                  <a:pt x="1002" y="115"/>
                  <a:pt x="1000" y="117"/>
                  <a:pt x="998" y="120"/>
                </a:cubicBezTo>
                <a:cubicBezTo>
                  <a:pt x="1000" y="120"/>
                  <a:pt x="1001" y="120"/>
                  <a:pt x="1002" y="120"/>
                </a:cubicBezTo>
                <a:cubicBezTo>
                  <a:pt x="1002" y="120"/>
                  <a:pt x="1001" y="121"/>
                  <a:pt x="1000" y="121"/>
                </a:cubicBezTo>
                <a:cubicBezTo>
                  <a:pt x="998" y="121"/>
                  <a:pt x="995" y="121"/>
                  <a:pt x="993" y="123"/>
                </a:cubicBezTo>
                <a:cubicBezTo>
                  <a:pt x="989" y="127"/>
                  <a:pt x="985" y="130"/>
                  <a:pt x="982" y="135"/>
                </a:cubicBezTo>
                <a:cubicBezTo>
                  <a:pt x="980" y="137"/>
                  <a:pt x="980" y="139"/>
                  <a:pt x="978" y="142"/>
                </a:cubicBezTo>
                <a:cubicBezTo>
                  <a:pt x="978" y="142"/>
                  <a:pt x="978" y="143"/>
                  <a:pt x="979" y="143"/>
                </a:cubicBezTo>
                <a:cubicBezTo>
                  <a:pt x="980" y="145"/>
                  <a:pt x="981" y="147"/>
                  <a:pt x="983" y="149"/>
                </a:cubicBezTo>
                <a:cubicBezTo>
                  <a:pt x="984" y="147"/>
                  <a:pt x="985" y="146"/>
                  <a:pt x="986" y="145"/>
                </a:cubicBezTo>
                <a:cubicBezTo>
                  <a:pt x="986" y="146"/>
                  <a:pt x="985" y="147"/>
                  <a:pt x="985" y="149"/>
                </a:cubicBezTo>
                <a:cubicBezTo>
                  <a:pt x="984" y="150"/>
                  <a:pt x="983" y="151"/>
                  <a:pt x="983" y="153"/>
                </a:cubicBezTo>
                <a:cubicBezTo>
                  <a:pt x="982" y="153"/>
                  <a:pt x="983" y="155"/>
                  <a:pt x="983" y="155"/>
                </a:cubicBezTo>
                <a:cubicBezTo>
                  <a:pt x="985" y="159"/>
                  <a:pt x="989" y="159"/>
                  <a:pt x="993" y="157"/>
                </a:cubicBezTo>
                <a:cubicBezTo>
                  <a:pt x="995" y="155"/>
                  <a:pt x="998" y="154"/>
                  <a:pt x="1000" y="153"/>
                </a:cubicBezTo>
                <a:cubicBezTo>
                  <a:pt x="1002" y="153"/>
                  <a:pt x="1003" y="152"/>
                  <a:pt x="1003" y="151"/>
                </a:cubicBezTo>
                <a:cubicBezTo>
                  <a:pt x="1003" y="147"/>
                  <a:pt x="1003" y="144"/>
                  <a:pt x="1003" y="141"/>
                </a:cubicBezTo>
                <a:cubicBezTo>
                  <a:pt x="1003" y="138"/>
                  <a:pt x="1003" y="135"/>
                  <a:pt x="1003" y="132"/>
                </a:cubicBezTo>
                <a:cubicBezTo>
                  <a:pt x="1004" y="134"/>
                  <a:pt x="1004" y="137"/>
                  <a:pt x="1005" y="140"/>
                </a:cubicBezTo>
                <a:cubicBezTo>
                  <a:pt x="1006" y="144"/>
                  <a:pt x="1006" y="149"/>
                  <a:pt x="1004" y="153"/>
                </a:cubicBezTo>
                <a:cubicBezTo>
                  <a:pt x="1004" y="154"/>
                  <a:pt x="1003" y="155"/>
                  <a:pt x="1003" y="155"/>
                </a:cubicBezTo>
                <a:cubicBezTo>
                  <a:pt x="999" y="155"/>
                  <a:pt x="996" y="157"/>
                  <a:pt x="993" y="159"/>
                </a:cubicBezTo>
                <a:cubicBezTo>
                  <a:pt x="988" y="162"/>
                  <a:pt x="984" y="160"/>
                  <a:pt x="981" y="156"/>
                </a:cubicBezTo>
                <a:cubicBezTo>
                  <a:pt x="980" y="155"/>
                  <a:pt x="980" y="154"/>
                  <a:pt x="981" y="154"/>
                </a:cubicBezTo>
                <a:cubicBezTo>
                  <a:pt x="982" y="151"/>
                  <a:pt x="981" y="149"/>
                  <a:pt x="979" y="147"/>
                </a:cubicBezTo>
                <a:cubicBezTo>
                  <a:pt x="978" y="145"/>
                  <a:pt x="976" y="143"/>
                  <a:pt x="977" y="140"/>
                </a:cubicBezTo>
                <a:cubicBezTo>
                  <a:pt x="978" y="138"/>
                  <a:pt x="979" y="137"/>
                  <a:pt x="980" y="135"/>
                </a:cubicBezTo>
                <a:cubicBezTo>
                  <a:pt x="982" y="132"/>
                  <a:pt x="984" y="130"/>
                  <a:pt x="986" y="127"/>
                </a:cubicBezTo>
                <a:cubicBezTo>
                  <a:pt x="985" y="127"/>
                  <a:pt x="985" y="127"/>
                  <a:pt x="985" y="127"/>
                </a:cubicBezTo>
                <a:cubicBezTo>
                  <a:pt x="980" y="128"/>
                  <a:pt x="975" y="130"/>
                  <a:pt x="971" y="133"/>
                </a:cubicBezTo>
                <a:cubicBezTo>
                  <a:pt x="967" y="138"/>
                  <a:pt x="964" y="143"/>
                  <a:pt x="963" y="149"/>
                </a:cubicBezTo>
                <a:cubicBezTo>
                  <a:pt x="963" y="156"/>
                  <a:pt x="965" y="162"/>
                  <a:pt x="969" y="168"/>
                </a:cubicBezTo>
                <a:cubicBezTo>
                  <a:pt x="969" y="169"/>
                  <a:pt x="970" y="170"/>
                  <a:pt x="970" y="172"/>
                </a:cubicBezTo>
                <a:cubicBezTo>
                  <a:pt x="970" y="173"/>
                  <a:pt x="969" y="175"/>
                  <a:pt x="969" y="176"/>
                </a:cubicBezTo>
                <a:cubicBezTo>
                  <a:pt x="968" y="178"/>
                  <a:pt x="969" y="179"/>
                  <a:pt x="970" y="179"/>
                </a:cubicBezTo>
                <a:cubicBezTo>
                  <a:pt x="973" y="180"/>
                  <a:pt x="976" y="180"/>
                  <a:pt x="978" y="181"/>
                </a:cubicBezTo>
                <a:cubicBezTo>
                  <a:pt x="979" y="181"/>
                  <a:pt x="980" y="180"/>
                  <a:pt x="980" y="180"/>
                </a:cubicBezTo>
                <a:cubicBezTo>
                  <a:pt x="980" y="178"/>
                  <a:pt x="980" y="177"/>
                  <a:pt x="981" y="176"/>
                </a:cubicBezTo>
                <a:cubicBezTo>
                  <a:pt x="983" y="174"/>
                  <a:pt x="983" y="171"/>
                  <a:pt x="983" y="168"/>
                </a:cubicBezTo>
                <a:cubicBezTo>
                  <a:pt x="983" y="168"/>
                  <a:pt x="983" y="167"/>
                  <a:pt x="983" y="167"/>
                </a:cubicBezTo>
                <a:cubicBezTo>
                  <a:pt x="983" y="166"/>
                  <a:pt x="983" y="166"/>
                  <a:pt x="983" y="166"/>
                </a:cubicBezTo>
                <a:cubicBezTo>
                  <a:pt x="984" y="169"/>
                  <a:pt x="985" y="169"/>
                  <a:pt x="987" y="169"/>
                </a:cubicBezTo>
                <a:cubicBezTo>
                  <a:pt x="988" y="169"/>
                  <a:pt x="989" y="169"/>
                  <a:pt x="990" y="169"/>
                </a:cubicBezTo>
                <a:cubicBezTo>
                  <a:pt x="992" y="169"/>
                  <a:pt x="995" y="170"/>
                  <a:pt x="996" y="165"/>
                </a:cubicBezTo>
                <a:cubicBezTo>
                  <a:pt x="996" y="168"/>
                  <a:pt x="996" y="169"/>
                  <a:pt x="996" y="170"/>
                </a:cubicBezTo>
                <a:cubicBezTo>
                  <a:pt x="995" y="171"/>
                  <a:pt x="993" y="172"/>
                  <a:pt x="992" y="172"/>
                </a:cubicBezTo>
                <a:cubicBezTo>
                  <a:pt x="991" y="173"/>
                  <a:pt x="990" y="174"/>
                  <a:pt x="991" y="175"/>
                </a:cubicBezTo>
                <a:cubicBezTo>
                  <a:pt x="992" y="178"/>
                  <a:pt x="993" y="180"/>
                  <a:pt x="995" y="182"/>
                </a:cubicBezTo>
                <a:cubicBezTo>
                  <a:pt x="997" y="183"/>
                  <a:pt x="998" y="182"/>
                  <a:pt x="1000" y="181"/>
                </a:cubicBezTo>
                <a:cubicBezTo>
                  <a:pt x="1000" y="180"/>
                  <a:pt x="1001" y="179"/>
                  <a:pt x="1002" y="179"/>
                </a:cubicBezTo>
                <a:cubicBezTo>
                  <a:pt x="1004" y="177"/>
                  <a:pt x="1005" y="176"/>
                  <a:pt x="1007" y="175"/>
                </a:cubicBezTo>
                <a:cubicBezTo>
                  <a:pt x="1011" y="170"/>
                  <a:pt x="1013" y="164"/>
                  <a:pt x="1015" y="159"/>
                </a:cubicBezTo>
                <a:cubicBezTo>
                  <a:pt x="1015" y="158"/>
                  <a:pt x="1014" y="157"/>
                  <a:pt x="1013" y="157"/>
                </a:cubicBezTo>
                <a:cubicBezTo>
                  <a:pt x="1013" y="156"/>
                  <a:pt x="1012" y="155"/>
                  <a:pt x="1010" y="154"/>
                </a:cubicBezTo>
                <a:close/>
                <a:moveTo>
                  <a:pt x="963" y="161"/>
                </a:moveTo>
                <a:cubicBezTo>
                  <a:pt x="962" y="161"/>
                  <a:pt x="961" y="162"/>
                  <a:pt x="959" y="163"/>
                </a:cubicBezTo>
                <a:cubicBezTo>
                  <a:pt x="959" y="164"/>
                  <a:pt x="959" y="164"/>
                  <a:pt x="959" y="165"/>
                </a:cubicBezTo>
                <a:cubicBezTo>
                  <a:pt x="959" y="168"/>
                  <a:pt x="963" y="172"/>
                  <a:pt x="966" y="172"/>
                </a:cubicBezTo>
                <a:cubicBezTo>
                  <a:pt x="968" y="172"/>
                  <a:pt x="969" y="171"/>
                  <a:pt x="968" y="169"/>
                </a:cubicBezTo>
                <a:cubicBezTo>
                  <a:pt x="966" y="166"/>
                  <a:pt x="965" y="163"/>
                  <a:pt x="963" y="161"/>
                </a:cubicBezTo>
                <a:close/>
                <a:moveTo>
                  <a:pt x="1016" y="163"/>
                </a:moveTo>
                <a:cubicBezTo>
                  <a:pt x="1013" y="167"/>
                  <a:pt x="1011" y="172"/>
                  <a:pt x="1009" y="176"/>
                </a:cubicBezTo>
                <a:cubicBezTo>
                  <a:pt x="1012" y="176"/>
                  <a:pt x="1014" y="176"/>
                  <a:pt x="1017" y="176"/>
                </a:cubicBezTo>
                <a:cubicBezTo>
                  <a:pt x="1017" y="176"/>
                  <a:pt x="1017" y="175"/>
                  <a:pt x="1017" y="174"/>
                </a:cubicBezTo>
                <a:cubicBezTo>
                  <a:pt x="1017" y="172"/>
                  <a:pt x="1017" y="169"/>
                  <a:pt x="1017" y="167"/>
                </a:cubicBezTo>
                <a:cubicBezTo>
                  <a:pt x="1017" y="165"/>
                  <a:pt x="1016" y="164"/>
                  <a:pt x="1016" y="163"/>
                </a:cubicBezTo>
                <a:close/>
                <a:moveTo>
                  <a:pt x="963" y="142"/>
                </a:moveTo>
                <a:cubicBezTo>
                  <a:pt x="962" y="143"/>
                  <a:pt x="961" y="143"/>
                  <a:pt x="961" y="143"/>
                </a:cubicBezTo>
                <a:cubicBezTo>
                  <a:pt x="960" y="143"/>
                  <a:pt x="959" y="143"/>
                  <a:pt x="959" y="143"/>
                </a:cubicBezTo>
                <a:cubicBezTo>
                  <a:pt x="959" y="142"/>
                  <a:pt x="959" y="142"/>
                  <a:pt x="959" y="141"/>
                </a:cubicBezTo>
                <a:cubicBezTo>
                  <a:pt x="959" y="139"/>
                  <a:pt x="960" y="137"/>
                  <a:pt x="961" y="135"/>
                </a:cubicBezTo>
                <a:cubicBezTo>
                  <a:pt x="960" y="135"/>
                  <a:pt x="960" y="135"/>
                  <a:pt x="960" y="135"/>
                </a:cubicBezTo>
                <a:cubicBezTo>
                  <a:pt x="959" y="136"/>
                  <a:pt x="958" y="136"/>
                  <a:pt x="957" y="138"/>
                </a:cubicBezTo>
                <a:cubicBezTo>
                  <a:pt x="956" y="139"/>
                  <a:pt x="958" y="144"/>
                  <a:pt x="959" y="145"/>
                </a:cubicBezTo>
                <a:cubicBezTo>
                  <a:pt x="961" y="145"/>
                  <a:pt x="963" y="144"/>
                  <a:pt x="963" y="142"/>
                </a:cubicBezTo>
                <a:close/>
                <a:moveTo>
                  <a:pt x="963" y="161"/>
                </a:moveTo>
                <a:cubicBezTo>
                  <a:pt x="962" y="161"/>
                  <a:pt x="961" y="162"/>
                  <a:pt x="960" y="163"/>
                </a:cubicBezTo>
                <a:cubicBezTo>
                  <a:pt x="959" y="164"/>
                  <a:pt x="959" y="165"/>
                  <a:pt x="959" y="165"/>
                </a:cubicBezTo>
                <a:cubicBezTo>
                  <a:pt x="959" y="168"/>
                  <a:pt x="963" y="173"/>
                  <a:pt x="966" y="172"/>
                </a:cubicBezTo>
                <a:cubicBezTo>
                  <a:pt x="968" y="172"/>
                  <a:pt x="968" y="171"/>
                  <a:pt x="968" y="169"/>
                </a:cubicBezTo>
                <a:cubicBezTo>
                  <a:pt x="966" y="166"/>
                  <a:pt x="965" y="163"/>
                  <a:pt x="963" y="161"/>
                </a:cubicBezTo>
                <a:close/>
                <a:moveTo>
                  <a:pt x="1016" y="163"/>
                </a:moveTo>
                <a:cubicBezTo>
                  <a:pt x="1014" y="167"/>
                  <a:pt x="1011" y="172"/>
                  <a:pt x="1009" y="176"/>
                </a:cubicBezTo>
                <a:cubicBezTo>
                  <a:pt x="1012" y="176"/>
                  <a:pt x="1014" y="177"/>
                  <a:pt x="1017" y="176"/>
                </a:cubicBezTo>
                <a:cubicBezTo>
                  <a:pt x="1017" y="176"/>
                  <a:pt x="1017" y="175"/>
                  <a:pt x="1017" y="175"/>
                </a:cubicBezTo>
                <a:cubicBezTo>
                  <a:pt x="1017" y="172"/>
                  <a:pt x="1017" y="169"/>
                  <a:pt x="1017" y="167"/>
                </a:cubicBezTo>
                <a:cubicBezTo>
                  <a:pt x="1017" y="165"/>
                  <a:pt x="1016" y="164"/>
                  <a:pt x="1016" y="163"/>
                </a:cubicBezTo>
                <a:close/>
                <a:moveTo>
                  <a:pt x="963" y="143"/>
                </a:moveTo>
                <a:cubicBezTo>
                  <a:pt x="962" y="143"/>
                  <a:pt x="962" y="143"/>
                  <a:pt x="961" y="143"/>
                </a:cubicBezTo>
                <a:cubicBezTo>
                  <a:pt x="960" y="143"/>
                  <a:pt x="960" y="143"/>
                  <a:pt x="960" y="143"/>
                </a:cubicBezTo>
                <a:cubicBezTo>
                  <a:pt x="959" y="143"/>
                  <a:pt x="959" y="142"/>
                  <a:pt x="959" y="141"/>
                </a:cubicBezTo>
                <a:cubicBezTo>
                  <a:pt x="960" y="139"/>
                  <a:pt x="960" y="137"/>
                  <a:pt x="961" y="135"/>
                </a:cubicBezTo>
                <a:cubicBezTo>
                  <a:pt x="960" y="135"/>
                  <a:pt x="960" y="135"/>
                  <a:pt x="960" y="135"/>
                </a:cubicBezTo>
                <a:cubicBezTo>
                  <a:pt x="959" y="136"/>
                  <a:pt x="958" y="136"/>
                  <a:pt x="957" y="138"/>
                </a:cubicBezTo>
                <a:cubicBezTo>
                  <a:pt x="956" y="139"/>
                  <a:pt x="958" y="144"/>
                  <a:pt x="960" y="145"/>
                </a:cubicBezTo>
                <a:cubicBezTo>
                  <a:pt x="961" y="146"/>
                  <a:pt x="963" y="145"/>
                  <a:pt x="963" y="143"/>
                </a:cubicBezTo>
                <a:close/>
                <a:moveTo>
                  <a:pt x="1016" y="134"/>
                </a:moveTo>
                <a:cubicBezTo>
                  <a:pt x="1019" y="131"/>
                  <a:pt x="1019" y="131"/>
                  <a:pt x="1022" y="129"/>
                </a:cubicBezTo>
                <a:cubicBezTo>
                  <a:pt x="1022" y="131"/>
                  <a:pt x="1024" y="133"/>
                  <a:pt x="1025" y="133"/>
                </a:cubicBezTo>
                <a:cubicBezTo>
                  <a:pt x="1023" y="134"/>
                  <a:pt x="1021" y="135"/>
                  <a:pt x="1019" y="137"/>
                </a:cubicBezTo>
                <a:cubicBezTo>
                  <a:pt x="1018" y="136"/>
                  <a:pt x="1018" y="135"/>
                  <a:pt x="1017" y="134"/>
                </a:cubicBezTo>
                <a:cubicBezTo>
                  <a:pt x="1017" y="134"/>
                  <a:pt x="1016" y="134"/>
                  <a:pt x="1016" y="134"/>
                </a:cubicBezTo>
                <a:close/>
                <a:moveTo>
                  <a:pt x="1021" y="134"/>
                </a:moveTo>
                <a:cubicBezTo>
                  <a:pt x="1021" y="133"/>
                  <a:pt x="1020" y="133"/>
                  <a:pt x="1019" y="133"/>
                </a:cubicBezTo>
                <a:cubicBezTo>
                  <a:pt x="1019" y="133"/>
                  <a:pt x="1018" y="134"/>
                  <a:pt x="1018" y="134"/>
                </a:cubicBezTo>
                <a:cubicBezTo>
                  <a:pt x="1018" y="135"/>
                  <a:pt x="1019" y="135"/>
                  <a:pt x="1019" y="135"/>
                </a:cubicBezTo>
                <a:cubicBezTo>
                  <a:pt x="1020" y="135"/>
                  <a:pt x="1020" y="135"/>
                  <a:pt x="1021" y="134"/>
                </a:cubicBezTo>
                <a:close/>
                <a:moveTo>
                  <a:pt x="1003" y="124"/>
                </a:moveTo>
                <a:cubicBezTo>
                  <a:pt x="996" y="123"/>
                  <a:pt x="993" y="126"/>
                  <a:pt x="992" y="134"/>
                </a:cubicBezTo>
                <a:cubicBezTo>
                  <a:pt x="993" y="132"/>
                  <a:pt x="994" y="129"/>
                  <a:pt x="996" y="127"/>
                </a:cubicBezTo>
                <a:cubicBezTo>
                  <a:pt x="996" y="127"/>
                  <a:pt x="996" y="127"/>
                  <a:pt x="996" y="127"/>
                </a:cubicBezTo>
                <a:cubicBezTo>
                  <a:pt x="996" y="128"/>
                  <a:pt x="996" y="129"/>
                  <a:pt x="996" y="130"/>
                </a:cubicBezTo>
                <a:cubicBezTo>
                  <a:pt x="997" y="126"/>
                  <a:pt x="999" y="124"/>
                  <a:pt x="1003" y="124"/>
                </a:cubicBezTo>
                <a:close/>
                <a:moveTo>
                  <a:pt x="1046" y="126"/>
                </a:moveTo>
                <a:cubicBezTo>
                  <a:pt x="1044" y="127"/>
                  <a:pt x="1042" y="128"/>
                  <a:pt x="1040" y="130"/>
                </a:cubicBezTo>
                <a:cubicBezTo>
                  <a:pt x="1043" y="130"/>
                  <a:pt x="1045" y="128"/>
                  <a:pt x="1046" y="126"/>
                </a:cubicBezTo>
                <a:close/>
                <a:moveTo>
                  <a:pt x="1013" y="128"/>
                </a:moveTo>
                <a:cubicBezTo>
                  <a:pt x="1014" y="126"/>
                  <a:pt x="1015" y="125"/>
                  <a:pt x="1016" y="124"/>
                </a:cubicBezTo>
                <a:cubicBezTo>
                  <a:pt x="1013" y="125"/>
                  <a:pt x="1012" y="126"/>
                  <a:pt x="1013" y="128"/>
                </a:cubicBezTo>
                <a:close/>
                <a:moveTo>
                  <a:pt x="1023" y="149"/>
                </a:moveTo>
                <a:cubicBezTo>
                  <a:pt x="1021" y="150"/>
                  <a:pt x="1020" y="150"/>
                  <a:pt x="1020" y="151"/>
                </a:cubicBezTo>
                <a:cubicBezTo>
                  <a:pt x="1020" y="151"/>
                  <a:pt x="1022" y="150"/>
                  <a:pt x="1023" y="149"/>
                </a:cubicBezTo>
                <a:close/>
                <a:moveTo>
                  <a:pt x="1021" y="134"/>
                </a:moveTo>
                <a:cubicBezTo>
                  <a:pt x="1021" y="133"/>
                  <a:pt x="1020" y="133"/>
                  <a:pt x="1019" y="133"/>
                </a:cubicBezTo>
                <a:cubicBezTo>
                  <a:pt x="1019" y="133"/>
                  <a:pt x="1018" y="134"/>
                  <a:pt x="1018" y="134"/>
                </a:cubicBezTo>
                <a:cubicBezTo>
                  <a:pt x="1018" y="134"/>
                  <a:pt x="1019" y="135"/>
                  <a:pt x="1019" y="135"/>
                </a:cubicBezTo>
                <a:cubicBezTo>
                  <a:pt x="1020" y="135"/>
                  <a:pt x="1020" y="134"/>
                  <a:pt x="1021" y="134"/>
                </a:cubicBezTo>
                <a:close/>
                <a:moveTo>
                  <a:pt x="1546" y="255"/>
                </a:moveTo>
                <a:cubicBezTo>
                  <a:pt x="1546" y="256"/>
                  <a:pt x="1547" y="257"/>
                  <a:pt x="1547" y="259"/>
                </a:cubicBezTo>
                <a:cubicBezTo>
                  <a:pt x="1548" y="260"/>
                  <a:pt x="1548" y="262"/>
                  <a:pt x="1549" y="264"/>
                </a:cubicBezTo>
                <a:cubicBezTo>
                  <a:pt x="1549" y="266"/>
                  <a:pt x="1549" y="267"/>
                  <a:pt x="1549" y="269"/>
                </a:cubicBezTo>
                <a:cubicBezTo>
                  <a:pt x="1550" y="272"/>
                  <a:pt x="1549" y="274"/>
                  <a:pt x="1545" y="274"/>
                </a:cubicBezTo>
                <a:cubicBezTo>
                  <a:pt x="1543" y="274"/>
                  <a:pt x="1540" y="273"/>
                  <a:pt x="1537" y="273"/>
                </a:cubicBezTo>
                <a:cubicBezTo>
                  <a:pt x="1537" y="273"/>
                  <a:pt x="1536" y="273"/>
                  <a:pt x="1536" y="274"/>
                </a:cubicBezTo>
                <a:cubicBezTo>
                  <a:pt x="1534" y="275"/>
                  <a:pt x="1532" y="276"/>
                  <a:pt x="1531" y="278"/>
                </a:cubicBezTo>
                <a:cubicBezTo>
                  <a:pt x="1529" y="280"/>
                  <a:pt x="1526" y="281"/>
                  <a:pt x="1524" y="279"/>
                </a:cubicBezTo>
                <a:cubicBezTo>
                  <a:pt x="1522" y="276"/>
                  <a:pt x="1521" y="274"/>
                  <a:pt x="1519" y="271"/>
                </a:cubicBezTo>
                <a:cubicBezTo>
                  <a:pt x="1518" y="270"/>
                  <a:pt x="1519" y="268"/>
                  <a:pt x="1521" y="266"/>
                </a:cubicBezTo>
                <a:cubicBezTo>
                  <a:pt x="1518" y="266"/>
                  <a:pt x="1517" y="266"/>
                  <a:pt x="1515" y="266"/>
                </a:cubicBezTo>
                <a:cubicBezTo>
                  <a:pt x="1514" y="268"/>
                  <a:pt x="1513" y="270"/>
                  <a:pt x="1512" y="272"/>
                </a:cubicBezTo>
                <a:cubicBezTo>
                  <a:pt x="1512" y="273"/>
                  <a:pt x="1512" y="274"/>
                  <a:pt x="1512" y="275"/>
                </a:cubicBezTo>
                <a:cubicBezTo>
                  <a:pt x="1512" y="278"/>
                  <a:pt x="1511" y="279"/>
                  <a:pt x="1508" y="279"/>
                </a:cubicBezTo>
                <a:cubicBezTo>
                  <a:pt x="1504" y="278"/>
                  <a:pt x="1502" y="278"/>
                  <a:pt x="1498" y="276"/>
                </a:cubicBezTo>
                <a:cubicBezTo>
                  <a:pt x="1496" y="276"/>
                  <a:pt x="1496" y="274"/>
                  <a:pt x="1496" y="272"/>
                </a:cubicBezTo>
                <a:cubicBezTo>
                  <a:pt x="1497" y="272"/>
                  <a:pt x="1497" y="271"/>
                  <a:pt x="1497" y="271"/>
                </a:cubicBezTo>
                <a:cubicBezTo>
                  <a:pt x="1495" y="270"/>
                  <a:pt x="1493" y="269"/>
                  <a:pt x="1491" y="267"/>
                </a:cubicBezTo>
                <a:cubicBezTo>
                  <a:pt x="1489" y="266"/>
                  <a:pt x="1488" y="264"/>
                  <a:pt x="1487" y="263"/>
                </a:cubicBezTo>
                <a:cubicBezTo>
                  <a:pt x="1487" y="261"/>
                  <a:pt x="1487" y="259"/>
                  <a:pt x="1489" y="258"/>
                </a:cubicBezTo>
                <a:cubicBezTo>
                  <a:pt x="1492" y="255"/>
                  <a:pt x="1493" y="253"/>
                  <a:pt x="1492" y="249"/>
                </a:cubicBezTo>
                <a:cubicBezTo>
                  <a:pt x="1492" y="247"/>
                  <a:pt x="1492" y="244"/>
                  <a:pt x="1492" y="243"/>
                </a:cubicBezTo>
                <a:cubicBezTo>
                  <a:pt x="1491" y="242"/>
                  <a:pt x="1489" y="241"/>
                  <a:pt x="1488" y="240"/>
                </a:cubicBezTo>
                <a:cubicBezTo>
                  <a:pt x="1487" y="239"/>
                  <a:pt x="1486" y="237"/>
                  <a:pt x="1486" y="235"/>
                </a:cubicBezTo>
                <a:cubicBezTo>
                  <a:pt x="1485" y="232"/>
                  <a:pt x="1489" y="229"/>
                  <a:pt x="1492" y="228"/>
                </a:cubicBezTo>
                <a:cubicBezTo>
                  <a:pt x="1492" y="229"/>
                  <a:pt x="1492" y="230"/>
                  <a:pt x="1493" y="231"/>
                </a:cubicBezTo>
                <a:cubicBezTo>
                  <a:pt x="1493" y="232"/>
                  <a:pt x="1493" y="233"/>
                  <a:pt x="1493" y="234"/>
                </a:cubicBezTo>
                <a:cubicBezTo>
                  <a:pt x="1492" y="234"/>
                  <a:pt x="1492" y="234"/>
                  <a:pt x="1491" y="234"/>
                </a:cubicBezTo>
                <a:cubicBezTo>
                  <a:pt x="1491" y="235"/>
                  <a:pt x="1491" y="236"/>
                  <a:pt x="1490" y="238"/>
                </a:cubicBezTo>
                <a:cubicBezTo>
                  <a:pt x="1491" y="238"/>
                  <a:pt x="1492" y="238"/>
                  <a:pt x="1492" y="237"/>
                </a:cubicBezTo>
                <a:cubicBezTo>
                  <a:pt x="1493" y="236"/>
                  <a:pt x="1494" y="235"/>
                  <a:pt x="1495" y="234"/>
                </a:cubicBezTo>
                <a:cubicBezTo>
                  <a:pt x="1499" y="227"/>
                  <a:pt x="1505" y="223"/>
                  <a:pt x="1513" y="222"/>
                </a:cubicBezTo>
                <a:cubicBezTo>
                  <a:pt x="1516" y="221"/>
                  <a:pt x="1519" y="220"/>
                  <a:pt x="1522" y="217"/>
                </a:cubicBezTo>
                <a:cubicBezTo>
                  <a:pt x="1522" y="217"/>
                  <a:pt x="1523" y="217"/>
                  <a:pt x="1523" y="217"/>
                </a:cubicBezTo>
                <a:cubicBezTo>
                  <a:pt x="1526" y="216"/>
                  <a:pt x="1527" y="214"/>
                  <a:pt x="1529" y="212"/>
                </a:cubicBezTo>
                <a:cubicBezTo>
                  <a:pt x="1537" y="204"/>
                  <a:pt x="1549" y="204"/>
                  <a:pt x="1556" y="211"/>
                </a:cubicBezTo>
                <a:cubicBezTo>
                  <a:pt x="1559" y="213"/>
                  <a:pt x="1562" y="215"/>
                  <a:pt x="1564" y="217"/>
                </a:cubicBezTo>
                <a:cubicBezTo>
                  <a:pt x="1565" y="218"/>
                  <a:pt x="1567" y="219"/>
                  <a:pt x="1568" y="221"/>
                </a:cubicBezTo>
                <a:cubicBezTo>
                  <a:pt x="1569" y="223"/>
                  <a:pt x="1569" y="223"/>
                  <a:pt x="1571" y="222"/>
                </a:cubicBezTo>
                <a:cubicBezTo>
                  <a:pt x="1571" y="221"/>
                  <a:pt x="1572" y="221"/>
                  <a:pt x="1573" y="220"/>
                </a:cubicBezTo>
                <a:cubicBezTo>
                  <a:pt x="1575" y="217"/>
                  <a:pt x="1578" y="217"/>
                  <a:pt x="1579" y="220"/>
                </a:cubicBezTo>
                <a:cubicBezTo>
                  <a:pt x="1580" y="223"/>
                  <a:pt x="1581" y="226"/>
                  <a:pt x="1582" y="229"/>
                </a:cubicBezTo>
                <a:cubicBezTo>
                  <a:pt x="1582" y="234"/>
                  <a:pt x="1582" y="238"/>
                  <a:pt x="1580" y="242"/>
                </a:cubicBezTo>
                <a:cubicBezTo>
                  <a:pt x="1578" y="249"/>
                  <a:pt x="1573" y="252"/>
                  <a:pt x="1567" y="252"/>
                </a:cubicBezTo>
                <a:cubicBezTo>
                  <a:pt x="1566" y="252"/>
                  <a:pt x="1565" y="252"/>
                  <a:pt x="1565" y="252"/>
                </a:cubicBezTo>
                <a:cubicBezTo>
                  <a:pt x="1562" y="252"/>
                  <a:pt x="1561" y="252"/>
                  <a:pt x="1560" y="255"/>
                </a:cubicBezTo>
                <a:cubicBezTo>
                  <a:pt x="1559" y="259"/>
                  <a:pt x="1553" y="260"/>
                  <a:pt x="1550" y="257"/>
                </a:cubicBezTo>
                <a:cubicBezTo>
                  <a:pt x="1549" y="256"/>
                  <a:pt x="1548" y="255"/>
                  <a:pt x="1547" y="254"/>
                </a:cubicBezTo>
                <a:cubicBezTo>
                  <a:pt x="1546" y="255"/>
                  <a:pt x="1546" y="255"/>
                  <a:pt x="1546" y="255"/>
                </a:cubicBezTo>
                <a:close/>
                <a:moveTo>
                  <a:pt x="1540" y="250"/>
                </a:moveTo>
                <a:cubicBezTo>
                  <a:pt x="1544" y="252"/>
                  <a:pt x="1547" y="253"/>
                  <a:pt x="1550" y="256"/>
                </a:cubicBezTo>
                <a:cubicBezTo>
                  <a:pt x="1552" y="257"/>
                  <a:pt x="1554" y="258"/>
                  <a:pt x="1556" y="257"/>
                </a:cubicBezTo>
                <a:cubicBezTo>
                  <a:pt x="1558" y="257"/>
                  <a:pt x="1560" y="255"/>
                  <a:pt x="1560" y="251"/>
                </a:cubicBezTo>
                <a:cubicBezTo>
                  <a:pt x="1560" y="252"/>
                  <a:pt x="1559" y="252"/>
                  <a:pt x="1559" y="252"/>
                </a:cubicBezTo>
                <a:cubicBezTo>
                  <a:pt x="1558" y="254"/>
                  <a:pt x="1557" y="255"/>
                  <a:pt x="1556" y="256"/>
                </a:cubicBezTo>
                <a:cubicBezTo>
                  <a:pt x="1555" y="257"/>
                  <a:pt x="1554" y="257"/>
                  <a:pt x="1553" y="256"/>
                </a:cubicBezTo>
                <a:cubicBezTo>
                  <a:pt x="1552" y="256"/>
                  <a:pt x="1552" y="255"/>
                  <a:pt x="1552" y="254"/>
                </a:cubicBezTo>
                <a:cubicBezTo>
                  <a:pt x="1552" y="252"/>
                  <a:pt x="1552" y="250"/>
                  <a:pt x="1553" y="248"/>
                </a:cubicBezTo>
                <a:cubicBezTo>
                  <a:pt x="1556" y="249"/>
                  <a:pt x="1559" y="250"/>
                  <a:pt x="1563" y="250"/>
                </a:cubicBezTo>
                <a:cubicBezTo>
                  <a:pt x="1570" y="251"/>
                  <a:pt x="1576" y="250"/>
                  <a:pt x="1579" y="241"/>
                </a:cubicBezTo>
                <a:cubicBezTo>
                  <a:pt x="1581" y="236"/>
                  <a:pt x="1580" y="232"/>
                  <a:pt x="1580" y="226"/>
                </a:cubicBezTo>
                <a:cubicBezTo>
                  <a:pt x="1579" y="224"/>
                  <a:pt x="1578" y="223"/>
                  <a:pt x="1578" y="221"/>
                </a:cubicBezTo>
                <a:cubicBezTo>
                  <a:pt x="1577" y="219"/>
                  <a:pt x="1576" y="219"/>
                  <a:pt x="1575" y="221"/>
                </a:cubicBezTo>
                <a:cubicBezTo>
                  <a:pt x="1573" y="222"/>
                  <a:pt x="1571" y="224"/>
                  <a:pt x="1569" y="224"/>
                </a:cubicBezTo>
                <a:cubicBezTo>
                  <a:pt x="1569" y="225"/>
                  <a:pt x="1568" y="226"/>
                  <a:pt x="1568" y="227"/>
                </a:cubicBezTo>
                <a:cubicBezTo>
                  <a:pt x="1569" y="230"/>
                  <a:pt x="1568" y="233"/>
                  <a:pt x="1567" y="236"/>
                </a:cubicBezTo>
                <a:cubicBezTo>
                  <a:pt x="1567" y="234"/>
                  <a:pt x="1567" y="232"/>
                  <a:pt x="1567" y="231"/>
                </a:cubicBezTo>
                <a:cubicBezTo>
                  <a:pt x="1567" y="230"/>
                  <a:pt x="1567" y="230"/>
                  <a:pt x="1567" y="229"/>
                </a:cubicBezTo>
                <a:cubicBezTo>
                  <a:pt x="1566" y="230"/>
                  <a:pt x="1565" y="230"/>
                  <a:pt x="1565" y="230"/>
                </a:cubicBezTo>
                <a:cubicBezTo>
                  <a:pt x="1565" y="231"/>
                  <a:pt x="1564" y="233"/>
                  <a:pt x="1563" y="234"/>
                </a:cubicBezTo>
                <a:cubicBezTo>
                  <a:pt x="1563" y="234"/>
                  <a:pt x="1563" y="234"/>
                  <a:pt x="1563" y="234"/>
                </a:cubicBezTo>
                <a:cubicBezTo>
                  <a:pt x="1563" y="232"/>
                  <a:pt x="1563" y="231"/>
                  <a:pt x="1564" y="228"/>
                </a:cubicBezTo>
                <a:cubicBezTo>
                  <a:pt x="1563" y="229"/>
                  <a:pt x="1562" y="230"/>
                  <a:pt x="1562" y="230"/>
                </a:cubicBezTo>
                <a:cubicBezTo>
                  <a:pt x="1561" y="231"/>
                  <a:pt x="1561" y="232"/>
                  <a:pt x="1560" y="232"/>
                </a:cubicBezTo>
                <a:cubicBezTo>
                  <a:pt x="1561" y="229"/>
                  <a:pt x="1561" y="229"/>
                  <a:pt x="1567" y="228"/>
                </a:cubicBezTo>
                <a:cubicBezTo>
                  <a:pt x="1567" y="227"/>
                  <a:pt x="1566" y="226"/>
                  <a:pt x="1566" y="226"/>
                </a:cubicBezTo>
                <a:cubicBezTo>
                  <a:pt x="1563" y="227"/>
                  <a:pt x="1562" y="226"/>
                  <a:pt x="1562" y="223"/>
                </a:cubicBezTo>
                <a:cubicBezTo>
                  <a:pt x="1563" y="223"/>
                  <a:pt x="1565" y="222"/>
                  <a:pt x="1567" y="222"/>
                </a:cubicBezTo>
                <a:cubicBezTo>
                  <a:pt x="1565" y="220"/>
                  <a:pt x="1563" y="217"/>
                  <a:pt x="1560" y="217"/>
                </a:cubicBezTo>
                <a:cubicBezTo>
                  <a:pt x="1560" y="217"/>
                  <a:pt x="1560" y="216"/>
                  <a:pt x="1560" y="216"/>
                </a:cubicBezTo>
                <a:cubicBezTo>
                  <a:pt x="1557" y="214"/>
                  <a:pt x="1555" y="211"/>
                  <a:pt x="1552" y="209"/>
                </a:cubicBezTo>
                <a:cubicBezTo>
                  <a:pt x="1550" y="208"/>
                  <a:pt x="1547" y="207"/>
                  <a:pt x="1545" y="207"/>
                </a:cubicBezTo>
                <a:cubicBezTo>
                  <a:pt x="1541" y="208"/>
                  <a:pt x="1538" y="209"/>
                  <a:pt x="1535" y="210"/>
                </a:cubicBezTo>
                <a:cubicBezTo>
                  <a:pt x="1532" y="211"/>
                  <a:pt x="1530" y="213"/>
                  <a:pt x="1528" y="216"/>
                </a:cubicBezTo>
                <a:cubicBezTo>
                  <a:pt x="1530" y="216"/>
                  <a:pt x="1531" y="216"/>
                  <a:pt x="1532" y="216"/>
                </a:cubicBezTo>
                <a:cubicBezTo>
                  <a:pt x="1532" y="216"/>
                  <a:pt x="1531" y="217"/>
                  <a:pt x="1530" y="217"/>
                </a:cubicBezTo>
                <a:cubicBezTo>
                  <a:pt x="1528" y="217"/>
                  <a:pt x="1525" y="217"/>
                  <a:pt x="1523" y="219"/>
                </a:cubicBezTo>
                <a:cubicBezTo>
                  <a:pt x="1519" y="223"/>
                  <a:pt x="1515" y="226"/>
                  <a:pt x="1512" y="231"/>
                </a:cubicBezTo>
                <a:cubicBezTo>
                  <a:pt x="1510" y="233"/>
                  <a:pt x="1509" y="235"/>
                  <a:pt x="1508" y="238"/>
                </a:cubicBezTo>
                <a:cubicBezTo>
                  <a:pt x="1508" y="238"/>
                  <a:pt x="1508" y="239"/>
                  <a:pt x="1509" y="239"/>
                </a:cubicBezTo>
                <a:cubicBezTo>
                  <a:pt x="1510" y="241"/>
                  <a:pt x="1511" y="243"/>
                  <a:pt x="1513" y="245"/>
                </a:cubicBezTo>
                <a:cubicBezTo>
                  <a:pt x="1514" y="243"/>
                  <a:pt x="1515" y="242"/>
                  <a:pt x="1516" y="241"/>
                </a:cubicBezTo>
                <a:cubicBezTo>
                  <a:pt x="1516" y="242"/>
                  <a:pt x="1515" y="243"/>
                  <a:pt x="1515" y="245"/>
                </a:cubicBezTo>
                <a:cubicBezTo>
                  <a:pt x="1514" y="246"/>
                  <a:pt x="1513" y="247"/>
                  <a:pt x="1513" y="249"/>
                </a:cubicBezTo>
                <a:cubicBezTo>
                  <a:pt x="1512" y="249"/>
                  <a:pt x="1513" y="251"/>
                  <a:pt x="1513" y="251"/>
                </a:cubicBezTo>
                <a:cubicBezTo>
                  <a:pt x="1515" y="255"/>
                  <a:pt x="1519" y="255"/>
                  <a:pt x="1523" y="253"/>
                </a:cubicBezTo>
                <a:cubicBezTo>
                  <a:pt x="1525" y="251"/>
                  <a:pt x="1528" y="250"/>
                  <a:pt x="1530" y="249"/>
                </a:cubicBezTo>
                <a:cubicBezTo>
                  <a:pt x="1532" y="249"/>
                  <a:pt x="1533" y="248"/>
                  <a:pt x="1533" y="247"/>
                </a:cubicBezTo>
                <a:cubicBezTo>
                  <a:pt x="1533" y="243"/>
                  <a:pt x="1533" y="240"/>
                  <a:pt x="1533" y="237"/>
                </a:cubicBezTo>
                <a:cubicBezTo>
                  <a:pt x="1533" y="234"/>
                  <a:pt x="1533" y="231"/>
                  <a:pt x="1533" y="228"/>
                </a:cubicBezTo>
                <a:cubicBezTo>
                  <a:pt x="1534" y="230"/>
                  <a:pt x="1534" y="233"/>
                  <a:pt x="1535" y="236"/>
                </a:cubicBezTo>
                <a:cubicBezTo>
                  <a:pt x="1536" y="240"/>
                  <a:pt x="1536" y="245"/>
                  <a:pt x="1534" y="249"/>
                </a:cubicBezTo>
                <a:cubicBezTo>
                  <a:pt x="1534" y="250"/>
                  <a:pt x="1533" y="251"/>
                  <a:pt x="1533" y="251"/>
                </a:cubicBezTo>
                <a:cubicBezTo>
                  <a:pt x="1529" y="251"/>
                  <a:pt x="1526" y="253"/>
                  <a:pt x="1523" y="255"/>
                </a:cubicBezTo>
                <a:cubicBezTo>
                  <a:pt x="1518" y="258"/>
                  <a:pt x="1514" y="256"/>
                  <a:pt x="1511" y="252"/>
                </a:cubicBezTo>
                <a:cubicBezTo>
                  <a:pt x="1510" y="251"/>
                  <a:pt x="1510" y="250"/>
                  <a:pt x="1511" y="250"/>
                </a:cubicBezTo>
                <a:cubicBezTo>
                  <a:pt x="1512" y="247"/>
                  <a:pt x="1511" y="245"/>
                  <a:pt x="1509" y="243"/>
                </a:cubicBezTo>
                <a:cubicBezTo>
                  <a:pt x="1508" y="241"/>
                  <a:pt x="1506" y="239"/>
                  <a:pt x="1507" y="236"/>
                </a:cubicBezTo>
                <a:cubicBezTo>
                  <a:pt x="1508" y="234"/>
                  <a:pt x="1509" y="233"/>
                  <a:pt x="1510" y="231"/>
                </a:cubicBezTo>
                <a:cubicBezTo>
                  <a:pt x="1511" y="228"/>
                  <a:pt x="1514" y="226"/>
                  <a:pt x="1516" y="223"/>
                </a:cubicBezTo>
                <a:cubicBezTo>
                  <a:pt x="1515" y="223"/>
                  <a:pt x="1515" y="223"/>
                  <a:pt x="1515" y="223"/>
                </a:cubicBezTo>
                <a:cubicBezTo>
                  <a:pt x="1509" y="224"/>
                  <a:pt x="1505" y="226"/>
                  <a:pt x="1501" y="229"/>
                </a:cubicBezTo>
                <a:cubicBezTo>
                  <a:pt x="1496" y="234"/>
                  <a:pt x="1494" y="239"/>
                  <a:pt x="1493" y="245"/>
                </a:cubicBezTo>
                <a:cubicBezTo>
                  <a:pt x="1493" y="252"/>
                  <a:pt x="1495" y="258"/>
                  <a:pt x="1499" y="264"/>
                </a:cubicBezTo>
                <a:cubicBezTo>
                  <a:pt x="1499" y="265"/>
                  <a:pt x="1500" y="266"/>
                  <a:pt x="1500" y="268"/>
                </a:cubicBezTo>
                <a:cubicBezTo>
                  <a:pt x="1500" y="269"/>
                  <a:pt x="1499" y="271"/>
                  <a:pt x="1498" y="272"/>
                </a:cubicBezTo>
                <a:cubicBezTo>
                  <a:pt x="1498" y="274"/>
                  <a:pt x="1498" y="275"/>
                  <a:pt x="1500" y="275"/>
                </a:cubicBezTo>
                <a:cubicBezTo>
                  <a:pt x="1503" y="276"/>
                  <a:pt x="1506" y="276"/>
                  <a:pt x="1508" y="277"/>
                </a:cubicBezTo>
                <a:cubicBezTo>
                  <a:pt x="1509" y="277"/>
                  <a:pt x="1510" y="276"/>
                  <a:pt x="1510" y="276"/>
                </a:cubicBezTo>
                <a:cubicBezTo>
                  <a:pt x="1510" y="274"/>
                  <a:pt x="1510" y="273"/>
                  <a:pt x="1511" y="272"/>
                </a:cubicBezTo>
                <a:cubicBezTo>
                  <a:pt x="1513" y="270"/>
                  <a:pt x="1513" y="267"/>
                  <a:pt x="1513" y="264"/>
                </a:cubicBezTo>
                <a:cubicBezTo>
                  <a:pt x="1513" y="264"/>
                  <a:pt x="1513" y="263"/>
                  <a:pt x="1513" y="263"/>
                </a:cubicBezTo>
                <a:cubicBezTo>
                  <a:pt x="1513" y="262"/>
                  <a:pt x="1513" y="262"/>
                  <a:pt x="1513" y="262"/>
                </a:cubicBezTo>
                <a:cubicBezTo>
                  <a:pt x="1513" y="265"/>
                  <a:pt x="1515" y="265"/>
                  <a:pt x="1517" y="265"/>
                </a:cubicBezTo>
                <a:cubicBezTo>
                  <a:pt x="1518" y="265"/>
                  <a:pt x="1519" y="265"/>
                  <a:pt x="1520" y="265"/>
                </a:cubicBezTo>
                <a:cubicBezTo>
                  <a:pt x="1522" y="265"/>
                  <a:pt x="1525" y="266"/>
                  <a:pt x="1526" y="261"/>
                </a:cubicBezTo>
                <a:cubicBezTo>
                  <a:pt x="1526" y="264"/>
                  <a:pt x="1526" y="265"/>
                  <a:pt x="1526" y="266"/>
                </a:cubicBezTo>
                <a:cubicBezTo>
                  <a:pt x="1524" y="267"/>
                  <a:pt x="1523" y="268"/>
                  <a:pt x="1522" y="268"/>
                </a:cubicBezTo>
                <a:cubicBezTo>
                  <a:pt x="1521" y="269"/>
                  <a:pt x="1520" y="270"/>
                  <a:pt x="1521" y="271"/>
                </a:cubicBezTo>
                <a:cubicBezTo>
                  <a:pt x="1522" y="274"/>
                  <a:pt x="1523" y="276"/>
                  <a:pt x="1525" y="278"/>
                </a:cubicBezTo>
                <a:cubicBezTo>
                  <a:pt x="1526" y="279"/>
                  <a:pt x="1528" y="278"/>
                  <a:pt x="1530" y="277"/>
                </a:cubicBezTo>
                <a:cubicBezTo>
                  <a:pt x="1530" y="276"/>
                  <a:pt x="1531" y="275"/>
                  <a:pt x="1532" y="275"/>
                </a:cubicBezTo>
                <a:cubicBezTo>
                  <a:pt x="1534" y="273"/>
                  <a:pt x="1535" y="272"/>
                  <a:pt x="1537" y="271"/>
                </a:cubicBezTo>
                <a:cubicBezTo>
                  <a:pt x="1541" y="266"/>
                  <a:pt x="1543" y="260"/>
                  <a:pt x="1545" y="255"/>
                </a:cubicBezTo>
                <a:cubicBezTo>
                  <a:pt x="1545" y="254"/>
                  <a:pt x="1544" y="253"/>
                  <a:pt x="1543" y="253"/>
                </a:cubicBezTo>
                <a:cubicBezTo>
                  <a:pt x="1543" y="252"/>
                  <a:pt x="1541" y="251"/>
                  <a:pt x="1540" y="250"/>
                </a:cubicBezTo>
                <a:close/>
                <a:moveTo>
                  <a:pt x="1493" y="257"/>
                </a:moveTo>
                <a:cubicBezTo>
                  <a:pt x="1492" y="257"/>
                  <a:pt x="1491" y="258"/>
                  <a:pt x="1489" y="259"/>
                </a:cubicBezTo>
                <a:cubicBezTo>
                  <a:pt x="1489" y="260"/>
                  <a:pt x="1489" y="260"/>
                  <a:pt x="1489" y="261"/>
                </a:cubicBezTo>
                <a:cubicBezTo>
                  <a:pt x="1489" y="264"/>
                  <a:pt x="1493" y="268"/>
                  <a:pt x="1496" y="268"/>
                </a:cubicBezTo>
                <a:cubicBezTo>
                  <a:pt x="1498" y="268"/>
                  <a:pt x="1498" y="267"/>
                  <a:pt x="1498" y="265"/>
                </a:cubicBezTo>
                <a:cubicBezTo>
                  <a:pt x="1496" y="262"/>
                  <a:pt x="1495" y="259"/>
                  <a:pt x="1493" y="257"/>
                </a:cubicBezTo>
                <a:close/>
                <a:moveTo>
                  <a:pt x="1546" y="259"/>
                </a:moveTo>
                <a:cubicBezTo>
                  <a:pt x="1543" y="263"/>
                  <a:pt x="1541" y="268"/>
                  <a:pt x="1539" y="272"/>
                </a:cubicBezTo>
                <a:cubicBezTo>
                  <a:pt x="1541" y="272"/>
                  <a:pt x="1544" y="272"/>
                  <a:pt x="1547" y="272"/>
                </a:cubicBezTo>
                <a:cubicBezTo>
                  <a:pt x="1547" y="272"/>
                  <a:pt x="1547" y="271"/>
                  <a:pt x="1547" y="270"/>
                </a:cubicBezTo>
                <a:cubicBezTo>
                  <a:pt x="1547" y="268"/>
                  <a:pt x="1547" y="265"/>
                  <a:pt x="1547" y="263"/>
                </a:cubicBezTo>
                <a:cubicBezTo>
                  <a:pt x="1547" y="261"/>
                  <a:pt x="1546" y="260"/>
                  <a:pt x="1546" y="259"/>
                </a:cubicBezTo>
                <a:close/>
                <a:moveTo>
                  <a:pt x="1493" y="238"/>
                </a:moveTo>
                <a:cubicBezTo>
                  <a:pt x="1492" y="239"/>
                  <a:pt x="1491" y="239"/>
                  <a:pt x="1491" y="239"/>
                </a:cubicBezTo>
                <a:cubicBezTo>
                  <a:pt x="1490" y="239"/>
                  <a:pt x="1489" y="239"/>
                  <a:pt x="1489" y="239"/>
                </a:cubicBezTo>
                <a:cubicBezTo>
                  <a:pt x="1489" y="238"/>
                  <a:pt x="1489" y="238"/>
                  <a:pt x="1489" y="237"/>
                </a:cubicBezTo>
                <a:cubicBezTo>
                  <a:pt x="1489" y="235"/>
                  <a:pt x="1490" y="233"/>
                  <a:pt x="1491" y="231"/>
                </a:cubicBezTo>
                <a:cubicBezTo>
                  <a:pt x="1490" y="231"/>
                  <a:pt x="1490" y="231"/>
                  <a:pt x="1490" y="231"/>
                </a:cubicBezTo>
                <a:cubicBezTo>
                  <a:pt x="1489" y="232"/>
                  <a:pt x="1488" y="232"/>
                  <a:pt x="1487" y="234"/>
                </a:cubicBezTo>
                <a:cubicBezTo>
                  <a:pt x="1486" y="235"/>
                  <a:pt x="1488" y="240"/>
                  <a:pt x="1489" y="241"/>
                </a:cubicBezTo>
                <a:cubicBezTo>
                  <a:pt x="1491" y="241"/>
                  <a:pt x="1493" y="240"/>
                  <a:pt x="1493" y="238"/>
                </a:cubicBezTo>
                <a:close/>
                <a:moveTo>
                  <a:pt x="1493" y="257"/>
                </a:moveTo>
                <a:cubicBezTo>
                  <a:pt x="1492" y="257"/>
                  <a:pt x="1491" y="258"/>
                  <a:pt x="1490" y="259"/>
                </a:cubicBezTo>
                <a:cubicBezTo>
                  <a:pt x="1489" y="260"/>
                  <a:pt x="1489" y="261"/>
                  <a:pt x="1489" y="261"/>
                </a:cubicBezTo>
                <a:cubicBezTo>
                  <a:pt x="1489" y="264"/>
                  <a:pt x="1493" y="268"/>
                  <a:pt x="1496" y="268"/>
                </a:cubicBezTo>
                <a:cubicBezTo>
                  <a:pt x="1498" y="268"/>
                  <a:pt x="1498" y="267"/>
                  <a:pt x="1498" y="265"/>
                </a:cubicBezTo>
                <a:cubicBezTo>
                  <a:pt x="1496" y="262"/>
                  <a:pt x="1495" y="259"/>
                  <a:pt x="1493" y="257"/>
                </a:cubicBezTo>
                <a:close/>
                <a:moveTo>
                  <a:pt x="1546" y="259"/>
                </a:moveTo>
                <a:cubicBezTo>
                  <a:pt x="1543" y="263"/>
                  <a:pt x="1541" y="268"/>
                  <a:pt x="1539" y="272"/>
                </a:cubicBezTo>
                <a:cubicBezTo>
                  <a:pt x="1541" y="272"/>
                  <a:pt x="1544" y="273"/>
                  <a:pt x="1547" y="272"/>
                </a:cubicBezTo>
                <a:cubicBezTo>
                  <a:pt x="1547" y="272"/>
                  <a:pt x="1547" y="271"/>
                  <a:pt x="1547" y="271"/>
                </a:cubicBezTo>
                <a:cubicBezTo>
                  <a:pt x="1547" y="268"/>
                  <a:pt x="1547" y="265"/>
                  <a:pt x="1547" y="263"/>
                </a:cubicBezTo>
                <a:cubicBezTo>
                  <a:pt x="1547" y="261"/>
                  <a:pt x="1546" y="260"/>
                  <a:pt x="1546" y="259"/>
                </a:cubicBezTo>
                <a:close/>
                <a:moveTo>
                  <a:pt x="1493" y="238"/>
                </a:moveTo>
                <a:cubicBezTo>
                  <a:pt x="1492" y="239"/>
                  <a:pt x="1492" y="239"/>
                  <a:pt x="1491" y="239"/>
                </a:cubicBezTo>
                <a:cubicBezTo>
                  <a:pt x="1490" y="239"/>
                  <a:pt x="1490" y="239"/>
                  <a:pt x="1490" y="239"/>
                </a:cubicBezTo>
                <a:cubicBezTo>
                  <a:pt x="1489" y="238"/>
                  <a:pt x="1489" y="237"/>
                  <a:pt x="1489" y="237"/>
                </a:cubicBezTo>
                <a:cubicBezTo>
                  <a:pt x="1490" y="235"/>
                  <a:pt x="1490" y="233"/>
                  <a:pt x="1491" y="231"/>
                </a:cubicBezTo>
                <a:cubicBezTo>
                  <a:pt x="1490" y="231"/>
                  <a:pt x="1490" y="231"/>
                  <a:pt x="1490" y="231"/>
                </a:cubicBezTo>
                <a:cubicBezTo>
                  <a:pt x="1489" y="232"/>
                  <a:pt x="1488" y="232"/>
                  <a:pt x="1487" y="233"/>
                </a:cubicBezTo>
                <a:cubicBezTo>
                  <a:pt x="1486" y="235"/>
                  <a:pt x="1488" y="240"/>
                  <a:pt x="1490" y="241"/>
                </a:cubicBezTo>
                <a:cubicBezTo>
                  <a:pt x="1491" y="241"/>
                  <a:pt x="1493" y="240"/>
                  <a:pt x="1493" y="238"/>
                </a:cubicBezTo>
                <a:close/>
                <a:moveTo>
                  <a:pt x="1545" y="230"/>
                </a:moveTo>
                <a:cubicBezTo>
                  <a:pt x="1549" y="227"/>
                  <a:pt x="1549" y="227"/>
                  <a:pt x="1552" y="225"/>
                </a:cubicBezTo>
                <a:cubicBezTo>
                  <a:pt x="1552" y="227"/>
                  <a:pt x="1554" y="228"/>
                  <a:pt x="1555" y="228"/>
                </a:cubicBezTo>
                <a:cubicBezTo>
                  <a:pt x="1553" y="230"/>
                  <a:pt x="1551" y="231"/>
                  <a:pt x="1549" y="232"/>
                </a:cubicBezTo>
                <a:cubicBezTo>
                  <a:pt x="1548" y="231"/>
                  <a:pt x="1548" y="231"/>
                  <a:pt x="1547" y="230"/>
                </a:cubicBezTo>
                <a:cubicBezTo>
                  <a:pt x="1547" y="230"/>
                  <a:pt x="1546" y="230"/>
                  <a:pt x="1545" y="230"/>
                </a:cubicBezTo>
                <a:close/>
                <a:moveTo>
                  <a:pt x="1551" y="230"/>
                </a:moveTo>
                <a:cubicBezTo>
                  <a:pt x="1550" y="229"/>
                  <a:pt x="1550" y="229"/>
                  <a:pt x="1549" y="229"/>
                </a:cubicBezTo>
                <a:cubicBezTo>
                  <a:pt x="1549" y="229"/>
                  <a:pt x="1548" y="230"/>
                  <a:pt x="1548" y="230"/>
                </a:cubicBezTo>
                <a:cubicBezTo>
                  <a:pt x="1548" y="230"/>
                  <a:pt x="1549" y="231"/>
                  <a:pt x="1549" y="231"/>
                </a:cubicBezTo>
                <a:cubicBezTo>
                  <a:pt x="1550" y="231"/>
                  <a:pt x="1550" y="230"/>
                  <a:pt x="1551" y="230"/>
                </a:cubicBezTo>
                <a:close/>
                <a:moveTo>
                  <a:pt x="1532" y="220"/>
                </a:moveTo>
                <a:cubicBezTo>
                  <a:pt x="1526" y="219"/>
                  <a:pt x="1523" y="222"/>
                  <a:pt x="1522" y="230"/>
                </a:cubicBezTo>
                <a:cubicBezTo>
                  <a:pt x="1523" y="228"/>
                  <a:pt x="1524" y="225"/>
                  <a:pt x="1525" y="223"/>
                </a:cubicBezTo>
                <a:cubicBezTo>
                  <a:pt x="1526" y="223"/>
                  <a:pt x="1526" y="223"/>
                  <a:pt x="1526" y="223"/>
                </a:cubicBezTo>
                <a:cubicBezTo>
                  <a:pt x="1526" y="224"/>
                  <a:pt x="1526" y="225"/>
                  <a:pt x="1526" y="226"/>
                </a:cubicBezTo>
                <a:cubicBezTo>
                  <a:pt x="1527" y="222"/>
                  <a:pt x="1529" y="220"/>
                  <a:pt x="1532" y="220"/>
                </a:cubicBezTo>
                <a:close/>
                <a:moveTo>
                  <a:pt x="1576" y="222"/>
                </a:moveTo>
                <a:cubicBezTo>
                  <a:pt x="1574" y="223"/>
                  <a:pt x="1572" y="224"/>
                  <a:pt x="1570" y="226"/>
                </a:cubicBezTo>
                <a:cubicBezTo>
                  <a:pt x="1572" y="226"/>
                  <a:pt x="1575" y="224"/>
                  <a:pt x="1576" y="222"/>
                </a:cubicBezTo>
                <a:close/>
                <a:moveTo>
                  <a:pt x="1542" y="224"/>
                </a:moveTo>
                <a:cubicBezTo>
                  <a:pt x="1544" y="222"/>
                  <a:pt x="1545" y="221"/>
                  <a:pt x="1546" y="220"/>
                </a:cubicBezTo>
                <a:cubicBezTo>
                  <a:pt x="1543" y="221"/>
                  <a:pt x="1542" y="222"/>
                  <a:pt x="1542" y="224"/>
                </a:cubicBezTo>
                <a:close/>
                <a:moveTo>
                  <a:pt x="1553" y="245"/>
                </a:moveTo>
                <a:cubicBezTo>
                  <a:pt x="1551" y="246"/>
                  <a:pt x="1550" y="246"/>
                  <a:pt x="1550" y="247"/>
                </a:cubicBezTo>
                <a:cubicBezTo>
                  <a:pt x="1550" y="247"/>
                  <a:pt x="1552" y="246"/>
                  <a:pt x="1553" y="245"/>
                </a:cubicBezTo>
                <a:close/>
                <a:moveTo>
                  <a:pt x="1551" y="230"/>
                </a:moveTo>
                <a:cubicBezTo>
                  <a:pt x="1550" y="229"/>
                  <a:pt x="1550" y="229"/>
                  <a:pt x="1549" y="229"/>
                </a:cubicBezTo>
                <a:cubicBezTo>
                  <a:pt x="1549" y="229"/>
                  <a:pt x="1548" y="230"/>
                  <a:pt x="1548" y="230"/>
                </a:cubicBezTo>
                <a:cubicBezTo>
                  <a:pt x="1548" y="230"/>
                  <a:pt x="1549" y="231"/>
                  <a:pt x="1549" y="231"/>
                </a:cubicBezTo>
                <a:cubicBezTo>
                  <a:pt x="1550" y="231"/>
                  <a:pt x="1550" y="230"/>
                  <a:pt x="1551" y="230"/>
                </a:cubicBezTo>
                <a:close/>
                <a:moveTo>
                  <a:pt x="1099" y="111"/>
                </a:moveTo>
                <a:cubicBezTo>
                  <a:pt x="1099" y="111"/>
                  <a:pt x="1099" y="111"/>
                  <a:pt x="1099" y="111"/>
                </a:cubicBezTo>
                <a:cubicBezTo>
                  <a:pt x="1094" y="111"/>
                  <a:pt x="1094" y="111"/>
                  <a:pt x="1094" y="111"/>
                </a:cubicBezTo>
                <a:cubicBezTo>
                  <a:pt x="1092" y="113"/>
                  <a:pt x="1090" y="114"/>
                  <a:pt x="1088" y="115"/>
                </a:cubicBezTo>
                <a:cubicBezTo>
                  <a:pt x="1087" y="116"/>
                  <a:pt x="1085" y="117"/>
                  <a:pt x="1083" y="118"/>
                </a:cubicBezTo>
                <a:cubicBezTo>
                  <a:pt x="1082" y="119"/>
                  <a:pt x="1079" y="120"/>
                  <a:pt x="1078" y="121"/>
                </a:cubicBezTo>
                <a:cubicBezTo>
                  <a:pt x="1076" y="121"/>
                  <a:pt x="1074" y="122"/>
                  <a:pt x="1072" y="122"/>
                </a:cubicBezTo>
                <a:cubicBezTo>
                  <a:pt x="1072" y="122"/>
                  <a:pt x="1072" y="122"/>
                  <a:pt x="1072" y="132"/>
                </a:cubicBezTo>
                <a:cubicBezTo>
                  <a:pt x="1075" y="132"/>
                  <a:pt x="1078" y="131"/>
                  <a:pt x="1080" y="129"/>
                </a:cubicBezTo>
                <a:cubicBezTo>
                  <a:pt x="1083" y="129"/>
                  <a:pt x="1085" y="127"/>
                  <a:pt x="1087" y="126"/>
                </a:cubicBezTo>
                <a:cubicBezTo>
                  <a:pt x="1087" y="126"/>
                  <a:pt x="1087" y="126"/>
                  <a:pt x="1087" y="185"/>
                </a:cubicBezTo>
                <a:cubicBezTo>
                  <a:pt x="1087" y="185"/>
                  <a:pt x="1087" y="185"/>
                  <a:pt x="1099" y="185"/>
                </a:cubicBezTo>
                <a:cubicBezTo>
                  <a:pt x="1099" y="185"/>
                  <a:pt x="1099" y="185"/>
                  <a:pt x="1099" y="111"/>
                </a:cubicBezTo>
                <a:close/>
                <a:moveTo>
                  <a:pt x="1146" y="111"/>
                </a:moveTo>
                <a:cubicBezTo>
                  <a:pt x="1146" y="111"/>
                  <a:pt x="1146" y="111"/>
                  <a:pt x="1146" y="111"/>
                </a:cubicBezTo>
                <a:cubicBezTo>
                  <a:pt x="1141" y="111"/>
                  <a:pt x="1141" y="111"/>
                  <a:pt x="1141" y="111"/>
                </a:cubicBezTo>
                <a:cubicBezTo>
                  <a:pt x="1140" y="113"/>
                  <a:pt x="1137" y="114"/>
                  <a:pt x="1136" y="115"/>
                </a:cubicBezTo>
                <a:cubicBezTo>
                  <a:pt x="1134" y="116"/>
                  <a:pt x="1132" y="117"/>
                  <a:pt x="1130" y="118"/>
                </a:cubicBezTo>
                <a:cubicBezTo>
                  <a:pt x="1129" y="119"/>
                  <a:pt x="1126" y="120"/>
                  <a:pt x="1125" y="121"/>
                </a:cubicBezTo>
                <a:cubicBezTo>
                  <a:pt x="1123" y="121"/>
                  <a:pt x="1121" y="122"/>
                  <a:pt x="1119" y="122"/>
                </a:cubicBezTo>
                <a:cubicBezTo>
                  <a:pt x="1119" y="122"/>
                  <a:pt x="1119" y="122"/>
                  <a:pt x="1119" y="132"/>
                </a:cubicBezTo>
                <a:cubicBezTo>
                  <a:pt x="1122" y="132"/>
                  <a:pt x="1125" y="131"/>
                  <a:pt x="1128" y="129"/>
                </a:cubicBezTo>
                <a:cubicBezTo>
                  <a:pt x="1130" y="129"/>
                  <a:pt x="1132" y="127"/>
                  <a:pt x="1134" y="126"/>
                </a:cubicBezTo>
                <a:cubicBezTo>
                  <a:pt x="1134" y="126"/>
                  <a:pt x="1134" y="126"/>
                  <a:pt x="1134" y="185"/>
                </a:cubicBezTo>
                <a:cubicBezTo>
                  <a:pt x="1134" y="185"/>
                  <a:pt x="1134" y="185"/>
                  <a:pt x="1146" y="185"/>
                </a:cubicBezTo>
                <a:cubicBezTo>
                  <a:pt x="1146" y="185"/>
                  <a:pt x="1146" y="185"/>
                  <a:pt x="1146" y="111"/>
                </a:cubicBezTo>
                <a:close/>
                <a:moveTo>
                  <a:pt x="1192" y="111"/>
                </a:moveTo>
                <a:cubicBezTo>
                  <a:pt x="1192" y="111"/>
                  <a:pt x="1192" y="111"/>
                  <a:pt x="1192" y="111"/>
                </a:cubicBezTo>
                <a:cubicBezTo>
                  <a:pt x="1188" y="111"/>
                  <a:pt x="1188" y="111"/>
                  <a:pt x="1188" y="111"/>
                </a:cubicBezTo>
                <a:cubicBezTo>
                  <a:pt x="1186" y="113"/>
                  <a:pt x="1184" y="114"/>
                  <a:pt x="1182" y="115"/>
                </a:cubicBezTo>
                <a:cubicBezTo>
                  <a:pt x="1181" y="116"/>
                  <a:pt x="1178" y="117"/>
                  <a:pt x="1177" y="118"/>
                </a:cubicBezTo>
                <a:cubicBezTo>
                  <a:pt x="1175" y="119"/>
                  <a:pt x="1173" y="119"/>
                  <a:pt x="1171" y="120"/>
                </a:cubicBezTo>
                <a:cubicBezTo>
                  <a:pt x="1170" y="121"/>
                  <a:pt x="1168" y="121"/>
                  <a:pt x="1166" y="122"/>
                </a:cubicBezTo>
                <a:cubicBezTo>
                  <a:pt x="1166" y="122"/>
                  <a:pt x="1166" y="122"/>
                  <a:pt x="1166" y="132"/>
                </a:cubicBezTo>
                <a:cubicBezTo>
                  <a:pt x="1169" y="132"/>
                  <a:pt x="1172" y="130"/>
                  <a:pt x="1174" y="129"/>
                </a:cubicBezTo>
                <a:cubicBezTo>
                  <a:pt x="1176" y="129"/>
                  <a:pt x="1179" y="127"/>
                  <a:pt x="1181" y="126"/>
                </a:cubicBezTo>
                <a:cubicBezTo>
                  <a:pt x="1181" y="126"/>
                  <a:pt x="1181" y="126"/>
                  <a:pt x="1181" y="185"/>
                </a:cubicBezTo>
                <a:cubicBezTo>
                  <a:pt x="1181" y="185"/>
                  <a:pt x="1181" y="185"/>
                  <a:pt x="1192" y="185"/>
                </a:cubicBezTo>
                <a:cubicBezTo>
                  <a:pt x="1192" y="185"/>
                  <a:pt x="1192" y="185"/>
                  <a:pt x="1192" y="111"/>
                </a:cubicBezTo>
                <a:close/>
                <a:moveTo>
                  <a:pt x="1329" y="144"/>
                </a:moveTo>
                <a:cubicBezTo>
                  <a:pt x="1329" y="144"/>
                  <a:pt x="1329" y="144"/>
                  <a:pt x="1329" y="144"/>
                </a:cubicBezTo>
                <a:cubicBezTo>
                  <a:pt x="1328" y="152"/>
                  <a:pt x="1328" y="152"/>
                  <a:pt x="1328" y="152"/>
                </a:cubicBezTo>
                <a:cubicBezTo>
                  <a:pt x="1335" y="152"/>
                  <a:pt x="1336" y="155"/>
                  <a:pt x="1336" y="158"/>
                </a:cubicBezTo>
                <a:cubicBezTo>
                  <a:pt x="1336" y="160"/>
                  <a:pt x="1335" y="162"/>
                  <a:pt x="1335" y="165"/>
                </a:cubicBezTo>
                <a:cubicBezTo>
                  <a:pt x="1335" y="167"/>
                  <a:pt x="1334" y="170"/>
                  <a:pt x="1334" y="172"/>
                </a:cubicBezTo>
                <a:cubicBezTo>
                  <a:pt x="1334" y="181"/>
                  <a:pt x="1340" y="185"/>
                  <a:pt x="1349" y="185"/>
                </a:cubicBezTo>
                <a:cubicBezTo>
                  <a:pt x="1349" y="185"/>
                  <a:pt x="1349" y="185"/>
                  <a:pt x="1352" y="185"/>
                </a:cubicBezTo>
                <a:cubicBezTo>
                  <a:pt x="1352" y="185"/>
                  <a:pt x="1352" y="185"/>
                  <a:pt x="1352" y="176"/>
                </a:cubicBezTo>
                <a:cubicBezTo>
                  <a:pt x="1352" y="176"/>
                  <a:pt x="1352" y="176"/>
                  <a:pt x="1351" y="176"/>
                </a:cubicBezTo>
                <a:cubicBezTo>
                  <a:pt x="1347" y="176"/>
                  <a:pt x="1346" y="173"/>
                  <a:pt x="1346" y="170"/>
                </a:cubicBezTo>
                <a:cubicBezTo>
                  <a:pt x="1346" y="168"/>
                  <a:pt x="1346" y="167"/>
                  <a:pt x="1347" y="165"/>
                </a:cubicBezTo>
                <a:cubicBezTo>
                  <a:pt x="1347" y="163"/>
                  <a:pt x="1347" y="161"/>
                  <a:pt x="1347" y="159"/>
                </a:cubicBezTo>
                <a:cubicBezTo>
                  <a:pt x="1347" y="151"/>
                  <a:pt x="1344" y="149"/>
                  <a:pt x="1338" y="148"/>
                </a:cubicBezTo>
                <a:cubicBezTo>
                  <a:pt x="1338" y="148"/>
                  <a:pt x="1338" y="148"/>
                  <a:pt x="1338" y="147"/>
                </a:cubicBezTo>
                <a:cubicBezTo>
                  <a:pt x="1344" y="146"/>
                  <a:pt x="1347" y="144"/>
                  <a:pt x="1347" y="136"/>
                </a:cubicBezTo>
                <a:cubicBezTo>
                  <a:pt x="1347" y="134"/>
                  <a:pt x="1347" y="132"/>
                  <a:pt x="1347" y="130"/>
                </a:cubicBezTo>
                <a:cubicBezTo>
                  <a:pt x="1346" y="129"/>
                  <a:pt x="1346" y="127"/>
                  <a:pt x="1346" y="126"/>
                </a:cubicBezTo>
                <a:cubicBezTo>
                  <a:pt x="1346" y="122"/>
                  <a:pt x="1347" y="120"/>
                  <a:pt x="1351" y="120"/>
                </a:cubicBezTo>
                <a:cubicBezTo>
                  <a:pt x="1351" y="120"/>
                  <a:pt x="1351" y="120"/>
                  <a:pt x="1352" y="120"/>
                </a:cubicBezTo>
                <a:cubicBezTo>
                  <a:pt x="1352" y="120"/>
                  <a:pt x="1352" y="120"/>
                  <a:pt x="1352" y="110"/>
                </a:cubicBezTo>
                <a:cubicBezTo>
                  <a:pt x="1352" y="110"/>
                  <a:pt x="1352" y="110"/>
                  <a:pt x="1349" y="110"/>
                </a:cubicBezTo>
                <a:cubicBezTo>
                  <a:pt x="1340" y="110"/>
                  <a:pt x="1334" y="114"/>
                  <a:pt x="1334" y="123"/>
                </a:cubicBezTo>
                <a:cubicBezTo>
                  <a:pt x="1334" y="125"/>
                  <a:pt x="1335" y="128"/>
                  <a:pt x="1335" y="130"/>
                </a:cubicBezTo>
                <a:cubicBezTo>
                  <a:pt x="1335" y="133"/>
                  <a:pt x="1336" y="135"/>
                  <a:pt x="1336" y="137"/>
                </a:cubicBezTo>
                <a:cubicBezTo>
                  <a:pt x="1336" y="140"/>
                  <a:pt x="1335" y="143"/>
                  <a:pt x="1329" y="144"/>
                </a:cubicBezTo>
                <a:close/>
                <a:moveTo>
                  <a:pt x="1384" y="152"/>
                </a:moveTo>
                <a:cubicBezTo>
                  <a:pt x="1384" y="152"/>
                  <a:pt x="1384" y="152"/>
                  <a:pt x="1384" y="152"/>
                </a:cubicBezTo>
                <a:cubicBezTo>
                  <a:pt x="1384" y="144"/>
                  <a:pt x="1384" y="144"/>
                  <a:pt x="1384" y="144"/>
                </a:cubicBezTo>
                <a:cubicBezTo>
                  <a:pt x="1377" y="143"/>
                  <a:pt x="1377" y="140"/>
                  <a:pt x="1377" y="137"/>
                </a:cubicBezTo>
                <a:cubicBezTo>
                  <a:pt x="1377" y="135"/>
                  <a:pt x="1377" y="133"/>
                  <a:pt x="1377" y="130"/>
                </a:cubicBezTo>
                <a:cubicBezTo>
                  <a:pt x="1378" y="128"/>
                  <a:pt x="1378" y="125"/>
                  <a:pt x="1378" y="123"/>
                </a:cubicBezTo>
                <a:cubicBezTo>
                  <a:pt x="1378" y="114"/>
                  <a:pt x="1372" y="110"/>
                  <a:pt x="1363" y="110"/>
                </a:cubicBezTo>
                <a:cubicBezTo>
                  <a:pt x="1363" y="110"/>
                  <a:pt x="1363" y="110"/>
                  <a:pt x="1359" y="110"/>
                </a:cubicBezTo>
                <a:cubicBezTo>
                  <a:pt x="1359" y="110"/>
                  <a:pt x="1359" y="110"/>
                  <a:pt x="1359" y="120"/>
                </a:cubicBezTo>
                <a:cubicBezTo>
                  <a:pt x="1359" y="120"/>
                  <a:pt x="1359" y="120"/>
                  <a:pt x="1361" y="120"/>
                </a:cubicBezTo>
                <a:cubicBezTo>
                  <a:pt x="1364" y="120"/>
                  <a:pt x="1366" y="122"/>
                  <a:pt x="1366" y="126"/>
                </a:cubicBezTo>
                <a:cubicBezTo>
                  <a:pt x="1366" y="127"/>
                  <a:pt x="1366" y="129"/>
                  <a:pt x="1366" y="130"/>
                </a:cubicBezTo>
                <a:cubicBezTo>
                  <a:pt x="1365" y="132"/>
                  <a:pt x="1365" y="134"/>
                  <a:pt x="1365" y="136"/>
                </a:cubicBezTo>
                <a:cubicBezTo>
                  <a:pt x="1365" y="144"/>
                  <a:pt x="1368" y="146"/>
                  <a:pt x="1374" y="147"/>
                </a:cubicBezTo>
                <a:cubicBezTo>
                  <a:pt x="1374" y="147"/>
                  <a:pt x="1374" y="147"/>
                  <a:pt x="1374" y="148"/>
                </a:cubicBezTo>
                <a:cubicBezTo>
                  <a:pt x="1368" y="149"/>
                  <a:pt x="1365" y="151"/>
                  <a:pt x="1365" y="159"/>
                </a:cubicBezTo>
                <a:cubicBezTo>
                  <a:pt x="1365" y="161"/>
                  <a:pt x="1365" y="163"/>
                  <a:pt x="1366" y="165"/>
                </a:cubicBezTo>
                <a:cubicBezTo>
                  <a:pt x="1366" y="167"/>
                  <a:pt x="1366" y="168"/>
                  <a:pt x="1366" y="170"/>
                </a:cubicBezTo>
                <a:cubicBezTo>
                  <a:pt x="1366" y="173"/>
                  <a:pt x="1365" y="176"/>
                  <a:pt x="1361" y="176"/>
                </a:cubicBezTo>
                <a:cubicBezTo>
                  <a:pt x="1361" y="176"/>
                  <a:pt x="1361" y="176"/>
                  <a:pt x="1359" y="176"/>
                </a:cubicBezTo>
                <a:cubicBezTo>
                  <a:pt x="1359" y="176"/>
                  <a:pt x="1359" y="176"/>
                  <a:pt x="1359" y="185"/>
                </a:cubicBezTo>
                <a:cubicBezTo>
                  <a:pt x="1359" y="185"/>
                  <a:pt x="1359" y="185"/>
                  <a:pt x="1363" y="185"/>
                </a:cubicBezTo>
                <a:cubicBezTo>
                  <a:pt x="1372" y="185"/>
                  <a:pt x="1378" y="181"/>
                  <a:pt x="1378" y="172"/>
                </a:cubicBezTo>
                <a:cubicBezTo>
                  <a:pt x="1378" y="170"/>
                  <a:pt x="1378" y="167"/>
                  <a:pt x="1377" y="165"/>
                </a:cubicBezTo>
                <a:cubicBezTo>
                  <a:pt x="1377" y="162"/>
                  <a:pt x="1377" y="160"/>
                  <a:pt x="1377" y="158"/>
                </a:cubicBezTo>
                <a:cubicBezTo>
                  <a:pt x="1377" y="155"/>
                  <a:pt x="1377" y="152"/>
                  <a:pt x="1384" y="152"/>
                </a:cubicBezTo>
                <a:close/>
                <a:moveTo>
                  <a:pt x="1430" y="111"/>
                </a:moveTo>
                <a:cubicBezTo>
                  <a:pt x="1430" y="111"/>
                  <a:pt x="1430" y="111"/>
                  <a:pt x="1430" y="111"/>
                </a:cubicBezTo>
                <a:cubicBezTo>
                  <a:pt x="1425" y="111"/>
                  <a:pt x="1425" y="111"/>
                  <a:pt x="1425" y="111"/>
                </a:cubicBezTo>
                <a:cubicBezTo>
                  <a:pt x="1423" y="113"/>
                  <a:pt x="1422" y="114"/>
                  <a:pt x="1419" y="115"/>
                </a:cubicBezTo>
                <a:cubicBezTo>
                  <a:pt x="1418" y="116"/>
                  <a:pt x="1416" y="117"/>
                  <a:pt x="1414" y="118"/>
                </a:cubicBezTo>
                <a:cubicBezTo>
                  <a:pt x="1412" y="119"/>
                  <a:pt x="1411" y="119"/>
                  <a:pt x="1409" y="120"/>
                </a:cubicBezTo>
                <a:cubicBezTo>
                  <a:pt x="1407" y="121"/>
                  <a:pt x="1406" y="121"/>
                  <a:pt x="1403" y="122"/>
                </a:cubicBezTo>
                <a:cubicBezTo>
                  <a:pt x="1403" y="122"/>
                  <a:pt x="1403" y="122"/>
                  <a:pt x="1403" y="132"/>
                </a:cubicBezTo>
                <a:cubicBezTo>
                  <a:pt x="1406" y="132"/>
                  <a:pt x="1409" y="130"/>
                  <a:pt x="1411" y="129"/>
                </a:cubicBezTo>
                <a:cubicBezTo>
                  <a:pt x="1414" y="129"/>
                  <a:pt x="1416" y="127"/>
                  <a:pt x="1419" y="126"/>
                </a:cubicBezTo>
                <a:cubicBezTo>
                  <a:pt x="1419" y="126"/>
                  <a:pt x="1419" y="126"/>
                  <a:pt x="1419" y="185"/>
                </a:cubicBezTo>
                <a:cubicBezTo>
                  <a:pt x="1419" y="185"/>
                  <a:pt x="1419" y="185"/>
                  <a:pt x="1430" y="185"/>
                </a:cubicBezTo>
                <a:cubicBezTo>
                  <a:pt x="1430" y="185"/>
                  <a:pt x="1430" y="185"/>
                  <a:pt x="1430" y="111"/>
                </a:cubicBezTo>
                <a:close/>
                <a:moveTo>
                  <a:pt x="1477" y="111"/>
                </a:moveTo>
                <a:cubicBezTo>
                  <a:pt x="1477" y="111"/>
                  <a:pt x="1477" y="111"/>
                  <a:pt x="1477" y="111"/>
                </a:cubicBezTo>
                <a:cubicBezTo>
                  <a:pt x="1472" y="111"/>
                  <a:pt x="1472" y="111"/>
                  <a:pt x="1472" y="111"/>
                </a:cubicBezTo>
                <a:cubicBezTo>
                  <a:pt x="1470" y="113"/>
                  <a:pt x="1468" y="114"/>
                  <a:pt x="1466" y="115"/>
                </a:cubicBezTo>
                <a:cubicBezTo>
                  <a:pt x="1465" y="116"/>
                  <a:pt x="1463" y="117"/>
                  <a:pt x="1461" y="118"/>
                </a:cubicBezTo>
                <a:cubicBezTo>
                  <a:pt x="1460" y="119"/>
                  <a:pt x="1458" y="120"/>
                  <a:pt x="1456" y="121"/>
                </a:cubicBezTo>
                <a:cubicBezTo>
                  <a:pt x="1454" y="121"/>
                  <a:pt x="1453" y="122"/>
                  <a:pt x="1450" y="122"/>
                </a:cubicBezTo>
                <a:cubicBezTo>
                  <a:pt x="1450" y="122"/>
                  <a:pt x="1450" y="122"/>
                  <a:pt x="1450" y="132"/>
                </a:cubicBezTo>
                <a:cubicBezTo>
                  <a:pt x="1453" y="132"/>
                  <a:pt x="1456" y="131"/>
                  <a:pt x="1458" y="129"/>
                </a:cubicBezTo>
                <a:cubicBezTo>
                  <a:pt x="1461" y="129"/>
                  <a:pt x="1463" y="127"/>
                  <a:pt x="1465" y="126"/>
                </a:cubicBezTo>
                <a:cubicBezTo>
                  <a:pt x="1465" y="126"/>
                  <a:pt x="1465" y="126"/>
                  <a:pt x="1465" y="185"/>
                </a:cubicBezTo>
                <a:cubicBezTo>
                  <a:pt x="1465" y="185"/>
                  <a:pt x="1465" y="185"/>
                  <a:pt x="1477" y="185"/>
                </a:cubicBezTo>
                <a:cubicBezTo>
                  <a:pt x="1477" y="185"/>
                  <a:pt x="1477" y="185"/>
                  <a:pt x="1477" y="111"/>
                </a:cubicBezTo>
                <a:close/>
                <a:moveTo>
                  <a:pt x="1522" y="111"/>
                </a:moveTo>
                <a:cubicBezTo>
                  <a:pt x="1522" y="111"/>
                  <a:pt x="1522" y="111"/>
                  <a:pt x="1522" y="111"/>
                </a:cubicBezTo>
                <a:cubicBezTo>
                  <a:pt x="1518" y="111"/>
                  <a:pt x="1518" y="111"/>
                  <a:pt x="1518" y="111"/>
                </a:cubicBezTo>
                <a:cubicBezTo>
                  <a:pt x="1516" y="113"/>
                  <a:pt x="1514" y="114"/>
                  <a:pt x="1512" y="115"/>
                </a:cubicBezTo>
                <a:cubicBezTo>
                  <a:pt x="1511" y="116"/>
                  <a:pt x="1509" y="117"/>
                  <a:pt x="1507" y="118"/>
                </a:cubicBezTo>
                <a:cubicBezTo>
                  <a:pt x="1505" y="119"/>
                  <a:pt x="1504" y="120"/>
                  <a:pt x="1502" y="121"/>
                </a:cubicBezTo>
                <a:cubicBezTo>
                  <a:pt x="1500" y="121"/>
                  <a:pt x="1498" y="122"/>
                  <a:pt x="1496" y="122"/>
                </a:cubicBezTo>
                <a:cubicBezTo>
                  <a:pt x="1496" y="122"/>
                  <a:pt x="1496" y="122"/>
                  <a:pt x="1496" y="132"/>
                </a:cubicBezTo>
                <a:cubicBezTo>
                  <a:pt x="1499" y="132"/>
                  <a:pt x="1502" y="131"/>
                  <a:pt x="1504" y="129"/>
                </a:cubicBezTo>
                <a:cubicBezTo>
                  <a:pt x="1507" y="129"/>
                  <a:pt x="1509" y="127"/>
                  <a:pt x="1511" y="126"/>
                </a:cubicBezTo>
                <a:cubicBezTo>
                  <a:pt x="1511" y="126"/>
                  <a:pt x="1511" y="126"/>
                  <a:pt x="1511" y="185"/>
                </a:cubicBezTo>
                <a:cubicBezTo>
                  <a:pt x="1511" y="185"/>
                  <a:pt x="1511" y="185"/>
                  <a:pt x="1522" y="185"/>
                </a:cubicBezTo>
                <a:cubicBezTo>
                  <a:pt x="1522" y="185"/>
                  <a:pt x="1522" y="185"/>
                  <a:pt x="1522" y="111"/>
                </a:cubicBezTo>
                <a:close/>
                <a:moveTo>
                  <a:pt x="1272" y="159"/>
                </a:moveTo>
                <a:cubicBezTo>
                  <a:pt x="1273" y="160"/>
                  <a:pt x="1273" y="161"/>
                  <a:pt x="1274" y="163"/>
                </a:cubicBezTo>
                <a:cubicBezTo>
                  <a:pt x="1274" y="164"/>
                  <a:pt x="1275" y="166"/>
                  <a:pt x="1275" y="168"/>
                </a:cubicBezTo>
                <a:cubicBezTo>
                  <a:pt x="1275" y="170"/>
                  <a:pt x="1275" y="171"/>
                  <a:pt x="1275" y="173"/>
                </a:cubicBezTo>
                <a:cubicBezTo>
                  <a:pt x="1276" y="176"/>
                  <a:pt x="1275" y="178"/>
                  <a:pt x="1272" y="178"/>
                </a:cubicBezTo>
                <a:cubicBezTo>
                  <a:pt x="1269" y="178"/>
                  <a:pt x="1266" y="177"/>
                  <a:pt x="1263" y="177"/>
                </a:cubicBezTo>
                <a:cubicBezTo>
                  <a:pt x="1263" y="177"/>
                  <a:pt x="1262" y="177"/>
                  <a:pt x="1262" y="178"/>
                </a:cubicBezTo>
                <a:cubicBezTo>
                  <a:pt x="1260" y="179"/>
                  <a:pt x="1259" y="180"/>
                  <a:pt x="1258" y="182"/>
                </a:cubicBezTo>
                <a:cubicBezTo>
                  <a:pt x="1256" y="184"/>
                  <a:pt x="1252" y="185"/>
                  <a:pt x="1250" y="183"/>
                </a:cubicBezTo>
                <a:cubicBezTo>
                  <a:pt x="1248" y="180"/>
                  <a:pt x="1247" y="178"/>
                  <a:pt x="1245" y="175"/>
                </a:cubicBezTo>
                <a:cubicBezTo>
                  <a:pt x="1245" y="174"/>
                  <a:pt x="1245" y="172"/>
                  <a:pt x="1247" y="170"/>
                </a:cubicBezTo>
                <a:cubicBezTo>
                  <a:pt x="1245" y="170"/>
                  <a:pt x="1243" y="170"/>
                  <a:pt x="1241" y="170"/>
                </a:cubicBezTo>
                <a:cubicBezTo>
                  <a:pt x="1241" y="172"/>
                  <a:pt x="1239" y="174"/>
                  <a:pt x="1239" y="176"/>
                </a:cubicBezTo>
                <a:cubicBezTo>
                  <a:pt x="1239" y="177"/>
                  <a:pt x="1238" y="178"/>
                  <a:pt x="1238" y="179"/>
                </a:cubicBezTo>
                <a:cubicBezTo>
                  <a:pt x="1238" y="182"/>
                  <a:pt x="1237" y="183"/>
                  <a:pt x="1234" y="183"/>
                </a:cubicBezTo>
                <a:cubicBezTo>
                  <a:pt x="1231" y="182"/>
                  <a:pt x="1228" y="182"/>
                  <a:pt x="1225" y="180"/>
                </a:cubicBezTo>
                <a:cubicBezTo>
                  <a:pt x="1223" y="180"/>
                  <a:pt x="1222" y="178"/>
                  <a:pt x="1223" y="176"/>
                </a:cubicBezTo>
                <a:cubicBezTo>
                  <a:pt x="1223" y="176"/>
                  <a:pt x="1223" y="175"/>
                  <a:pt x="1224" y="175"/>
                </a:cubicBezTo>
                <a:cubicBezTo>
                  <a:pt x="1221" y="174"/>
                  <a:pt x="1219" y="173"/>
                  <a:pt x="1217" y="171"/>
                </a:cubicBezTo>
                <a:cubicBezTo>
                  <a:pt x="1216" y="170"/>
                  <a:pt x="1215" y="168"/>
                  <a:pt x="1214" y="167"/>
                </a:cubicBezTo>
                <a:cubicBezTo>
                  <a:pt x="1213" y="165"/>
                  <a:pt x="1213" y="163"/>
                  <a:pt x="1215" y="162"/>
                </a:cubicBezTo>
                <a:cubicBezTo>
                  <a:pt x="1218" y="159"/>
                  <a:pt x="1219" y="157"/>
                  <a:pt x="1218" y="153"/>
                </a:cubicBezTo>
                <a:cubicBezTo>
                  <a:pt x="1218" y="151"/>
                  <a:pt x="1218" y="148"/>
                  <a:pt x="1218" y="147"/>
                </a:cubicBezTo>
                <a:cubicBezTo>
                  <a:pt x="1217" y="146"/>
                  <a:pt x="1215" y="145"/>
                  <a:pt x="1214" y="144"/>
                </a:cubicBezTo>
                <a:cubicBezTo>
                  <a:pt x="1213" y="143"/>
                  <a:pt x="1212" y="141"/>
                  <a:pt x="1212" y="139"/>
                </a:cubicBezTo>
                <a:cubicBezTo>
                  <a:pt x="1212" y="136"/>
                  <a:pt x="1215" y="133"/>
                  <a:pt x="1218" y="132"/>
                </a:cubicBezTo>
                <a:cubicBezTo>
                  <a:pt x="1219" y="133"/>
                  <a:pt x="1219" y="134"/>
                  <a:pt x="1219" y="135"/>
                </a:cubicBezTo>
                <a:cubicBezTo>
                  <a:pt x="1219" y="136"/>
                  <a:pt x="1219" y="137"/>
                  <a:pt x="1219" y="138"/>
                </a:cubicBezTo>
                <a:cubicBezTo>
                  <a:pt x="1219" y="138"/>
                  <a:pt x="1218" y="138"/>
                  <a:pt x="1218" y="138"/>
                </a:cubicBezTo>
                <a:cubicBezTo>
                  <a:pt x="1217" y="139"/>
                  <a:pt x="1217" y="140"/>
                  <a:pt x="1216" y="142"/>
                </a:cubicBezTo>
                <a:cubicBezTo>
                  <a:pt x="1217" y="142"/>
                  <a:pt x="1218" y="142"/>
                  <a:pt x="1219" y="141"/>
                </a:cubicBezTo>
                <a:cubicBezTo>
                  <a:pt x="1220" y="140"/>
                  <a:pt x="1221" y="139"/>
                  <a:pt x="1221" y="138"/>
                </a:cubicBezTo>
                <a:cubicBezTo>
                  <a:pt x="1226" y="131"/>
                  <a:pt x="1232" y="127"/>
                  <a:pt x="1239" y="126"/>
                </a:cubicBezTo>
                <a:cubicBezTo>
                  <a:pt x="1243" y="125"/>
                  <a:pt x="1246" y="124"/>
                  <a:pt x="1248" y="121"/>
                </a:cubicBezTo>
                <a:cubicBezTo>
                  <a:pt x="1248" y="121"/>
                  <a:pt x="1249" y="121"/>
                  <a:pt x="1249" y="121"/>
                </a:cubicBezTo>
                <a:cubicBezTo>
                  <a:pt x="1252" y="120"/>
                  <a:pt x="1254" y="118"/>
                  <a:pt x="1256" y="116"/>
                </a:cubicBezTo>
                <a:cubicBezTo>
                  <a:pt x="1263" y="108"/>
                  <a:pt x="1275" y="108"/>
                  <a:pt x="1283" y="115"/>
                </a:cubicBezTo>
                <a:cubicBezTo>
                  <a:pt x="1285" y="117"/>
                  <a:pt x="1288" y="119"/>
                  <a:pt x="1290" y="121"/>
                </a:cubicBezTo>
                <a:cubicBezTo>
                  <a:pt x="1292" y="122"/>
                  <a:pt x="1293" y="123"/>
                  <a:pt x="1294" y="125"/>
                </a:cubicBezTo>
                <a:cubicBezTo>
                  <a:pt x="1295" y="127"/>
                  <a:pt x="1296" y="127"/>
                  <a:pt x="1297" y="126"/>
                </a:cubicBezTo>
                <a:cubicBezTo>
                  <a:pt x="1298" y="125"/>
                  <a:pt x="1299" y="125"/>
                  <a:pt x="1299" y="124"/>
                </a:cubicBezTo>
                <a:cubicBezTo>
                  <a:pt x="1301" y="121"/>
                  <a:pt x="1304" y="121"/>
                  <a:pt x="1306" y="124"/>
                </a:cubicBezTo>
                <a:cubicBezTo>
                  <a:pt x="1307" y="127"/>
                  <a:pt x="1308" y="130"/>
                  <a:pt x="1308" y="133"/>
                </a:cubicBezTo>
                <a:cubicBezTo>
                  <a:pt x="1309" y="138"/>
                  <a:pt x="1308" y="142"/>
                  <a:pt x="1307" y="146"/>
                </a:cubicBezTo>
                <a:cubicBezTo>
                  <a:pt x="1304" y="153"/>
                  <a:pt x="1300" y="156"/>
                  <a:pt x="1293" y="156"/>
                </a:cubicBezTo>
                <a:cubicBezTo>
                  <a:pt x="1292" y="156"/>
                  <a:pt x="1292" y="156"/>
                  <a:pt x="1291" y="156"/>
                </a:cubicBezTo>
                <a:cubicBezTo>
                  <a:pt x="1289" y="156"/>
                  <a:pt x="1288" y="156"/>
                  <a:pt x="1287" y="159"/>
                </a:cubicBezTo>
                <a:cubicBezTo>
                  <a:pt x="1285" y="163"/>
                  <a:pt x="1280" y="164"/>
                  <a:pt x="1276" y="161"/>
                </a:cubicBezTo>
                <a:cubicBezTo>
                  <a:pt x="1275" y="160"/>
                  <a:pt x="1274" y="159"/>
                  <a:pt x="1273" y="158"/>
                </a:cubicBezTo>
                <a:cubicBezTo>
                  <a:pt x="1273" y="159"/>
                  <a:pt x="1273" y="159"/>
                  <a:pt x="1272" y="159"/>
                </a:cubicBezTo>
                <a:close/>
                <a:moveTo>
                  <a:pt x="1267" y="154"/>
                </a:moveTo>
                <a:cubicBezTo>
                  <a:pt x="1270" y="156"/>
                  <a:pt x="1274" y="157"/>
                  <a:pt x="1276" y="160"/>
                </a:cubicBezTo>
                <a:cubicBezTo>
                  <a:pt x="1278" y="161"/>
                  <a:pt x="1280" y="162"/>
                  <a:pt x="1282" y="161"/>
                </a:cubicBezTo>
                <a:cubicBezTo>
                  <a:pt x="1285" y="161"/>
                  <a:pt x="1286" y="159"/>
                  <a:pt x="1286" y="155"/>
                </a:cubicBezTo>
                <a:cubicBezTo>
                  <a:pt x="1286" y="156"/>
                  <a:pt x="1285" y="156"/>
                  <a:pt x="1285" y="156"/>
                </a:cubicBezTo>
                <a:cubicBezTo>
                  <a:pt x="1285" y="158"/>
                  <a:pt x="1284" y="159"/>
                  <a:pt x="1283" y="160"/>
                </a:cubicBezTo>
                <a:cubicBezTo>
                  <a:pt x="1282" y="161"/>
                  <a:pt x="1280" y="161"/>
                  <a:pt x="1280" y="160"/>
                </a:cubicBezTo>
                <a:cubicBezTo>
                  <a:pt x="1279" y="160"/>
                  <a:pt x="1278" y="159"/>
                  <a:pt x="1278" y="158"/>
                </a:cubicBezTo>
                <a:cubicBezTo>
                  <a:pt x="1278" y="156"/>
                  <a:pt x="1279" y="154"/>
                  <a:pt x="1279" y="152"/>
                </a:cubicBezTo>
                <a:cubicBezTo>
                  <a:pt x="1282" y="153"/>
                  <a:pt x="1286" y="154"/>
                  <a:pt x="1289" y="154"/>
                </a:cubicBezTo>
                <a:cubicBezTo>
                  <a:pt x="1297" y="155"/>
                  <a:pt x="1303" y="154"/>
                  <a:pt x="1306" y="145"/>
                </a:cubicBezTo>
                <a:cubicBezTo>
                  <a:pt x="1307" y="140"/>
                  <a:pt x="1307" y="136"/>
                  <a:pt x="1306" y="130"/>
                </a:cubicBezTo>
                <a:cubicBezTo>
                  <a:pt x="1306" y="128"/>
                  <a:pt x="1305" y="127"/>
                  <a:pt x="1304" y="125"/>
                </a:cubicBezTo>
                <a:cubicBezTo>
                  <a:pt x="1303" y="123"/>
                  <a:pt x="1302" y="123"/>
                  <a:pt x="1301" y="125"/>
                </a:cubicBezTo>
                <a:cubicBezTo>
                  <a:pt x="1299" y="126"/>
                  <a:pt x="1298" y="128"/>
                  <a:pt x="1296" y="128"/>
                </a:cubicBezTo>
                <a:cubicBezTo>
                  <a:pt x="1295" y="129"/>
                  <a:pt x="1294" y="130"/>
                  <a:pt x="1295" y="131"/>
                </a:cubicBezTo>
                <a:cubicBezTo>
                  <a:pt x="1295" y="134"/>
                  <a:pt x="1295" y="137"/>
                  <a:pt x="1293" y="140"/>
                </a:cubicBezTo>
                <a:cubicBezTo>
                  <a:pt x="1293" y="138"/>
                  <a:pt x="1294" y="136"/>
                  <a:pt x="1294" y="135"/>
                </a:cubicBezTo>
                <a:cubicBezTo>
                  <a:pt x="1294" y="134"/>
                  <a:pt x="1293" y="134"/>
                  <a:pt x="1293" y="133"/>
                </a:cubicBezTo>
                <a:cubicBezTo>
                  <a:pt x="1293" y="134"/>
                  <a:pt x="1292" y="134"/>
                  <a:pt x="1292" y="134"/>
                </a:cubicBezTo>
                <a:cubicBezTo>
                  <a:pt x="1291" y="135"/>
                  <a:pt x="1290" y="137"/>
                  <a:pt x="1290" y="138"/>
                </a:cubicBezTo>
                <a:cubicBezTo>
                  <a:pt x="1289" y="138"/>
                  <a:pt x="1289" y="138"/>
                  <a:pt x="1289" y="138"/>
                </a:cubicBezTo>
                <a:cubicBezTo>
                  <a:pt x="1290" y="136"/>
                  <a:pt x="1290" y="135"/>
                  <a:pt x="1290" y="132"/>
                </a:cubicBezTo>
                <a:cubicBezTo>
                  <a:pt x="1289" y="133"/>
                  <a:pt x="1289" y="134"/>
                  <a:pt x="1288" y="134"/>
                </a:cubicBezTo>
                <a:cubicBezTo>
                  <a:pt x="1288" y="135"/>
                  <a:pt x="1287" y="136"/>
                  <a:pt x="1287" y="136"/>
                </a:cubicBezTo>
                <a:cubicBezTo>
                  <a:pt x="1287" y="133"/>
                  <a:pt x="1288" y="133"/>
                  <a:pt x="1293" y="132"/>
                </a:cubicBezTo>
                <a:cubicBezTo>
                  <a:pt x="1293" y="131"/>
                  <a:pt x="1292" y="130"/>
                  <a:pt x="1292" y="130"/>
                </a:cubicBezTo>
                <a:cubicBezTo>
                  <a:pt x="1290" y="131"/>
                  <a:pt x="1289" y="130"/>
                  <a:pt x="1288" y="127"/>
                </a:cubicBezTo>
                <a:cubicBezTo>
                  <a:pt x="1290" y="127"/>
                  <a:pt x="1291" y="126"/>
                  <a:pt x="1293" y="126"/>
                </a:cubicBezTo>
                <a:cubicBezTo>
                  <a:pt x="1291" y="124"/>
                  <a:pt x="1290" y="121"/>
                  <a:pt x="1287" y="121"/>
                </a:cubicBezTo>
                <a:cubicBezTo>
                  <a:pt x="1286" y="121"/>
                  <a:pt x="1286" y="120"/>
                  <a:pt x="1286" y="120"/>
                </a:cubicBezTo>
                <a:cubicBezTo>
                  <a:pt x="1284" y="118"/>
                  <a:pt x="1281" y="115"/>
                  <a:pt x="1278" y="113"/>
                </a:cubicBezTo>
                <a:cubicBezTo>
                  <a:pt x="1276" y="112"/>
                  <a:pt x="1273" y="111"/>
                  <a:pt x="1271" y="111"/>
                </a:cubicBezTo>
                <a:cubicBezTo>
                  <a:pt x="1268" y="112"/>
                  <a:pt x="1265" y="113"/>
                  <a:pt x="1262" y="114"/>
                </a:cubicBezTo>
                <a:cubicBezTo>
                  <a:pt x="1259" y="115"/>
                  <a:pt x="1256" y="117"/>
                  <a:pt x="1254" y="120"/>
                </a:cubicBezTo>
                <a:cubicBezTo>
                  <a:pt x="1256" y="120"/>
                  <a:pt x="1257" y="120"/>
                  <a:pt x="1258" y="120"/>
                </a:cubicBezTo>
                <a:cubicBezTo>
                  <a:pt x="1258" y="120"/>
                  <a:pt x="1257" y="121"/>
                  <a:pt x="1256" y="121"/>
                </a:cubicBezTo>
                <a:cubicBezTo>
                  <a:pt x="1254" y="121"/>
                  <a:pt x="1251" y="121"/>
                  <a:pt x="1249" y="123"/>
                </a:cubicBezTo>
                <a:cubicBezTo>
                  <a:pt x="1246" y="127"/>
                  <a:pt x="1242" y="130"/>
                  <a:pt x="1238" y="135"/>
                </a:cubicBezTo>
                <a:cubicBezTo>
                  <a:pt x="1237" y="137"/>
                  <a:pt x="1236" y="139"/>
                  <a:pt x="1235" y="142"/>
                </a:cubicBezTo>
                <a:cubicBezTo>
                  <a:pt x="1235" y="142"/>
                  <a:pt x="1235" y="143"/>
                  <a:pt x="1235" y="143"/>
                </a:cubicBezTo>
                <a:cubicBezTo>
                  <a:pt x="1236" y="145"/>
                  <a:pt x="1237" y="147"/>
                  <a:pt x="1239" y="149"/>
                </a:cubicBezTo>
                <a:cubicBezTo>
                  <a:pt x="1240" y="147"/>
                  <a:pt x="1241" y="146"/>
                  <a:pt x="1243" y="145"/>
                </a:cubicBezTo>
                <a:cubicBezTo>
                  <a:pt x="1242" y="146"/>
                  <a:pt x="1242" y="147"/>
                  <a:pt x="1241" y="149"/>
                </a:cubicBezTo>
                <a:cubicBezTo>
                  <a:pt x="1240" y="150"/>
                  <a:pt x="1239" y="151"/>
                  <a:pt x="1239" y="153"/>
                </a:cubicBezTo>
                <a:cubicBezTo>
                  <a:pt x="1239" y="153"/>
                  <a:pt x="1239" y="155"/>
                  <a:pt x="1239" y="155"/>
                </a:cubicBezTo>
                <a:cubicBezTo>
                  <a:pt x="1242" y="159"/>
                  <a:pt x="1245" y="159"/>
                  <a:pt x="1249" y="157"/>
                </a:cubicBezTo>
                <a:cubicBezTo>
                  <a:pt x="1251" y="155"/>
                  <a:pt x="1254" y="154"/>
                  <a:pt x="1257" y="153"/>
                </a:cubicBezTo>
                <a:cubicBezTo>
                  <a:pt x="1258" y="153"/>
                  <a:pt x="1260" y="152"/>
                  <a:pt x="1260" y="151"/>
                </a:cubicBezTo>
                <a:cubicBezTo>
                  <a:pt x="1260" y="147"/>
                  <a:pt x="1260" y="144"/>
                  <a:pt x="1260" y="141"/>
                </a:cubicBezTo>
                <a:cubicBezTo>
                  <a:pt x="1260" y="138"/>
                  <a:pt x="1260" y="135"/>
                  <a:pt x="1260" y="132"/>
                </a:cubicBezTo>
                <a:cubicBezTo>
                  <a:pt x="1260" y="134"/>
                  <a:pt x="1261" y="137"/>
                  <a:pt x="1261" y="140"/>
                </a:cubicBezTo>
                <a:cubicBezTo>
                  <a:pt x="1262" y="144"/>
                  <a:pt x="1262" y="149"/>
                  <a:pt x="1261" y="153"/>
                </a:cubicBezTo>
                <a:cubicBezTo>
                  <a:pt x="1260" y="154"/>
                  <a:pt x="1260" y="155"/>
                  <a:pt x="1259" y="155"/>
                </a:cubicBezTo>
                <a:cubicBezTo>
                  <a:pt x="1256" y="155"/>
                  <a:pt x="1252" y="157"/>
                  <a:pt x="1249" y="159"/>
                </a:cubicBezTo>
                <a:cubicBezTo>
                  <a:pt x="1244" y="162"/>
                  <a:pt x="1241" y="160"/>
                  <a:pt x="1237" y="156"/>
                </a:cubicBezTo>
                <a:cubicBezTo>
                  <a:pt x="1237" y="155"/>
                  <a:pt x="1237" y="154"/>
                  <a:pt x="1237" y="154"/>
                </a:cubicBezTo>
                <a:cubicBezTo>
                  <a:pt x="1238" y="151"/>
                  <a:pt x="1237" y="149"/>
                  <a:pt x="1236" y="147"/>
                </a:cubicBezTo>
                <a:cubicBezTo>
                  <a:pt x="1234" y="145"/>
                  <a:pt x="1232" y="143"/>
                  <a:pt x="1234" y="140"/>
                </a:cubicBezTo>
                <a:cubicBezTo>
                  <a:pt x="1234" y="138"/>
                  <a:pt x="1235" y="137"/>
                  <a:pt x="1236" y="135"/>
                </a:cubicBezTo>
                <a:cubicBezTo>
                  <a:pt x="1238" y="132"/>
                  <a:pt x="1240" y="130"/>
                  <a:pt x="1242" y="127"/>
                </a:cubicBezTo>
                <a:cubicBezTo>
                  <a:pt x="1242" y="127"/>
                  <a:pt x="1241" y="127"/>
                  <a:pt x="1241" y="127"/>
                </a:cubicBezTo>
                <a:cubicBezTo>
                  <a:pt x="1236" y="128"/>
                  <a:pt x="1232" y="130"/>
                  <a:pt x="1228" y="133"/>
                </a:cubicBezTo>
                <a:cubicBezTo>
                  <a:pt x="1223" y="138"/>
                  <a:pt x="1220" y="143"/>
                  <a:pt x="1220" y="149"/>
                </a:cubicBezTo>
                <a:cubicBezTo>
                  <a:pt x="1219" y="156"/>
                  <a:pt x="1222" y="162"/>
                  <a:pt x="1225" y="168"/>
                </a:cubicBezTo>
                <a:cubicBezTo>
                  <a:pt x="1226" y="169"/>
                  <a:pt x="1226" y="170"/>
                  <a:pt x="1226" y="172"/>
                </a:cubicBezTo>
                <a:cubicBezTo>
                  <a:pt x="1226" y="173"/>
                  <a:pt x="1226" y="175"/>
                  <a:pt x="1225" y="176"/>
                </a:cubicBezTo>
                <a:cubicBezTo>
                  <a:pt x="1224" y="178"/>
                  <a:pt x="1225" y="179"/>
                  <a:pt x="1226" y="179"/>
                </a:cubicBezTo>
                <a:cubicBezTo>
                  <a:pt x="1229" y="180"/>
                  <a:pt x="1232" y="180"/>
                  <a:pt x="1235" y="181"/>
                </a:cubicBezTo>
                <a:cubicBezTo>
                  <a:pt x="1236" y="181"/>
                  <a:pt x="1236" y="180"/>
                  <a:pt x="1236" y="180"/>
                </a:cubicBezTo>
                <a:cubicBezTo>
                  <a:pt x="1237" y="178"/>
                  <a:pt x="1237" y="177"/>
                  <a:pt x="1237" y="176"/>
                </a:cubicBezTo>
                <a:cubicBezTo>
                  <a:pt x="1239" y="174"/>
                  <a:pt x="1239" y="171"/>
                  <a:pt x="1239" y="168"/>
                </a:cubicBezTo>
                <a:cubicBezTo>
                  <a:pt x="1239" y="168"/>
                  <a:pt x="1239" y="167"/>
                  <a:pt x="1239" y="167"/>
                </a:cubicBezTo>
                <a:cubicBezTo>
                  <a:pt x="1239" y="166"/>
                  <a:pt x="1239" y="166"/>
                  <a:pt x="1239" y="166"/>
                </a:cubicBezTo>
                <a:cubicBezTo>
                  <a:pt x="1240" y="169"/>
                  <a:pt x="1241" y="169"/>
                  <a:pt x="1243" y="169"/>
                </a:cubicBezTo>
                <a:cubicBezTo>
                  <a:pt x="1244" y="169"/>
                  <a:pt x="1245" y="169"/>
                  <a:pt x="1246" y="169"/>
                </a:cubicBezTo>
                <a:cubicBezTo>
                  <a:pt x="1249" y="169"/>
                  <a:pt x="1252" y="170"/>
                  <a:pt x="1252" y="165"/>
                </a:cubicBezTo>
                <a:cubicBezTo>
                  <a:pt x="1252" y="168"/>
                  <a:pt x="1252" y="169"/>
                  <a:pt x="1252" y="170"/>
                </a:cubicBezTo>
                <a:cubicBezTo>
                  <a:pt x="1251" y="171"/>
                  <a:pt x="1250" y="172"/>
                  <a:pt x="1249" y="172"/>
                </a:cubicBezTo>
                <a:cubicBezTo>
                  <a:pt x="1247" y="173"/>
                  <a:pt x="1247" y="174"/>
                  <a:pt x="1247" y="175"/>
                </a:cubicBezTo>
                <a:cubicBezTo>
                  <a:pt x="1249" y="178"/>
                  <a:pt x="1250" y="180"/>
                  <a:pt x="1251" y="182"/>
                </a:cubicBezTo>
                <a:cubicBezTo>
                  <a:pt x="1253" y="183"/>
                  <a:pt x="1255" y="182"/>
                  <a:pt x="1256" y="181"/>
                </a:cubicBezTo>
                <a:cubicBezTo>
                  <a:pt x="1257" y="180"/>
                  <a:pt x="1258" y="179"/>
                  <a:pt x="1258" y="179"/>
                </a:cubicBezTo>
                <a:cubicBezTo>
                  <a:pt x="1260" y="177"/>
                  <a:pt x="1262" y="176"/>
                  <a:pt x="1263" y="175"/>
                </a:cubicBezTo>
                <a:cubicBezTo>
                  <a:pt x="1267" y="170"/>
                  <a:pt x="1269" y="164"/>
                  <a:pt x="1271" y="159"/>
                </a:cubicBezTo>
                <a:cubicBezTo>
                  <a:pt x="1271" y="158"/>
                  <a:pt x="1270" y="157"/>
                  <a:pt x="1270" y="157"/>
                </a:cubicBezTo>
                <a:cubicBezTo>
                  <a:pt x="1269" y="156"/>
                  <a:pt x="1268" y="155"/>
                  <a:pt x="1267" y="154"/>
                </a:cubicBezTo>
                <a:close/>
                <a:moveTo>
                  <a:pt x="1219" y="161"/>
                </a:moveTo>
                <a:cubicBezTo>
                  <a:pt x="1219" y="161"/>
                  <a:pt x="1217" y="162"/>
                  <a:pt x="1216" y="163"/>
                </a:cubicBezTo>
                <a:cubicBezTo>
                  <a:pt x="1215" y="164"/>
                  <a:pt x="1215" y="164"/>
                  <a:pt x="1215" y="165"/>
                </a:cubicBezTo>
                <a:cubicBezTo>
                  <a:pt x="1215" y="168"/>
                  <a:pt x="1219" y="172"/>
                  <a:pt x="1222" y="172"/>
                </a:cubicBezTo>
                <a:cubicBezTo>
                  <a:pt x="1224" y="172"/>
                  <a:pt x="1225" y="171"/>
                  <a:pt x="1224" y="169"/>
                </a:cubicBezTo>
                <a:cubicBezTo>
                  <a:pt x="1222" y="166"/>
                  <a:pt x="1221" y="163"/>
                  <a:pt x="1219" y="161"/>
                </a:cubicBezTo>
                <a:close/>
                <a:moveTo>
                  <a:pt x="1272" y="163"/>
                </a:moveTo>
                <a:cubicBezTo>
                  <a:pt x="1270" y="167"/>
                  <a:pt x="1267" y="172"/>
                  <a:pt x="1265" y="176"/>
                </a:cubicBezTo>
                <a:cubicBezTo>
                  <a:pt x="1268" y="176"/>
                  <a:pt x="1270" y="176"/>
                  <a:pt x="1273" y="176"/>
                </a:cubicBezTo>
                <a:cubicBezTo>
                  <a:pt x="1273" y="176"/>
                  <a:pt x="1274" y="175"/>
                  <a:pt x="1274" y="174"/>
                </a:cubicBezTo>
                <a:cubicBezTo>
                  <a:pt x="1274" y="172"/>
                  <a:pt x="1274" y="169"/>
                  <a:pt x="1273" y="167"/>
                </a:cubicBezTo>
                <a:cubicBezTo>
                  <a:pt x="1273" y="165"/>
                  <a:pt x="1273" y="164"/>
                  <a:pt x="1272" y="163"/>
                </a:cubicBezTo>
                <a:close/>
                <a:moveTo>
                  <a:pt x="1219" y="142"/>
                </a:moveTo>
                <a:cubicBezTo>
                  <a:pt x="1219" y="143"/>
                  <a:pt x="1218" y="143"/>
                  <a:pt x="1217" y="143"/>
                </a:cubicBezTo>
                <a:cubicBezTo>
                  <a:pt x="1217" y="143"/>
                  <a:pt x="1216" y="143"/>
                  <a:pt x="1216" y="143"/>
                </a:cubicBezTo>
                <a:cubicBezTo>
                  <a:pt x="1215" y="142"/>
                  <a:pt x="1215" y="142"/>
                  <a:pt x="1215" y="141"/>
                </a:cubicBezTo>
                <a:cubicBezTo>
                  <a:pt x="1216" y="139"/>
                  <a:pt x="1216" y="137"/>
                  <a:pt x="1217" y="135"/>
                </a:cubicBezTo>
                <a:cubicBezTo>
                  <a:pt x="1217" y="135"/>
                  <a:pt x="1217" y="135"/>
                  <a:pt x="1216" y="135"/>
                </a:cubicBezTo>
                <a:cubicBezTo>
                  <a:pt x="1215" y="136"/>
                  <a:pt x="1214" y="136"/>
                  <a:pt x="1213" y="138"/>
                </a:cubicBezTo>
                <a:cubicBezTo>
                  <a:pt x="1213" y="139"/>
                  <a:pt x="1214" y="144"/>
                  <a:pt x="1216" y="145"/>
                </a:cubicBezTo>
                <a:cubicBezTo>
                  <a:pt x="1217" y="145"/>
                  <a:pt x="1219" y="144"/>
                  <a:pt x="1219" y="142"/>
                </a:cubicBezTo>
                <a:close/>
                <a:moveTo>
                  <a:pt x="1219" y="161"/>
                </a:moveTo>
                <a:cubicBezTo>
                  <a:pt x="1219" y="161"/>
                  <a:pt x="1217" y="162"/>
                  <a:pt x="1216" y="163"/>
                </a:cubicBezTo>
                <a:cubicBezTo>
                  <a:pt x="1216" y="164"/>
                  <a:pt x="1215" y="165"/>
                  <a:pt x="1215" y="165"/>
                </a:cubicBezTo>
                <a:cubicBezTo>
                  <a:pt x="1215" y="168"/>
                  <a:pt x="1219" y="173"/>
                  <a:pt x="1223" y="172"/>
                </a:cubicBezTo>
                <a:cubicBezTo>
                  <a:pt x="1224" y="172"/>
                  <a:pt x="1225" y="171"/>
                  <a:pt x="1224" y="169"/>
                </a:cubicBezTo>
                <a:cubicBezTo>
                  <a:pt x="1223" y="166"/>
                  <a:pt x="1221" y="163"/>
                  <a:pt x="1219" y="161"/>
                </a:cubicBezTo>
                <a:close/>
                <a:moveTo>
                  <a:pt x="1272" y="163"/>
                </a:moveTo>
                <a:cubicBezTo>
                  <a:pt x="1270" y="167"/>
                  <a:pt x="1267" y="172"/>
                  <a:pt x="1265" y="176"/>
                </a:cubicBezTo>
                <a:cubicBezTo>
                  <a:pt x="1268" y="176"/>
                  <a:pt x="1270" y="177"/>
                  <a:pt x="1273" y="176"/>
                </a:cubicBezTo>
                <a:cubicBezTo>
                  <a:pt x="1273" y="176"/>
                  <a:pt x="1274" y="175"/>
                  <a:pt x="1274" y="175"/>
                </a:cubicBezTo>
                <a:cubicBezTo>
                  <a:pt x="1274" y="172"/>
                  <a:pt x="1274" y="169"/>
                  <a:pt x="1273" y="167"/>
                </a:cubicBezTo>
                <a:cubicBezTo>
                  <a:pt x="1273" y="165"/>
                  <a:pt x="1273" y="164"/>
                  <a:pt x="1272" y="163"/>
                </a:cubicBezTo>
                <a:close/>
                <a:moveTo>
                  <a:pt x="1220" y="143"/>
                </a:moveTo>
                <a:cubicBezTo>
                  <a:pt x="1219" y="143"/>
                  <a:pt x="1218" y="143"/>
                  <a:pt x="1218" y="143"/>
                </a:cubicBezTo>
                <a:cubicBezTo>
                  <a:pt x="1217" y="143"/>
                  <a:pt x="1216" y="143"/>
                  <a:pt x="1216" y="143"/>
                </a:cubicBezTo>
                <a:cubicBezTo>
                  <a:pt x="1216" y="143"/>
                  <a:pt x="1215" y="142"/>
                  <a:pt x="1215" y="141"/>
                </a:cubicBezTo>
                <a:cubicBezTo>
                  <a:pt x="1216" y="139"/>
                  <a:pt x="1216" y="137"/>
                  <a:pt x="1217" y="135"/>
                </a:cubicBezTo>
                <a:cubicBezTo>
                  <a:pt x="1217" y="135"/>
                  <a:pt x="1217" y="135"/>
                  <a:pt x="1216" y="135"/>
                </a:cubicBezTo>
                <a:cubicBezTo>
                  <a:pt x="1216" y="136"/>
                  <a:pt x="1214" y="136"/>
                  <a:pt x="1214" y="138"/>
                </a:cubicBezTo>
                <a:cubicBezTo>
                  <a:pt x="1213" y="139"/>
                  <a:pt x="1214" y="144"/>
                  <a:pt x="1216" y="145"/>
                </a:cubicBezTo>
                <a:cubicBezTo>
                  <a:pt x="1218" y="146"/>
                  <a:pt x="1220" y="145"/>
                  <a:pt x="1220" y="143"/>
                </a:cubicBezTo>
                <a:close/>
                <a:moveTo>
                  <a:pt x="1271" y="134"/>
                </a:moveTo>
                <a:cubicBezTo>
                  <a:pt x="1275" y="131"/>
                  <a:pt x="1275" y="131"/>
                  <a:pt x="1279" y="129"/>
                </a:cubicBezTo>
                <a:cubicBezTo>
                  <a:pt x="1279" y="131"/>
                  <a:pt x="1280" y="133"/>
                  <a:pt x="1281" y="133"/>
                </a:cubicBezTo>
                <a:cubicBezTo>
                  <a:pt x="1279" y="134"/>
                  <a:pt x="1277" y="135"/>
                  <a:pt x="1275" y="137"/>
                </a:cubicBezTo>
                <a:cubicBezTo>
                  <a:pt x="1274" y="136"/>
                  <a:pt x="1274" y="135"/>
                  <a:pt x="1273" y="134"/>
                </a:cubicBezTo>
                <a:cubicBezTo>
                  <a:pt x="1273" y="134"/>
                  <a:pt x="1272" y="134"/>
                  <a:pt x="1271" y="134"/>
                </a:cubicBezTo>
                <a:close/>
                <a:moveTo>
                  <a:pt x="1277" y="134"/>
                </a:moveTo>
                <a:cubicBezTo>
                  <a:pt x="1277" y="133"/>
                  <a:pt x="1276" y="133"/>
                  <a:pt x="1275" y="133"/>
                </a:cubicBezTo>
                <a:cubicBezTo>
                  <a:pt x="1275" y="133"/>
                  <a:pt x="1274" y="134"/>
                  <a:pt x="1274" y="134"/>
                </a:cubicBezTo>
                <a:cubicBezTo>
                  <a:pt x="1274" y="135"/>
                  <a:pt x="1275" y="135"/>
                  <a:pt x="1275" y="135"/>
                </a:cubicBezTo>
                <a:cubicBezTo>
                  <a:pt x="1276" y="135"/>
                  <a:pt x="1276" y="135"/>
                  <a:pt x="1277" y="134"/>
                </a:cubicBezTo>
                <a:close/>
                <a:moveTo>
                  <a:pt x="1259" y="124"/>
                </a:moveTo>
                <a:cubicBezTo>
                  <a:pt x="1252" y="123"/>
                  <a:pt x="1249" y="126"/>
                  <a:pt x="1248" y="134"/>
                </a:cubicBezTo>
                <a:cubicBezTo>
                  <a:pt x="1249" y="132"/>
                  <a:pt x="1250" y="129"/>
                  <a:pt x="1252" y="127"/>
                </a:cubicBezTo>
                <a:cubicBezTo>
                  <a:pt x="1252" y="127"/>
                  <a:pt x="1252" y="127"/>
                  <a:pt x="1252" y="127"/>
                </a:cubicBezTo>
                <a:cubicBezTo>
                  <a:pt x="1252" y="128"/>
                  <a:pt x="1252" y="129"/>
                  <a:pt x="1252" y="130"/>
                </a:cubicBezTo>
                <a:cubicBezTo>
                  <a:pt x="1254" y="126"/>
                  <a:pt x="1255" y="124"/>
                  <a:pt x="1259" y="124"/>
                </a:cubicBezTo>
                <a:close/>
                <a:moveTo>
                  <a:pt x="1302" y="126"/>
                </a:moveTo>
                <a:cubicBezTo>
                  <a:pt x="1300" y="127"/>
                  <a:pt x="1298" y="128"/>
                  <a:pt x="1297" y="130"/>
                </a:cubicBezTo>
                <a:cubicBezTo>
                  <a:pt x="1299" y="130"/>
                  <a:pt x="1301" y="128"/>
                  <a:pt x="1302" y="126"/>
                </a:cubicBezTo>
                <a:close/>
                <a:moveTo>
                  <a:pt x="1269" y="128"/>
                </a:moveTo>
                <a:cubicBezTo>
                  <a:pt x="1270" y="126"/>
                  <a:pt x="1271" y="125"/>
                  <a:pt x="1272" y="124"/>
                </a:cubicBezTo>
                <a:cubicBezTo>
                  <a:pt x="1269" y="125"/>
                  <a:pt x="1268" y="126"/>
                  <a:pt x="1269" y="128"/>
                </a:cubicBezTo>
                <a:close/>
                <a:moveTo>
                  <a:pt x="1279" y="149"/>
                </a:moveTo>
                <a:cubicBezTo>
                  <a:pt x="1277" y="150"/>
                  <a:pt x="1276" y="150"/>
                  <a:pt x="1276" y="151"/>
                </a:cubicBezTo>
                <a:cubicBezTo>
                  <a:pt x="1277" y="151"/>
                  <a:pt x="1278" y="150"/>
                  <a:pt x="1279" y="149"/>
                </a:cubicBezTo>
                <a:close/>
                <a:moveTo>
                  <a:pt x="1278" y="134"/>
                </a:moveTo>
                <a:cubicBezTo>
                  <a:pt x="1277" y="133"/>
                  <a:pt x="1276" y="133"/>
                  <a:pt x="1276" y="133"/>
                </a:cubicBezTo>
                <a:cubicBezTo>
                  <a:pt x="1275" y="133"/>
                  <a:pt x="1274" y="134"/>
                  <a:pt x="1274" y="134"/>
                </a:cubicBezTo>
                <a:cubicBezTo>
                  <a:pt x="1274" y="134"/>
                  <a:pt x="1275" y="135"/>
                  <a:pt x="1275" y="135"/>
                </a:cubicBezTo>
                <a:cubicBezTo>
                  <a:pt x="1276" y="135"/>
                  <a:pt x="1276" y="134"/>
                  <a:pt x="1278" y="134"/>
                </a:cubicBezTo>
                <a:close/>
                <a:moveTo>
                  <a:pt x="1568" y="111"/>
                </a:moveTo>
                <a:cubicBezTo>
                  <a:pt x="1568" y="111"/>
                  <a:pt x="1568" y="111"/>
                  <a:pt x="1568" y="111"/>
                </a:cubicBezTo>
                <a:cubicBezTo>
                  <a:pt x="1564" y="111"/>
                  <a:pt x="1564" y="111"/>
                  <a:pt x="1564" y="111"/>
                </a:cubicBezTo>
                <a:cubicBezTo>
                  <a:pt x="1562" y="113"/>
                  <a:pt x="1561" y="114"/>
                  <a:pt x="1558" y="115"/>
                </a:cubicBezTo>
                <a:cubicBezTo>
                  <a:pt x="1557" y="116"/>
                  <a:pt x="1555" y="117"/>
                  <a:pt x="1553" y="118"/>
                </a:cubicBezTo>
                <a:cubicBezTo>
                  <a:pt x="1551" y="119"/>
                  <a:pt x="1550" y="120"/>
                  <a:pt x="1548" y="121"/>
                </a:cubicBezTo>
                <a:cubicBezTo>
                  <a:pt x="1546" y="121"/>
                  <a:pt x="1544" y="122"/>
                  <a:pt x="1543" y="122"/>
                </a:cubicBezTo>
                <a:cubicBezTo>
                  <a:pt x="1543" y="122"/>
                  <a:pt x="1543" y="122"/>
                  <a:pt x="1543" y="132"/>
                </a:cubicBezTo>
                <a:cubicBezTo>
                  <a:pt x="1545" y="132"/>
                  <a:pt x="1548" y="131"/>
                  <a:pt x="1550" y="129"/>
                </a:cubicBezTo>
                <a:cubicBezTo>
                  <a:pt x="1553" y="129"/>
                  <a:pt x="1556" y="127"/>
                  <a:pt x="1557" y="126"/>
                </a:cubicBezTo>
                <a:cubicBezTo>
                  <a:pt x="1557" y="126"/>
                  <a:pt x="1557" y="126"/>
                  <a:pt x="1557" y="185"/>
                </a:cubicBezTo>
                <a:cubicBezTo>
                  <a:pt x="1557" y="185"/>
                  <a:pt x="1557" y="185"/>
                  <a:pt x="1568" y="185"/>
                </a:cubicBezTo>
                <a:cubicBezTo>
                  <a:pt x="1568" y="185"/>
                  <a:pt x="1568" y="185"/>
                  <a:pt x="1568" y="111"/>
                </a:cubicBezTo>
                <a:close/>
                <a:moveTo>
                  <a:pt x="1690" y="111"/>
                </a:moveTo>
                <a:cubicBezTo>
                  <a:pt x="1690" y="111"/>
                  <a:pt x="1690" y="111"/>
                  <a:pt x="1690" y="111"/>
                </a:cubicBezTo>
                <a:cubicBezTo>
                  <a:pt x="1685" y="111"/>
                  <a:pt x="1685" y="111"/>
                  <a:pt x="1685" y="111"/>
                </a:cubicBezTo>
                <a:cubicBezTo>
                  <a:pt x="1683" y="113"/>
                  <a:pt x="1682" y="114"/>
                  <a:pt x="1679" y="115"/>
                </a:cubicBezTo>
                <a:cubicBezTo>
                  <a:pt x="1678" y="116"/>
                  <a:pt x="1676" y="117"/>
                  <a:pt x="1674" y="118"/>
                </a:cubicBezTo>
                <a:cubicBezTo>
                  <a:pt x="1673" y="119"/>
                  <a:pt x="1670" y="120"/>
                  <a:pt x="1669" y="121"/>
                </a:cubicBezTo>
                <a:cubicBezTo>
                  <a:pt x="1667" y="121"/>
                  <a:pt x="1665" y="122"/>
                  <a:pt x="1663" y="122"/>
                </a:cubicBezTo>
                <a:cubicBezTo>
                  <a:pt x="1663" y="122"/>
                  <a:pt x="1663" y="122"/>
                  <a:pt x="1663" y="132"/>
                </a:cubicBezTo>
                <a:cubicBezTo>
                  <a:pt x="1666" y="132"/>
                  <a:pt x="1669" y="131"/>
                  <a:pt x="1672" y="129"/>
                </a:cubicBezTo>
                <a:cubicBezTo>
                  <a:pt x="1674" y="129"/>
                  <a:pt x="1676" y="127"/>
                  <a:pt x="1679" y="126"/>
                </a:cubicBezTo>
                <a:cubicBezTo>
                  <a:pt x="1679" y="126"/>
                  <a:pt x="1679" y="126"/>
                  <a:pt x="1679" y="185"/>
                </a:cubicBezTo>
                <a:cubicBezTo>
                  <a:pt x="1679" y="185"/>
                  <a:pt x="1679" y="185"/>
                  <a:pt x="1690" y="185"/>
                </a:cubicBezTo>
                <a:cubicBezTo>
                  <a:pt x="1690" y="185"/>
                  <a:pt x="1690" y="185"/>
                  <a:pt x="1690" y="111"/>
                </a:cubicBezTo>
                <a:close/>
                <a:moveTo>
                  <a:pt x="1737" y="111"/>
                </a:moveTo>
                <a:cubicBezTo>
                  <a:pt x="1737" y="111"/>
                  <a:pt x="1737" y="111"/>
                  <a:pt x="1737" y="111"/>
                </a:cubicBezTo>
                <a:cubicBezTo>
                  <a:pt x="1732" y="111"/>
                  <a:pt x="1732" y="111"/>
                  <a:pt x="1732" y="111"/>
                </a:cubicBezTo>
                <a:cubicBezTo>
                  <a:pt x="1730" y="113"/>
                  <a:pt x="1728" y="114"/>
                  <a:pt x="1726" y="115"/>
                </a:cubicBezTo>
                <a:cubicBezTo>
                  <a:pt x="1725" y="116"/>
                  <a:pt x="1722" y="117"/>
                  <a:pt x="1721" y="118"/>
                </a:cubicBezTo>
                <a:cubicBezTo>
                  <a:pt x="1720" y="119"/>
                  <a:pt x="1717" y="120"/>
                  <a:pt x="1716" y="121"/>
                </a:cubicBezTo>
                <a:cubicBezTo>
                  <a:pt x="1714" y="121"/>
                  <a:pt x="1712" y="122"/>
                  <a:pt x="1710" y="122"/>
                </a:cubicBezTo>
                <a:cubicBezTo>
                  <a:pt x="1710" y="122"/>
                  <a:pt x="1710" y="122"/>
                  <a:pt x="1710" y="132"/>
                </a:cubicBezTo>
                <a:cubicBezTo>
                  <a:pt x="1713" y="132"/>
                  <a:pt x="1716" y="131"/>
                  <a:pt x="1718" y="129"/>
                </a:cubicBezTo>
                <a:cubicBezTo>
                  <a:pt x="1721" y="129"/>
                  <a:pt x="1723" y="127"/>
                  <a:pt x="1725" y="126"/>
                </a:cubicBezTo>
                <a:cubicBezTo>
                  <a:pt x="1725" y="126"/>
                  <a:pt x="1725" y="126"/>
                  <a:pt x="1725" y="185"/>
                </a:cubicBezTo>
                <a:cubicBezTo>
                  <a:pt x="1725" y="185"/>
                  <a:pt x="1725" y="185"/>
                  <a:pt x="1737" y="185"/>
                </a:cubicBezTo>
                <a:cubicBezTo>
                  <a:pt x="1737" y="185"/>
                  <a:pt x="1737" y="185"/>
                  <a:pt x="1737" y="111"/>
                </a:cubicBezTo>
                <a:close/>
                <a:moveTo>
                  <a:pt x="1783" y="111"/>
                </a:moveTo>
                <a:cubicBezTo>
                  <a:pt x="1783" y="111"/>
                  <a:pt x="1783" y="111"/>
                  <a:pt x="1783" y="111"/>
                </a:cubicBezTo>
                <a:cubicBezTo>
                  <a:pt x="1779" y="111"/>
                  <a:pt x="1779" y="111"/>
                  <a:pt x="1779" y="111"/>
                </a:cubicBezTo>
                <a:cubicBezTo>
                  <a:pt x="1777" y="113"/>
                  <a:pt x="1775" y="114"/>
                  <a:pt x="1773" y="115"/>
                </a:cubicBezTo>
                <a:cubicBezTo>
                  <a:pt x="1772" y="116"/>
                  <a:pt x="1769" y="117"/>
                  <a:pt x="1768" y="118"/>
                </a:cubicBezTo>
                <a:cubicBezTo>
                  <a:pt x="1766" y="119"/>
                  <a:pt x="1764" y="119"/>
                  <a:pt x="1762" y="120"/>
                </a:cubicBezTo>
                <a:cubicBezTo>
                  <a:pt x="1761" y="121"/>
                  <a:pt x="1759" y="121"/>
                  <a:pt x="1757" y="122"/>
                </a:cubicBezTo>
                <a:cubicBezTo>
                  <a:pt x="1757" y="122"/>
                  <a:pt x="1757" y="122"/>
                  <a:pt x="1757" y="132"/>
                </a:cubicBezTo>
                <a:cubicBezTo>
                  <a:pt x="1760" y="132"/>
                  <a:pt x="1763" y="130"/>
                  <a:pt x="1765" y="129"/>
                </a:cubicBezTo>
                <a:cubicBezTo>
                  <a:pt x="1767" y="129"/>
                  <a:pt x="1770" y="127"/>
                  <a:pt x="1772" y="126"/>
                </a:cubicBezTo>
                <a:cubicBezTo>
                  <a:pt x="1772" y="126"/>
                  <a:pt x="1772" y="126"/>
                  <a:pt x="1772" y="185"/>
                </a:cubicBezTo>
                <a:cubicBezTo>
                  <a:pt x="1772" y="185"/>
                  <a:pt x="1772" y="185"/>
                  <a:pt x="1783" y="185"/>
                </a:cubicBezTo>
                <a:cubicBezTo>
                  <a:pt x="1783" y="185"/>
                  <a:pt x="1783" y="185"/>
                  <a:pt x="1783" y="111"/>
                </a:cubicBezTo>
                <a:close/>
                <a:moveTo>
                  <a:pt x="1589" y="144"/>
                </a:moveTo>
                <a:cubicBezTo>
                  <a:pt x="1589" y="144"/>
                  <a:pt x="1589" y="144"/>
                  <a:pt x="1589" y="144"/>
                </a:cubicBezTo>
                <a:cubicBezTo>
                  <a:pt x="1588" y="152"/>
                  <a:pt x="1588" y="152"/>
                  <a:pt x="1588" y="152"/>
                </a:cubicBezTo>
                <a:cubicBezTo>
                  <a:pt x="1595" y="152"/>
                  <a:pt x="1595" y="155"/>
                  <a:pt x="1595" y="158"/>
                </a:cubicBezTo>
                <a:cubicBezTo>
                  <a:pt x="1595" y="160"/>
                  <a:pt x="1595" y="162"/>
                  <a:pt x="1595" y="165"/>
                </a:cubicBezTo>
                <a:cubicBezTo>
                  <a:pt x="1595" y="167"/>
                  <a:pt x="1594" y="170"/>
                  <a:pt x="1594" y="172"/>
                </a:cubicBezTo>
                <a:cubicBezTo>
                  <a:pt x="1594" y="181"/>
                  <a:pt x="1600" y="185"/>
                  <a:pt x="1609" y="185"/>
                </a:cubicBezTo>
                <a:cubicBezTo>
                  <a:pt x="1609" y="185"/>
                  <a:pt x="1609" y="185"/>
                  <a:pt x="1613" y="185"/>
                </a:cubicBezTo>
                <a:cubicBezTo>
                  <a:pt x="1613" y="185"/>
                  <a:pt x="1613" y="185"/>
                  <a:pt x="1613" y="176"/>
                </a:cubicBezTo>
                <a:cubicBezTo>
                  <a:pt x="1613" y="176"/>
                  <a:pt x="1613" y="176"/>
                  <a:pt x="1611" y="176"/>
                </a:cubicBezTo>
                <a:cubicBezTo>
                  <a:pt x="1607" y="176"/>
                  <a:pt x="1606" y="173"/>
                  <a:pt x="1606" y="170"/>
                </a:cubicBezTo>
                <a:cubicBezTo>
                  <a:pt x="1606" y="168"/>
                  <a:pt x="1606" y="167"/>
                  <a:pt x="1607" y="165"/>
                </a:cubicBezTo>
                <a:cubicBezTo>
                  <a:pt x="1607" y="163"/>
                  <a:pt x="1607" y="161"/>
                  <a:pt x="1607" y="159"/>
                </a:cubicBezTo>
                <a:cubicBezTo>
                  <a:pt x="1607" y="151"/>
                  <a:pt x="1604" y="149"/>
                  <a:pt x="1598" y="148"/>
                </a:cubicBezTo>
                <a:cubicBezTo>
                  <a:pt x="1598" y="148"/>
                  <a:pt x="1598" y="148"/>
                  <a:pt x="1598" y="147"/>
                </a:cubicBezTo>
                <a:cubicBezTo>
                  <a:pt x="1604" y="146"/>
                  <a:pt x="1607" y="144"/>
                  <a:pt x="1607" y="136"/>
                </a:cubicBezTo>
                <a:cubicBezTo>
                  <a:pt x="1607" y="134"/>
                  <a:pt x="1607" y="132"/>
                  <a:pt x="1607" y="130"/>
                </a:cubicBezTo>
                <a:cubicBezTo>
                  <a:pt x="1606" y="129"/>
                  <a:pt x="1606" y="127"/>
                  <a:pt x="1606" y="126"/>
                </a:cubicBezTo>
                <a:cubicBezTo>
                  <a:pt x="1606" y="122"/>
                  <a:pt x="1607" y="120"/>
                  <a:pt x="1611" y="120"/>
                </a:cubicBezTo>
                <a:cubicBezTo>
                  <a:pt x="1611" y="120"/>
                  <a:pt x="1611" y="120"/>
                  <a:pt x="1613" y="120"/>
                </a:cubicBezTo>
                <a:cubicBezTo>
                  <a:pt x="1613" y="120"/>
                  <a:pt x="1613" y="120"/>
                  <a:pt x="1613" y="110"/>
                </a:cubicBezTo>
                <a:cubicBezTo>
                  <a:pt x="1613" y="110"/>
                  <a:pt x="1613" y="110"/>
                  <a:pt x="1609" y="110"/>
                </a:cubicBezTo>
                <a:cubicBezTo>
                  <a:pt x="1600" y="110"/>
                  <a:pt x="1594" y="114"/>
                  <a:pt x="1594" y="123"/>
                </a:cubicBezTo>
                <a:cubicBezTo>
                  <a:pt x="1594" y="125"/>
                  <a:pt x="1595" y="128"/>
                  <a:pt x="1595" y="130"/>
                </a:cubicBezTo>
                <a:cubicBezTo>
                  <a:pt x="1595" y="133"/>
                  <a:pt x="1595" y="135"/>
                  <a:pt x="1595" y="137"/>
                </a:cubicBezTo>
                <a:cubicBezTo>
                  <a:pt x="1595" y="140"/>
                  <a:pt x="1595" y="143"/>
                  <a:pt x="1589" y="144"/>
                </a:cubicBezTo>
                <a:close/>
                <a:moveTo>
                  <a:pt x="1643" y="152"/>
                </a:moveTo>
                <a:cubicBezTo>
                  <a:pt x="1643" y="152"/>
                  <a:pt x="1643" y="152"/>
                  <a:pt x="1643" y="152"/>
                </a:cubicBezTo>
                <a:cubicBezTo>
                  <a:pt x="1643" y="144"/>
                  <a:pt x="1643" y="144"/>
                  <a:pt x="1643" y="144"/>
                </a:cubicBezTo>
                <a:cubicBezTo>
                  <a:pt x="1637" y="143"/>
                  <a:pt x="1637" y="140"/>
                  <a:pt x="1637" y="137"/>
                </a:cubicBezTo>
                <a:cubicBezTo>
                  <a:pt x="1637" y="135"/>
                  <a:pt x="1637" y="133"/>
                  <a:pt x="1637" y="130"/>
                </a:cubicBezTo>
                <a:cubicBezTo>
                  <a:pt x="1637" y="128"/>
                  <a:pt x="1637" y="125"/>
                  <a:pt x="1637" y="123"/>
                </a:cubicBezTo>
                <a:cubicBezTo>
                  <a:pt x="1637" y="114"/>
                  <a:pt x="1632" y="110"/>
                  <a:pt x="1623" y="110"/>
                </a:cubicBezTo>
                <a:cubicBezTo>
                  <a:pt x="1623" y="110"/>
                  <a:pt x="1623" y="110"/>
                  <a:pt x="1619" y="110"/>
                </a:cubicBezTo>
                <a:cubicBezTo>
                  <a:pt x="1619" y="110"/>
                  <a:pt x="1619" y="110"/>
                  <a:pt x="1619" y="120"/>
                </a:cubicBezTo>
                <a:cubicBezTo>
                  <a:pt x="1619" y="120"/>
                  <a:pt x="1619" y="120"/>
                  <a:pt x="1621" y="120"/>
                </a:cubicBezTo>
                <a:cubicBezTo>
                  <a:pt x="1625" y="120"/>
                  <a:pt x="1626" y="122"/>
                  <a:pt x="1626" y="126"/>
                </a:cubicBezTo>
                <a:cubicBezTo>
                  <a:pt x="1626" y="127"/>
                  <a:pt x="1626" y="129"/>
                  <a:pt x="1626" y="130"/>
                </a:cubicBezTo>
                <a:cubicBezTo>
                  <a:pt x="1625" y="132"/>
                  <a:pt x="1625" y="134"/>
                  <a:pt x="1625" y="136"/>
                </a:cubicBezTo>
                <a:cubicBezTo>
                  <a:pt x="1625" y="144"/>
                  <a:pt x="1628" y="146"/>
                  <a:pt x="1634" y="147"/>
                </a:cubicBezTo>
                <a:cubicBezTo>
                  <a:pt x="1634" y="147"/>
                  <a:pt x="1634" y="147"/>
                  <a:pt x="1634" y="148"/>
                </a:cubicBezTo>
                <a:cubicBezTo>
                  <a:pt x="1628" y="149"/>
                  <a:pt x="1625" y="151"/>
                  <a:pt x="1625" y="159"/>
                </a:cubicBezTo>
                <a:cubicBezTo>
                  <a:pt x="1625" y="161"/>
                  <a:pt x="1625" y="163"/>
                  <a:pt x="1626" y="165"/>
                </a:cubicBezTo>
                <a:cubicBezTo>
                  <a:pt x="1626" y="167"/>
                  <a:pt x="1626" y="168"/>
                  <a:pt x="1626" y="170"/>
                </a:cubicBezTo>
                <a:cubicBezTo>
                  <a:pt x="1626" y="173"/>
                  <a:pt x="1625" y="176"/>
                  <a:pt x="1621" y="176"/>
                </a:cubicBezTo>
                <a:cubicBezTo>
                  <a:pt x="1621" y="176"/>
                  <a:pt x="1621" y="176"/>
                  <a:pt x="1619" y="176"/>
                </a:cubicBezTo>
                <a:cubicBezTo>
                  <a:pt x="1619" y="176"/>
                  <a:pt x="1619" y="176"/>
                  <a:pt x="1619" y="185"/>
                </a:cubicBezTo>
                <a:cubicBezTo>
                  <a:pt x="1619" y="185"/>
                  <a:pt x="1619" y="185"/>
                  <a:pt x="1623" y="185"/>
                </a:cubicBezTo>
                <a:cubicBezTo>
                  <a:pt x="1632" y="185"/>
                  <a:pt x="1637" y="181"/>
                  <a:pt x="1637" y="172"/>
                </a:cubicBezTo>
                <a:cubicBezTo>
                  <a:pt x="1637" y="170"/>
                  <a:pt x="1637" y="167"/>
                  <a:pt x="1637" y="165"/>
                </a:cubicBezTo>
                <a:cubicBezTo>
                  <a:pt x="1637" y="162"/>
                  <a:pt x="1637" y="160"/>
                  <a:pt x="1637" y="158"/>
                </a:cubicBezTo>
                <a:cubicBezTo>
                  <a:pt x="1637" y="155"/>
                  <a:pt x="1637" y="152"/>
                  <a:pt x="1643" y="152"/>
                </a:cubicBezTo>
                <a:close/>
                <a:moveTo>
                  <a:pt x="1827" y="185"/>
                </a:moveTo>
                <a:cubicBezTo>
                  <a:pt x="1820" y="185"/>
                  <a:pt x="1813" y="182"/>
                  <a:pt x="1809" y="176"/>
                </a:cubicBezTo>
                <a:cubicBezTo>
                  <a:pt x="1805" y="169"/>
                  <a:pt x="1803" y="161"/>
                  <a:pt x="1803" y="148"/>
                </a:cubicBezTo>
                <a:cubicBezTo>
                  <a:pt x="1803" y="135"/>
                  <a:pt x="1805" y="126"/>
                  <a:pt x="1809" y="119"/>
                </a:cubicBezTo>
                <a:cubicBezTo>
                  <a:pt x="1814" y="112"/>
                  <a:pt x="1820" y="109"/>
                  <a:pt x="1829" y="109"/>
                </a:cubicBezTo>
                <a:cubicBezTo>
                  <a:pt x="1846" y="109"/>
                  <a:pt x="1854" y="121"/>
                  <a:pt x="1854" y="147"/>
                </a:cubicBezTo>
                <a:cubicBezTo>
                  <a:pt x="1854" y="159"/>
                  <a:pt x="1851" y="169"/>
                  <a:pt x="1846" y="175"/>
                </a:cubicBezTo>
                <a:cubicBezTo>
                  <a:pt x="1842" y="182"/>
                  <a:pt x="1835" y="185"/>
                  <a:pt x="1827" y="185"/>
                </a:cubicBezTo>
                <a:close/>
                <a:moveTo>
                  <a:pt x="1829" y="118"/>
                </a:moveTo>
                <a:cubicBezTo>
                  <a:pt x="1819" y="118"/>
                  <a:pt x="1815" y="129"/>
                  <a:pt x="1815" y="148"/>
                </a:cubicBezTo>
                <a:cubicBezTo>
                  <a:pt x="1815" y="166"/>
                  <a:pt x="1819" y="175"/>
                  <a:pt x="1828" y="175"/>
                </a:cubicBezTo>
                <a:cubicBezTo>
                  <a:pt x="1837" y="175"/>
                  <a:pt x="1841" y="166"/>
                  <a:pt x="1841" y="147"/>
                </a:cubicBezTo>
                <a:cubicBezTo>
                  <a:pt x="1841" y="128"/>
                  <a:pt x="1837" y="118"/>
                  <a:pt x="1829" y="118"/>
                </a:cubicBezTo>
                <a:close/>
                <a:moveTo>
                  <a:pt x="1897" y="185"/>
                </a:moveTo>
                <a:cubicBezTo>
                  <a:pt x="1890" y="185"/>
                  <a:pt x="1884" y="182"/>
                  <a:pt x="1880" y="176"/>
                </a:cubicBezTo>
                <a:cubicBezTo>
                  <a:pt x="1875" y="169"/>
                  <a:pt x="1873" y="161"/>
                  <a:pt x="1873" y="148"/>
                </a:cubicBezTo>
                <a:cubicBezTo>
                  <a:pt x="1873" y="135"/>
                  <a:pt x="1875" y="126"/>
                  <a:pt x="1880" y="119"/>
                </a:cubicBezTo>
                <a:cubicBezTo>
                  <a:pt x="1884" y="112"/>
                  <a:pt x="1891" y="109"/>
                  <a:pt x="1900" y="109"/>
                </a:cubicBezTo>
                <a:cubicBezTo>
                  <a:pt x="1916" y="109"/>
                  <a:pt x="1924" y="121"/>
                  <a:pt x="1924" y="147"/>
                </a:cubicBezTo>
                <a:cubicBezTo>
                  <a:pt x="1924" y="159"/>
                  <a:pt x="1922" y="169"/>
                  <a:pt x="1917" y="175"/>
                </a:cubicBezTo>
                <a:cubicBezTo>
                  <a:pt x="1912" y="182"/>
                  <a:pt x="1906" y="185"/>
                  <a:pt x="1897" y="185"/>
                </a:cubicBezTo>
                <a:close/>
                <a:moveTo>
                  <a:pt x="1899" y="118"/>
                </a:moveTo>
                <a:cubicBezTo>
                  <a:pt x="1890" y="118"/>
                  <a:pt x="1885" y="129"/>
                  <a:pt x="1885" y="148"/>
                </a:cubicBezTo>
                <a:cubicBezTo>
                  <a:pt x="1885" y="166"/>
                  <a:pt x="1889" y="175"/>
                  <a:pt x="1898" y="175"/>
                </a:cubicBezTo>
                <a:cubicBezTo>
                  <a:pt x="1907" y="175"/>
                  <a:pt x="1911" y="166"/>
                  <a:pt x="1911" y="147"/>
                </a:cubicBezTo>
                <a:cubicBezTo>
                  <a:pt x="1911" y="128"/>
                  <a:pt x="1907" y="118"/>
                  <a:pt x="1899" y="118"/>
                </a:cubicBezTo>
                <a:close/>
                <a:moveTo>
                  <a:pt x="43" y="207"/>
                </a:moveTo>
                <a:cubicBezTo>
                  <a:pt x="43" y="207"/>
                  <a:pt x="43" y="207"/>
                  <a:pt x="43" y="207"/>
                </a:cubicBezTo>
                <a:cubicBezTo>
                  <a:pt x="37" y="207"/>
                  <a:pt x="37" y="207"/>
                  <a:pt x="37" y="207"/>
                </a:cubicBezTo>
                <a:cubicBezTo>
                  <a:pt x="35" y="209"/>
                  <a:pt x="34" y="210"/>
                  <a:pt x="32" y="211"/>
                </a:cubicBezTo>
                <a:cubicBezTo>
                  <a:pt x="30" y="212"/>
                  <a:pt x="29" y="213"/>
                  <a:pt x="27" y="214"/>
                </a:cubicBezTo>
                <a:cubicBezTo>
                  <a:pt x="25" y="215"/>
                  <a:pt x="23" y="216"/>
                  <a:pt x="22" y="217"/>
                </a:cubicBezTo>
                <a:cubicBezTo>
                  <a:pt x="19" y="217"/>
                  <a:pt x="18" y="218"/>
                  <a:pt x="16" y="218"/>
                </a:cubicBezTo>
                <a:cubicBezTo>
                  <a:pt x="16" y="218"/>
                  <a:pt x="16" y="218"/>
                  <a:pt x="16" y="228"/>
                </a:cubicBezTo>
                <a:cubicBezTo>
                  <a:pt x="19" y="228"/>
                  <a:pt x="22" y="227"/>
                  <a:pt x="24" y="225"/>
                </a:cubicBezTo>
                <a:cubicBezTo>
                  <a:pt x="27" y="225"/>
                  <a:pt x="29" y="223"/>
                  <a:pt x="31" y="222"/>
                </a:cubicBezTo>
                <a:cubicBezTo>
                  <a:pt x="31" y="222"/>
                  <a:pt x="31" y="222"/>
                  <a:pt x="31" y="281"/>
                </a:cubicBezTo>
                <a:cubicBezTo>
                  <a:pt x="31" y="281"/>
                  <a:pt x="31" y="281"/>
                  <a:pt x="43" y="281"/>
                </a:cubicBezTo>
                <a:cubicBezTo>
                  <a:pt x="43" y="281"/>
                  <a:pt x="43" y="281"/>
                  <a:pt x="43" y="207"/>
                </a:cubicBezTo>
                <a:close/>
                <a:moveTo>
                  <a:pt x="91" y="207"/>
                </a:moveTo>
                <a:cubicBezTo>
                  <a:pt x="91" y="207"/>
                  <a:pt x="91" y="207"/>
                  <a:pt x="91" y="207"/>
                </a:cubicBezTo>
                <a:cubicBezTo>
                  <a:pt x="85" y="207"/>
                  <a:pt x="85" y="207"/>
                  <a:pt x="85" y="207"/>
                </a:cubicBezTo>
                <a:cubicBezTo>
                  <a:pt x="83" y="209"/>
                  <a:pt x="82" y="210"/>
                  <a:pt x="79" y="211"/>
                </a:cubicBezTo>
                <a:cubicBezTo>
                  <a:pt x="78" y="212"/>
                  <a:pt x="76" y="213"/>
                  <a:pt x="74" y="214"/>
                </a:cubicBezTo>
                <a:cubicBezTo>
                  <a:pt x="73" y="215"/>
                  <a:pt x="71" y="216"/>
                  <a:pt x="69" y="217"/>
                </a:cubicBezTo>
                <a:cubicBezTo>
                  <a:pt x="67" y="217"/>
                  <a:pt x="65" y="218"/>
                  <a:pt x="63" y="218"/>
                </a:cubicBezTo>
                <a:cubicBezTo>
                  <a:pt x="63" y="218"/>
                  <a:pt x="63" y="218"/>
                  <a:pt x="63" y="228"/>
                </a:cubicBezTo>
                <a:cubicBezTo>
                  <a:pt x="66" y="228"/>
                  <a:pt x="69" y="227"/>
                  <a:pt x="71" y="225"/>
                </a:cubicBezTo>
                <a:cubicBezTo>
                  <a:pt x="74" y="225"/>
                  <a:pt x="77" y="223"/>
                  <a:pt x="79" y="222"/>
                </a:cubicBezTo>
                <a:cubicBezTo>
                  <a:pt x="79" y="222"/>
                  <a:pt x="79" y="222"/>
                  <a:pt x="79" y="281"/>
                </a:cubicBezTo>
                <a:cubicBezTo>
                  <a:pt x="79" y="281"/>
                  <a:pt x="79" y="281"/>
                  <a:pt x="91" y="281"/>
                </a:cubicBezTo>
                <a:cubicBezTo>
                  <a:pt x="91" y="281"/>
                  <a:pt x="91" y="281"/>
                  <a:pt x="91" y="207"/>
                </a:cubicBezTo>
                <a:close/>
                <a:moveTo>
                  <a:pt x="137" y="207"/>
                </a:moveTo>
                <a:cubicBezTo>
                  <a:pt x="137" y="207"/>
                  <a:pt x="137" y="207"/>
                  <a:pt x="137" y="207"/>
                </a:cubicBezTo>
                <a:cubicBezTo>
                  <a:pt x="133" y="207"/>
                  <a:pt x="133" y="207"/>
                  <a:pt x="133" y="207"/>
                </a:cubicBezTo>
                <a:cubicBezTo>
                  <a:pt x="131" y="209"/>
                  <a:pt x="129" y="210"/>
                  <a:pt x="127" y="211"/>
                </a:cubicBezTo>
                <a:cubicBezTo>
                  <a:pt x="125" y="212"/>
                  <a:pt x="123" y="213"/>
                  <a:pt x="122" y="214"/>
                </a:cubicBezTo>
                <a:cubicBezTo>
                  <a:pt x="120" y="215"/>
                  <a:pt x="118" y="215"/>
                  <a:pt x="116" y="216"/>
                </a:cubicBezTo>
                <a:cubicBezTo>
                  <a:pt x="114" y="217"/>
                  <a:pt x="112" y="217"/>
                  <a:pt x="111" y="218"/>
                </a:cubicBezTo>
                <a:cubicBezTo>
                  <a:pt x="111" y="218"/>
                  <a:pt x="111" y="218"/>
                  <a:pt x="111" y="228"/>
                </a:cubicBezTo>
                <a:cubicBezTo>
                  <a:pt x="114" y="228"/>
                  <a:pt x="117" y="226"/>
                  <a:pt x="119" y="225"/>
                </a:cubicBezTo>
                <a:cubicBezTo>
                  <a:pt x="121" y="225"/>
                  <a:pt x="124" y="223"/>
                  <a:pt x="125" y="222"/>
                </a:cubicBezTo>
                <a:cubicBezTo>
                  <a:pt x="125" y="222"/>
                  <a:pt x="125" y="222"/>
                  <a:pt x="125" y="281"/>
                </a:cubicBezTo>
                <a:cubicBezTo>
                  <a:pt x="125" y="281"/>
                  <a:pt x="125" y="281"/>
                  <a:pt x="137" y="281"/>
                </a:cubicBezTo>
                <a:cubicBezTo>
                  <a:pt x="137" y="281"/>
                  <a:pt x="137" y="281"/>
                  <a:pt x="137" y="207"/>
                </a:cubicBezTo>
                <a:close/>
                <a:moveTo>
                  <a:pt x="182" y="281"/>
                </a:moveTo>
                <a:cubicBezTo>
                  <a:pt x="174" y="281"/>
                  <a:pt x="168" y="278"/>
                  <a:pt x="163" y="272"/>
                </a:cubicBezTo>
                <a:cubicBezTo>
                  <a:pt x="160" y="265"/>
                  <a:pt x="157" y="257"/>
                  <a:pt x="157" y="244"/>
                </a:cubicBezTo>
                <a:cubicBezTo>
                  <a:pt x="157" y="231"/>
                  <a:pt x="160" y="222"/>
                  <a:pt x="164" y="215"/>
                </a:cubicBezTo>
                <a:cubicBezTo>
                  <a:pt x="168" y="208"/>
                  <a:pt x="175" y="205"/>
                  <a:pt x="184" y="205"/>
                </a:cubicBezTo>
                <a:cubicBezTo>
                  <a:pt x="200" y="205"/>
                  <a:pt x="208" y="217"/>
                  <a:pt x="208" y="243"/>
                </a:cubicBezTo>
                <a:cubicBezTo>
                  <a:pt x="208" y="255"/>
                  <a:pt x="206" y="265"/>
                  <a:pt x="201" y="271"/>
                </a:cubicBezTo>
                <a:cubicBezTo>
                  <a:pt x="196" y="278"/>
                  <a:pt x="190" y="281"/>
                  <a:pt x="182" y="281"/>
                </a:cubicBezTo>
                <a:close/>
                <a:moveTo>
                  <a:pt x="183" y="214"/>
                </a:moveTo>
                <a:cubicBezTo>
                  <a:pt x="174" y="214"/>
                  <a:pt x="169" y="225"/>
                  <a:pt x="169" y="244"/>
                </a:cubicBezTo>
                <a:cubicBezTo>
                  <a:pt x="169" y="262"/>
                  <a:pt x="174" y="271"/>
                  <a:pt x="182" y="271"/>
                </a:cubicBezTo>
                <a:cubicBezTo>
                  <a:pt x="191" y="271"/>
                  <a:pt x="196" y="262"/>
                  <a:pt x="196" y="243"/>
                </a:cubicBezTo>
                <a:cubicBezTo>
                  <a:pt x="196" y="224"/>
                  <a:pt x="191" y="214"/>
                  <a:pt x="183" y="214"/>
                </a:cubicBezTo>
                <a:close/>
                <a:moveTo>
                  <a:pt x="253" y="281"/>
                </a:moveTo>
                <a:cubicBezTo>
                  <a:pt x="245" y="281"/>
                  <a:pt x="239" y="278"/>
                  <a:pt x="235" y="272"/>
                </a:cubicBezTo>
                <a:cubicBezTo>
                  <a:pt x="231" y="265"/>
                  <a:pt x="228" y="257"/>
                  <a:pt x="228" y="244"/>
                </a:cubicBezTo>
                <a:cubicBezTo>
                  <a:pt x="228" y="231"/>
                  <a:pt x="231" y="222"/>
                  <a:pt x="235" y="215"/>
                </a:cubicBezTo>
                <a:cubicBezTo>
                  <a:pt x="239" y="208"/>
                  <a:pt x="246" y="205"/>
                  <a:pt x="255" y="205"/>
                </a:cubicBezTo>
                <a:cubicBezTo>
                  <a:pt x="271" y="205"/>
                  <a:pt x="279" y="217"/>
                  <a:pt x="279" y="243"/>
                </a:cubicBezTo>
                <a:cubicBezTo>
                  <a:pt x="279" y="255"/>
                  <a:pt x="277" y="265"/>
                  <a:pt x="273" y="271"/>
                </a:cubicBezTo>
                <a:cubicBezTo>
                  <a:pt x="267" y="278"/>
                  <a:pt x="262" y="281"/>
                  <a:pt x="253" y="281"/>
                </a:cubicBezTo>
                <a:close/>
                <a:moveTo>
                  <a:pt x="254" y="214"/>
                </a:moveTo>
                <a:cubicBezTo>
                  <a:pt x="245" y="214"/>
                  <a:pt x="240" y="225"/>
                  <a:pt x="240" y="244"/>
                </a:cubicBezTo>
                <a:cubicBezTo>
                  <a:pt x="240" y="262"/>
                  <a:pt x="245" y="271"/>
                  <a:pt x="253" y="271"/>
                </a:cubicBezTo>
                <a:cubicBezTo>
                  <a:pt x="262" y="271"/>
                  <a:pt x="267" y="262"/>
                  <a:pt x="267" y="243"/>
                </a:cubicBezTo>
                <a:cubicBezTo>
                  <a:pt x="267" y="224"/>
                  <a:pt x="262" y="214"/>
                  <a:pt x="254" y="214"/>
                </a:cubicBezTo>
                <a:close/>
                <a:moveTo>
                  <a:pt x="466" y="281"/>
                </a:moveTo>
                <a:cubicBezTo>
                  <a:pt x="458" y="281"/>
                  <a:pt x="452" y="278"/>
                  <a:pt x="448" y="271"/>
                </a:cubicBezTo>
                <a:cubicBezTo>
                  <a:pt x="444" y="265"/>
                  <a:pt x="441" y="256"/>
                  <a:pt x="441" y="244"/>
                </a:cubicBezTo>
                <a:cubicBezTo>
                  <a:pt x="441" y="231"/>
                  <a:pt x="444" y="222"/>
                  <a:pt x="448" y="214"/>
                </a:cubicBezTo>
                <a:cubicBezTo>
                  <a:pt x="452" y="208"/>
                  <a:pt x="459" y="205"/>
                  <a:pt x="468" y="205"/>
                </a:cubicBezTo>
                <a:cubicBezTo>
                  <a:pt x="484" y="205"/>
                  <a:pt x="492" y="217"/>
                  <a:pt x="492" y="242"/>
                </a:cubicBezTo>
                <a:cubicBezTo>
                  <a:pt x="492" y="255"/>
                  <a:pt x="490" y="265"/>
                  <a:pt x="485" y="271"/>
                </a:cubicBezTo>
                <a:cubicBezTo>
                  <a:pt x="480" y="278"/>
                  <a:pt x="474" y="281"/>
                  <a:pt x="466" y="281"/>
                </a:cubicBezTo>
                <a:close/>
                <a:moveTo>
                  <a:pt x="467" y="214"/>
                </a:moveTo>
                <a:cubicBezTo>
                  <a:pt x="458" y="214"/>
                  <a:pt x="454" y="224"/>
                  <a:pt x="454" y="243"/>
                </a:cubicBezTo>
                <a:cubicBezTo>
                  <a:pt x="454" y="262"/>
                  <a:pt x="458" y="271"/>
                  <a:pt x="467" y="271"/>
                </a:cubicBezTo>
                <a:cubicBezTo>
                  <a:pt x="475" y="271"/>
                  <a:pt x="479" y="262"/>
                  <a:pt x="479" y="243"/>
                </a:cubicBezTo>
                <a:cubicBezTo>
                  <a:pt x="479" y="224"/>
                  <a:pt x="476" y="214"/>
                  <a:pt x="467" y="214"/>
                </a:cubicBezTo>
                <a:close/>
                <a:moveTo>
                  <a:pt x="584" y="281"/>
                </a:moveTo>
                <a:cubicBezTo>
                  <a:pt x="576" y="281"/>
                  <a:pt x="570" y="278"/>
                  <a:pt x="566" y="271"/>
                </a:cubicBezTo>
                <a:cubicBezTo>
                  <a:pt x="562" y="265"/>
                  <a:pt x="560" y="256"/>
                  <a:pt x="560" y="244"/>
                </a:cubicBezTo>
                <a:cubicBezTo>
                  <a:pt x="560" y="231"/>
                  <a:pt x="562" y="222"/>
                  <a:pt x="566" y="214"/>
                </a:cubicBezTo>
                <a:cubicBezTo>
                  <a:pt x="570" y="208"/>
                  <a:pt x="577" y="205"/>
                  <a:pt x="586" y="205"/>
                </a:cubicBezTo>
                <a:cubicBezTo>
                  <a:pt x="602" y="205"/>
                  <a:pt x="610" y="217"/>
                  <a:pt x="610" y="242"/>
                </a:cubicBezTo>
                <a:cubicBezTo>
                  <a:pt x="610" y="255"/>
                  <a:pt x="608" y="265"/>
                  <a:pt x="603" y="271"/>
                </a:cubicBezTo>
                <a:cubicBezTo>
                  <a:pt x="598" y="278"/>
                  <a:pt x="592" y="281"/>
                  <a:pt x="584" y="281"/>
                </a:cubicBezTo>
                <a:close/>
                <a:moveTo>
                  <a:pt x="585" y="214"/>
                </a:moveTo>
                <a:cubicBezTo>
                  <a:pt x="576" y="214"/>
                  <a:pt x="572" y="224"/>
                  <a:pt x="572" y="243"/>
                </a:cubicBezTo>
                <a:cubicBezTo>
                  <a:pt x="572" y="262"/>
                  <a:pt x="576" y="271"/>
                  <a:pt x="585" y="271"/>
                </a:cubicBezTo>
                <a:cubicBezTo>
                  <a:pt x="593" y="271"/>
                  <a:pt x="598" y="262"/>
                  <a:pt x="598" y="243"/>
                </a:cubicBezTo>
                <a:cubicBezTo>
                  <a:pt x="598" y="224"/>
                  <a:pt x="594" y="214"/>
                  <a:pt x="585" y="214"/>
                </a:cubicBezTo>
                <a:close/>
                <a:moveTo>
                  <a:pt x="539" y="207"/>
                </a:moveTo>
                <a:cubicBezTo>
                  <a:pt x="539" y="207"/>
                  <a:pt x="539" y="207"/>
                  <a:pt x="539" y="207"/>
                </a:cubicBezTo>
                <a:cubicBezTo>
                  <a:pt x="534" y="207"/>
                  <a:pt x="534" y="207"/>
                  <a:pt x="534" y="207"/>
                </a:cubicBezTo>
                <a:cubicBezTo>
                  <a:pt x="532" y="209"/>
                  <a:pt x="530" y="210"/>
                  <a:pt x="528" y="211"/>
                </a:cubicBezTo>
                <a:cubicBezTo>
                  <a:pt x="527" y="212"/>
                  <a:pt x="525" y="213"/>
                  <a:pt x="523" y="214"/>
                </a:cubicBezTo>
                <a:cubicBezTo>
                  <a:pt x="522" y="215"/>
                  <a:pt x="520" y="215"/>
                  <a:pt x="518" y="216"/>
                </a:cubicBezTo>
                <a:cubicBezTo>
                  <a:pt x="516" y="217"/>
                  <a:pt x="515" y="217"/>
                  <a:pt x="512" y="218"/>
                </a:cubicBezTo>
                <a:cubicBezTo>
                  <a:pt x="512" y="218"/>
                  <a:pt x="512" y="218"/>
                  <a:pt x="512" y="228"/>
                </a:cubicBezTo>
                <a:cubicBezTo>
                  <a:pt x="515" y="228"/>
                  <a:pt x="518" y="226"/>
                  <a:pt x="520" y="225"/>
                </a:cubicBezTo>
                <a:cubicBezTo>
                  <a:pt x="523" y="225"/>
                  <a:pt x="525" y="223"/>
                  <a:pt x="527" y="222"/>
                </a:cubicBezTo>
                <a:cubicBezTo>
                  <a:pt x="527" y="222"/>
                  <a:pt x="527" y="222"/>
                  <a:pt x="527" y="281"/>
                </a:cubicBezTo>
                <a:cubicBezTo>
                  <a:pt x="527" y="281"/>
                  <a:pt x="527" y="281"/>
                  <a:pt x="539" y="281"/>
                </a:cubicBezTo>
                <a:cubicBezTo>
                  <a:pt x="539" y="281"/>
                  <a:pt x="539" y="281"/>
                  <a:pt x="539" y="207"/>
                </a:cubicBezTo>
                <a:close/>
                <a:moveTo>
                  <a:pt x="655" y="281"/>
                </a:moveTo>
                <a:cubicBezTo>
                  <a:pt x="647" y="281"/>
                  <a:pt x="641" y="278"/>
                  <a:pt x="637" y="272"/>
                </a:cubicBezTo>
                <a:cubicBezTo>
                  <a:pt x="633" y="265"/>
                  <a:pt x="631" y="257"/>
                  <a:pt x="631" y="244"/>
                </a:cubicBezTo>
                <a:cubicBezTo>
                  <a:pt x="631" y="231"/>
                  <a:pt x="633" y="222"/>
                  <a:pt x="637" y="215"/>
                </a:cubicBezTo>
                <a:cubicBezTo>
                  <a:pt x="642" y="208"/>
                  <a:pt x="648" y="205"/>
                  <a:pt x="657" y="205"/>
                </a:cubicBezTo>
                <a:cubicBezTo>
                  <a:pt x="673" y="205"/>
                  <a:pt x="681" y="217"/>
                  <a:pt x="681" y="243"/>
                </a:cubicBezTo>
                <a:cubicBezTo>
                  <a:pt x="681" y="255"/>
                  <a:pt x="679" y="265"/>
                  <a:pt x="674" y="271"/>
                </a:cubicBezTo>
                <a:cubicBezTo>
                  <a:pt x="669" y="278"/>
                  <a:pt x="663" y="281"/>
                  <a:pt x="655" y="281"/>
                </a:cubicBezTo>
                <a:close/>
                <a:moveTo>
                  <a:pt x="656" y="214"/>
                </a:moveTo>
                <a:cubicBezTo>
                  <a:pt x="647" y="214"/>
                  <a:pt x="642" y="225"/>
                  <a:pt x="642" y="244"/>
                </a:cubicBezTo>
                <a:cubicBezTo>
                  <a:pt x="642" y="262"/>
                  <a:pt x="647" y="271"/>
                  <a:pt x="655" y="271"/>
                </a:cubicBezTo>
                <a:cubicBezTo>
                  <a:pt x="664" y="271"/>
                  <a:pt x="669" y="262"/>
                  <a:pt x="669" y="243"/>
                </a:cubicBezTo>
                <a:cubicBezTo>
                  <a:pt x="669" y="224"/>
                  <a:pt x="664" y="214"/>
                  <a:pt x="656" y="214"/>
                </a:cubicBezTo>
                <a:close/>
                <a:moveTo>
                  <a:pt x="702" y="240"/>
                </a:moveTo>
                <a:cubicBezTo>
                  <a:pt x="702" y="240"/>
                  <a:pt x="702" y="240"/>
                  <a:pt x="702" y="240"/>
                </a:cubicBezTo>
                <a:cubicBezTo>
                  <a:pt x="702" y="248"/>
                  <a:pt x="702" y="248"/>
                  <a:pt x="702" y="248"/>
                </a:cubicBezTo>
                <a:cubicBezTo>
                  <a:pt x="708" y="248"/>
                  <a:pt x="709" y="251"/>
                  <a:pt x="709" y="254"/>
                </a:cubicBezTo>
                <a:cubicBezTo>
                  <a:pt x="709" y="256"/>
                  <a:pt x="708" y="258"/>
                  <a:pt x="708" y="261"/>
                </a:cubicBezTo>
                <a:cubicBezTo>
                  <a:pt x="708" y="263"/>
                  <a:pt x="708" y="266"/>
                  <a:pt x="708" y="268"/>
                </a:cubicBezTo>
                <a:cubicBezTo>
                  <a:pt x="708" y="277"/>
                  <a:pt x="713" y="281"/>
                  <a:pt x="722" y="281"/>
                </a:cubicBezTo>
                <a:cubicBezTo>
                  <a:pt x="722" y="281"/>
                  <a:pt x="722" y="281"/>
                  <a:pt x="726" y="281"/>
                </a:cubicBezTo>
                <a:cubicBezTo>
                  <a:pt x="726" y="281"/>
                  <a:pt x="726" y="281"/>
                  <a:pt x="726" y="272"/>
                </a:cubicBezTo>
                <a:cubicBezTo>
                  <a:pt x="726" y="272"/>
                  <a:pt x="726" y="272"/>
                  <a:pt x="724" y="272"/>
                </a:cubicBezTo>
                <a:cubicBezTo>
                  <a:pt x="720" y="272"/>
                  <a:pt x="719" y="269"/>
                  <a:pt x="719" y="266"/>
                </a:cubicBezTo>
                <a:cubicBezTo>
                  <a:pt x="719" y="264"/>
                  <a:pt x="719" y="263"/>
                  <a:pt x="720" y="261"/>
                </a:cubicBezTo>
                <a:cubicBezTo>
                  <a:pt x="720" y="259"/>
                  <a:pt x="720" y="257"/>
                  <a:pt x="720" y="255"/>
                </a:cubicBezTo>
                <a:cubicBezTo>
                  <a:pt x="720" y="247"/>
                  <a:pt x="717" y="245"/>
                  <a:pt x="712" y="244"/>
                </a:cubicBezTo>
                <a:cubicBezTo>
                  <a:pt x="712" y="244"/>
                  <a:pt x="712" y="244"/>
                  <a:pt x="712" y="243"/>
                </a:cubicBezTo>
                <a:cubicBezTo>
                  <a:pt x="717" y="242"/>
                  <a:pt x="720" y="240"/>
                  <a:pt x="720" y="232"/>
                </a:cubicBezTo>
                <a:cubicBezTo>
                  <a:pt x="720" y="230"/>
                  <a:pt x="720" y="228"/>
                  <a:pt x="720" y="226"/>
                </a:cubicBezTo>
                <a:cubicBezTo>
                  <a:pt x="719" y="225"/>
                  <a:pt x="719" y="223"/>
                  <a:pt x="719" y="222"/>
                </a:cubicBezTo>
                <a:cubicBezTo>
                  <a:pt x="719" y="218"/>
                  <a:pt x="720" y="216"/>
                  <a:pt x="724" y="216"/>
                </a:cubicBezTo>
                <a:cubicBezTo>
                  <a:pt x="724" y="216"/>
                  <a:pt x="724" y="216"/>
                  <a:pt x="726" y="216"/>
                </a:cubicBezTo>
                <a:cubicBezTo>
                  <a:pt x="726" y="216"/>
                  <a:pt x="726" y="216"/>
                  <a:pt x="726" y="206"/>
                </a:cubicBezTo>
                <a:cubicBezTo>
                  <a:pt x="726" y="206"/>
                  <a:pt x="726" y="206"/>
                  <a:pt x="722" y="206"/>
                </a:cubicBezTo>
                <a:cubicBezTo>
                  <a:pt x="713" y="206"/>
                  <a:pt x="708" y="210"/>
                  <a:pt x="708" y="219"/>
                </a:cubicBezTo>
                <a:cubicBezTo>
                  <a:pt x="708" y="221"/>
                  <a:pt x="708" y="224"/>
                  <a:pt x="708" y="226"/>
                </a:cubicBezTo>
                <a:cubicBezTo>
                  <a:pt x="708" y="229"/>
                  <a:pt x="709" y="231"/>
                  <a:pt x="709" y="233"/>
                </a:cubicBezTo>
                <a:cubicBezTo>
                  <a:pt x="709" y="236"/>
                  <a:pt x="708" y="239"/>
                  <a:pt x="702" y="240"/>
                </a:cubicBezTo>
                <a:close/>
                <a:moveTo>
                  <a:pt x="756" y="248"/>
                </a:moveTo>
                <a:cubicBezTo>
                  <a:pt x="756" y="248"/>
                  <a:pt x="756" y="248"/>
                  <a:pt x="756" y="248"/>
                </a:cubicBezTo>
                <a:cubicBezTo>
                  <a:pt x="756" y="240"/>
                  <a:pt x="756" y="240"/>
                  <a:pt x="756" y="240"/>
                </a:cubicBezTo>
                <a:cubicBezTo>
                  <a:pt x="750" y="239"/>
                  <a:pt x="750" y="236"/>
                  <a:pt x="750" y="233"/>
                </a:cubicBezTo>
                <a:cubicBezTo>
                  <a:pt x="750" y="231"/>
                  <a:pt x="750" y="229"/>
                  <a:pt x="750" y="226"/>
                </a:cubicBezTo>
                <a:cubicBezTo>
                  <a:pt x="750" y="224"/>
                  <a:pt x="750" y="221"/>
                  <a:pt x="750" y="219"/>
                </a:cubicBezTo>
                <a:cubicBezTo>
                  <a:pt x="750" y="210"/>
                  <a:pt x="745" y="206"/>
                  <a:pt x="736" y="206"/>
                </a:cubicBezTo>
                <a:cubicBezTo>
                  <a:pt x="736" y="206"/>
                  <a:pt x="736" y="206"/>
                  <a:pt x="732" y="206"/>
                </a:cubicBezTo>
                <a:cubicBezTo>
                  <a:pt x="732" y="206"/>
                  <a:pt x="732" y="206"/>
                  <a:pt x="732" y="216"/>
                </a:cubicBezTo>
                <a:cubicBezTo>
                  <a:pt x="732" y="216"/>
                  <a:pt x="732" y="216"/>
                  <a:pt x="734" y="216"/>
                </a:cubicBezTo>
                <a:cubicBezTo>
                  <a:pt x="738" y="216"/>
                  <a:pt x="739" y="218"/>
                  <a:pt x="739" y="222"/>
                </a:cubicBezTo>
                <a:cubicBezTo>
                  <a:pt x="739" y="223"/>
                  <a:pt x="739" y="225"/>
                  <a:pt x="739" y="226"/>
                </a:cubicBezTo>
                <a:cubicBezTo>
                  <a:pt x="738" y="228"/>
                  <a:pt x="738" y="230"/>
                  <a:pt x="738" y="232"/>
                </a:cubicBezTo>
                <a:cubicBezTo>
                  <a:pt x="738" y="240"/>
                  <a:pt x="741" y="242"/>
                  <a:pt x="747" y="243"/>
                </a:cubicBezTo>
                <a:cubicBezTo>
                  <a:pt x="747" y="243"/>
                  <a:pt x="747" y="243"/>
                  <a:pt x="747" y="244"/>
                </a:cubicBezTo>
                <a:cubicBezTo>
                  <a:pt x="741" y="245"/>
                  <a:pt x="738" y="247"/>
                  <a:pt x="738" y="255"/>
                </a:cubicBezTo>
                <a:cubicBezTo>
                  <a:pt x="738" y="257"/>
                  <a:pt x="738" y="259"/>
                  <a:pt x="739" y="261"/>
                </a:cubicBezTo>
                <a:cubicBezTo>
                  <a:pt x="739" y="263"/>
                  <a:pt x="739" y="264"/>
                  <a:pt x="739" y="266"/>
                </a:cubicBezTo>
                <a:cubicBezTo>
                  <a:pt x="739" y="269"/>
                  <a:pt x="738" y="272"/>
                  <a:pt x="734" y="272"/>
                </a:cubicBezTo>
                <a:cubicBezTo>
                  <a:pt x="734" y="272"/>
                  <a:pt x="734" y="272"/>
                  <a:pt x="732" y="272"/>
                </a:cubicBezTo>
                <a:cubicBezTo>
                  <a:pt x="732" y="272"/>
                  <a:pt x="732" y="272"/>
                  <a:pt x="732" y="281"/>
                </a:cubicBezTo>
                <a:cubicBezTo>
                  <a:pt x="732" y="281"/>
                  <a:pt x="732" y="281"/>
                  <a:pt x="736" y="281"/>
                </a:cubicBezTo>
                <a:cubicBezTo>
                  <a:pt x="745" y="281"/>
                  <a:pt x="750" y="277"/>
                  <a:pt x="750" y="268"/>
                </a:cubicBezTo>
                <a:cubicBezTo>
                  <a:pt x="750" y="266"/>
                  <a:pt x="750" y="263"/>
                  <a:pt x="750" y="261"/>
                </a:cubicBezTo>
                <a:cubicBezTo>
                  <a:pt x="750" y="258"/>
                  <a:pt x="750" y="256"/>
                  <a:pt x="750" y="254"/>
                </a:cubicBezTo>
                <a:cubicBezTo>
                  <a:pt x="750" y="251"/>
                  <a:pt x="750" y="248"/>
                  <a:pt x="756" y="248"/>
                </a:cubicBezTo>
                <a:close/>
                <a:moveTo>
                  <a:pt x="877" y="281"/>
                </a:moveTo>
                <a:cubicBezTo>
                  <a:pt x="870" y="281"/>
                  <a:pt x="863" y="278"/>
                  <a:pt x="859" y="272"/>
                </a:cubicBezTo>
                <a:cubicBezTo>
                  <a:pt x="855" y="265"/>
                  <a:pt x="853" y="257"/>
                  <a:pt x="853" y="244"/>
                </a:cubicBezTo>
                <a:cubicBezTo>
                  <a:pt x="853" y="231"/>
                  <a:pt x="855" y="222"/>
                  <a:pt x="859" y="215"/>
                </a:cubicBezTo>
                <a:cubicBezTo>
                  <a:pt x="864" y="208"/>
                  <a:pt x="870" y="205"/>
                  <a:pt x="879" y="205"/>
                </a:cubicBezTo>
                <a:cubicBezTo>
                  <a:pt x="895" y="205"/>
                  <a:pt x="903" y="217"/>
                  <a:pt x="903" y="243"/>
                </a:cubicBezTo>
                <a:cubicBezTo>
                  <a:pt x="903" y="255"/>
                  <a:pt x="901" y="265"/>
                  <a:pt x="896" y="271"/>
                </a:cubicBezTo>
                <a:cubicBezTo>
                  <a:pt x="892" y="278"/>
                  <a:pt x="885" y="281"/>
                  <a:pt x="877" y="281"/>
                </a:cubicBezTo>
                <a:close/>
                <a:moveTo>
                  <a:pt x="878" y="214"/>
                </a:moveTo>
                <a:cubicBezTo>
                  <a:pt x="869" y="214"/>
                  <a:pt x="865" y="225"/>
                  <a:pt x="865" y="244"/>
                </a:cubicBezTo>
                <a:cubicBezTo>
                  <a:pt x="865" y="262"/>
                  <a:pt x="869" y="271"/>
                  <a:pt x="878" y="271"/>
                </a:cubicBezTo>
                <a:cubicBezTo>
                  <a:pt x="886" y="271"/>
                  <a:pt x="891" y="262"/>
                  <a:pt x="891" y="243"/>
                </a:cubicBezTo>
                <a:cubicBezTo>
                  <a:pt x="891" y="224"/>
                  <a:pt x="886" y="214"/>
                  <a:pt x="878" y="214"/>
                </a:cubicBezTo>
                <a:close/>
                <a:moveTo>
                  <a:pt x="951" y="207"/>
                </a:moveTo>
                <a:cubicBezTo>
                  <a:pt x="951" y="207"/>
                  <a:pt x="951" y="207"/>
                  <a:pt x="951" y="207"/>
                </a:cubicBezTo>
                <a:cubicBezTo>
                  <a:pt x="946" y="207"/>
                  <a:pt x="946" y="207"/>
                  <a:pt x="946" y="207"/>
                </a:cubicBezTo>
                <a:cubicBezTo>
                  <a:pt x="943" y="209"/>
                  <a:pt x="942" y="210"/>
                  <a:pt x="940" y="211"/>
                </a:cubicBezTo>
                <a:cubicBezTo>
                  <a:pt x="938" y="212"/>
                  <a:pt x="936" y="213"/>
                  <a:pt x="935" y="214"/>
                </a:cubicBezTo>
                <a:cubicBezTo>
                  <a:pt x="933" y="215"/>
                  <a:pt x="931" y="215"/>
                  <a:pt x="930" y="216"/>
                </a:cubicBezTo>
                <a:cubicBezTo>
                  <a:pt x="927" y="217"/>
                  <a:pt x="926" y="217"/>
                  <a:pt x="924" y="218"/>
                </a:cubicBezTo>
                <a:cubicBezTo>
                  <a:pt x="924" y="218"/>
                  <a:pt x="924" y="218"/>
                  <a:pt x="924" y="228"/>
                </a:cubicBezTo>
                <a:cubicBezTo>
                  <a:pt x="927" y="228"/>
                  <a:pt x="930" y="226"/>
                  <a:pt x="932" y="225"/>
                </a:cubicBezTo>
                <a:cubicBezTo>
                  <a:pt x="935" y="225"/>
                  <a:pt x="937" y="223"/>
                  <a:pt x="939" y="222"/>
                </a:cubicBezTo>
                <a:cubicBezTo>
                  <a:pt x="939" y="222"/>
                  <a:pt x="939" y="222"/>
                  <a:pt x="939" y="281"/>
                </a:cubicBezTo>
                <a:cubicBezTo>
                  <a:pt x="939" y="281"/>
                  <a:pt x="939" y="281"/>
                  <a:pt x="951" y="281"/>
                </a:cubicBezTo>
                <a:cubicBezTo>
                  <a:pt x="951" y="281"/>
                  <a:pt x="951" y="281"/>
                  <a:pt x="951" y="207"/>
                </a:cubicBezTo>
                <a:close/>
                <a:moveTo>
                  <a:pt x="783" y="281"/>
                </a:moveTo>
                <a:cubicBezTo>
                  <a:pt x="786" y="262"/>
                  <a:pt x="786" y="262"/>
                  <a:pt x="786" y="262"/>
                </a:cubicBezTo>
                <a:cubicBezTo>
                  <a:pt x="777" y="262"/>
                  <a:pt x="777" y="262"/>
                  <a:pt x="777" y="262"/>
                </a:cubicBezTo>
                <a:cubicBezTo>
                  <a:pt x="777" y="249"/>
                  <a:pt x="777" y="249"/>
                  <a:pt x="777" y="249"/>
                </a:cubicBezTo>
                <a:cubicBezTo>
                  <a:pt x="788" y="249"/>
                  <a:pt x="788" y="249"/>
                  <a:pt x="788" y="249"/>
                </a:cubicBezTo>
                <a:cubicBezTo>
                  <a:pt x="789" y="239"/>
                  <a:pt x="789" y="239"/>
                  <a:pt x="789" y="239"/>
                </a:cubicBezTo>
                <a:cubicBezTo>
                  <a:pt x="780" y="239"/>
                  <a:pt x="780" y="239"/>
                  <a:pt x="780" y="239"/>
                </a:cubicBezTo>
                <a:cubicBezTo>
                  <a:pt x="780" y="227"/>
                  <a:pt x="780" y="227"/>
                  <a:pt x="780" y="227"/>
                </a:cubicBezTo>
                <a:cubicBezTo>
                  <a:pt x="791" y="227"/>
                  <a:pt x="791" y="227"/>
                  <a:pt x="791" y="227"/>
                </a:cubicBezTo>
                <a:cubicBezTo>
                  <a:pt x="794" y="208"/>
                  <a:pt x="794" y="208"/>
                  <a:pt x="794" y="208"/>
                </a:cubicBezTo>
                <a:cubicBezTo>
                  <a:pt x="805" y="208"/>
                  <a:pt x="805" y="208"/>
                  <a:pt x="805" y="208"/>
                </a:cubicBezTo>
                <a:cubicBezTo>
                  <a:pt x="802" y="227"/>
                  <a:pt x="802" y="227"/>
                  <a:pt x="802" y="227"/>
                </a:cubicBezTo>
                <a:cubicBezTo>
                  <a:pt x="812" y="227"/>
                  <a:pt x="812" y="227"/>
                  <a:pt x="812" y="227"/>
                </a:cubicBezTo>
                <a:cubicBezTo>
                  <a:pt x="815" y="208"/>
                  <a:pt x="815" y="208"/>
                  <a:pt x="815" y="208"/>
                </a:cubicBezTo>
                <a:cubicBezTo>
                  <a:pt x="826" y="208"/>
                  <a:pt x="826" y="208"/>
                  <a:pt x="826" y="208"/>
                </a:cubicBezTo>
                <a:cubicBezTo>
                  <a:pt x="823" y="227"/>
                  <a:pt x="823" y="227"/>
                  <a:pt x="823" y="227"/>
                </a:cubicBezTo>
                <a:cubicBezTo>
                  <a:pt x="832" y="227"/>
                  <a:pt x="832" y="227"/>
                  <a:pt x="832" y="227"/>
                </a:cubicBezTo>
                <a:cubicBezTo>
                  <a:pt x="832" y="239"/>
                  <a:pt x="832" y="239"/>
                  <a:pt x="832" y="239"/>
                </a:cubicBezTo>
                <a:cubicBezTo>
                  <a:pt x="821" y="239"/>
                  <a:pt x="821" y="239"/>
                  <a:pt x="821" y="239"/>
                </a:cubicBezTo>
                <a:cubicBezTo>
                  <a:pt x="820" y="249"/>
                  <a:pt x="820" y="249"/>
                  <a:pt x="820" y="249"/>
                </a:cubicBezTo>
                <a:cubicBezTo>
                  <a:pt x="829" y="249"/>
                  <a:pt x="829" y="249"/>
                  <a:pt x="829" y="249"/>
                </a:cubicBezTo>
                <a:cubicBezTo>
                  <a:pt x="829" y="262"/>
                  <a:pt x="829" y="262"/>
                  <a:pt x="829" y="262"/>
                </a:cubicBezTo>
                <a:cubicBezTo>
                  <a:pt x="818" y="262"/>
                  <a:pt x="818" y="262"/>
                  <a:pt x="818" y="262"/>
                </a:cubicBezTo>
                <a:cubicBezTo>
                  <a:pt x="815" y="281"/>
                  <a:pt x="815" y="281"/>
                  <a:pt x="815" y="281"/>
                </a:cubicBezTo>
                <a:cubicBezTo>
                  <a:pt x="804" y="281"/>
                  <a:pt x="804" y="281"/>
                  <a:pt x="804" y="281"/>
                </a:cubicBezTo>
                <a:cubicBezTo>
                  <a:pt x="807" y="262"/>
                  <a:pt x="807" y="262"/>
                  <a:pt x="807" y="262"/>
                </a:cubicBezTo>
                <a:cubicBezTo>
                  <a:pt x="797" y="262"/>
                  <a:pt x="797" y="262"/>
                  <a:pt x="797" y="262"/>
                </a:cubicBezTo>
                <a:cubicBezTo>
                  <a:pt x="794" y="281"/>
                  <a:pt x="794" y="281"/>
                  <a:pt x="794" y="281"/>
                </a:cubicBezTo>
                <a:cubicBezTo>
                  <a:pt x="783" y="281"/>
                  <a:pt x="783" y="281"/>
                  <a:pt x="783" y="281"/>
                </a:cubicBezTo>
                <a:cubicBezTo>
                  <a:pt x="783" y="281"/>
                  <a:pt x="783" y="281"/>
                  <a:pt x="783" y="281"/>
                </a:cubicBezTo>
                <a:close/>
                <a:moveTo>
                  <a:pt x="809" y="249"/>
                </a:moveTo>
                <a:cubicBezTo>
                  <a:pt x="810" y="239"/>
                  <a:pt x="810" y="239"/>
                  <a:pt x="810" y="239"/>
                </a:cubicBezTo>
                <a:cubicBezTo>
                  <a:pt x="800" y="239"/>
                  <a:pt x="800" y="239"/>
                  <a:pt x="800" y="239"/>
                </a:cubicBezTo>
                <a:cubicBezTo>
                  <a:pt x="799" y="249"/>
                  <a:pt x="799" y="249"/>
                  <a:pt x="799" y="249"/>
                </a:cubicBezTo>
                <a:cubicBezTo>
                  <a:pt x="809" y="249"/>
                  <a:pt x="809" y="249"/>
                  <a:pt x="809" y="249"/>
                </a:cubicBezTo>
                <a:cubicBezTo>
                  <a:pt x="809" y="249"/>
                  <a:pt x="809" y="249"/>
                  <a:pt x="809" y="249"/>
                </a:cubicBezTo>
                <a:close/>
                <a:moveTo>
                  <a:pt x="327" y="207"/>
                </a:moveTo>
                <a:cubicBezTo>
                  <a:pt x="327" y="207"/>
                  <a:pt x="327" y="207"/>
                  <a:pt x="327" y="207"/>
                </a:cubicBezTo>
                <a:cubicBezTo>
                  <a:pt x="322" y="207"/>
                  <a:pt x="322" y="207"/>
                  <a:pt x="322" y="207"/>
                </a:cubicBezTo>
                <a:cubicBezTo>
                  <a:pt x="319" y="209"/>
                  <a:pt x="318" y="210"/>
                  <a:pt x="316" y="211"/>
                </a:cubicBezTo>
                <a:cubicBezTo>
                  <a:pt x="314" y="212"/>
                  <a:pt x="313" y="213"/>
                  <a:pt x="310" y="214"/>
                </a:cubicBezTo>
                <a:cubicBezTo>
                  <a:pt x="309" y="215"/>
                  <a:pt x="307" y="216"/>
                  <a:pt x="305" y="217"/>
                </a:cubicBezTo>
                <a:cubicBezTo>
                  <a:pt x="303" y="217"/>
                  <a:pt x="302" y="218"/>
                  <a:pt x="299" y="218"/>
                </a:cubicBezTo>
                <a:cubicBezTo>
                  <a:pt x="299" y="218"/>
                  <a:pt x="299" y="218"/>
                  <a:pt x="299" y="228"/>
                </a:cubicBezTo>
                <a:cubicBezTo>
                  <a:pt x="302" y="228"/>
                  <a:pt x="305" y="227"/>
                  <a:pt x="308" y="225"/>
                </a:cubicBezTo>
                <a:cubicBezTo>
                  <a:pt x="310" y="225"/>
                  <a:pt x="313" y="223"/>
                  <a:pt x="315" y="222"/>
                </a:cubicBezTo>
                <a:cubicBezTo>
                  <a:pt x="315" y="222"/>
                  <a:pt x="315" y="222"/>
                  <a:pt x="315" y="281"/>
                </a:cubicBezTo>
                <a:cubicBezTo>
                  <a:pt x="315" y="281"/>
                  <a:pt x="315" y="281"/>
                  <a:pt x="327" y="281"/>
                </a:cubicBezTo>
                <a:cubicBezTo>
                  <a:pt x="327" y="281"/>
                  <a:pt x="327" y="281"/>
                  <a:pt x="327" y="207"/>
                </a:cubicBezTo>
                <a:close/>
                <a:moveTo>
                  <a:pt x="374" y="207"/>
                </a:moveTo>
                <a:cubicBezTo>
                  <a:pt x="374" y="207"/>
                  <a:pt x="374" y="207"/>
                  <a:pt x="374" y="207"/>
                </a:cubicBezTo>
                <a:cubicBezTo>
                  <a:pt x="369" y="207"/>
                  <a:pt x="369" y="207"/>
                  <a:pt x="369" y="207"/>
                </a:cubicBezTo>
                <a:cubicBezTo>
                  <a:pt x="367" y="209"/>
                  <a:pt x="365" y="210"/>
                  <a:pt x="363" y="211"/>
                </a:cubicBezTo>
                <a:cubicBezTo>
                  <a:pt x="362" y="212"/>
                  <a:pt x="359" y="213"/>
                  <a:pt x="358" y="214"/>
                </a:cubicBezTo>
                <a:cubicBezTo>
                  <a:pt x="357" y="215"/>
                  <a:pt x="354" y="216"/>
                  <a:pt x="353" y="217"/>
                </a:cubicBezTo>
                <a:cubicBezTo>
                  <a:pt x="351" y="217"/>
                  <a:pt x="349" y="218"/>
                  <a:pt x="347" y="218"/>
                </a:cubicBezTo>
                <a:cubicBezTo>
                  <a:pt x="347" y="218"/>
                  <a:pt x="347" y="218"/>
                  <a:pt x="347" y="228"/>
                </a:cubicBezTo>
                <a:cubicBezTo>
                  <a:pt x="350" y="228"/>
                  <a:pt x="353" y="227"/>
                  <a:pt x="355" y="225"/>
                </a:cubicBezTo>
                <a:cubicBezTo>
                  <a:pt x="358" y="225"/>
                  <a:pt x="360" y="223"/>
                  <a:pt x="362" y="222"/>
                </a:cubicBezTo>
                <a:cubicBezTo>
                  <a:pt x="362" y="222"/>
                  <a:pt x="362" y="222"/>
                  <a:pt x="362" y="281"/>
                </a:cubicBezTo>
                <a:cubicBezTo>
                  <a:pt x="362" y="281"/>
                  <a:pt x="362" y="281"/>
                  <a:pt x="374" y="281"/>
                </a:cubicBezTo>
                <a:cubicBezTo>
                  <a:pt x="374" y="281"/>
                  <a:pt x="374" y="281"/>
                  <a:pt x="374" y="207"/>
                </a:cubicBezTo>
                <a:close/>
                <a:moveTo>
                  <a:pt x="421" y="207"/>
                </a:moveTo>
                <a:cubicBezTo>
                  <a:pt x="421" y="207"/>
                  <a:pt x="421" y="207"/>
                  <a:pt x="421" y="207"/>
                </a:cubicBezTo>
                <a:cubicBezTo>
                  <a:pt x="416" y="207"/>
                  <a:pt x="416" y="207"/>
                  <a:pt x="416" y="207"/>
                </a:cubicBezTo>
                <a:cubicBezTo>
                  <a:pt x="414" y="209"/>
                  <a:pt x="413" y="210"/>
                  <a:pt x="411" y="211"/>
                </a:cubicBezTo>
                <a:cubicBezTo>
                  <a:pt x="409" y="212"/>
                  <a:pt x="407" y="213"/>
                  <a:pt x="406" y="214"/>
                </a:cubicBezTo>
                <a:cubicBezTo>
                  <a:pt x="404" y="215"/>
                  <a:pt x="402" y="215"/>
                  <a:pt x="400" y="216"/>
                </a:cubicBezTo>
                <a:cubicBezTo>
                  <a:pt x="398" y="217"/>
                  <a:pt x="396" y="217"/>
                  <a:pt x="395" y="218"/>
                </a:cubicBezTo>
                <a:cubicBezTo>
                  <a:pt x="395" y="218"/>
                  <a:pt x="395" y="218"/>
                  <a:pt x="395" y="228"/>
                </a:cubicBezTo>
                <a:cubicBezTo>
                  <a:pt x="398" y="228"/>
                  <a:pt x="401" y="226"/>
                  <a:pt x="403" y="225"/>
                </a:cubicBezTo>
                <a:cubicBezTo>
                  <a:pt x="405" y="225"/>
                  <a:pt x="408" y="223"/>
                  <a:pt x="409" y="222"/>
                </a:cubicBezTo>
                <a:cubicBezTo>
                  <a:pt x="409" y="222"/>
                  <a:pt x="409" y="222"/>
                  <a:pt x="409" y="281"/>
                </a:cubicBezTo>
                <a:cubicBezTo>
                  <a:pt x="409" y="281"/>
                  <a:pt x="409" y="281"/>
                  <a:pt x="421" y="281"/>
                </a:cubicBezTo>
                <a:cubicBezTo>
                  <a:pt x="421" y="281"/>
                  <a:pt x="421" y="281"/>
                  <a:pt x="421" y="207"/>
                </a:cubicBezTo>
                <a:close/>
                <a:moveTo>
                  <a:pt x="628" y="111"/>
                </a:moveTo>
                <a:cubicBezTo>
                  <a:pt x="628" y="111"/>
                  <a:pt x="628" y="111"/>
                  <a:pt x="628" y="111"/>
                </a:cubicBezTo>
                <a:cubicBezTo>
                  <a:pt x="623" y="111"/>
                  <a:pt x="623" y="111"/>
                  <a:pt x="623" y="111"/>
                </a:cubicBezTo>
                <a:cubicBezTo>
                  <a:pt x="621" y="113"/>
                  <a:pt x="619" y="114"/>
                  <a:pt x="617" y="115"/>
                </a:cubicBezTo>
                <a:cubicBezTo>
                  <a:pt x="616" y="116"/>
                  <a:pt x="613" y="117"/>
                  <a:pt x="612" y="118"/>
                </a:cubicBezTo>
                <a:cubicBezTo>
                  <a:pt x="610" y="119"/>
                  <a:pt x="608" y="119"/>
                  <a:pt x="607" y="120"/>
                </a:cubicBezTo>
                <a:cubicBezTo>
                  <a:pt x="605" y="121"/>
                  <a:pt x="603" y="121"/>
                  <a:pt x="601" y="122"/>
                </a:cubicBezTo>
                <a:cubicBezTo>
                  <a:pt x="601" y="122"/>
                  <a:pt x="601" y="122"/>
                  <a:pt x="601" y="132"/>
                </a:cubicBezTo>
                <a:cubicBezTo>
                  <a:pt x="604" y="132"/>
                  <a:pt x="607" y="130"/>
                  <a:pt x="609" y="129"/>
                </a:cubicBezTo>
                <a:cubicBezTo>
                  <a:pt x="612" y="129"/>
                  <a:pt x="614" y="127"/>
                  <a:pt x="616" y="126"/>
                </a:cubicBezTo>
                <a:cubicBezTo>
                  <a:pt x="616" y="126"/>
                  <a:pt x="616" y="126"/>
                  <a:pt x="616" y="185"/>
                </a:cubicBezTo>
                <a:cubicBezTo>
                  <a:pt x="616" y="185"/>
                  <a:pt x="616" y="185"/>
                  <a:pt x="628" y="185"/>
                </a:cubicBezTo>
                <a:cubicBezTo>
                  <a:pt x="628" y="185"/>
                  <a:pt x="628" y="185"/>
                  <a:pt x="628" y="111"/>
                </a:cubicBezTo>
                <a:close/>
                <a:moveTo>
                  <a:pt x="674" y="111"/>
                </a:moveTo>
                <a:cubicBezTo>
                  <a:pt x="674" y="111"/>
                  <a:pt x="674" y="111"/>
                  <a:pt x="674" y="111"/>
                </a:cubicBezTo>
                <a:cubicBezTo>
                  <a:pt x="669" y="111"/>
                  <a:pt x="669" y="111"/>
                  <a:pt x="669" y="111"/>
                </a:cubicBezTo>
                <a:cubicBezTo>
                  <a:pt x="667" y="113"/>
                  <a:pt x="666" y="114"/>
                  <a:pt x="664" y="115"/>
                </a:cubicBezTo>
                <a:cubicBezTo>
                  <a:pt x="662" y="116"/>
                  <a:pt x="660" y="117"/>
                  <a:pt x="659" y="118"/>
                </a:cubicBezTo>
                <a:cubicBezTo>
                  <a:pt x="657" y="119"/>
                  <a:pt x="655" y="120"/>
                  <a:pt x="654" y="121"/>
                </a:cubicBezTo>
                <a:cubicBezTo>
                  <a:pt x="651" y="121"/>
                  <a:pt x="650" y="122"/>
                  <a:pt x="648" y="122"/>
                </a:cubicBezTo>
                <a:cubicBezTo>
                  <a:pt x="648" y="122"/>
                  <a:pt x="648" y="122"/>
                  <a:pt x="648" y="132"/>
                </a:cubicBezTo>
                <a:cubicBezTo>
                  <a:pt x="651" y="132"/>
                  <a:pt x="654" y="131"/>
                  <a:pt x="656" y="129"/>
                </a:cubicBezTo>
                <a:cubicBezTo>
                  <a:pt x="659" y="129"/>
                  <a:pt x="661" y="127"/>
                  <a:pt x="663" y="126"/>
                </a:cubicBezTo>
                <a:cubicBezTo>
                  <a:pt x="663" y="126"/>
                  <a:pt x="663" y="126"/>
                  <a:pt x="663" y="185"/>
                </a:cubicBezTo>
                <a:cubicBezTo>
                  <a:pt x="663" y="185"/>
                  <a:pt x="663" y="185"/>
                  <a:pt x="674" y="185"/>
                </a:cubicBezTo>
                <a:cubicBezTo>
                  <a:pt x="674" y="185"/>
                  <a:pt x="674" y="185"/>
                  <a:pt x="674" y="111"/>
                </a:cubicBezTo>
                <a:close/>
                <a:moveTo>
                  <a:pt x="720" y="111"/>
                </a:moveTo>
                <a:cubicBezTo>
                  <a:pt x="720" y="111"/>
                  <a:pt x="720" y="111"/>
                  <a:pt x="720" y="111"/>
                </a:cubicBezTo>
                <a:cubicBezTo>
                  <a:pt x="716" y="111"/>
                  <a:pt x="716" y="111"/>
                  <a:pt x="716" y="111"/>
                </a:cubicBezTo>
                <a:cubicBezTo>
                  <a:pt x="714" y="113"/>
                  <a:pt x="712" y="114"/>
                  <a:pt x="710" y="115"/>
                </a:cubicBezTo>
                <a:cubicBezTo>
                  <a:pt x="709" y="116"/>
                  <a:pt x="707" y="117"/>
                  <a:pt x="705" y="118"/>
                </a:cubicBezTo>
                <a:cubicBezTo>
                  <a:pt x="703" y="119"/>
                  <a:pt x="702" y="120"/>
                  <a:pt x="699" y="121"/>
                </a:cubicBezTo>
                <a:cubicBezTo>
                  <a:pt x="698" y="121"/>
                  <a:pt x="696" y="122"/>
                  <a:pt x="694" y="122"/>
                </a:cubicBezTo>
                <a:cubicBezTo>
                  <a:pt x="694" y="122"/>
                  <a:pt x="694" y="122"/>
                  <a:pt x="694" y="132"/>
                </a:cubicBezTo>
                <a:cubicBezTo>
                  <a:pt x="697" y="132"/>
                  <a:pt x="700" y="131"/>
                  <a:pt x="702" y="129"/>
                </a:cubicBezTo>
                <a:cubicBezTo>
                  <a:pt x="704" y="129"/>
                  <a:pt x="707" y="127"/>
                  <a:pt x="709" y="126"/>
                </a:cubicBezTo>
                <a:cubicBezTo>
                  <a:pt x="709" y="126"/>
                  <a:pt x="709" y="126"/>
                  <a:pt x="709" y="185"/>
                </a:cubicBezTo>
                <a:cubicBezTo>
                  <a:pt x="709" y="185"/>
                  <a:pt x="709" y="185"/>
                  <a:pt x="720" y="185"/>
                </a:cubicBezTo>
                <a:cubicBezTo>
                  <a:pt x="720" y="185"/>
                  <a:pt x="720" y="185"/>
                  <a:pt x="720" y="111"/>
                </a:cubicBezTo>
                <a:close/>
                <a:moveTo>
                  <a:pt x="767" y="111"/>
                </a:moveTo>
                <a:cubicBezTo>
                  <a:pt x="767" y="111"/>
                  <a:pt x="767" y="111"/>
                  <a:pt x="767" y="111"/>
                </a:cubicBezTo>
                <a:cubicBezTo>
                  <a:pt x="762" y="111"/>
                  <a:pt x="762" y="111"/>
                  <a:pt x="762" y="111"/>
                </a:cubicBezTo>
                <a:cubicBezTo>
                  <a:pt x="760" y="113"/>
                  <a:pt x="758" y="114"/>
                  <a:pt x="756" y="115"/>
                </a:cubicBezTo>
                <a:cubicBezTo>
                  <a:pt x="755" y="116"/>
                  <a:pt x="753" y="117"/>
                  <a:pt x="751" y="118"/>
                </a:cubicBezTo>
                <a:cubicBezTo>
                  <a:pt x="750" y="119"/>
                  <a:pt x="747" y="120"/>
                  <a:pt x="746" y="121"/>
                </a:cubicBezTo>
                <a:cubicBezTo>
                  <a:pt x="744" y="121"/>
                  <a:pt x="742" y="122"/>
                  <a:pt x="740" y="122"/>
                </a:cubicBezTo>
                <a:cubicBezTo>
                  <a:pt x="740" y="122"/>
                  <a:pt x="740" y="122"/>
                  <a:pt x="740" y="132"/>
                </a:cubicBezTo>
                <a:cubicBezTo>
                  <a:pt x="743" y="132"/>
                  <a:pt x="746" y="131"/>
                  <a:pt x="748" y="129"/>
                </a:cubicBezTo>
                <a:cubicBezTo>
                  <a:pt x="751" y="129"/>
                  <a:pt x="753" y="127"/>
                  <a:pt x="756" y="126"/>
                </a:cubicBezTo>
                <a:cubicBezTo>
                  <a:pt x="756" y="126"/>
                  <a:pt x="756" y="126"/>
                  <a:pt x="756" y="185"/>
                </a:cubicBezTo>
                <a:cubicBezTo>
                  <a:pt x="756" y="185"/>
                  <a:pt x="756" y="185"/>
                  <a:pt x="767" y="185"/>
                </a:cubicBezTo>
                <a:cubicBezTo>
                  <a:pt x="767" y="185"/>
                  <a:pt x="767" y="185"/>
                  <a:pt x="767" y="111"/>
                </a:cubicBezTo>
                <a:close/>
                <a:moveTo>
                  <a:pt x="889" y="111"/>
                </a:moveTo>
                <a:cubicBezTo>
                  <a:pt x="889" y="111"/>
                  <a:pt x="889" y="111"/>
                  <a:pt x="889" y="111"/>
                </a:cubicBezTo>
                <a:cubicBezTo>
                  <a:pt x="884" y="111"/>
                  <a:pt x="884" y="111"/>
                  <a:pt x="884" y="111"/>
                </a:cubicBezTo>
                <a:cubicBezTo>
                  <a:pt x="882" y="113"/>
                  <a:pt x="880" y="114"/>
                  <a:pt x="878" y="115"/>
                </a:cubicBezTo>
                <a:cubicBezTo>
                  <a:pt x="876" y="116"/>
                  <a:pt x="875" y="117"/>
                  <a:pt x="873" y="118"/>
                </a:cubicBezTo>
                <a:cubicBezTo>
                  <a:pt x="871" y="119"/>
                  <a:pt x="869" y="120"/>
                  <a:pt x="868" y="121"/>
                </a:cubicBezTo>
                <a:cubicBezTo>
                  <a:pt x="866" y="121"/>
                  <a:pt x="864" y="122"/>
                  <a:pt x="862" y="122"/>
                </a:cubicBezTo>
                <a:cubicBezTo>
                  <a:pt x="862" y="122"/>
                  <a:pt x="862" y="122"/>
                  <a:pt x="862" y="132"/>
                </a:cubicBezTo>
                <a:cubicBezTo>
                  <a:pt x="865" y="132"/>
                  <a:pt x="868" y="131"/>
                  <a:pt x="871" y="129"/>
                </a:cubicBezTo>
                <a:cubicBezTo>
                  <a:pt x="873" y="129"/>
                  <a:pt x="875" y="127"/>
                  <a:pt x="877" y="126"/>
                </a:cubicBezTo>
                <a:cubicBezTo>
                  <a:pt x="877" y="126"/>
                  <a:pt x="877" y="126"/>
                  <a:pt x="877" y="185"/>
                </a:cubicBezTo>
                <a:cubicBezTo>
                  <a:pt x="877" y="185"/>
                  <a:pt x="877" y="185"/>
                  <a:pt x="889" y="185"/>
                </a:cubicBezTo>
                <a:cubicBezTo>
                  <a:pt x="889" y="185"/>
                  <a:pt x="889" y="185"/>
                  <a:pt x="889" y="111"/>
                </a:cubicBezTo>
                <a:close/>
                <a:moveTo>
                  <a:pt x="936" y="111"/>
                </a:moveTo>
                <a:cubicBezTo>
                  <a:pt x="936" y="111"/>
                  <a:pt x="936" y="111"/>
                  <a:pt x="936" y="111"/>
                </a:cubicBezTo>
                <a:cubicBezTo>
                  <a:pt x="931" y="111"/>
                  <a:pt x="931" y="111"/>
                  <a:pt x="931" y="111"/>
                </a:cubicBezTo>
                <a:cubicBezTo>
                  <a:pt x="929" y="113"/>
                  <a:pt x="927" y="114"/>
                  <a:pt x="925" y="115"/>
                </a:cubicBezTo>
                <a:cubicBezTo>
                  <a:pt x="924" y="116"/>
                  <a:pt x="921" y="117"/>
                  <a:pt x="920" y="118"/>
                </a:cubicBezTo>
                <a:cubicBezTo>
                  <a:pt x="918" y="119"/>
                  <a:pt x="916" y="120"/>
                  <a:pt x="915" y="121"/>
                </a:cubicBezTo>
                <a:cubicBezTo>
                  <a:pt x="913" y="121"/>
                  <a:pt x="911" y="122"/>
                  <a:pt x="909" y="122"/>
                </a:cubicBezTo>
                <a:cubicBezTo>
                  <a:pt x="909" y="122"/>
                  <a:pt x="909" y="122"/>
                  <a:pt x="909" y="132"/>
                </a:cubicBezTo>
                <a:cubicBezTo>
                  <a:pt x="912" y="132"/>
                  <a:pt x="915" y="131"/>
                  <a:pt x="917" y="129"/>
                </a:cubicBezTo>
                <a:cubicBezTo>
                  <a:pt x="920" y="129"/>
                  <a:pt x="922" y="127"/>
                  <a:pt x="924" y="126"/>
                </a:cubicBezTo>
                <a:cubicBezTo>
                  <a:pt x="924" y="126"/>
                  <a:pt x="924" y="126"/>
                  <a:pt x="924" y="185"/>
                </a:cubicBezTo>
                <a:cubicBezTo>
                  <a:pt x="924" y="185"/>
                  <a:pt x="924" y="185"/>
                  <a:pt x="936" y="185"/>
                </a:cubicBezTo>
                <a:cubicBezTo>
                  <a:pt x="936" y="185"/>
                  <a:pt x="936" y="185"/>
                  <a:pt x="936" y="111"/>
                </a:cubicBezTo>
                <a:close/>
                <a:moveTo>
                  <a:pt x="787" y="144"/>
                </a:moveTo>
                <a:cubicBezTo>
                  <a:pt x="787" y="144"/>
                  <a:pt x="787" y="144"/>
                  <a:pt x="787" y="144"/>
                </a:cubicBezTo>
                <a:cubicBezTo>
                  <a:pt x="787" y="152"/>
                  <a:pt x="787" y="152"/>
                  <a:pt x="787" y="152"/>
                </a:cubicBezTo>
                <a:cubicBezTo>
                  <a:pt x="793" y="152"/>
                  <a:pt x="794" y="155"/>
                  <a:pt x="794" y="158"/>
                </a:cubicBezTo>
                <a:cubicBezTo>
                  <a:pt x="794" y="160"/>
                  <a:pt x="794" y="162"/>
                  <a:pt x="794" y="165"/>
                </a:cubicBezTo>
                <a:cubicBezTo>
                  <a:pt x="793" y="167"/>
                  <a:pt x="793" y="170"/>
                  <a:pt x="793" y="172"/>
                </a:cubicBezTo>
                <a:cubicBezTo>
                  <a:pt x="793" y="181"/>
                  <a:pt x="799" y="185"/>
                  <a:pt x="807" y="185"/>
                </a:cubicBezTo>
                <a:cubicBezTo>
                  <a:pt x="807" y="185"/>
                  <a:pt x="807" y="185"/>
                  <a:pt x="811" y="185"/>
                </a:cubicBezTo>
                <a:cubicBezTo>
                  <a:pt x="811" y="185"/>
                  <a:pt x="811" y="185"/>
                  <a:pt x="811" y="176"/>
                </a:cubicBezTo>
                <a:cubicBezTo>
                  <a:pt x="811" y="176"/>
                  <a:pt x="811" y="176"/>
                  <a:pt x="810" y="176"/>
                </a:cubicBezTo>
                <a:cubicBezTo>
                  <a:pt x="806" y="176"/>
                  <a:pt x="805" y="173"/>
                  <a:pt x="805" y="170"/>
                </a:cubicBezTo>
                <a:cubicBezTo>
                  <a:pt x="805" y="168"/>
                  <a:pt x="805" y="167"/>
                  <a:pt x="805" y="165"/>
                </a:cubicBezTo>
                <a:cubicBezTo>
                  <a:pt x="805" y="163"/>
                  <a:pt x="806" y="161"/>
                  <a:pt x="806" y="159"/>
                </a:cubicBezTo>
                <a:cubicBezTo>
                  <a:pt x="806" y="151"/>
                  <a:pt x="803" y="149"/>
                  <a:pt x="797" y="148"/>
                </a:cubicBezTo>
                <a:cubicBezTo>
                  <a:pt x="797" y="148"/>
                  <a:pt x="797" y="148"/>
                  <a:pt x="797" y="147"/>
                </a:cubicBezTo>
                <a:cubicBezTo>
                  <a:pt x="803" y="146"/>
                  <a:pt x="806" y="144"/>
                  <a:pt x="806" y="136"/>
                </a:cubicBezTo>
                <a:cubicBezTo>
                  <a:pt x="806" y="134"/>
                  <a:pt x="805" y="132"/>
                  <a:pt x="805" y="130"/>
                </a:cubicBezTo>
                <a:cubicBezTo>
                  <a:pt x="805" y="129"/>
                  <a:pt x="805" y="127"/>
                  <a:pt x="805" y="126"/>
                </a:cubicBezTo>
                <a:cubicBezTo>
                  <a:pt x="805" y="122"/>
                  <a:pt x="806" y="120"/>
                  <a:pt x="810" y="120"/>
                </a:cubicBezTo>
                <a:cubicBezTo>
                  <a:pt x="810" y="120"/>
                  <a:pt x="810" y="120"/>
                  <a:pt x="811" y="120"/>
                </a:cubicBezTo>
                <a:cubicBezTo>
                  <a:pt x="811" y="120"/>
                  <a:pt x="811" y="120"/>
                  <a:pt x="811" y="110"/>
                </a:cubicBezTo>
                <a:cubicBezTo>
                  <a:pt x="811" y="110"/>
                  <a:pt x="811" y="110"/>
                  <a:pt x="807" y="110"/>
                </a:cubicBezTo>
                <a:cubicBezTo>
                  <a:pt x="798" y="110"/>
                  <a:pt x="793" y="114"/>
                  <a:pt x="793" y="123"/>
                </a:cubicBezTo>
                <a:cubicBezTo>
                  <a:pt x="793" y="125"/>
                  <a:pt x="793" y="128"/>
                  <a:pt x="793" y="130"/>
                </a:cubicBezTo>
                <a:cubicBezTo>
                  <a:pt x="794" y="133"/>
                  <a:pt x="794" y="135"/>
                  <a:pt x="794" y="137"/>
                </a:cubicBezTo>
                <a:cubicBezTo>
                  <a:pt x="794" y="140"/>
                  <a:pt x="793" y="143"/>
                  <a:pt x="787" y="144"/>
                </a:cubicBezTo>
                <a:close/>
                <a:moveTo>
                  <a:pt x="842" y="152"/>
                </a:moveTo>
                <a:cubicBezTo>
                  <a:pt x="842" y="152"/>
                  <a:pt x="842" y="152"/>
                  <a:pt x="842" y="152"/>
                </a:cubicBezTo>
                <a:cubicBezTo>
                  <a:pt x="842" y="144"/>
                  <a:pt x="842" y="144"/>
                  <a:pt x="842" y="144"/>
                </a:cubicBezTo>
                <a:cubicBezTo>
                  <a:pt x="836" y="143"/>
                  <a:pt x="835" y="140"/>
                  <a:pt x="835" y="137"/>
                </a:cubicBezTo>
                <a:cubicBezTo>
                  <a:pt x="835" y="135"/>
                  <a:pt x="835" y="133"/>
                  <a:pt x="836" y="130"/>
                </a:cubicBezTo>
                <a:cubicBezTo>
                  <a:pt x="836" y="128"/>
                  <a:pt x="836" y="125"/>
                  <a:pt x="836" y="123"/>
                </a:cubicBezTo>
                <a:cubicBezTo>
                  <a:pt x="836" y="114"/>
                  <a:pt x="831" y="110"/>
                  <a:pt x="822" y="110"/>
                </a:cubicBezTo>
                <a:cubicBezTo>
                  <a:pt x="822" y="110"/>
                  <a:pt x="822" y="110"/>
                  <a:pt x="818" y="110"/>
                </a:cubicBezTo>
                <a:cubicBezTo>
                  <a:pt x="818" y="110"/>
                  <a:pt x="818" y="110"/>
                  <a:pt x="818" y="120"/>
                </a:cubicBezTo>
                <a:cubicBezTo>
                  <a:pt x="818" y="120"/>
                  <a:pt x="818" y="120"/>
                  <a:pt x="819" y="120"/>
                </a:cubicBezTo>
                <a:cubicBezTo>
                  <a:pt x="823" y="120"/>
                  <a:pt x="825" y="122"/>
                  <a:pt x="825" y="126"/>
                </a:cubicBezTo>
                <a:cubicBezTo>
                  <a:pt x="825" y="127"/>
                  <a:pt x="824" y="129"/>
                  <a:pt x="824" y="130"/>
                </a:cubicBezTo>
                <a:cubicBezTo>
                  <a:pt x="824" y="132"/>
                  <a:pt x="824" y="134"/>
                  <a:pt x="824" y="136"/>
                </a:cubicBezTo>
                <a:cubicBezTo>
                  <a:pt x="824" y="144"/>
                  <a:pt x="826" y="146"/>
                  <a:pt x="832" y="147"/>
                </a:cubicBezTo>
                <a:cubicBezTo>
                  <a:pt x="832" y="147"/>
                  <a:pt x="832" y="147"/>
                  <a:pt x="832" y="148"/>
                </a:cubicBezTo>
                <a:cubicBezTo>
                  <a:pt x="826" y="149"/>
                  <a:pt x="824" y="151"/>
                  <a:pt x="824" y="159"/>
                </a:cubicBezTo>
                <a:cubicBezTo>
                  <a:pt x="824" y="161"/>
                  <a:pt x="824" y="163"/>
                  <a:pt x="824" y="165"/>
                </a:cubicBezTo>
                <a:cubicBezTo>
                  <a:pt x="824" y="167"/>
                  <a:pt x="825" y="168"/>
                  <a:pt x="825" y="170"/>
                </a:cubicBezTo>
                <a:cubicBezTo>
                  <a:pt x="825" y="173"/>
                  <a:pt x="823" y="176"/>
                  <a:pt x="819" y="176"/>
                </a:cubicBezTo>
                <a:cubicBezTo>
                  <a:pt x="819" y="176"/>
                  <a:pt x="819" y="176"/>
                  <a:pt x="818" y="176"/>
                </a:cubicBezTo>
                <a:cubicBezTo>
                  <a:pt x="818" y="176"/>
                  <a:pt x="818" y="176"/>
                  <a:pt x="818" y="185"/>
                </a:cubicBezTo>
                <a:cubicBezTo>
                  <a:pt x="818" y="185"/>
                  <a:pt x="818" y="185"/>
                  <a:pt x="822" y="185"/>
                </a:cubicBezTo>
                <a:cubicBezTo>
                  <a:pt x="831" y="185"/>
                  <a:pt x="836" y="181"/>
                  <a:pt x="836" y="172"/>
                </a:cubicBezTo>
                <a:cubicBezTo>
                  <a:pt x="836" y="170"/>
                  <a:pt x="836" y="167"/>
                  <a:pt x="836" y="165"/>
                </a:cubicBezTo>
                <a:cubicBezTo>
                  <a:pt x="835" y="162"/>
                  <a:pt x="835" y="160"/>
                  <a:pt x="835" y="158"/>
                </a:cubicBezTo>
                <a:cubicBezTo>
                  <a:pt x="835" y="155"/>
                  <a:pt x="836" y="152"/>
                  <a:pt x="842" y="152"/>
                </a:cubicBezTo>
                <a:close/>
                <a:moveTo>
                  <a:pt x="228" y="185"/>
                </a:moveTo>
                <a:cubicBezTo>
                  <a:pt x="221" y="185"/>
                  <a:pt x="214" y="182"/>
                  <a:pt x="210" y="176"/>
                </a:cubicBezTo>
                <a:cubicBezTo>
                  <a:pt x="206" y="169"/>
                  <a:pt x="204" y="161"/>
                  <a:pt x="204" y="148"/>
                </a:cubicBezTo>
                <a:cubicBezTo>
                  <a:pt x="204" y="135"/>
                  <a:pt x="206" y="126"/>
                  <a:pt x="210" y="119"/>
                </a:cubicBezTo>
                <a:cubicBezTo>
                  <a:pt x="215" y="112"/>
                  <a:pt x="221" y="109"/>
                  <a:pt x="230" y="109"/>
                </a:cubicBezTo>
                <a:cubicBezTo>
                  <a:pt x="246" y="109"/>
                  <a:pt x="254" y="121"/>
                  <a:pt x="254" y="147"/>
                </a:cubicBezTo>
                <a:cubicBezTo>
                  <a:pt x="254" y="159"/>
                  <a:pt x="252" y="169"/>
                  <a:pt x="247" y="175"/>
                </a:cubicBezTo>
                <a:cubicBezTo>
                  <a:pt x="243" y="182"/>
                  <a:pt x="236" y="185"/>
                  <a:pt x="228" y="185"/>
                </a:cubicBezTo>
                <a:close/>
                <a:moveTo>
                  <a:pt x="229" y="118"/>
                </a:moveTo>
                <a:cubicBezTo>
                  <a:pt x="220" y="118"/>
                  <a:pt x="216" y="129"/>
                  <a:pt x="216" y="148"/>
                </a:cubicBezTo>
                <a:cubicBezTo>
                  <a:pt x="216" y="166"/>
                  <a:pt x="220" y="175"/>
                  <a:pt x="229" y="175"/>
                </a:cubicBezTo>
                <a:cubicBezTo>
                  <a:pt x="237" y="175"/>
                  <a:pt x="242" y="166"/>
                  <a:pt x="242" y="147"/>
                </a:cubicBezTo>
                <a:cubicBezTo>
                  <a:pt x="242" y="128"/>
                  <a:pt x="237" y="118"/>
                  <a:pt x="229" y="118"/>
                </a:cubicBezTo>
                <a:close/>
                <a:moveTo>
                  <a:pt x="298" y="185"/>
                </a:moveTo>
                <a:cubicBezTo>
                  <a:pt x="291" y="185"/>
                  <a:pt x="284" y="182"/>
                  <a:pt x="281" y="176"/>
                </a:cubicBezTo>
                <a:cubicBezTo>
                  <a:pt x="276" y="169"/>
                  <a:pt x="274" y="161"/>
                  <a:pt x="274" y="148"/>
                </a:cubicBezTo>
                <a:cubicBezTo>
                  <a:pt x="274" y="135"/>
                  <a:pt x="276" y="126"/>
                  <a:pt x="281" y="119"/>
                </a:cubicBezTo>
                <a:cubicBezTo>
                  <a:pt x="285" y="112"/>
                  <a:pt x="292" y="109"/>
                  <a:pt x="300" y="109"/>
                </a:cubicBezTo>
                <a:cubicBezTo>
                  <a:pt x="317" y="109"/>
                  <a:pt x="325" y="121"/>
                  <a:pt x="325" y="147"/>
                </a:cubicBezTo>
                <a:cubicBezTo>
                  <a:pt x="325" y="159"/>
                  <a:pt x="323" y="169"/>
                  <a:pt x="318" y="175"/>
                </a:cubicBezTo>
                <a:cubicBezTo>
                  <a:pt x="313" y="182"/>
                  <a:pt x="307" y="185"/>
                  <a:pt x="298" y="185"/>
                </a:cubicBezTo>
                <a:close/>
                <a:moveTo>
                  <a:pt x="300" y="118"/>
                </a:moveTo>
                <a:cubicBezTo>
                  <a:pt x="291" y="118"/>
                  <a:pt x="286" y="129"/>
                  <a:pt x="286" y="148"/>
                </a:cubicBezTo>
                <a:cubicBezTo>
                  <a:pt x="286" y="166"/>
                  <a:pt x="290" y="175"/>
                  <a:pt x="299" y="175"/>
                </a:cubicBezTo>
                <a:cubicBezTo>
                  <a:pt x="308" y="175"/>
                  <a:pt x="312" y="166"/>
                  <a:pt x="312" y="147"/>
                </a:cubicBezTo>
                <a:cubicBezTo>
                  <a:pt x="312" y="128"/>
                  <a:pt x="308" y="118"/>
                  <a:pt x="300" y="118"/>
                </a:cubicBezTo>
                <a:close/>
                <a:moveTo>
                  <a:pt x="508" y="185"/>
                </a:moveTo>
                <a:cubicBezTo>
                  <a:pt x="501" y="185"/>
                  <a:pt x="495" y="182"/>
                  <a:pt x="491" y="175"/>
                </a:cubicBezTo>
                <a:cubicBezTo>
                  <a:pt x="486" y="169"/>
                  <a:pt x="484" y="160"/>
                  <a:pt x="484" y="148"/>
                </a:cubicBezTo>
                <a:cubicBezTo>
                  <a:pt x="484" y="135"/>
                  <a:pt x="486" y="126"/>
                  <a:pt x="491" y="118"/>
                </a:cubicBezTo>
                <a:cubicBezTo>
                  <a:pt x="495" y="112"/>
                  <a:pt x="502" y="109"/>
                  <a:pt x="510" y="109"/>
                </a:cubicBezTo>
                <a:cubicBezTo>
                  <a:pt x="527" y="109"/>
                  <a:pt x="535" y="121"/>
                  <a:pt x="535" y="146"/>
                </a:cubicBezTo>
                <a:cubicBezTo>
                  <a:pt x="535" y="159"/>
                  <a:pt x="532" y="169"/>
                  <a:pt x="528" y="175"/>
                </a:cubicBezTo>
                <a:cubicBezTo>
                  <a:pt x="523" y="182"/>
                  <a:pt x="517" y="185"/>
                  <a:pt x="508" y="185"/>
                </a:cubicBezTo>
                <a:close/>
                <a:moveTo>
                  <a:pt x="510" y="118"/>
                </a:moveTo>
                <a:cubicBezTo>
                  <a:pt x="501" y="118"/>
                  <a:pt x="497" y="128"/>
                  <a:pt x="497" y="147"/>
                </a:cubicBezTo>
                <a:cubicBezTo>
                  <a:pt x="497" y="166"/>
                  <a:pt x="501" y="175"/>
                  <a:pt x="510" y="175"/>
                </a:cubicBezTo>
                <a:cubicBezTo>
                  <a:pt x="518" y="175"/>
                  <a:pt x="522" y="166"/>
                  <a:pt x="522" y="147"/>
                </a:cubicBezTo>
                <a:cubicBezTo>
                  <a:pt x="522" y="128"/>
                  <a:pt x="519" y="118"/>
                  <a:pt x="510" y="118"/>
                </a:cubicBezTo>
                <a:close/>
                <a:moveTo>
                  <a:pt x="581" y="111"/>
                </a:moveTo>
                <a:cubicBezTo>
                  <a:pt x="581" y="111"/>
                  <a:pt x="581" y="111"/>
                  <a:pt x="581" y="111"/>
                </a:cubicBezTo>
                <a:cubicBezTo>
                  <a:pt x="576" y="111"/>
                  <a:pt x="576" y="111"/>
                  <a:pt x="576" y="111"/>
                </a:cubicBezTo>
                <a:cubicBezTo>
                  <a:pt x="574" y="113"/>
                  <a:pt x="573" y="114"/>
                  <a:pt x="570" y="115"/>
                </a:cubicBezTo>
                <a:cubicBezTo>
                  <a:pt x="569" y="116"/>
                  <a:pt x="567" y="117"/>
                  <a:pt x="565" y="118"/>
                </a:cubicBezTo>
                <a:cubicBezTo>
                  <a:pt x="564" y="119"/>
                  <a:pt x="562" y="119"/>
                  <a:pt x="560" y="120"/>
                </a:cubicBezTo>
                <a:cubicBezTo>
                  <a:pt x="558" y="121"/>
                  <a:pt x="557" y="121"/>
                  <a:pt x="555" y="122"/>
                </a:cubicBezTo>
                <a:cubicBezTo>
                  <a:pt x="555" y="122"/>
                  <a:pt x="555" y="122"/>
                  <a:pt x="555" y="132"/>
                </a:cubicBezTo>
                <a:cubicBezTo>
                  <a:pt x="558" y="132"/>
                  <a:pt x="560" y="130"/>
                  <a:pt x="563" y="129"/>
                </a:cubicBezTo>
                <a:cubicBezTo>
                  <a:pt x="565" y="129"/>
                  <a:pt x="568" y="127"/>
                  <a:pt x="570" y="126"/>
                </a:cubicBezTo>
                <a:cubicBezTo>
                  <a:pt x="570" y="126"/>
                  <a:pt x="570" y="126"/>
                  <a:pt x="570" y="185"/>
                </a:cubicBezTo>
                <a:cubicBezTo>
                  <a:pt x="570" y="185"/>
                  <a:pt x="570" y="185"/>
                  <a:pt x="581" y="185"/>
                </a:cubicBezTo>
                <a:cubicBezTo>
                  <a:pt x="581" y="185"/>
                  <a:pt x="581" y="185"/>
                  <a:pt x="581" y="111"/>
                </a:cubicBezTo>
                <a:close/>
                <a:moveTo>
                  <a:pt x="371" y="111"/>
                </a:moveTo>
                <a:cubicBezTo>
                  <a:pt x="371" y="111"/>
                  <a:pt x="371" y="111"/>
                  <a:pt x="371" y="111"/>
                </a:cubicBezTo>
                <a:cubicBezTo>
                  <a:pt x="366" y="111"/>
                  <a:pt x="366" y="111"/>
                  <a:pt x="366" y="111"/>
                </a:cubicBezTo>
                <a:cubicBezTo>
                  <a:pt x="364" y="113"/>
                  <a:pt x="363" y="114"/>
                  <a:pt x="360" y="115"/>
                </a:cubicBezTo>
                <a:cubicBezTo>
                  <a:pt x="359" y="116"/>
                  <a:pt x="358" y="117"/>
                  <a:pt x="355" y="118"/>
                </a:cubicBezTo>
                <a:cubicBezTo>
                  <a:pt x="354" y="119"/>
                  <a:pt x="352" y="120"/>
                  <a:pt x="350" y="121"/>
                </a:cubicBezTo>
                <a:cubicBezTo>
                  <a:pt x="348" y="121"/>
                  <a:pt x="347" y="122"/>
                  <a:pt x="344" y="122"/>
                </a:cubicBezTo>
                <a:cubicBezTo>
                  <a:pt x="344" y="122"/>
                  <a:pt x="344" y="122"/>
                  <a:pt x="344" y="132"/>
                </a:cubicBezTo>
                <a:cubicBezTo>
                  <a:pt x="347" y="132"/>
                  <a:pt x="350" y="131"/>
                  <a:pt x="353" y="129"/>
                </a:cubicBezTo>
                <a:cubicBezTo>
                  <a:pt x="355" y="129"/>
                  <a:pt x="358" y="127"/>
                  <a:pt x="360" y="126"/>
                </a:cubicBezTo>
                <a:cubicBezTo>
                  <a:pt x="360" y="126"/>
                  <a:pt x="360" y="126"/>
                  <a:pt x="360" y="185"/>
                </a:cubicBezTo>
                <a:cubicBezTo>
                  <a:pt x="360" y="185"/>
                  <a:pt x="360" y="185"/>
                  <a:pt x="371" y="185"/>
                </a:cubicBezTo>
                <a:cubicBezTo>
                  <a:pt x="371" y="185"/>
                  <a:pt x="371" y="185"/>
                  <a:pt x="371" y="111"/>
                </a:cubicBezTo>
                <a:close/>
                <a:moveTo>
                  <a:pt x="418" y="111"/>
                </a:moveTo>
                <a:cubicBezTo>
                  <a:pt x="418" y="111"/>
                  <a:pt x="418" y="111"/>
                  <a:pt x="418" y="111"/>
                </a:cubicBezTo>
                <a:cubicBezTo>
                  <a:pt x="413" y="111"/>
                  <a:pt x="413" y="111"/>
                  <a:pt x="413" y="111"/>
                </a:cubicBezTo>
                <a:cubicBezTo>
                  <a:pt x="411" y="113"/>
                  <a:pt x="410" y="114"/>
                  <a:pt x="408" y="115"/>
                </a:cubicBezTo>
                <a:cubicBezTo>
                  <a:pt x="406" y="116"/>
                  <a:pt x="404" y="117"/>
                  <a:pt x="402" y="118"/>
                </a:cubicBezTo>
                <a:cubicBezTo>
                  <a:pt x="401" y="119"/>
                  <a:pt x="399" y="120"/>
                  <a:pt x="397" y="121"/>
                </a:cubicBezTo>
                <a:cubicBezTo>
                  <a:pt x="395" y="121"/>
                  <a:pt x="394" y="122"/>
                  <a:pt x="392" y="122"/>
                </a:cubicBezTo>
                <a:cubicBezTo>
                  <a:pt x="392" y="122"/>
                  <a:pt x="392" y="122"/>
                  <a:pt x="392" y="132"/>
                </a:cubicBezTo>
                <a:cubicBezTo>
                  <a:pt x="394" y="132"/>
                  <a:pt x="397" y="131"/>
                  <a:pt x="400" y="129"/>
                </a:cubicBezTo>
                <a:cubicBezTo>
                  <a:pt x="402" y="129"/>
                  <a:pt x="405" y="127"/>
                  <a:pt x="407" y="126"/>
                </a:cubicBezTo>
                <a:cubicBezTo>
                  <a:pt x="407" y="126"/>
                  <a:pt x="407" y="126"/>
                  <a:pt x="407" y="185"/>
                </a:cubicBezTo>
                <a:cubicBezTo>
                  <a:pt x="407" y="185"/>
                  <a:pt x="407" y="185"/>
                  <a:pt x="418" y="185"/>
                </a:cubicBezTo>
                <a:cubicBezTo>
                  <a:pt x="418" y="185"/>
                  <a:pt x="418" y="185"/>
                  <a:pt x="418" y="111"/>
                </a:cubicBezTo>
                <a:close/>
                <a:moveTo>
                  <a:pt x="464" y="111"/>
                </a:moveTo>
                <a:cubicBezTo>
                  <a:pt x="464" y="111"/>
                  <a:pt x="464" y="111"/>
                  <a:pt x="464" y="111"/>
                </a:cubicBezTo>
                <a:cubicBezTo>
                  <a:pt x="460" y="111"/>
                  <a:pt x="460" y="111"/>
                  <a:pt x="460" y="111"/>
                </a:cubicBezTo>
                <a:cubicBezTo>
                  <a:pt x="458" y="113"/>
                  <a:pt x="456" y="114"/>
                  <a:pt x="454" y="115"/>
                </a:cubicBezTo>
                <a:cubicBezTo>
                  <a:pt x="453" y="116"/>
                  <a:pt x="451" y="117"/>
                  <a:pt x="449" y="118"/>
                </a:cubicBezTo>
                <a:cubicBezTo>
                  <a:pt x="447" y="119"/>
                  <a:pt x="445" y="119"/>
                  <a:pt x="443" y="120"/>
                </a:cubicBezTo>
                <a:cubicBezTo>
                  <a:pt x="442" y="121"/>
                  <a:pt x="440" y="121"/>
                  <a:pt x="438" y="122"/>
                </a:cubicBezTo>
                <a:cubicBezTo>
                  <a:pt x="438" y="122"/>
                  <a:pt x="438" y="122"/>
                  <a:pt x="438" y="132"/>
                </a:cubicBezTo>
                <a:cubicBezTo>
                  <a:pt x="441" y="132"/>
                  <a:pt x="444" y="130"/>
                  <a:pt x="446" y="129"/>
                </a:cubicBezTo>
                <a:cubicBezTo>
                  <a:pt x="448" y="129"/>
                  <a:pt x="451" y="127"/>
                  <a:pt x="453" y="126"/>
                </a:cubicBezTo>
                <a:cubicBezTo>
                  <a:pt x="453" y="126"/>
                  <a:pt x="453" y="126"/>
                  <a:pt x="453" y="185"/>
                </a:cubicBezTo>
                <a:cubicBezTo>
                  <a:pt x="453" y="185"/>
                  <a:pt x="453" y="185"/>
                  <a:pt x="464" y="185"/>
                </a:cubicBezTo>
                <a:cubicBezTo>
                  <a:pt x="464" y="185"/>
                  <a:pt x="464" y="185"/>
                  <a:pt x="464" y="111"/>
                </a:cubicBezTo>
                <a:close/>
                <a:moveTo>
                  <a:pt x="30" y="185"/>
                </a:moveTo>
                <a:cubicBezTo>
                  <a:pt x="23" y="185"/>
                  <a:pt x="16" y="182"/>
                  <a:pt x="12" y="176"/>
                </a:cubicBezTo>
                <a:cubicBezTo>
                  <a:pt x="8" y="169"/>
                  <a:pt x="6" y="161"/>
                  <a:pt x="6" y="148"/>
                </a:cubicBezTo>
                <a:cubicBezTo>
                  <a:pt x="6" y="135"/>
                  <a:pt x="8" y="126"/>
                  <a:pt x="12" y="119"/>
                </a:cubicBezTo>
                <a:cubicBezTo>
                  <a:pt x="17" y="112"/>
                  <a:pt x="23" y="109"/>
                  <a:pt x="32" y="109"/>
                </a:cubicBezTo>
                <a:cubicBezTo>
                  <a:pt x="48" y="109"/>
                  <a:pt x="56" y="121"/>
                  <a:pt x="56" y="147"/>
                </a:cubicBezTo>
                <a:cubicBezTo>
                  <a:pt x="56" y="159"/>
                  <a:pt x="54" y="169"/>
                  <a:pt x="50" y="175"/>
                </a:cubicBezTo>
                <a:cubicBezTo>
                  <a:pt x="45" y="182"/>
                  <a:pt x="39" y="185"/>
                  <a:pt x="30" y="185"/>
                </a:cubicBezTo>
                <a:close/>
                <a:moveTo>
                  <a:pt x="31" y="118"/>
                </a:moveTo>
                <a:cubicBezTo>
                  <a:pt x="23" y="118"/>
                  <a:pt x="17" y="129"/>
                  <a:pt x="17" y="148"/>
                </a:cubicBezTo>
                <a:cubicBezTo>
                  <a:pt x="17" y="166"/>
                  <a:pt x="22" y="175"/>
                  <a:pt x="31" y="175"/>
                </a:cubicBezTo>
                <a:cubicBezTo>
                  <a:pt x="40" y="175"/>
                  <a:pt x="44" y="166"/>
                  <a:pt x="44" y="147"/>
                </a:cubicBezTo>
                <a:cubicBezTo>
                  <a:pt x="44" y="128"/>
                  <a:pt x="40" y="118"/>
                  <a:pt x="31" y="118"/>
                </a:cubicBezTo>
                <a:close/>
                <a:moveTo>
                  <a:pt x="91" y="111"/>
                </a:moveTo>
                <a:cubicBezTo>
                  <a:pt x="91" y="111"/>
                  <a:pt x="91" y="111"/>
                  <a:pt x="91" y="111"/>
                </a:cubicBezTo>
                <a:cubicBezTo>
                  <a:pt x="86" y="111"/>
                  <a:pt x="86" y="111"/>
                  <a:pt x="86" y="111"/>
                </a:cubicBezTo>
                <a:cubicBezTo>
                  <a:pt x="84" y="113"/>
                  <a:pt x="82" y="114"/>
                  <a:pt x="80" y="115"/>
                </a:cubicBezTo>
                <a:cubicBezTo>
                  <a:pt x="79" y="116"/>
                  <a:pt x="77" y="117"/>
                  <a:pt x="75" y="118"/>
                </a:cubicBezTo>
                <a:cubicBezTo>
                  <a:pt x="74" y="119"/>
                  <a:pt x="71" y="120"/>
                  <a:pt x="70" y="121"/>
                </a:cubicBezTo>
                <a:cubicBezTo>
                  <a:pt x="68" y="121"/>
                  <a:pt x="66" y="122"/>
                  <a:pt x="64" y="122"/>
                </a:cubicBezTo>
                <a:cubicBezTo>
                  <a:pt x="64" y="122"/>
                  <a:pt x="64" y="122"/>
                  <a:pt x="64" y="132"/>
                </a:cubicBezTo>
                <a:cubicBezTo>
                  <a:pt x="67" y="132"/>
                  <a:pt x="70" y="131"/>
                  <a:pt x="73" y="129"/>
                </a:cubicBezTo>
                <a:cubicBezTo>
                  <a:pt x="75" y="129"/>
                  <a:pt x="77" y="127"/>
                  <a:pt x="79" y="126"/>
                </a:cubicBezTo>
                <a:cubicBezTo>
                  <a:pt x="79" y="126"/>
                  <a:pt x="79" y="126"/>
                  <a:pt x="79" y="185"/>
                </a:cubicBezTo>
                <a:cubicBezTo>
                  <a:pt x="79" y="185"/>
                  <a:pt x="79" y="185"/>
                  <a:pt x="91" y="185"/>
                </a:cubicBezTo>
                <a:cubicBezTo>
                  <a:pt x="91" y="185"/>
                  <a:pt x="91" y="185"/>
                  <a:pt x="91" y="111"/>
                </a:cubicBezTo>
                <a:close/>
                <a:moveTo>
                  <a:pt x="138" y="111"/>
                </a:moveTo>
                <a:cubicBezTo>
                  <a:pt x="138" y="111"/>
                  <a:pt x="138" y="111"/>
                  <a:pt x="138" y="111"/>
                </a:cubicBezTo>
                <a:cubicBezTo>
                  <a:pt x="133" y="111"/>
                  <a:pt x="133" y="111"/>
                  <a:pt x="133" y="111"/>
                </a:cubicBezTo>
                <a:cubicBezTo>
                  <a:pt x="131" y="113"/>
                  <a:pt x="129" y="114"/>
                  <a:pt x="127" y="115"/>
                </a:cubicBezTo>
                <a:cubicBezTo>
                  <a:pt x="126" y="116"/>
                  <a:pt x="124" y="117"/>
                  <a:pt x="122" y="118"/>
                </a:cubicBezTo>
                <a:cubicBezTo>
                  <a:pt x="121" y="119"/>
                  <a:pt x="118" y="120"/>
                  <a:pt x="117" y="121"/>
                </a:cubicBezTo>
                <a:cubicBezTo>
                  <a:pt x="115" y="121"/>
                  <a:pt x="113" y="122"/>
                  <a:pt x="111" y="122"/>
                </a:cubicBezTo>
                <a:cubicBezTo>
                  <a:pt x="111" y="122"/>
                  <a:pt x="111" y="122"/>
                  <a:pt x="111" y="132"/>
                </a:cubicBezTo>
                <a:cubicBezTo>
                  <a:pt x="114" y="132"/>
                  <a:pt x="117" y="131"/>
                  <a:pt x="119" y="129"/>
                </a:cubicBezTo>
                <a:cubicBezTo>
                  <a:pt x="122" y="129"/>
                  <a:pt x="124" y="127"/>
                  <a:pt x="126" y="126"/>
                </a:cubicBezTo>
                <a:cubicBezTo>
                  <a:pt x="126" y="126"/>
                  <a:pt x="126" y="126"/>
                  <a:pt x="126" y="185"/>
                </a:cubicBezTo>
                <a:cubicBezTo>
                  <a:pt x="126" y="185"/>
                  <a:pt x="126" y="185"/>
                  <a:pt x="138" y="185"/>
                </a:cubicBezTo>
                <a:cubicBezTo>
                  <a:pt x="138" y="185"/>
                  <a:pt x="138" y="185"/>
                  <a:pt x="138" y="111"/>
                </a:cubicBezTo>
                <a:close/>
                <a:moveTo>
                  <a:pt x="184" y="111"/>
                </a:moveTo>
                <a:cubicBezTo>
                  <a:pt x="184" y="111"/>
                  <a:pt x="184" y="111"/>
                  <a:pt x="184" y="111"/>
                </a:cubicBezTo>
                <a:cubicBezTo>
                  <a:pt x="180" y="111"/>
                  <a:pt x="180" y="111"/>
                  <a:pt x="180" y="111"/>
                </a:cubicBezTo>
                <a:cubicBezTo>
                  <a:pt x="178" y="113"/>
                  <a:pt x="176" y="114"/>
                  <a:pt x="174" y="115"/>
                </a:cubicBezTo>
                <a:cubicBezTo>
                  <a:pt x="172" y="116"/>
                  <a:pt x="170" y="117"/>
                  <a:pt x="169" y="118"/>
                </a:cubicBezTo>
                <a:cubicBezTo>
                  <a:pt x="167" y="119"/>
                  <a:pt x="165" y="119"/>
                  <a:pt x="163" y="120"/>
                </a:cubicBezTo>
                <a:cubicBezTo>
                  <a:pt x="161" y="121"/>
                  <a:pt x="159" y="121"/>
                  <a:pt x="158" y="122"/>
                </a:cubicBezTo>
                <a:cubicBezTo>
                  <a:pt x="158" y="122"/>
                  <a:pt x="158" y="122"/>
                  <a:pt x="158" y="132"/>
                </a:cubicBezTo>
                <a:cubicBezTo>
                  <a:pt x="161" y="132"/>
                  <a:pt x="164" y="130"/>
                  <a:pt x="166" y="129"/>
                </a:cubicBezTo>
                <a:cubicBezTo>
                  <a:pt x="168" y="129"/>
                  <a:pt x="171" y="127"/>
                  <a:pt x="172" y="126"/>
                </a:cubicBezTo>
                <a:cubicBezTo>
                  <a:pt x="172" y="126"/>
                  <a:pt x="172" y="126"/>
                  <a:pt x="172" y="185"/>
                </a:cubicBezTo>
                <a:cubicBezTo>
                  <a:pt x="172" y="185"/>
                  <a:pt x="172" y="185"/>
                  <a:pt x="184" y="185"/>
                </a:cubicBezTo>
                <a:cubicBezTo>
                  <a:pt x="184" y="185"/>
                  <a:pt x="184" y="185"/>
                  <a:pt x="184" y="111"/>
                </a:cubicBezTo>
                <a:close/>
                <a:moveTo>
                  <a:pt x="99" y="77"/>
                </a:moveTo>
                <a:cubicBezTo>
                  <a:pt x="92" y="77"/>
                  <a:pt x="85" y="74"/>
                  <a:pt x="81" y="68"/>
                </a:cubicBezTo>
                <a:cubicBezTo>
                  <a:pt x="77" y="62"/>
                  <a:pt x="75" y="53"/>
                  <a:pt x="75" y="41"/>
                </a:cubicBezTo>
                <a:cubicBezTo>
                  <a:pt x="75" y="28"/>
                  <a:pt x="77" y="18"/>
                  <a:pt x="81" y="12"/>
                </a:cubicBezTo>
                <a:cubicBezTo>
                  <a:pt x="86" y="5"/>
                  <a:pt x="92" y="1"/>
                  <a:pt x="101" y="1"/>
                </a:cubicBezTo>
                <a:cubicBezTo>
                  <a:pt x="117" y="1"/>
                  <a:pt x="125" y="14"/>
                  <a:pt x="125" y="39"/>
                </a:cubicBezTo>
                <a:cubicBezTo>
                  <a:pt x="125" y="52"/>
                  <a:pt x="123" y="61"/>
                  <a:pt x="118" y="68"/>
                </a:cubicBezTo>
                <a:cubicBezTo>
                  <a:pt x="113" y="74"/>
                  <a:pt x="107" y="77"/>
                  <a:pt x="99" y="77"/>
                </a:cubicBezTo>
                <a:close/>
                <a:moveTo>
                  <a:pt x="100" y="11"/>
                </a:moveTo>
                <a:cubicBezTo>
                  <a:pt x="91" y="11"/>
                  <a:pt x="86" y="21"/>
                  <a:pt x="86" y="41"/>
                </a:cubicBezTo>
                <a:cubicBezTo>
                  <a:pt x="86" y="59"/>
                  <a:pt x="91" y="68"/>
                  <a:pt x="100" y="68"/>
                </a:cubicBezTo>
                <a:cubicBezTo>
                  <a:pt x="108" y="68"/>
                  <a:pt x="113" y="59"/>
                  <a:pt x="113" y="40"/>
                </a:cubicBezTo>
                <a:cubicBezTo>
                  <a:pt x="113" y="20"/>
                  <a:pt x="108" y="11"/>
                  <a:pt x="100" y="11"/>
                </a:cubicBezTo>
                <a:close/>
                <a:moveTo>
                  <a:pt x="173" y="4"/>
                </a:moveTo>
                <a:cubicBezTo>
                  <a:pt x="173" y="4"/>
                  <a:pt x="173" y="4"/>
                  <a:pt x="173" y="4"/>
                </a:cubicBezTo>
                <a:cubicBezTo>
                  <a:pt x="168" y="4"/>
                  <a:pt x="168" y="4"/>
                  <a:pt x="168" y="4"/>
                </a:cubicBezTo>
                <a:cubicBezTo>
                  <a:pt x="165" y="5"/>
                  <a:pt x="164" y="7"/>
                  <a:pt x="162" y="7"/>
                </a:cubicBezTo>
                <a:cubicBezTo>
                  <a:pt x="160" y="9"/>
                  <a:pt x="158" y="10"/>
                  <a:pt x="157" y="10"/>
                </a:cubicBezTo>
                <a:cubicBezTo>
                  <a:pt x="154" y="11"/>
                  <a:pt x="153" y="12"/>
                  <a:pt x="152" y="12"/>
                </a:cubicBezTo>
                <a:cubicBezTo>
                  <a:pt x="149" y="13"/>
                  <a:pt x="148" y="14"/>
                  <a:pt x="146" y="15"/>
                </a:cubicBezTo>
                <a:cubicBezTo>
                  <a:pt x="146" y="15"/>
                  <a:pt x="146" y="15"/>
                  <a:pt x="146" y="25"/>
                </a:cubicBezTo>
                <a:cubicBezTo>
                  <a:pt x="149" y="24"/>
                  <a:pt x="152" y="23"/>
                  <a:pt x="154" y="22"/>
                </a:cubicBezTo>
                <a:cubicBezTo>
                  <a:pt x="157" y="21"/>
                  <a:pt x="159" y="20"/>
                  <a:pt x="161" y="18"/>
                </a:cubicBezTo>
                <a:cubicBezTo>
                  <a:pt x="161" y="18"/>
                  <a:pt x="161" y="18"/>
                  <a:pt x="161" y="77"/>
                </a:cubicBezTo>
                <a:cubicBezTo>
                  <a:pt x="161" y="77"/>
                  <a:pt x="161" y="77"/>
                  <a:pt x="173" y="77"/>
                </a:cubicBezTo>
                <a:cubicBezTo>
                  <a:pt x="173" y="77"/>
                  <a:pt x="173" y="77"/>
                  <a:pt x="173" y="4"/>
                </a:cubicBezTo>
                <a:close/>
                <a:moveTo>
                  <a:pt x="220" y="4"/>
                </a:moveTo>
                <a:cubicBezTo>
                  <a:pt x="220" y="4"/>
                  <a:pt x="220" y="4"/>
                  <a:pt x="220" y="4"/>
                </a:cubicBezTo>
                <a:cubicBezTo>
                  <a:pt x="215" y="4"/>
                  <a:pt x="215" y="4"/>
                  <a:pt x="215" y="4"/>
                </a:cubicBezTo>
                <a:cubicBezTo>
                  <a:pt x="213" y="5"/>
                  <a:pt x="211" y="7"/>
                  <a:pt x="209" y="7"/>
                </a:cubicBezTo>
                <a:cubicBezTo>
                  <a:pt x="208" y="9"/>
                  <a:pt x="205" y="10"/>
                  <a:pt x="204" y="10"/>
                </a:cubicBezTo>
                <a:cubicBezTo>
                  <a:pt x="203" y="12"/>
                  <a:pt x="200" y="12"/>
                  <a:pt x="199" y="13"/>
                </a:cubicBezTo>
                <a:cubicBezTo>
                  <a:pt x="197" y="14"/>
                  <a:pt x="195" y="15"/>
                  <a:pt x="193" y="15"/>
                </a:cubicBezTo>
                <a:cubicBezTo>
                  <a:pt x="193" y="15"/>
                  <a:pt x="193" y="15"/>
                  <a:pt x="193" y="25"/>
                </a:cubicBezTo>
                <a:cubicBezTo>
                  <a:pt x="196" y="24"/>
                  <a:pt x="199" y="23"/>
                  <a:pt x="201" y="22"/>
                </a:cubicBezTo>
                <a:cubicBezTo>
                  <a:pt x="204" y="21"/>
                  <a:pt x="206" y="20"/>
                  <a:pt x="208" y="18"/>
                </a:cubicBezTo>
                <a:cubicBezTo>
                  <a:pt x="208" y="18"/>
                  <a:pt x="208" y="18"/>
                  <a:pt x="208" y="77"/>
                </a:cubicBezTo>
                <a:cubicBezTo>
                  <a:pt x="208" y="77"/>
                  <a:pt x="208" y="77"/>
                  <a:pt x="220" y="77"/>
                </a:cubicBezTo>
                <a:cubicBezTo>
                  <a:pt x="220" y="77"/>
                  <a:pt x="220" y="77"/>
                  <a:pt x="220" y="4"/>
                </a:cubicBezTo>
                <a:close/>
                <a:moveTo>
                  <a:pt x="266" y="4"/>
                </a:moveTo>
                <a:cubicBezTo>
                  <a:pt x="266" y="4"/>
                  <a:pt x="266" y="4"/>
                  <a:pt x="266" y="4"/>
                </a:cubicBezTo>
                <a:cubicBezTo>
                  <a:pt x="262" y="4"/>
                  <a:pt x="262" y="4"/>
                  <a:pt x="262" y="4"/>
                </a:cubicBezTo>
                <a:cubicBezTo>
                  <a:pt x="260" y="5"/>
                  <a:pt x="258" y="7"/>
                  <a:pt x="256" y="7"/>
                </a:cubicBezTo>
                <a:cubicBezTo>
                  <a:pt x="255" y="9"/>
                  <a:pt x="253" y="10"/>
                  <a:pt x="251" y="10"/>
                </a:cubicBezTo>
                <a:cubicBezTo>
                  <a:pt x="249" y="12"/>
                  <a:pt x="248" y="12"/>
                  <a:pt x="245" y="13"/>
                </a:cubicBezTo>
                <a:cubicBezTo>
                  <a:pt x="244" y="14"/>
                  <a:pt x="242" y="15"/>
                  <a:pt x="240" y="15"/>
                </a:cubicBezTo>
                <a:cubicBezTo>
                  <a:pt x="240" y="15"/>
                  <a:pt x="240" y="15"/>
                  <a:pt x="240" y="25"/>
                </a:cubicBezTo>
                <a:cubicBezTo>
                  <a:pt x="243" y="24"/>
                  <a:pt x="246" y="23"/>
                  <a:pt x="248" y="22"/>
                </a:cubicBezTo>
                <a:cubicBezTo>
                  <a:pt x="250" y="21"/>
                  <a:pt x="253" y="20"/>
                  <a:pt x="255" y="18"/>
                </a:cubicBezTo>
                <a:cubicBezTo>
                  <a:pt x="255" y="18"/>
                  <a:pt x="255" y="18"/>
                  <a:pt x="255" y="77"/>
                </a:cubicBezTo>
                <a:cubicBezTo>
                  <a:pt x="255" y="77"/>
                  <a:pt x="255" y="77"/>
                  <a:pt x="266" y="77"/>
                </a:cubicBezTo>
                <a:cubicBezTo>
                  <a:pt x="266" y="77"/>
                  <a:pt x="266" y="77"/>
                  <a:pt x="266" y="4"/>
                </a:cubicBezTo>
                <a:close/>
                <a:moveTo>
                  <a:pt x="314" y="4"/>
                </a:moveTo>
                <a:cubicBezTo>
                  <a:pt x="314" y="4"/>
                  <a:pt x="314" y="4"/>
                  <a:pt x="314" y="4"/>
                </a:cubicBezTo>
                <a:cubicBezTo>
                  <a:pt x="309" y="4"/>
                  <a:pt x="309" y="4"/>
                  <a:pt x="309" y="4"/>
                </a:cubicBezTo>
                <a:cubicBezTo>
                  <a:pt x="307" y="5"/>
                  <a:pt x="305" y="7"/>
                  <a:pt x="303" y="7"/>
                </a:cubicBezTo>
                <a:cubicBezTo>
                  <a:pt x="301" y="9"/>
                  <a:pt x="300" y="10"/>
                  <a:pt x="298" y="10"/>
                </a:cubicBezTo>
                <a:cubicBezTo>
                  <a:pt x="296" y="12"/>
                  <a:pt x="294" y="12"/>
                  <a:pt x="293" y="13"/>
                </a:cubicBezTo>
                <a:cubicBezTo>
                  <a:pt x="291" y="14"/>
                  <a:pt x="289" y="15"/>
                  <a:pt x="287" y="15"/>
                </a:cubicBezTo>
                <a:cubicBezTo>
                  <a:pt x="287" y="15"/>
                  <a:pt x="287" y="15"/>
                  <a:pt x="287" y="25"/>
                </a:cubicBezTo>
                <a:cubicBezTo>
                  <a:pt x="290" y="24"/>
                  <a:pt x="293" y="23"/>
                  <a:pt x="295" y="22"/>
                </a:cubicBezTo>
                <a:cubicBezTo>
                  <a:pt x="298" y="21"/>
                  <a:pt x="300" y="20"/>
                  <a:pt x="302" y="18"/>
                </a:cubicBezTo>
                <a:cubicBezTo>
                  <a:pt x="302" y="18"/>
                  <a:pt x="302" y="18"/>
                  <a:pt x="302" y="77"/>
                </a:cubicBezTo>
                <a:cubicBezTo>
                  <a:pt x="302" y="77"/>
                  <a:pt x="302" y="77"/>
                  <a:pt x="314" y="77"/>
                </a:cubicBezTo>
                <a:cubicBezTo>
                  <a:pt x="314" y="77"/>
                  <a:pt x="314" y="77"/>
                  <a:pt x="314" y="4"/>
                </a:cubicBezTo>
                <a:close/>
                <a:moveTo>
                  <a:pt x="437" y="4"/>
                </a:moveTo>
                <a:cubicBezTo>
                  <a:pt x="437" y="4"/>
                  <a:pt x="437" y="4"/>
                  <a:pt x="437" y="4"/>
                </a:cubicBezTo>
                <a:cubicBezTo>
                  <a:pt x="432" y="4"/>
                  <a:pt x="432" y="4"/>
                  <a:pt x="432" y="4"/>
                </a:cubicBezTo>
                <a:cubicBezTo>
                  <a:pt x="429" y="5"/>
                  <a:pt x="428" y="7"/>
                  <a:pt x="426" y="7"/>
                </a:cubicBezTo>
                <a:cubicBezTo>
                  <a:pt x="424" y="9"/>
                  <a:pt x="423" y="10"/>
                  <a:pt x="421" y="10"/>
                </a:cubicBezTo>
                <a:cubicBezTo>
                  <a:pt x="419" y="12"/>
                  <a:pt x="417" y="12"/>
                  <a:pt x="416" y="13"/>
                </a:cubicBezTo>
                <a:cubicBezTo>
                  <a:pt x="413" y="14"/>
                  <a:pt x="412" y="15"/>
                  <a:pt x="410" y="15"/>
                </a:cubicBezTo>
                <a:cubicBezTo>
                  <a:pt x="410" y="15"/>
                  <a:pt x="410" y="15"/>
                  <a:pt x="410" y="25"/>
                </a:cubicBezTo>
                <a:cubicBezTo>
                  <a:pt x="413" y="24"/>
                  <a:pt x="416" y="23"/>
                  <a:pt x="418" y="22"/>
                </a:cubicBezTo>
                <a:cubicBezTo>
                  <a:pt x="421" y="21"/>
                  <a:pt x="423" y="20"/>
                  <a:pt x="425" y="18"/>
                </a:cubicBezTo>
                <a:cubicBezTo>
                  <a:pt x="425" y="18"/>
                  <a:pt x="425" y="18"/>
                  <a:pt x="425" y="77"/>
                </a:cubicBezTo>
                <a:cubicBezTo>
                  <a:pt x="425" y="77"/>
                  <a:pt x="425" y="77"/>
                  <a:pt x="437" y="77"/>
                </a:cubicBezTo>
                <a:cubicBezTo>
                  <a:pt x="437" y="77"/>
                  <a:pt x="437" y="77"/>
                  <a:pt x="437" y="4"/>
                </a:cubicBezTo>
                <a:close/>
                <a:moveTo>
                  <a:pt x="484" y="4"/>
                </a:moveTo>
                <a:cubicBezTo>
                  <a:pt x="484" y="4"/>
                  <a:pt x="484" y="4"/>
                  <a:pt x="484" y="4"/>
                </a:cubicBezTo>
                <a:cubicBezTo>
                  <a:pt x="479" y="4"/>
                  <a:pt x="479" y="4"/>
                  <a:pt x="479" y="4"/>
                </a:cubicBezTo>
                <a:cubicBezTo>
                  <a:pt x="477" y="5"/>
                  <a:pt x="475" y="7"/>
                  <a:pt x="473" y="7"/>
                </a:cubicBezTo>
                <a:cubicBezTo>
                  <a:pt x="472" y="9"/>
                  <a:pt x="470" y="10"/>
                  <a:pt x="468" y="10"/>
                </a:cubicBezTo>
                <a:cubicBezTo>
                  <a:pt x="467" y="12"/>
                  <a:pt x="465" y="12"/>
                  <a:pt x="463" y="13"/>
                </a:cubicBezTo>
                <a:cubicBezTo>
                  <a:pt x="461" y="14"/>
                  <a:pt x="459" y="15"/>
                  <a:pt x="457" y="15"/>
                </a:cubicBezTo>
                <a:cubicBezTo>
                  <a:pt x="457" y="15"/>
                  <a:pt x="457" y="15"/>
                  <a:pt x="457" y="25"/>
                </a:cubicBezTo>
                <a:cubicBezTo>
                  <a:pt x="460" y="24"/>
                  <a:pt x="463" y="23"/>
                  <a:pt x="465" y="22"/>
                </a:cubicBezTo>
                <a:cubicBezTo>
                  <a:pt x="468" y="21"/>
                  <a:pt x="470" y="20"/>
                  <a:pt x="473" y="18"/>
                </a:cubicBezTo>
                <a:cubicBezTo>
                  <a:pt x="473" y="18"/>
                  <a:pt x="473" y="18"/>
                  <a:pt x="473" y="77"/>
                </a:cubicBezTo>
                <a:cubicBezTo>
                  <a:pt x="473" y="77"/>
                  <a:pt x="473" y="77"/>
                  <a:pt x="484" y="77"/>
                </a:cubicBezTo>
                <a:cubicBezTo>
                  <a:pt x="484" y="77"/>
                  <a:pt x="484" y="77"/>
                  <a:pt x="484" y="4"/>
                </a:cubicBezTo>
                <a:close/>
                <a:moveTo>
                  <a:pt x="532" y="4"/>
                </a:moveTo>
                <a:cubicBezTo>
                  <a:pt x="532" y="4"/>
                  <a:pt x="532" y="4"/>
                  <a:pt x="532" y="4"/>
                </a:cubicBezTo>
                <a:cubicBezTo>
                  <a:pt x="527" y="4"/>
                  <a:pt x="527" y="4"/>
                  <a:pt x="527" y="4"/>
                </a:cubicBezTo>
                <a:cubicBezTo>
                  <a:pt x="525" y="5"/>
                  <a:pt x="523" y="7"/>
                  <a:pt x="522" y="7"/>
                </a:cubicBezTo>
                <a:cubicBezTo>
                  <a:pt x="519" y="9"/>
                  <a:pt x="518" y="10"/>
                  <a:pt x="516" y="10"/>
                </a:cubicBezTo>
                <a:cubicBezTo>
                  <a:pt x="514" y="12"/>
                  <a:pt x="512" y="12"/>
                  <a:pt x="511" y="13"/>
                </a:cubicBezTo>
                <a:cubicBezTo>
                  <a:pt x="508" y="14"/>
                  <a:pt x="507" y="15"/>
                  <a:pt x="505" y="15"/>
                </a:cubicBezTo>
                <a:cubicBezTo>
                  <a:pt x="505" y="15"/>
                  <a:pt x="505" y="15"/>
                  <a:pt x="505" y="25"/>
                </a:cubicBezTo>
                <a:cubicBezTo>
                  <a:pt x="508" y="24"/>
                  <a:pt x="511" y="23"/>
                  <a:pt x="514" y="22"/>
                </a:cubicBezTo>
                <a:cubicBezTo>
                  <a:pt x="516" y="21"/>
                  <a:pt x="518" y="20"/>
                  <a:pt x="520" y="18"/>
                </a:cubicBezTo>
                <a:cubicBezTo>
                  <a:pt x="520" y="18"/>
                  <a:pt x="520" y="18"/>
                  <a:pt x="520" y="77"/>
                </a:cubicBezTo>
                <a:cubicBezTo>
                  <a:pt x="520" y="77"/>
                  <a:pt x="520" y="77"/>
                  <a:pt x="532" y="77"/>
                </a:cubicBezTo>
                <a:cubicBezTo>
                  <a:pt x="532" y="77"/>
                  <a:pt x="532" y="77"/>
                  <a:pt x="532" y="4"/>
                </a:cubicBezTo>
                <a:close/>
                <a:moveTo>
                  <a:pt x="578" y="4"/>
                </a:moveTo>
                <a:cubicBezTo>
                  <a:pt x="578" y="4"/>
                  <a:pt x="578" y="4"/>
                  <a:pt x="578" y="4"/>
                </a:cubicBezTo>
                <a:cubicBezTo>
                  <a:pt x="574" y="4"/>
                  <a:pt x="574" y="4"/>
                  <a:pt x="574" y="4"/>
                </a:cubicBezTo>
                <a:cubicBezTo>
                  <a:pt x="572" y="5"/>
                  <a:pt x="570" y="7"/>
                  <a:pt x="568" y="7"/>
                </a:cubicBezTo>
                <a:cubicBezTo>
                  <a:pt x="567" y="9"/>
                  <a:pt x="565" y="10"/>
                  <a:pt x="563" y="10"/>
                </a:cubicBezTo>
                <a:cubicBezTo>
                  <a:pt x="561" y="11"/>
                  <a:pt x="560" y="12"/>
                  <a:pt x="557" y="12"/>
                </a:cubicBezTo>
                <a:cubicBezTo>
                  <a:pt x="556" y="13"/>
                  <a:pt x="554" y="14"/>
                  <a:pt x="552" y="15"/>
                </a:cubicBezTo>
                <a:cubicBezTo>
                  <a:pt x="552" y="15"/>
                  <a:pt x="552" y="15"/>
                  <a:pt x="552" y="25"/>
                </a:cubicBezTo>
                <a:cubicBezTo>
                  <a:pt x="555" y="24"/>
                  <a:pt x="558" y="23"/>
                  <a:pt x="560" y="22"/>
                </a:cubicBezTo>
                <a:cubicBezTo>
                  <a:pt x="562" y="21"/>
                  <a:pt x="565" y="20"/>
                  <a:pt x="567" y="18"/>
                </a:cubicBezTo>
                <a:cubicBezTo>
                  <a:pt x="567" y="18"/>
                  <a:pt x="567" y="18"/>
                  <a:pt x="567" y="77"/>
                </a:cubicBezTo>
                <a:cubicBezTo>
                  <a:pt x="567" y="77"/>
                  <a:pt x="567" y="77"/>
                  <a:pt x="578" y="77"/>
                </a:cubicBezTo>
                <a:cubicBezTo>
                  <a:pt x="578" y="77"/>
                  <a:pt x="578" y="77"/>
                  <a:pt x="578" y="4"/>
                </a:cubicBezTo>
                <a:close/>
                <a:moveTo>
                  <a:pt x="335" y="36"/>
                </a:moveTo>
                <a:cubicBezTo>
                  <a:pt x="335" y="36"/>
                  <a:pt x="335" y="36"/>
                  <a:pt x="335" y="36"/>
                </a:cubicBezTo>
                <a:cubicBezTo>
                  <a:pt x="334" y="44"/>
                  <a:pt x="334" y="44"/>
                  <a:pt x="334" y="44"/>
                </a:cubicBezTo>
                <a:cubicBezTo>
                  <a:pt x="341" y="45"/>
                  <a:pt x="341" y="48"/>
                  <a:pt x="341" y="50"/>
                </a:cubicBezTo>
                <a:cubicBezTo>
                  <a:pt x="341" y="53"/>
                  <a:pt x="341" y="55"/>
                  <a:pt x="341" y="57"/>
                </a:cubicBezTo>
                <a:cubicBezTo>
                  <a:pt x="341" y="60"/>
                  <a:pt x="340" y="62"/>
                  <a:pt x="340" y="65"/>
                </a:cubicBezTo>
                <a:cubicBezTo>
                  <a:pt x="340" y="74"/>
                  <a:pt x="346" y="77"/>
                  <a:pt x="355" y="77"/>
                </a:cubicBezTo>
                <a:cubicBezTo>
                  <a:pt x="355" y="77"/>
                  <a:pt x="355" y="77"/>
                  <a:pt x="358" y="77"/>
                </a:cubicBezTo>
                <a:cubicBezTo>
                  <a:pt x="358" y="77"/>
                  <a:pt x="358" y="77"/>
                  <a:pt x="358" y="68"/>
                </a:cubicBezTo>
                <a:cubicBezTo>
                  <a:pt x="358" y="68"/>
                  <a:pt x="358" y="68"/>
                  <a:pt x="357" y="68"/>
                </a:cubicBezTo>
                <a:cubicBezTo>
                  <a:pt x="353" y="68"/>
                  <a:pt x="352" y="66"/>
                  <a:pt x="352" y="62"/>
                </a:cubicBezTo>
                <a:cubicBezTo>
                  <a:pt x="352" y="61"/>
                  <a:pt x="352" y="59"/>
                  <a:pt x="353" y="57"/>
                </a:cubicBezTo>
                <a:cubicBezTo>
                  <a:pt x="353" y="56"/>
                  <a:pt x="353" y="54"/>
                  <a:pt x="353" y="52"/>
                </a:cubicBezTo>
                <a:cubicBezTo>
                  <a:pt x="353" y="44"/>
                  <a:pt x="350" y="42"/>
                  <a:pt x="344" y="40"/>
                </a:cubicBezTo>
                <a:cubicBezTo>
                  <a:pt x="344" y="40"/>
                  <a:pt x="344" y="40"/>
                  <a:pt x="344" y="40"/>
                </a:cubicBezTo>
                <a:cubicBezTo>
                  <a:pt x="350" y="39"/>
                  <a:pt x="353" y="37"/>
                  <a:pt x="353" y="29"/>
                </a:cubicBezTo>
                <a:cubicBezTo>
                  <a:pt x="353" y="27"/>
                  <a:pt x="353" y="25"/>
                  <a:pt x="353" y="23"/>
                </a:cubicBezTo>
                <a:cubicBezTo>
                  <a:pt x="352" y="21"/>
                  <a:pt x="352" y="20"/>
                  <a:pt x="352" y="18"/>
                </a:cubicBezTo>
                <a:cubicBezTo>
                  <a:pt x="352" y="15"/>
                  <a:pt x="353" y="13"/>
                  <a:pt x="357" y="13"/>
                </a:cubicBezTo>
                <a:cubicBezTo>
                  <a:pt x="357" y="13"/>
                  <a:pt x="357" y="13"/>
                  <a:pt x="358" y="13"/>
                </a:cubicBezTo>
                <a:cubicBezTo>
                  <a:pt x="358" y="13"/>
                  <a:pt x="358" y="13"/>
                  <a:pt x="358" y="3"/>
                </a:cubicBezTo>
                <a:cubicBezTo>
                  <a:pt x="358" y="3"/>
                  <a:pt x="358" y="3"/>
                  <a:pt x="355" y="3"/>
                </a:cubicBezTo>
                <a:cubicBezTo>
                  <a:pt x="346" y="3"/>
                  <a:pt x="340" y="7"/>
                  <a:pt x="340" y="16"/>
                </a:cubicBezTo>
                <a:cubicBezTo>
                  <a:pt x="340" y="18"/>
                  <a:pt x="341" y="21"/>
                  <a:pt x="341" y="23"/>
                </a:cubicBezTo>
                <a:cubicBezTo>
                  <a:pt x="341" y="26"/>
                  <a:pt x="341" y="28"/>
                  <a:pt x="341" y="30"/>
                </a:cubicBezTo>
                <a:cubicBezTo>
                  <a:pt x="341" y="33"/>
                  <a:pt x="341" y="36"/>
                  <a:pt x="335" y="36"/>
                </a:cubicBezTo>
                <a:close/>
                <a:moveTo>
                  <a:pt x="389" y="44"/>
                </a:moveTo>
                <a:cubicBezTo>
                  <a:pt x="389" y="44"/>
                  <a:pt x="389" y="44"/>
                  <a:pt x="389" y="44"/>
                </a:cubicBezTo>
                <a:cubicBezTo>
                  <a:pt x="389" y="36"/>
                  <a:pt x="389" y="36"/>
                  <a:pt x="389" y="36"/>
                </a:cubicBezTo>
                <a:cubicBezTo>
                  <a:pt x="383" y="36"/>
                  <a:pt x="382" y="33"/>
                  <a:pt x="382" y="30"/>
                </a:cubicBezTo>
                <a:cubicBezTo>
                  <a:pt x="382" y="28"/>
                  <a:pt x="382" y="26"/>
                  <a:pt x="383" y="23"/>
                </a:cubicBezTo>
                <a:cubicBezTo>
                  <a:pt x="383" y="21"/>
                  <a:pt x="383" y="18"/>
                  <a:pt x="383" y="16"/>
                </a:cubicBezTo>
                <a:cubicBezTo>
                  <a:pt x="383" y="7"/>
                  <a:pt x="378" y="3"/>
                  <a:pt x="369" y="3"/>
                </a:cubicBezTo>
                <a:cubicBezTo>
                  <a:pt x="369" y="3"/>
                  <a:pt x="369" y="3"/>
                  <a:pt x="365" y="3"/>
                </a:cubicBezTo>
                <a:cubicBezTo>
                  <a:pt x="365" y="3"/>
                  <a:pt x="365" y="3"/>
                  <a:pt x="365" y="13"/>
                </a:cubicBezTo>
                <a:cubicBezTo>
                  <a:pt x="365" y="13"/>
                  <a:pt x="365" y="13"/>
                  <a:pt x="367" y="13"/>
                </a:cubicBezTo>
                <a:cubicBezTo>
                  <a:pt x="370" y="13"/>
                  <a:pt x="372" y="15"/>
                  <a:pt x="372" y="18"/>
                </a:cubicBezTo>
                <a:cubicBezTo>
                  <a:pt x="372" y="20"/>
                  <a:pt x="371" y="21"/>
                  <a:pt x="371" y="23"/>
                </a:cubicBezTo>
                <a:cubicBezTo>
                  <a:pt x="371" y="25"/>
                  <a:pt x="371" y="27"/>
                  <a:pt x="371" y="29"/>
                </a:cubicBezTo>
                <a:cubicBezTo>
                  <a:pt x="371" y="37"/>
                  <a:pt x="374" y="39"/>
                  <a:pt x="380" y="40"/>
                </a:cubicBezTo>
                <a:cubicBezTo>
                  <a:pt x="380" y="40"/>
                  <a:pt x="380" y="40"/>
                  <a:pt x="380" y="40"/>
                </a:cubicBezTo>
                <a:cubicBezTo>
                  <a:pt x="374" y="42"/>
                  <a:pt x="371" y="44"/>
                  <a:pt x="371" y="52"/>
                </a:cubicBezTo>
                <a:cubicBezTo>
                  <a:pt x="371" y="54"/>
                  <a:pt x="371" y="56"/>
                  <a:pt x="371" y="57"/>
                </a:cubicBezTo>
                <a:cubicBezTo>
                  <a:pt x="371" y="59"/>
                  <a:pt x="372" y="61"/>
                  <a:pt x="372" y="62"/>
                </a:cubicBezTo>
                <a:cubicBezTo>
                  <a:pt x="372" y="66"/>
                  <a:pt x="371" y="68"/>
                  <a:pt x="367" y="68"/>
                </a:cubicBezTo>
                <a:cubicBezTo>
                  <a:pt x="367" y="68"/>
                  <a:pt x="367" y="68"/>
                  <a:pt x="365" y="68"/>
                </a:cubicBezTo>
                <a:cubicBezTo>
                  <a:pt x="365" y="68"/>
                  <a:pt x="365" y="68"/>
                  <a:pt x="365" y="77"/>
                </a:cubicBezTo>
                <a:cubicBezTo>
                  <a:pt x="365" y="77"/>
                  <a:pt x="365" y="77"/>
                  <a:pt x="369" y="77"/>
                </a:cubicBezTo>
                <a:cubicBezTo>
                  <a:pt x="378" y="77"/>
                  <a:pt x="383" y="74"/>
                  <a:pt x="383" y="65"/>
                </a:cubicBezTo>
                <a:cubicBezTo>
                  <a:pt x="383" y="62"/>
                  <a:pt x="383" y="60"/>
                  <a:pt x="383" y="57"/>
                </a:cubicBezTo>
                <a:cubicBezTo>
                  <a:pt x="382" y="55"/>
                  <a:pt x="382" y="53"/>
                  <a:pt x="382" y="50"/>
                </a:cubicBezTo>
                <a:cubicBezTo>
                  <a:pt x="382" y="48"/>
                  <a:pt x="383" y="45"/>
                  <a:pt x="389" y="44"/>
                </a:cubicBezTo>
                <a:close/>
                <a:moveTo>
                  <a:pt x="716" y="36"/>
                </a:moveTo>
                <a:cubicBezTo>
                  <a:pt x="716" y="36"/>
                  <a:pt x="716" y="36"/>
                  <a:pt x="716" y="36"/>
                </a:cubicBezTo>
                <a:cubicBezTo>
                  <a:pt x="716" y="44"/>
                  <a:pt x="716" y="44"/>
                  <a:pt x="716" y="44"/>
                </a:cubicBezTo>
                <a:cubicBezTo>
                  <a:pt x="722" y="45"/>
                  <a:pt x="723" y="48"/>
                  <a:pt x="723" y="50"/>
                </a:cubicBezTo>
                <a:cubicBezTo>
                  <a:pt x="723" y="53"/>
                  <a:pt x="723" y="55"/>
                  <a:pt x="723" y="57"/>
                </a:cubicBezTo>
                <a:cubicBezTo>
                  <a:pt x="722" y="60"/>
                  <a:pt x="722" y="62"/>
                  <a:pt x="722" y="65"/>
                </a:cubicBezTo>
                <a:cubicBezTo>
                  <a:pt x="722" y="74"/>
                  <a:pt x="728" y="77"/>
                  <a:pt x="736" y="77"/>
                </a:cubicBezTo>
                <a:cubicBezTo>
                  <a:pt x="736" y="77"/>
                  <a:pt x="736" y="77"/>
                  <a:pt x="740" y="77"/>
                </a:cubicBezTo>
                <a:cubicBezTo>
                  <a:pt x="740" y="77"/>
                  <a:pt x="740" y="77"/>
                  <a:pt x="740" y="68"/>
                </a:cubicBezTo>
                <a:cubicBezTo>
                  <a:pt x="740" y="68"/>
                  <a:pt x="740" y="68"/>
                  <a:pt x="739" y="68"/>
                </a:cubicBezTo>
                <a:cubicBezTo>
                  <a:pt x="735" y="68"/>
                  <a:pt x="734" y="66"/>
                  <a:pt x="734" y="62"/>
                </a:cubicBezTo>
                <a:cubicBezTo>
                  <a:pt x="734" y="61"/>
                  <a:pt x="734" y="59"/>
                  <a:pt x="734" y="57"/>
                </a:cubicBezTo>
                <a:cubicBezTo>
                  <a:pt x="734" y="56"/>
                  <a:pt x="734" y="54"/>
                  <a:pt x="734" y="52"/>
                </a:cubicBezTo>
                <a:cubicBezTo>
                  <a:pt x="734" y="44"/>
                  <a:pt x="732" y="42"/>
                  <a:pt x="726" y="40"/>
                </a:cubicBezTo>
                <a:cubicBezTo>
                  <a:pt x="726" y="40"/>
                  <a:pt x="726" y="40"/>
                  <a:pt x="726" y="40"/>
                </a:cubicBezTo>
                <a:cubicBezTo>
                  <a:pt x="732" y="39"/>
                  <a:pt x="734" y="37"/>
                  <a:pt x="734" y="29"/>
                </a:cubicBezTo>
                <a:cubicBezTo>
                  <a:pt x="734" y="27"/>
                  <a:pt x="734" y="25"/>
                  <a:pt x="734" y="23"/>
                </a:cubicBezTo>
                <a:cubicBezTo>
                  <a:pt x="734" y="21"/>
                  <a:pt x="734" y="20"/>
                  <a:pt x="734" y="18"/>
                </a:cubicBezTo>
                <a:cubicBezTo>
                  <a:pt x="734" y="15"/>
                  <a:pt x="735" y="13"/>
                  <a:pt x="739" y="13"/>
                </a:cubicBezTo>
                <a:cubicBezTo>
                  <a:pt x="739" y="13"/>
                  <a:pt x="739" y="13"/>
                  <a:pt x="740" y="13"/>
                </a:cubicBezTo>
                <a:cubicBezTo>
                  <a:pt x="740" y="13"/>
                  <a:pt x="740" y="13"/>
                  <a:pt x="740" y="3"/>
                </a:cubicBezTo>
                <a:cubicBezTo>
                  <a:pt x="740" y="3"/>
                  <a:pt x="740" y="3"/>
                  <a:pt x="736" y="3"/>
                </a:cubicBezTo>
                <a:cubicBezTo>
                  <a:pt x="727" y="3"/>
                  <a:pt x="722" y="7"/>
                  <a:pt x="722" y="16"/>
                </a:cubicBezTo>
                <a:cubicBezTo>
                  <a:pt x="722" y="18"/>
                  <a:pt x="722" y="21"/>
                  <a:pt x="722" y="23"/>
                </a:cubicBezTo>
                <a:cubicBezTo>
                  <a:pt x="723" y="26"/>
                  <a:pt x="723" y="28"/>
                  <a:pt x="723" y="30"/>
                </a:cubicBezTo>
                <a:cubicBezTo>
                  <a:pt x="723" y="33"/>
                  <a:pt x="722" y="36"/>
                  <a:pt x="716" y="36"/>
                </a:cubicBezTo>
                <a:close/>
                <a:moveTo>
                  <a:pt x="771" y="44"/>
                </a:moveTo>
                <a:cubicBezTo>
                  <a:pt x="771" y="44"/>
                  <a:pt x="771" y="44"/>
                  <a:pt x="771" y="44"/>
                </a:cubicBezTo>
                <a:cubicBezTo>
                  <a:pt x="771" y="36"/>
                  <a:pt x="771" y="36"/>
                  <a:pt x="771" y="36"/>
                </a:cubicBezTo>
                <a:cubicBezTo>
                  <a:pt x="764" y="36"/>
                  <a:pt x="764" y="33"/>
                  <a:pt x="764" y="30"/>
                </a:cubicBezTo>
                <a:cubicBezTo>
                  <a:pt x="764" y="28"/>
                  <a:pt x="764" y="26"/>
                  <a:pt x="764" y="23"/>
                </a:cubicBezTo>
                <a:cubicBezTo>
                  <a:pt x="765" y="21"/>
                  <a:pt x="765" y="18"/>
                  <a:pt x="765" y="16"/>
                </a:cubicBezTo>
                <a:cubicBezTo>
                  <a:pt x="765" y="7"/>
                  <a:pt x="760" y="3"/>
                  <a:pt x="750" y="3"/>
                </a:cubicBezTo>
                <a:cubicBezTo>
                  <a:pt x="750" y="3"/>
                  <a:pt x="750" y="3"/>
                  <a:pt x="747" y="3"/>
                </a:cubicBezTo>
                <a:cubicBezTo>
                  <a:pt x="747" y="3"/>
                  <a:pt x="747" y="3"/>
                  <a:pt x="747" y="13"/>
                </a:cubicBezTo>
                <a:cubicBezTo>
                  <a:pt x="747" y="13"/>
                  <a:pt x="747" y="13"/>
                  <a:pt x="748" y="13"/>
                </a:cubicBezTo>
                <a:cubicBezTo>
                  <a:pt x="752" y="13"/>
                  <a:pt x="753" y="15"/>
                  <a:pt x="753" y="18"/>
                </a:cubicBezTo>
                <a:cubicBezTo>
                  <a:pt x="753" y="20"/>
                  <a:pt x="753" y="21"/>
                  <a:pt x="753" y="23"/>
                </a:cubicBezTo>
                <a:cubicBezTo>
                  <a:pt x="753" y="25"/>
                  <a:pt x="753" y="27"/>
                  <a:pt x="753" y="29"/>
                </a:cubicBezTo>
                <a:cubicBezTo>
                  <a:pt x="753" y="37"/>
                  <a:pt x="755" y="39"/>
                  <a:pt x="761" y="40"/>
                </a:cubicBezTo>
                <a:cubicBezTo>
                  <a:pt x="761" y="40"/>
                  <a:pt x="761" y="40"/>
                  <a:pt x="761" y="40"/>
                </a:cubicBezTo>
                <a:cubicBezTo>
                  <a:pt x="755" y="42"/>
                  <a:pt x="753" y="44"/>
                  <a:pt x="753" y="52"/>
                </a:cubicBezTo>
                <a:cubicBezTo>
                  <a:pt x="753" y="54"/>
                  <a:pt x="753" y="56"/>
                  <a:pt x="753" y="57"/>
                </a:cubicBezTo>
                <a:cubicBezTo>
                  <a:pt x="753" y="59"/>
                  <a:pt x="753" y="61"/>
                  <a:pt x="753" y="62"/>
                </a:cubicBezTo>
                <a:cubicBezTo>
                  <a:pt x="753" y="66"/>
                  <a:pt x="752" y="68"/>
                  <a:pt x="748" y="68"/>
                </a:cubicBezTo>
                <a:cubicBezTo>
                  <a:pt x="748" y="68"/>
                  <a:pt x="748" y="68"/>
                  <a:pt x="747" y="68"/>
                </a:cubicBezTo>
                <a:cubicBezTo>
                  <a:pt x="747" y="68"/>
                  <a:pt x="747" y="68"/>
                  <a:pt x="747" y="77"/>
                </a:cubicBezTo>
                <a:cubicBezTo>
                  <a:pt x="747" y="77"/>
                  <a:pt x="747" y="77"/>
                  <a:pt x="750" y="77"/>
                </a:cubicBezTo>
                <a:cubicBezTo>
                  <a:pt x="759" y="77"/>
                  <a:pt x="765" y="74"/>
                  <a:pt x="765" y="65"/>
                </a:cubicBezTo>
                <a:cubicBezTo>
                  <a:pt x="765" y="62"/>
                  <a:pt x="765" y="60"/>
                  <a:pt x="764" y="57"/>
                </a:cubicBezTo>
                <a:cubicBezTo>
                  <a:pt x="764" y="55"/>
                  <a:pt x="764" y="53"/>
                  <a:pt x="764" y="50"/>
                </a:cubicBezTo>
                <a:cubicBezTo>
                  <a:pt x="764" y="48"/>
                  <a:pt x="764" y="45"/>
                  <a:pt x="771" y="44"/>
                </a:cubicBezTo>
                <a:close/>
                <a:moveTo>
                  <a:pt x="818" y="4"/>
                </a:moveTo>
                <a:cubicBezTo>
                  <a:pt x="818" y="4"/>
                  <a:pt x="818" y="4"/>
                  <a:pt x="818" y="4"/>
                </a:cubicBezTo>
                <a:cubicBezTo>
                  <a:pt x="813" y="4"/>
                  <a:pt x="813" y="4"/>
                  <a:pt x="813" y="4"/>
                </a:cubicBezTo>
                <a:cubicBezTo>
                  <a:pt x="811" y="5"/>
                  <a:pt x="810" y="7"/>
                  <a:pt x="807" y="7"/>
                </a:cubicBezTo>
                <a:cubicBezTo>
                  <a:pt x="806" y="9"/>
                  <a:pt x="804" y="10"/>
                  <a:pt x="802" y="10"/>
                </a:cubicBezTo>
                <a:cubicBezTo>
                  <a:pt x="800" y="11"/>
                  <a:pt x="799" y="12"/>
                  <a:pt x="797" y="12"/>
                </a:cubicBezTo>
                <a:cubicBezTo>
                  <a:pt x="795" y="13"/>
                  <a:pt x="794" y="14"/>
                  <a:pt x="791" y="15"/>
                </a:cubicBezTo>
                <a:cubicBezTo>
                  <a:pt x="791" y="15"/>
                  <a:pt x="791" y="15"/>
                  <a:pt x="791" y="25"/>
                </a:cubicBezTo>
                <a:cubicBezTo>
                  <a:pt x="794" y="24"/>
                  <a:pt x="797" y="23"/>
                  <a:pt x="799" y="22"/>
                </a:cubicBezTo>
                <a:cubicBezTo>
                  <a:pt x="802" y="21"/>
                  <a:pt x="804" y="20"/>
                  <a:pt x="807" y="18"/>
                </a:cubicBezTo>
                <a:cubicBezTo>
                  <a:pt x="807" y="18"/>
                  <a:pt x="807" y="18"/>
                  <a:pt x="807" y="77"/>
                </a:cubicBezTo>
                <a:cubicBezTo>
                  <a:pt x="807" y="77"/>
                  <a:pt x="807" y="77"/>
                  <a:pt x="818" y="77"/>
                </a:cubicBezTo>
                <a:cubicBezTo>
                  <a:pt x="818" y="77"/>
                  <a:pt x="818" y="77"/>
                  <a:pt x="818" y="4"/>
                </a:cubicBezTo>
                <a:close/>
                <a:moveTo>
                  <a:pt x="865" y="4"/>
                </a:moveTo>
                <a:cubicBezTo>
                  <a:pt x="865" y="4"/>
                  <a:pt x="865" y="4"/>
                  <a:pt x="865" y="4"/>
                </a:cubicBezTo>
                <a:cubicBezTo>
                  <a:pt x="860" y="4"/>
                  <a:pt x="860" y="4"/>
                  <a:pt x="860" y="4"/>
                </a:cubicBezTo>
                <a:cubicBezTo>
                  <a:pt x="858" y="5"/>
                  <a:pt x="857" y="7"/>
                  <a:pt x="855" y="7"/>
                </a:cubicBezTo>
                <a:cubicBezTo>
                  <a:pt x="853" y="9"/>
                  <a:pt x="851" y="10"/>
                  <a:pt x="850" y="10"/>
                </a:cubicBezTo>
                <a:cubicBezTo>
                  <a:pt x="848" y="12"/>
                  <a:pt x="846" y="12"/>
                  <a:pt x="845" y="13"/>
                </a:cubicBezTo>
                <a:cubicBezTo>
                  <a:pt x="842" y="14"/>
                  <a:pt x="841" y="15"/>
                  <a:pt x="839" y="15"/>
                </a:cubicBezTo>
                <a:cubicBezTo>
                  <a:pt x="839" y="15"/>
                  <a:pt x="839" y="15"/>
                  <a:pt x="839" y="25"/>
                </a:cubicBezTo>
                <a:cubicBezTo>
                  <a:pt x="842" y="24"/>
                  <a:pt x="845" y="23"/>
                  <a:pt x="847" y="22"/>
                </a:cubicBezTo>
                <a:cubicBezTo>
                  <a:pt x="850" y="21"/>
                  <a:pt x="852" y="20"/>
                  <a:pt x="854" y="18"/>
                </a:cubicBezTo>
                <a:cubicBezTo>
                  <a:pt x="854" y="18"/>
                  <a:pt x="854" y="18"/>
                  <a:pt x="854" y="77"/>
                </a:cubicBezTo>
                <a:cubicBezTo>
                  <a:pt x="854" y="77"/>
                  <a:pt x="854" y="77"/>
                  <a:pt x="865" y="77"/>
                </a:cubicBezTo>
                <a:cubicBezTo>
                  <a:pt x="865" y="77"/>
                  <a:pt x="865" y="77"/>
                  <a:pt x="865" y="4"/>
                </a:cubicBezTo>
                <a:close/>
                <a:moveTo>
                  <a:pt x="912" y="4"/>
                </a:moveTo>
                <a:cubicBezTo>
                  <a:pt x="912" y="4"/>
                  <a:pt x="912" y="4"/>
                  <a:pt x="912" y="4"/>
                </a:cubicBezTo>
                <a:cubicBezTo>
                  <a:pt x="908" y="4"/>
                  <a:pt x="908" y="4"/>
                  <a:pt x="908" y="4"/>
                </a:cubicBezTo>
                <a:cubicBezTo>
                  <a:pt x="905" y="5"/>
                  <a:pt x="904" y="7"/>
                  <a:pt x="902" y="7"/>
                </a:cubicBezTo>
                <a:cubicBezTo>
                  <a:pt x="900" y="9"/>
                  <a:pt x="898" y="10"/>
                  <a:pt x="897" y="10"/>
                </a:cubicBezTo>
                <a:cubicBezTo>
                  <a:pt x="895" y="12"/>
                  <a:pt x="893" y="12"/>
                  <a:pt x="891" y="13"/>
                </a:cubicBezTo>
                <a:cubicBezTo>
                  <a:pt x="890" y="14"/>
                  <a:pt x="887" y="15"/>
                  <a:pt x="886" y="15"/>
                </a:cubicBezTo>
                <a:cubicBezTo>
                  <a:pt x="886" y="15"/>
                  <a:pt x="886" y="15"/>
                  <a:pt x="886" y="25"/>
                </a:cubicBezTo>
                <a:cubicBezTo>
                  <a:pt x="889" y="24"/>
                  <a:pt x="892" y="23"/>
                  <a:pt x="894" y="22"/>
                </a:cubicBezTo>
                <a:cubicBezTo>
                  <a:pt x="896" y="21"/>
                  <a:pt x="899" y="20"/>
                  <a:pt x="900" y="18"/>
                </a:cubicBezTo>
                <a:cubicBezTo>
                  <a:pt x="900" y="18"/>
                  <a:pt x="900" y="18"/>
                  <a:pt x="900" y="77"/>
                </a:cubicBezTo>
                <a:cubicBezTo>
                  <a:pt x="900" y="77"/>
                  <a:pt x="900" y="77"/>
                  <a:pt x="912" y="77"/>
                </a:cubicBezTo>
                <a:cubicBezTo>
                  <a:pt x="912" y="77"/>
                  <a:pt x="912" y="77"/>
                  <a:pt x="912" y="4"/>
                </a:cubicBezTo>
                <a:close/>
                <a:moveTo>
                  <a:pt x="1035" y="4"/>
                </a:moveTo>
                <a:cubicBezTo>
                  <a:pt x="1035" y="4"/>
                  <a:pt x="1035" y="4"/>
                  <a:pt x="1035" y="4"/>
                </a:cubicBezTo>
                <a:cubicBezTo>
                  <a:pt x="1030" y="4"/>
                  <a:pt x="1030" y="4"/>
                  <a:pt x="1030" y="4"/>
                </a:cubicBezTo>
                <a:cubicBezTo>
                  <a:pt x="1027" y="5"/>
                  <a:pt x="1026" y="7"/>
                  <a:pt x="1024" y="7"/>
                </a:cubicBezTo>
                <a:cubicBezTo>
                  <a:pt x="1022" y="9"/>
                  <a:pt x="1021" y="10"/>
                  <a:pt x="1019" y="10"/>
                </a:cubicBezTo>
                <a:cubicBezTo>
                  <a:pt x="1017" y="12"/>
                  <a:pt x="1015" y="12"/>
                  <a:pt x="1014" y="13"/>
                </a:cubicBezTo>
                <a:cubicBezTo>
                  <a:pt x="1011" y="14"/>
                  <a:pt x="1010" y="15"/>
                  <a:pt x="1008" y="15"/>
                </a:cubicBezTo>
                <a:cubicBezTo>
                  <a:pt x="1008" y="15"/>
                  <a:pt x="1008" y="15"/>
                  <a:pt x="1008" y="25"/>
                </a:cubicBezTo>
                <a:cubicBezTo>
                  <a:pt x="1011" y="24"/>
                  <a:pt x="1014" y="23"/>
                  <a:pt x="1017" y="22"/>
                </a:cubicBezTo>
                <a:cubicBezTo>
                  <a:pt x="1019" y="21"/>
                  <a:pt x="1021" y="20"/>
                  <a:pt x="1023" y="18"/>
                </a:cubicBezTo>
                <a:cubicBezTo>
                  <a:pt x="1023" y="18"/>
                  <a:pt x="1023" y="18"/>
                  <a:pt x="1023" y="77"/>
                </a:cubicBezTo>
                <a:cubicBezTo>
                  <a:pt x="1023" y="77"/>
                  <a:pt x="1023" y="77"/>
                  <a:pt x="1035" y="77"/>
                </a:cubicBezTo>
                <a:cubicBezTo>
                  <a:pt x="1035" y="77"/>
                  <a:pt x="1035" y="77"/>
                  <a:pt x="1035" y="4"/>
                </a:cubicBezTo>
                <a:close/>
                <a:moveTo>
                  <a:pt x="1082" y="4"/>
                </a:moveTo>
                <a:cubicBezTo>
                  <a:pt x="1082" y="4"/>
                  <a:pt x="1082" y="4"/>
                  <a:pt x="1082" y="4"/>
                </a:cubicBezTo>
                <a:cubicBezTo>
                  <a:pt x="1077" y="4"/>
                  <a:pt x="1077" y="4"/>
                  <a:pt x="1077" y="4"/>
                </a:cubicBezTo>
                <a:cubicBezTo>
                  <a:pt x="1075" y="5"/>
                  <a:pt x="1074" y="7"/>
                  <a:pt x="1071" y="7"/>
                </a:cubicBezTo>
                <a:cubicBezTo>
                  <a:pt x="1070" y="9"/>
                  <a:pt x="1068" y="10"/>
                  <a:pt x="1066" y="10"/>
                </a:cubicBezTo>
                <a:cubicBezTo>
                  <a:pt x="1065" y="12"/>
                  <a:pt x="1063" y="12"/>
                  <a:pt x="1061" y="13"/>
                </a:cubicBezTo>
                <a:cubicBezTo>
                  <a:pt x="1059" y="14"/>
                  <a:pt x="1058" y="15"/>
                  <a:pt x="1055" y="15"/>
                </a:cubicBezTo>
                <a:cubicBezTo>
                  <a:pt x="1055" y="15"/>
                  <a:pt x="1055" y="15"/>
                  <a:pt x="1055" y="25"/>
                </a:cubicBezTo>
                <a:cubicBezTo>
                  <a:pt x="1058" y="24"/>
                  <a:pt x="1061" y="23"/>
                  <a:pt x="1063" y="22"/>
                </a:cubicBezTo>
                <a:cubicBezTo>
                  <a:pt x="1066" y="21"/>
                  <a:pt x="1068" y="20"/>
                  <a:pt x="1071" y="18"/>
                </a:cubicBezTo>
                <a:cubicBezTo>
                  <a:pt x="1071" y="18"/>
                  <a:pt x="1071" y="18"/>
                  <a:pt x="1071" y="77"/>
                </a:cubicBezTo>
                <a:cubicBezTo>
                  <a:pt x="1071" y="77"/>
                  <a:pt x="1071" y="77"/>
                  <a:pt x="1082" y="77"/>
                </a:cubicBezTo>
                <a:cubicBezTo>
                  <a:pt x="1082" y="77"/>
                  <a:pt x="1082" y="77"/>
                  <a:pt x="1082" y="4"/>
                </a:cubicBezTo>
                <a:close/>
                <a:moveTo>
                  <a:pt x="1129" y="4"/>
                </a:moveTo>
                <a:cubicBezTo>
                  <a:pt x="1129" y="4"/>
                  <a:pt x="1129" y="4"/>
                  <a:pt x="1129" y="4"/>
                </a:cubicBezTo>
                <a:cubicBezTo>
                  <a:pt x="1124" y="4"/>
                  <a:pt x="1124" y="4"/>
                  <a:pt x="1124" y="4"/>
                </a:cubicBezTo>
                <a:cubicBezTo>
                  <a:pt x="1122" y="5"/>
                  <a:pt x="1121" y="7"/>
                  <a:pt x="1119" y="7"/>
                </a:cubicBezTo>
                <a:cubicBezTo>
                  <a:pt x="1117" y="9"/>
                  <a:pt x="1115" y="10"/>
                  <a:pt x="1114" y="10"/>
                </a:cubicBezTo>
                <a:cubicBezTo>
                  <a:pt x="1112" y="11"/>
                  <a:pt x="1110" y="12"/>
                  <a:pt x="1108" y="12"/>
                </a:cubicBezTo>
                <a:cubicBezTo>
                  <a:pt x="1106" y="13"/>
                  <a:pt x="1104" y="14"/>
                  <a:pt x="1103" y="15"/>
                </a:cubicBezTo>
                <a:cubicBezTo>
                  <a:pt x="1103" y="15"/>
                  <a:pt x="1103" y="15"/>
                  <a:pt x="1103" y="25"/>
                </a:cubicBezTo>
                <a:cubicBezTo>
                  <a:pt x="1106" y="24"/>
                  <a:pt x="1109" y="23"/>
                  <a:pt x="1111" y="22"/>
                </a:cubicBezTo>
                <a:cubicBezTo>
                  <a:pt x="1113" y="21"/>
                  <a:pt x="1116" y="20"/>
                  <a:pt x="1117" y="18"/>
                </a:cubicBezTo>
                <a:cubicBezTo>
                  <a:pt x="1117" y="18"/>
                  <a:pt x="1117" y="18"/>
                  <a:pt x="1117" y="77"/>
                </a:cubicBezTo>
                <a:cubicBezTo>
                  <a:pt x="1117" y="77"/>
                  <a:pt x="1117" y="77"/>
                  <a:pt x="1129" y="77"/>
                </a:cubicBezTo>
                <a:cubicBezTo>
                  <a:pt x="1129" y="77"/>
                  <a:pt x="1129" y="77"/>
                  <a:pt x="1129" y="4"/>
                </a:cubicBezTo>
                <a:close/>
                <a:moveTo>
                  <a:pt x="1174" y="77"/>
                </a:moveTo>
                <a:cubicBezTo>
                  <a:pt x="1166" y="77"/>
                  <a:pt x="1160" y="74"/>
                  <a:pt x="1155" y="68"/>
                </a:cubicBezTo>
                <a:cubicBezTo>
                  <a:pt x="1152" y="62"/>
                  <a:pt x="1149" y="53"/>
                  <a:pt x="1149" y="41"/>
                </a:cubicBezTo>
                <a:cubicBezTo>
                  <a:pt x="1149" y="28"/>
                  <a:pt x="1152" y="18"/>
                  <a:pt x="1156" y="12"/>
                </a:cubicBezTo>
                <a:cubicBezTo>
                  <a:pt x="1160" y="5"/>
                  <a:pt x="1167" y="1"/>
                  <a:pt x="1176" y="1"/>
                </a:cubicBezTo>
                <a:cubicBezTo>
                  <a:pt x="1192" y="1"/>
                  <a:pt x="1200" y="14"/>
                  <a:pt x="1200" y="39"/>
                </a:cubicBezTo>
                <a:cubicBezTo>
                  <a:pt x="1200" y="52"/>
                  <a:pt x="1198" y="61"/>
                  <a:pt x="1193" y="68"/>
                </a:cubicBezTo>
                <a:cubicBezTo>
                  <a:pt x="1188" y="74"/>
                  <a:pt x="1182" y="77"/>
                  <a:pt x="1174" y="77"/>
                </a:cubicBezTo>
                <a:close/>
                <a:moveTo>
                  <a:pt x="1175" y="11"/>
                </a:moveTo>
                <a:cubicBezTo>
                  <a:pt x="1166" y="11"/>
                  <a:pt x="1161" y="21"/>
                  <a:pt x="1161" y="41"/>
                </a:cubicBezTo>
                <a:cubicBezTo>
                  <a:pt x="1161" y="59"/>
                  <a:pt x="1166" y="68"/>
                  <a:pt x="1174" y="68"/>
                </a:cubicBezTo>
                <a:cubicBezTo>
                  <a:pt x="1183" y="68"/>
                  <a:pt x="1187" y="59"/>
                  <a:pt x="1187" y="40"/>
                </a:cubicBezTo>
                <a:cubicBezTo>
                  <a:pt x="1187" y="20"/>
                  <a:pt x="1183" y="11"/>
                  <a:pt x="1175" y="11"/>
                </a:cubicBezTo>
                <a:close/>
                <a:moveTo>
                  <a:pt x="1245" y="77"/>
                </a:moveTo>
                <a:cubicBezTo>
                  <a:pt x="1237" y="77"/>
                  <a:pt x="1231" y="74"/>
                  <a:pt x="1227" y="68"/>
                </a:cubicBezTo>
                <a:cubicBezTo>
                  <a:pt x="1223" y="62"/>
                  <a:pt x="1220" y="53"/>
                  <a:pt x="1220" y="41"/>
                </a:cubicBezTo>
                <a:cubicBezTo>
                  <a:pt x="1220" y="28"/>
                  <a:pt x="1223" y="18"/>
                  <a:pt x="1227" y="12"/>
                </a:cubicBezTo>
                <a:cubicBezTo>
                  <a:pt x="1231" y="5"/>
                  <a:pt x="1238" y="1"/>
                  <a:pt x="1247" y="1"/>
                </a:cubicBezTo>
                <a:cubicBezTo>
                  <a:pt x="1263" y="1"/>
                  <a:pt x="1271" y="14"/>
                  <a:pt x="1271" y="39"/>
                </a:cubicBezTo>
                <a:cubicBezTo>
                  <a:pt x="1271" y="52"/>
                  <a:pt x="1269" y="61"/>
                  <a:pt x="1264" y="68"/>
                </a:cubicBezTo>
                <a:cubicBezTo>
                  <a:pt x="1259" y="74"/>
                  <a:pt x="1253" y="77"/>
                  <a:pt x="1245" y="77"/>
                </a:cubicBezTo>
                <a:close/>
                <a:moveTo>
                  <a:pt x="1246" y="11"/>
                </a:moveTo>
                <a:cubicBezTo>
                  <a:pt x="1237" y="11"/>
                  <a:pt x="1232" y="21"/>
                  <a:pt x="1232" y="41"/>
                </a:cubicBezTo>
                <a:cubicBezTo>
                  <a:pt x="1232" y="59"/>
                  <a:pt x="1237" y="68"/>
                  <a:pt x="1245" y="68"/>
                </a:cubicBezTo>
                <a:cubicBezTo>
                  <a:pt x="1254" y="68"/>
                  <a:pt x="1258" y="59"/>
                  <a:pt x="1258" y="40"/>
                </a:cubicBezTo>
                <a:cubicBezTo>
                  <a:pt x="1258" y="20"/>
                  <a:pt x="1254" y="11"/>
                  <a:pt x="1246" y="11"/>
                </a:cubicBezTo>
                <a:close/>
                <a:moveTo>
                  <a:pt x="933" y="36"/>
                </a:moveTo>
                <a:cubicBezTo>
                  <a:pt x="933" y="36"/>
                  <a:pt x="933" y="36"/>
                  <a:pt x="933" y="36"/>
                </a:cubicBezTo>
                <a:cubicBezTo>
                  <a:pt x="932" y="44"/>
                  <a:pt x="932" y="44"/>
                  <a:pt x="932" y="44"/>
                </a:cubicBezTo>
                <a:cubicBezTo>
                  <a:pt x="939" y="45"/>
                  <a:pt x="940" y="48"/>
                  <a:pt x="940" y="50"/>
                </a:cubicBezTo>
                <a:cubicBezTo>
                  <a:pt x="940" y="53"/>
                  <a:pt x="939" y="55"/>
                  <a:pt x="939" y="57"/>
                </a:cubicBezTo>
                <a:cubicBezTo>
                  <a:pt x="939" y="60"/>
                  <a:pt x="938" y="62"/>
                  <a:pt x="938" y="65"/>
                </a:cubicBezTo>
                <a:cubicBezTo>
                  <a:pt x="938" y="74"/>
                  <a:pt x="944" y="77"/>
                  <a:pt x="953" y="77"/>
                </a:cubicBezTo>
                <a:cubicBezTo>
                  <a:pt x="953" y="77"/>
                  <a:pt x="953" y="77"/>
                  <a:pt x="956" y="77"/>
                </a:cubicBezTo>
                <a:cubicBezTo>
                  <a:pt x="956" y="77"/>
                  <a:pt x="956" y="77"/>
                  <a:pt x="956" y="68"/>
                </a:cubicBezTo>
                <a:cubicBezTo>
                  <a:pt x="956" y="68"/>
                  <a:pt x="956" y="68"/>
                  <a:pt x="955" y="68"/>
                </a:cubicBezTo>
                <a:cubicBezTo>
                  <a:pt x="951" y="68"/>
                  <a:pt x="950" y="66"/>
                  <a:pt x="950" y="62"/>
                </a:cubicBezTo>
                <a:cubicBezTo>
                  <a:pt x="950" y="61"/>
                  <a:pt x="950" y="59"/>
                  <a:pt x="951" y="57"/>
                </a:cubicBezTo>
                <a:cubicBezTo>
                  <a:pt x="951" y="56"/>
                  <a:pt x="951" y="54"/>
                  <a:pt x="951" y="52"/>
                </a:cubicBezTo>
                <a:cubicBezTo>
                  <a:pt x="951" y="44"/>
                  <a:pt x="948" y="42"/>
                  <a:pt x="942" y="40"/>
                </a:cubicBezTo>
                <a:cubicBezTo>
                  <a:pt x="942" y="40"/>
                  <a:pt x="942" y="40"/>
                  <a:pt x="942" y="40"/>
                </a:cubicBezTo>
                <a:cubicBezTo>
                  <a:pt x="948" y="39"/>
                  <a:pt x="951" y="37"/>
                  <a:pt x="951" y="29"/>
                </a:cubicBezTo>
                <a:cubicBezTo>
                  <a:pt x="951" y="27"/>
                  <a:pt x="951" y="25"/>
                  <a:pt x="951" y="23"/>
                </a:cubicBezTo>
                <a:cubicBezTo>
                  <a:pt x="950" y="21"/>
                  <a:pt x="950" y="20"/>
                  <a:pt x="950" y="18"/>
                </a:cubicBezTo>
                <a:cubicBezTo>
                  <a:pt x="950" y="15"/>
                  <a:pt x="951" y="13"/>
                  <a:pt x="955" y="13"/>
                </a:cubicBezTo>
                <a:cubicBezTo>
                  <a:pt x="955" y="13"/>
                  <a:pt x="955" y="13"/>
                  <a:pt x="956" y="13"/>
                </a:cubicBezTo>
                <a:cubicBezTo>
                  <a:pt x="956" y="13"/>
                  <a:pt x="956" y="13"/>
                  <a:pt x="956" y="3"/>
                </a:cubicBezTo>
                <a:cubicBezTo>
                  <a:pt x="956" y="3"/>
                  <a:pt x="956" y="3"/>
                  <a:pt x="953" y="3"/>
                </a:cubicBezTo>
                <a:cubicBezTo>
                  <a:pt x="944" y="3"/>
                  <a:pt x="938" y="7"/>
                  <a:pt x="938" y="16"/>
                </a:cubicBezTo>
                <a:cubicBezTo>
                  <a:pt x="938" y="18"/>
                  <a:pt x="939" y="21"/>
                  <a:pt x="939" y="23"/>
                </a:cubicBezTo>
                <a:cubicBezTo>
                  <a:pt x="939" y="26"/>
                  <a:pt x="940" y="28"/>
                  <a:pt x="940" y="30"/>
                </a:cubicBezTo>
                <a:cubicBezTo>
                  <a:pt x="940" y="33"/>
                  <a:pt x="939" y="36"/>
                  <a:pt x="933" y="36"/>
                </a:cubicBezTo>
                <a:close/>
                <a:moveTo>
                  <a:pt x="987" y="44"/>
                </a:moveTo>
                <a:cubicBezTo>
                  <a:pt x="987" y="44"/>
                  <a:pt x="987" y="44"/>
                  <a:pt x="987" y="44"/>
                </a:cubicBezTo>
                <a:cubicBezTo>
                  <a:pt x="987" y="36"/>
                  <a:pt x="987" y="36"/>
                  <a:pt x="987" y="36"/>
                </a:cubicBezTo>
                <a:cubicBezTo>
                  <a:pt x="981" y="36"/>
                  <a:pt x="981" y="33"/>
                  <a:pt x="981" y="30"/>
                </a:cubicBezTo>
                <a:cubicBezTo>
                  <a:pt x="981" y="28"/>
                  <a:pt x="981" y="26"/>
                  <a:pt x="981" y="23"/>
                </a:cubicBezTo>
                <a:cubicBezTo>
                  <a:pt x="981" y="21"/>
                  <a:pt x="981" y="18"/>
                  <a:pt x="981" y="16"/>
                </a:cubicBezTo>
                <a:cubicBezTo>
                  <a:pt x="981" y="7"/>
                  <a:pt x="976" y="3"/>
                  <a:pt x="967" y="3"/>
                </a:cubicBezTo>
                <a:cubicBezTo>
                  <a:pt x="967" y="3"/>
                  <a:pt x="967" y="3"/>
                  <a:pt x="963" y="3"/>
                </a:cubicBezTo>
                <a:cubicBezTo>
                  <a:pt x="963" y="3"/>
                  <a:pt x="963" y="3"/>
                  <a:pt x="963" y="13"/>
                </a:cubicBezTo>
                <a:cubicBezTo>
                  <a:pt x="963" y="13"/>
                  <a:pt x="963" y="13"/>
                  <a:pt x="965" y="13"/>
                </a:cubicBezTo>
                <a:cubicBezTo>
                  <a:pt x="968" y="13"/>
                  <a:pt x="970" y="15"/>
                  <a:pt x="970" y="18"/>
                </a:cubicBezTo>
                <a:cubicBezTo>
                  <a:pt x="970" y="20"/>
                  <a:pt x="969" y="21"/>
                  <a:pt x="969" y="23"/>
                </a:cubicBezTo>
                <a:cubicBezTo>
                  <a:pt x="969" y="25"/>
                  <a:pt x="969" y="27"/>
                  <a:pt x="969" y="29"/>
                </a:cubicBezTo>
                <a:cubicBezTo>
                  <a:pt x="969" y="37"/>
                  <a:pt x="972" y="39"/>
                  <a:pt x="978" y="40"/>
                </a:cubicBezTo>
                <a:cubicBezTo>
                  <a:pt x="978" y="40"/>
                  <a:pt x="978" y="40"/>
                  <a:pt x="978" y="40"/>
                </a:cubicBezTo>
                <a:cubicBezTo>
                  <a:pt x="972" y="42"/>
                  <a:pt x="969" y="44"/>
                  <a:pt x="969" y="52"/>
                </a:cubicBezTo>
                <a:cubicBezTo>
                  <a:pt x="969" y="54"/>
                  <a:pt x="969" y="56"/>
                  <a:pt x="969" y="57"/>
                </a:cubicBezTo>
                <a:cubicBezTo>
                  <a:pt x="969" y="59"/>
                  <a:pt x="970" y="61"/>
                  <a:pt x="970" y="62"/>
                </a:cubicBezTo>
                <a:cubicBezTo>
                  <a:pt x="970" y="66"/>
                  <a:pt x="969" y="68"/>
                  <a:pt x="965" y="68"/>
                </a:cubicBezTo>
                <a:cubicBezTo>
                  <a:pt x="965" y="68"/>
                  <a:pt x="965" y="68"/>
                  <a:pt x="963" y="68"/>
                </a:cubicBezTo>
                <a:cubicBezTo>
                  <a:pt x="963" y="68"/>
                  <a:pt x="963" y="68"/>
                  <a:pt x="963" y="77"/>
                </a:cubicBezTo>
                <a:cubicBezTo>
                  <a:pt x="963" y="77"/>
                  <a:pt x="963" y="77"/>
                  <a:pt x="967" y="77"/>
                </a:cubicBezTo>
                <a:cubicBezTo>
                  <a:pt x="976" y="77"/>
                  <a:pt x="981" y="74"/>
                  <a:pt x="981" y="65"/>
                </a:cubicBezTo>
                <a:cubicBezTo>
                  <a:pt x="981" y="62"/>
                  <a:pt x="981" y="60"/>
                  <a:pt x="981" y="57"/>
                </a:cubicBezTo>
                <a:cubicBezTo>
                  <a:pt x="981" y="55"/>
                  <a:pt x="981" y="53"/>
                  <a:pt x="981" y="50"/>
                </a:cubicBezTo>
                <a:cubicBezTo>
                  <a:pt x="981" y="48"/>
                  <a:pt x="981" y="45"/>
                  <a:pt x="987" y="44"/>
                </a:cubicBezTo>
                <a:close/>
                <a:moveTo>
                  <a:pt x="1457" y="77"/>
                </a:moveTo>
                <a:cubicBezTo>
                  <a:pt x="1450" y="77"/>
                  <a:pt x="1444" y="74"/>
                  <a:pt x="1439" y="68"/>
                </a:cubicBezTo>
                <a:cubicBezTo>
                  <a:pt x="1435" y="62"/>
                  <a:pt x="1433" y="52"/>
                  <a:pt x="1433" y="41"/>
                </a:cubicBezTo>
                <a:cubicBezTo>
                  <a:pt x="1433" y="28"/>
                  <a:pt x="1435" y="18"/>
                  <a:pt x="1439" y="11"/>
                </a:cubicBezTo>
                <a:cubicBezTo>
                  <a:pt x="1444" y="4"/>
                  <a:pt x="1450" y="1"/>
                  <a:pt x="1459" y="1"/>
                </a:cubicBezTo>
                <a:cubicBezTo>
                  <a:pt x="1475" y="1"/>
                  <a:pt x="1484" y="14"/>
                  <a:pt x="1484" y="39"/>
                </a:cubicBezTo>
                <a:cubicBezTo>
                  <a:pt x="1484" y="52"/>
                  <a:pt x="1481" y="61"/>
                  <a:pt x="1477" y="68"/>
                </a:cubicBezTo>
                <a:cubicBezTo>
                  <a:pt x="1472" y="74"/>
                  <a:pt x="1466" y="77"/>
                  <a:pt x="1457" y="77"/>
                </a:cubicBezTo>
                <a:close/>
                <a:moveTo>
                  <a:pt x="1458" y="11"/>
                </a:moveTo>
                <a:cubicBezTo>
                  <a:pt x="1450" y="11"/>
                  <a:pt x="1445" y="20"/>
                  <a:pt x="1445" y="40"/>
                </a:cubicBezTo>
                <a:cubicBezTo>
                  <a:pt x="1445" y="58"/>
                  <a:pt x="1450" y="68"/>
                  <a:pt x="1458" y="68"/>
                </a:cubicBezTo>
                <a:cubicBezTo>
                  <a:pt x="1467" y="68"/>
                  <a:pt x="1471" y="58"/>
                  <a:pt x="1471" y="40"/>
                </a:cubicBezTo>
                <a:cubicBezTo>
                  <a:pt x="1471" y="20"/>
                  <a:pt x="1467" y="11"/>
                  <a:pt x="1458" y="11"/>
                </a:cubicBezTo>
                <a:close/>
                <a:moveTo>
                  <a:pt x="1530" y="4"/>
                </a:moveTo>
                <a:cubicBezTo>
                  <a:pt x="1530" y="4"/>
                  <a:pt x="1530" y="4"/>
                  <a:pt x="1530" y="4"/>
                </a:cubicBezTo>
                <a:cubicBezTo>
                  <a:pt x="1525" y="4"/>
                  <a:pt x="1525" y="4"/>
                  <a:pt x="1525" y="4"/>
                </a:cubicBezTo>
                <a:cubicBezTo>
                  <a:pt x="1523" y="5"/>
                  <a:pt x="1522" y="7"/>
                  <a:pt x="1519" y="7"/>
                </a:cubicBezTo>
                <a:cubicBezTo>
                  <a:pt x="1518" y="9"/>
                  <a:pt x="1516" y="10"/>
                  <a:pt x="1514" y="10"/>
                </a:cubicBezTo>
                <a:cubicBezTo>
                  <a:pt x="1513" y="11"/>
                  <a:pt x="1511" y="12"/>
                  <a:pt x="1509" y="12"/>
                </a:cubicBezTo>
                <a:cubicBezTo>
                  <a:pt x="1507" y="13"/>
                  <a:pt x="1506" y="14"/>
                  <a:pt x="1504" y="15"/>
                </a:cubicBezTo>
                <a:cubicBezTo>
                  <a:pt x="1504" y="15"/>
                  <a:pt x="1504" y="15"/>
                  <a:pt x="1504" y="25"/>
                </a:cubicBezTo>
                <a:cubicBezTo>
                  <a:pt x="1507" y="24"/>
                  <a:pt x="1509" y="23"/>
                  <a:pt x="1512" y="22"/>
                </a:cubicBezTo>
                <a:cubicBezTo>
                  <a:pt x="1514" y="21"/>
                  <a:pt x="1517" y="20"/>
                  <a:pt x="1519" y="18"/>
                </a:cubicBezTo>
                <a:cubicBezTo>
                  <a:pt x="1519" y="18"/>
                  <a:pt x="1519" y="18"/>
                  <a:pt x="1519" y="77"/>
                </a:cubicBezTo>
                <a:cubicBezTo>
                  <a:pt x="1519" y="77"/>
                  <a:pt x="1519" y="77"/>
                  <a:pt x="1530" y="77"/>
                </a:cubicBezTo>
                <a:cubicBezTo>
                  <a:pt x="1530" y="77"/>
                  <a:pt x="1530" y="77"/>
                  <a:pt x="1530" y="4"/>
                </a:cubicBezTo>
                <a:close/>
                <a:moveTo>
                  <a:pt x="1868" y="77"/>
                </a:moveTo>
                <a:cubicBezTo>
                  <a:pt x="1860" y="77"/>
                  <a:pt x="1854" y="74"/>
                  <a:pt x="1849" y="68"/>
                </a:cubicBezTo>
                <a:cubicBezTo>
                  <a:pt x="1846" y="62"/>
                  <a:pt x="1844" y="53"/>
                  <a:pt x="1844" y="41"/>
                </a:cubicBezTo>
                <a:cubicBezTo>
                  <a:pt x="1844" y="28"/>
                  <a:pt x="1846" y="18"/>
                  <a:pt x="1850" y="12"/>
                </a:cubicBezTo>
                <a:cubicBezTo>
                  <a:pt x="1855" y="5"/>
                  <a:pt x="1861" y="1"/>
                  <a:pt x="1870" y="1"/>
                </a:cubicBezTo>
                <a:cubicBezTo>
                  <a:pt x="1886" y="1"/>
                  <a:pt x="1894" y="14"/>
                  <a:pt x="1894" y="39"/>
                </a:cubicBezTo>
                <a:cubicBezTo>
                  <a:pt x="1894" y="52"/>
                  <a:pt x="1892" y="61"/>
                  <a:pt x="1887" y="68"/>
                </a:cubicBezTo>
                <a:cubicBezTo>
                  <a:pt x="1883" y="74"/>
                  <a:pt x="1876" y="77"/>
                  <a:pt x="1868" y="77"/>
                </a:cubicBezTo>
                <a:close/>
                <a:moveTo>
                  <a:pt x="1869" y="11"/>
                </a:moveTo>
                <a:cubicBezTo>
                  <a:pt x="1860" y="11"/>
                  <a:pt x="1855" y="21"/>
                  <a:pt x="1855" y="41"/>
                </a:cubicBezTo>
                <a:cubicBezTo>
                  <a:pt x="1855" y="59"/>
                  <a:pt x="1860" y="68"/>
                  <a:pt x="1869" y="68"/>
                </a:cubicBezTo>
                <a:cubicBezTo>
                  <a:pt x="1877" y="68"/>
                  <a:pt x="1882" y="59"/>
                  <a:pt x="1882" y="40"/>
                </a:cubicBezTo>
                <a:cubicBezTo>
                  <a:pt x="1882" y="20"/>
                  <a:pt x="1877" y="11"/>
                  <a:pt x="1869" y="11"/>
                </a:cubicBezTo>
                <a:close/>
                <a:moveTo>
                  <a:pt x="1938" y="4"/>
                </a:moveTo>
                <a:cubicBezTo>
                  <a:pt x="1938" y="4"/>
                  <a:pt x="1938" y="4"/>
                  <a:pt x="1938" y="4"/>
                </a:cubicBezTo>
                <a:cubicBezTo>
                  <a:pt x="1933" y="4"/>
                  <a:pt x="1933" y="4"/>
                  <a:pt x="1933" y="4"/>
                </a:cubicBezTo>
                <a:cubicBezTo>
                  <a:pt x="1930" y="5"/>
                  <a:pt x="1929" y="7"/>
                  <a:pt x="1927" y="7"/>
                </a:cubicBezTo>
                <a:cubicBezTo>
                  <a:pt x="1925" y="9"/>
                  <a:pt x="1923" y="10"/>
                  <a:pt x="1922" y="10"/>
                </a:cubicBezTo>
                <a:cubicBezTo>
                  <a:pt x="1919" y="11"/>
                  <a:pt x="1918" y="12"/>
                  <a:pt x="1917" y="12"/>
                </a:cubicBezTo>
                <a:cubicBezTo>
                  <a:pt x="1914" y="13"/>
                  <a:pt x="1913" y="14"/>
                  <a:pt x="1911" y="15"/>
                </a:cubicBezTo>
                <a:cubicBezTo>
                  <a:pt x="1911" y="15"/>
                  <a:pt x="1911" y="15"/>
                  <a:pt x="1911" y="25"/>
                </a:cubicBezTo>
                <a:cubicBezTo>
                  <a:pt x="1914" y="24"/>
                  <a:pt x="1917" y="23"/>
                  <a:pt x="1919" y="22"/>
                </a:cubicBezTo>
                <a:cubicBezTo>
                  <a:pt x="1922" y="21"/>
                  <a:pt x="1924" y="20"/>
                  <a:pt x="1926" y="18"/>
                </a:cubicBezTo>
                <a:cubicBezTo>
                  <a:pt x="1926" y="18"/>
                  <a:pt x="1926" y="18"/>
                  <a:pt x="1926" y="77"/>
                </a:cubicBezTo>
                <a:cubicBezTo>
                  <a:pt x="1926" y="77"/>
                  <a:pt x="1926" y="77"/>
                  <a:pt x="1938" y="77"/>
                </a:cubicBezTo>
                <a:cubicBezTo>
                  <a:pt x="1938" y="77"/>
                  <a:pt x="1938" y="77"/>
                  <a:pt x="1938" y="4"/>
                </a:cubicBezTo>
                <a:close/>
                <a:moveTo>
                  <a:pt x="1774" y="77"/>
                </a:moveTo>
                <a:cubicBezTo>
                  <a:pt x="1777" y="58"/>
                  <a:pt x="1777" y="58"/>
                  <a:pt x="1777" y="58"/>
                </a:cubicBezTo>
                <a:cubicBezTo>
                  <a:pt x="1768" y="58"/>
                  <a:pt x="1768" y="58"/>
                  <a:pt x="1768" y="58"/>
                </a:cubicBezTo>
                <a:cubicBezTo>
                  <a:pt x="1768" y="46"/>
                  <a:pt x="1768" y="46"/>
                  <a:pt x="1768" y="46"/>
                </a:cubicBezTo>
                <a:cubicBezTo>
                  <a:pt x="1779" y="46"/>
                  <a:pt x="1779" y="46"/>
                  <a:pt x="1779" y="46"/>
                </a:cubicBezTo>
                <a:cubicBezTo>
                  <a:pt x="1781" y="35"/>
                  <a:pt x="1781" y="35"/>
                  <a:pt x="1781" y="35"/>
                </a:cubicBezTo>
                <a:cubicBezTo>
                  <a:pt x="1771" y="35"/>
                  <a:pt x="1771" y="35"/>
                  <a:pt x="1771" y="35"/>
                </a:cubicBezTo>
                <a:cubicBezTo>
                  <a:pt x="1771" y="23"/>
                  <a:pt x="1771" y="23"/>
                  <a:pt x="1771" y="23"/>
                </a:cubicBezTo>
                <a:cubicBezTo>
                  <a:pt x="1782" y="23"/>
                  <a:pt x="1782" y="23"/>
                  <a:pt x="1782" y="23"/>
                </a:cubicBezTo>
                <a:cubicBezTo>
                  <a:pt x="1785" y="5"/>
                  <a:pt x="1785" y="5"/>
                  <a:pt x="1785" y="5"/>
                </a:cubicBezTo>
                <a:cubicBezTo>
                  <a:pt x="1797" y="5"/>
                  <a:pt x="1797" y="5"/>
                  <a:pt x="1797" y="5"/>
                </a:cubicBezTo>
                <a:cubicBezTo>
                  <a:pt x="1794" y="23"/>
                  <a:pt x="1794" y="23"/>
                  <a:pt x="1794" y="23"/>
                </a:cubicBezTo>
                <a:cubicBezTo>
                  <a:pt x="1803" y="23"/>
                  <a:pt x="1803" y="23"/>
                  <a:pt x="1803" y="23"/>
                </a:cubicBezTo>
                <a:cubicBezTo>
                  <a:pt x="1806" y="5"/>
                  <a:pt x="1806" y="5"/>
                  <a:pt x="1806" y="5"/>
                </a:cubicBezTo>
                <a:cubicBezTo>
                  <a:pt x="1818" y="5"/>
                  <a:pt x="1818" y="5"/>
                  <a:pt x="1818" y="5"/>
                </a:cubicBezTo>
                <a:cubicBezTo>
                  <a:pt x="1814" y="23"/>
                  <a:pt x="1814" y="23"/>
                  <a:pt x="1814" y="23"/>
                </a:cubicBezTo>
                <a:cubicBezTo>
                  <a:pt x="1823" y="23"/>
                  <a:pt x="1823" y="23"/>
                  <a:pt x="1823" y="23"/>
                </a:cubicBezTo>
                <a:cubicBezTo>
                  <a:pt x="1823" y="35"/>
                  <a:pt x="1823" y="35"/>
                  <a:pt x="1823" y="35"/>
                </a:cubicBezTo>
                <a:cubicBezTo>
                  <a:pt x="1813" y="35"/>
                  <a:pt x="1813" y="35"/>
                  <a:pt x="1813" y="35"/>
                </a:cubicBezTo>
                <a:cubicBezTo>
                  <a:pt x="1811" y="46"/>
                  <a:pt x="1811" y="46"/>
                  <a:pt x="1811" y="46"/>
                </a:cubicBezTo>
                <a:cubicBezTo>
                  <a:pt x="1820" y="46"/>
                  <a:pt x="1820" y="46"/>
                  <a:pt x="1820" y="46"/>
                </a:cubicBezTo>
                <a:cubicBezTo>
                  <a:pt x="1820" y="58"/>
                  <a:pt x="1820" y="58"/>
                  <a:pt x="1820" y="58"/>
                </a:cubicBezTo>
                <a:cubicBezTo>
                  <a:pt x="1809" y="58"/>
                  <a:pt x="1809" y="58"/>
                  <a:pt x="1809" y="58"/>
                </a:cubicBezTo>
                <a:cubicBezTo>
                  <a:pt x="1806" y="77"/>
                  <a:pt x="1806" y="77"/>
                  <a:pt x="1806" y="77"/>
                </a:cubicBezTo>
                <a:cubicBezTo>
                  <a:pt x="1795" y="77"/>
                  <a:pt x="1795" y="77"/>
                  <a:pt x="1795" y="77"/>
                </a:cubicBezTo>
                <a:cubicBezTo>
                  <a:pt x="1798" y="58"/>
                  <a:pt x="1798" y="58"/>
                  <a:pt x="1798" y="58"/>
                </a:cubicBezTo>
                <a:cubicBezTo>
                  <a:pt x="1788" y="58"/>
                  <a:pt x="1788" y="58"/>
                  <a:pt x="1788" y="58"/>
                </a:cubicBezTo>
                <a:cubicBezTo>
                  <a:pt x="1785" y="77"/>
                  <a:pt x="1785" y="77"/>
                  <a:pt x="1785" y="77"/>
                </a:cubicBezTo>
                <a:cubicBezTo>
                  <a:pt x="1774" y="77"/>
                  <a:pt x="1774" y="77"/>
                  <a:pt x="1774" y="77"/>
                </a:cubicBezTo>
                <a:cubicBezTo>
                  <a:pt x="1774" y="77"/>
                  <a:pt x="1774" y="77"/>
                  <a:pt x="1774" y="77"/>
                </a:cubicBezTo>
                <a:close/>
                <a:moveTo>
                  <a:pt x="1800" y="46"/>
                </a:moveTo>
                <a:cubicBezTo>
                  <a:pt x="1801" y="35"/>
                  <a:pt x="1801" y="35"/>
                  <a:pt x="1801" y="35"/>
                </a:cubicBezTo>
                <a:cubicBezTo>
                  <a:pt x="1792" y="35"/>
                  <a:pt x="1792" y="35"/>
                  <a:pt x="1792" y="35"/>
                </a:cubicBezTo>
                <a:cubicBezTo>
                  <a:pt x="1790" y="46"/>
                  <a:pt x="1790" y="46"/>
                  <a:pt x="1790" y="46"/>
                </a:cubicBezTo>
                <a:cubicBezTo>
                  <a:pt x="1800" y="46"/>
                  <a:pt x="1800" y="46"/>
                  <a:pt x="1800" y="46"/>
                </a:cubicBezTo>
                <a:cubicBezTo>
                  <a:pt x="1800" y="46"/>
                  <a:pt x="1800" y="46"/>
                  <a:pt x="1800" y="46"/>
                </a:cubicBezTo>
                <a:close/>
                <a:moveTo>
                  <a:pt x="659" y="51"/>
                </a:moveTo>
                <a:cubicBezTo>
                  <a:pt x="659" y="53"/>
                  <a:pt x="660" y="54"/>
                  <a:pt x="660" y="55"/>
                </a:cubicBezTo>
                <a:cubicBezTo>
                  <a:pt x="661" y="57"/>
                  <a:pt x="661" y="59"/>
                  <a:pt x="662" y="61"/>
                </a:cubicBezTo>
                <a:cubicBezTo>
                  <a:pt x="662" y="62"/>
                  <a:pt x="662" y="64"/>
                  <a:pt x="662" y="65"/>
                </a:cubicBezTo>
                <a:cubicBezTo>
                  <a:pt x="663" y="68"/>
                  <a:pt x="662" y="70"/>
                  <a:pt x="659" y="70"/>
                </a:cubicBezTo>
                <a:cubicBezTo>
                  <a:pt x="656" y="70"/>
                  <a:pt x="653" y="70"/>
                  <a:pt x="650" y="70"/>
                </a:cubicBezTo>
                <a:cubicBezTo>
                  <a:pt x="650" y="70"/>
                  <a:pt x="649" y="70"/>
                  <a:pt x="649" y="70"/>
                </a:cubicBezTo>
                <a:cubicBezTo>
                  <a:pt x="647" y="72"/>
                  <a:pt x="646" y="73"/>
                  <a:pt x="644" y="74"/>
                </a:cubicBezTo>
                <a:cubicBezTo>
                  <a:pt x="642" y="77"/>
                  <a:pt x="639" y="77"/>
                  <a:pt x="637" y="75"/>
                </a:cubicBezTo>
                <a:cubicBezTo>
                  <a:pt x="635" y="73"/>
                  <a:pt x="634" y="70"/>
                  <a:pt x="632" y="68"/>
                </a:cubicBezTo>
                <a:cubicBezTo>
                  <a:pt x="631" y="66"/>
                  <a:pt x="632" y="64"/>
                  <a:pt x="634" y="63"/>
                </a:cubicBezTo>
                <a:cubicBezTo>
                  <a:pt x="631" y="63"/>
                  <a:pt x="630" y="63"/>
                  <a:pt x="628" y="63"/>
                </a:cubicBezTo>
                <a:cubicBezTo>
                  <a:pt x="628" y="65"/>
                  <a:pt x="626" y="67"/>
                  <a:pt x="626" y="69"/>
                </a:cubicBezTo>
                <a:cubicBezTo>
                  <a:pt x="626" y="70"/>
                  <a:pt x="625" y="70"/>
                  <a:pt x="625" y="71"/>
                </a:cubicBezTo>
                <a:cubicBezTo>
                  <a:pt x="625" y="74"/>
                  <a:pt x="624" y="76"/>
                  <a:pt x="621" y="75"/>
                </a:cubicBezTo>
                <a:cubicBezTo>
                  <a:pt x="618" y="75"/>
                  <a:pt x="615" y="74"/>
                  <a:pt x="612" y="73"/>
                </a:cubicBezTo>
                <a:cubicBezTo>
                  <a:pt x="610" y="72"/>
                  <a:pt x="609" y="71"/>
                  <a:pt x="610" y="69"/>
                </a:cubicBezTo>
                <a:cubicBezTo>
                  <a:pt x="610" y="68"/>
                  <a:pt x="610" y="67"/>
                  <a:pt x="611" y="67"/>
                </a:cubicBezTo>
                <a:cubicBezTo>
                  <a:pt x="608" y="66"/>
                  <a:pt x="606" y="65"/>
                  <a:pt x="604" y="64"/>
                </a:cubicBezTo>
                <a:cubicBezTo>
                  <a:pt x="603" y="63"/>
                  <a:pt x="602" y="61"/>
                  <a:pt x="601" y="59"/>
                </a:cubicBezTo>
                <a:cubicBezTo>
                  <a:pt x="600" y="57"/>
                  <a:pt x="600" y="56"/>
                  <a:pt x="602" y="54"/>
                </a:cubicBezTo>
                <a:cubicBezTo>
                  <a:pt x="605" y="52"/>
                  <a:pt x="606" y="49"/>
                  <a:pt x="605" y="45"/>
                </a:cubicBezTo>
                <a:cubicBezTo>
                  <a:pt x="605" y="43"/>
                  <a:pt x="605" y="41"/>
                  <a:pt x="605" y="39"/>
                </a:cubicBezTo>
                <a:cubicBezTo>
                  <a:pt x="604" y="38"/>
                  <a:pt x="602" y="38"/>
                  <a:pt x="601" y="37"/>
                </a:cubicBezTo>
                <a:cubicBezTo>
                  <a:pt x="600" y="35"/>
                  <a:pt x="599" y="33"/>
                  <a:pt x="599" y="31"/>
                </a:cubicBezTo>
                <a:cubicBezTo>
                  <a:pt x="599" y="28"/>
                  <a:pt x="602" y="26"/>
                  <a:pt x="605" y="25"/>
                </a:cubicBezTo>
                <a:cubicBezTo>
                  <a:pt x="606" y="26"/>
                  <a:pt x="606" y="26"/>
                  <a:pt x="606" y="27"/>
                </a:cubicBezTo>
                <a:cubicBezTo>
                  <a:pt x="606" y="28"/>
                  <a:pt x="606" y="29"/>
                  <a:pt x="606" y="30"/>
                </a:cubicBezTo>
                <a:cubicBezTo>
                  <a:pt x="606" y="30"/>
                  <a:pt x="605" y="30"/>
                  <a:pt x="605" y="30"/>
                </a:cubicBezTo>
                <a:cubicBezTo>
                  <a:pt x="604" y="31"/>
                  <a:pt x="604" y="32"/>
                  <a:pt x="603" y="34"/>
                </a:cubicBezTo>
                <a:cubicBezTo>
                  <a:pt x="604" y="34"/>
                  <a:pt x="605" y="34"/>
                  <a:pt x="606" y="34"/>
                </a:cubicBezTo>
                <a:cubicBezTo>
                  <a:pt x="607" y="32"/>
                  <a:pt x="608" y="32"/>
                  <a:pt x="608" y="30"/>
                </a:cubicBezTo>
                <a:cubicBezTo>
                  <a:pt x="613" y="24"/>
                  <a:pt x="619" y="20"/>
                  <a:pt x="626" y="18"/>
                </a:cubicBezTo>
                <a:cubicBezTo>
                  <a:pt x="629" y="18"/>
                  <a:pt x="633" y="17"/>
                  <a:pt x="635" y="14"/>
                </a:cubicBezTo>
                <a:cubicBezTo>
                  <a:pt x="635" y="13"/>
                  <a:pt x="636" y="13"/>
                  <a:pt x="636" y="13"/>
                </a:cubicBezTo>
                <a:cubicBezTo>
                  <a:pt x="639" y="13"/>
                  <a:pt x="640" y="10"/>
                  <a:pt x="642" y="8"/>
                </a:cubicBezTo>
                <a:cubicBezTo>
                  <a:pt x="650" y="1"/>
                  <a:pt x="662" y="0"/>
                  <a:pt x="669" y="7"/>
                </a:cubicBezTo>
                <a:cubicBezTo>
                  <a:pt x="672" y="9"/>
                  <a:pt x="675" y="11"/>
                  <a:pt x="677" y="13"/>
                </a:cubicBezTo>
                <a:cubicBezTo>
                  <a:pt x="679" y="14"/>
                  <a:pt x="680" y="16"/>
                  <a:pt x="681" y="18"/>
                </a:cubicBezTo>
                <a:cubicBezTo>
                  <a:pt x="682" y="19"/>
                  <a:pt x="682" y="19"/>
                  <a:pt x="684" y="18"/>
                </a:cubicBezTo>
                <a:cubicBezTo>
                  <a:pt x="684" y="18"/>
                  <a:pt x="685" y="17"/>
                  <a:pt x="686" y="16"/>
                </a:cubicBezTo>
                <a:cubicBezTo>
                  <a:pt x="688" y="13"/>
                  <a:pt x="691" y="13"/>
                  <a:pt x="692" y="17"/>
                </a:cubicBezTo>
                <a:cubicBezTo>
                  <a:pt x="693" y="20"/>
                  <a:pt x="694" y="23"/>
                  <a:pt x="695" y="26"/>
                </a:cubicBezTo>
                <a:cubicBezTo>
                  <a:pt x="695" y="30"/>
                  <a:pt x="695" y="34"/>
                  <a:pt x="693" y="39"/>
                </a:cubicBezTo>
                <a:cubicBezTo>
                  <a:pt x="691" y="45"/>
                  <a:pt x="686" y="49"/>
                  <a:pt x="680" y="49"/>
                </a:cubicBezTo>
                <a:cubicBezTo>
                  <a:pt x="679" y="49"/>
                  <a:pt x="679" y="49"/>
                  <a:pt x="678" y="49"/>
                </a:cubicBezTo>
                <a:cubicBezTo>
                  <a:pt x="675" y="48"/>
                  <a:pt x="674" y="49"/>
                  <a:pt x="673" y="51"/>
                </a:cubicBezTo>
                <a:cubicBezTo>
                  <a:pt x="672" y="55"/>
                  <a:pt x="666" y="57"/>
                  <a:pt x="663" y="54"/>
                </a:cubicBezTo>
                <a:cubicBezTo>
                  <a:pt x="662" y="53"/>
                  <a:pt x="661" y="52"/>
                  <a:pt x="660" y="51"/>
                </a:cubicBezTo>
                <a:cubicBezTo>
                  <a:pt x="659" y="51"/>
                  <a:pt x="659" y="51"/>
                  <a:pt x="659" y="51"/>
                </a:cubicBezTo>
                <a:close/>
                <a:moveTo>
                  <a:pt x="653" y="47"/>
                </a:moveTo>
                <a:cubicBezTo>
                  <a:pt x="657" y="48"/>
                  <a:pt x="660" y="49"/>
                  <a:pt x="663" y="52"/>
                </a:cubicBezTo>
                <a:cubicBezTo>
                  <a:pt x="665" y="54"/>
                  <a:pt x="667" y="55"/>
                  <a:pt x="669" y="54"/>
                </a:cubicBezTo>
                <a:cubicBezTo>
                  <a:pt x="671" y="53"/>
                  <a:pt x="673" y="51"/>
                  <a:pt x="673" y="48"/>
                </a:cubicBezTo>
                <a:cubicBezTo>
                  <a:pt x="673" y="48"/>
                  <a:pt x="672" y="48"/>
                  <a:pt x="672" y="49"/>
                </a:cubicBezTo>
                <a:cubicBezTo>
                  <a:pt x="671" y="50"/>
                  <a:pt x="670" y="51"/>
                  <a:pt x="669" y="52"/>
                </a:cubicBezTo>
                <a:cubicBezTo>
                  <a:pt x="668" y="53"/>
                  <a:pt x="667" y="53"/>
                  <a:pt x="666" y="53"/>
                </a:cubicBezTo>
                <a:cubicBezTo>
                  <a:pt x="666" y="53"/>
                  <a:pt x="665" y="51"/>
                  <a:pt x="665" y="51"/>
                </a:cubicBezTo>
                <a:cubicBezTo>
                  <a:pt x="665" y="48"/>
                  <a:pt x="666" y="46"/>
                  <a:pt x="666" y="44"/>
                </a:cubicBezTo>
                <a:cubicBezTo>
                  <a:pt x="669" y="45"/>
                  <a:pt x="672" y="46"/>
                  <a:pt x="676" y="47"/>
                </a:cubicBezTo>
                <a:cubicBezTo>
                  <a:pt x="683" y="48"/>
                  <a:pt x="689" y="46"/>
                  <a:pt x="692" y="38"/>
                </a:cubicBezTo>
                <a:cubicBezTo>
                  <a:pt x="694" y="33"/>
                  <a:pt x="693" y="28"/>
                  <a:pt x="693" y="23"/>
                </a:cubicBezTo>
                <a:cubicBezTo>
                  <a:pt x="692" y="21"/>
                  <a:pt x="691" y="19"/>
                  <a:pt x="691" y="17"/>
                </a:cubicBezTo>
                <a:cubicBezTo>
                  <a:pt x="690" y="16"/>
                  <a:pt x="689" y="15"/>
                  <a:pt x="688" y="17"/>
                </a:cubicBezTo>
                <a:cubicBezTo>
                  <a:pt x="686" y="19"/>
                  <a:pt x="684" y="20"/>
                  <a:pt x="682" y="21"/>
                </a:cubicBezTo>
                <a:cubicBezTo>
                  <a:pt x="682" y="21"/>
                  <a:pt x="681" y="22"/>
                  <a:pt x="681" y="23"/>
                </a:cubicBezTo>
                <a:cubicBezTo>
                  <a:pt x="682" y="26"/>
                  <a:pt x="681" y="30"/>
                  <a:pt x="680" y="33"/>
                </a:cubicBezTo>
                <a:cubicBezTo>
                  <a:pt x="680" y="31"/>
                  <a:pt x="680" y="29"/>
                  <a:pt x="680" y="27"/>
                </a:cubicBezTo>
                <a:cubicBezTo>
                  <a:pt x="680" y="26"/>
                  <a:pt x="680" y="26"/>
                  <a:pt x="680" y="26"/>
                </a:cubicBezTo>
                <a:cubicBezTo>
                  <a:pt x="679" y="26"/>
                  <a:pt x="679" y="26"/>
                  <a:pt x="679" y="26"/>
                </a:cubicBezTo>
                <a:cubicBezTo>
                  <a:pt x="678" y="28"/>
                  <a:pt x="677" y="29"/>
                  <a:pt x="676" y="30"/>
                </a:cubicBezTo>
                <a:cubicBezTo>
                  <a:pt x="676" y="30"/>
                  <a:pt x="676" y="30"/>
                  <a:pt x="676" y="30"/>
                </a:cubicBezTo>
                <a:cubicBezTo>
                  <a:pt x="676" y="29"/>
                  <a:pt x="677" y="27"/>
                  <a:pt x="677" y="25"/>
                </a:cubicBezTo>
                <a:cubicBezTo>
                  <a:pt x="676" y="26"/>
                  <a:pt x="675" y="26"/>
                  <a:pt x="675" y="27"/>
                </a:cubicBezTo>
                <a:cubicBezTo>
                  <a:pt x="674" y="27"/>
                  <a:pt x="674" y="28"/>
                  <a:pt x="673" y="29"/>
                </a:cubicBezTo>
                <a:cubicBezTo>
                  <a:pt x="674" y="25"/>
                  <a:pt x="674" y="25"/>
                  <a:pt x="680" y="24"/>
                </a:cubicBezTo>
                <a:cubicBezTo>
                  <a:pt x="680" y="24"/>
                  <a:pt x="679" y="23"/>
                  <a:pt x="679" y="23"/>
                </a:cubicBezTo>
                <a:cubicBezTo>
                  <a:pt x="676" y="24"/>
                  <a:pt x="675" y="22"/>
                  <a:pt x="675" y="20"/>
                </a:cubicBezTo>
                <a:cubicBezTo>
                  <a:pt x="677" y="19"/>
                  <a:pt x="678" y="19"/>
                  <a:pt x="680" y="19"/>
                </a:cubicBezTo>
                <a:cubicBezTo>
                  <a:pt x="678" y="16"/>
                  <a:pt x="677" y="13"/>
                  <a:pt x="673" y="13"/>
                </a:cubicBezTo>
                <a:cubicBezTo>
                  <a:pt x="673" y="13"/>
                  <a:pt x="673" y="13"/>
                  <a:pt x="673" y="12"/>
                </a:cubicBezTo>
                <a:cubicBezTo>
                  <a:pt x="670" y="10"/>
                  <a:pt x="668" y="8"/>
                  <a:pt x="665" y="6"/>
                </a:cubicBezTo>
                <a:cubicBezTo>
                  <a:pt x="663" y="5"/>
                  <a:pt x="660" y="4"/>
                  <a:pt x="658" y="4"/>
                </a:cubicBezTo>
                <a:cubicBezTo>
                  <a:pt x="655" y="4"/>
                  <a:pt x="651" y="6"/>
                  <a:pt x="648" y="6"/>
                </a:cubicBezTo>
                <a:cubicBezTo>
                  <a:pt x="646" y="7"/>
                  <a:pt x="643" y="9"/>
                  <a:pt x="641" y="12"/>
                </a:cubicBezTo>
                <a:cubicBezTo>
                  <a:pt x="643" y="12"/>
                  <a:pt x="644" y="12"/>
                  <a:pt x="645" y="12"/>
                </a:cubicBezTo>
                <a:cubicBezTo>
                  <a:pt x="645" y="13"/>
                  <a:pt x="644" y="13"/>
                  <a:pt x="643" y="13"/>
                </a:cubicBezTo>
                <a:cubicBezTo>
                  <a:pt x="641" y="14"/>
                  <a:pt x="638" y="13"/>
                  <a:pt x="636" y="15"/>
                </a:cubicBezTo>
                <a:cubicBezTo>
                  <a:pt x="633" y="19"/>
                  <a:pt x="629" y="23"/>
                  <a:pt x="625" y="27"/>
                </a:cubicBezTo>
                <a:cubicBezTo>
                  <a:pt x="624" y="29"/>
                  <a:pt x="623" y="32"/>
                  <a:pt x="622" y="34"/>
                </a:cubicBezTo>
                <a:cubicBezTo>
                  <a:pt x="622" y="34"/>
                  <a:pt x="622" y="35"/>
                  <a:pt x="622" y="36"/>
                </a:cubicBezTo>
                <a:cubicBezTo>
                  <a:pt x="623" y="38"/>
                  <a:pt x="624" y="40"/>
                  <a:pt x="626" y="42"/>
                </a:cubicBezTo>
                <a:cubicBezTo>
                  <a:pt x="627" y="40"/>
                  <a:pt x="628" y="38"/>
                  <a:pt x="629" y="37"/>
                </a:cubicBezTo>
                <a:cubicBezTo>
                  <a:pt x="629" y="38"/>
                  <a:pt x="629" y="40"/>
                  <a:pt x="628" y="41"/>
                </a:cubicBezTo>
                <a:cubicBezTo>
                  <a:pt x="627" y="42"/>
                  <a:pt x="626" y="44"/>
                  <a:pt x="626" y="45"/>
                </a:cubicBezTo>
                <a:cubicBezTo>
                  <a:pt x="626" y="46"/>
                  <a:pt x="626" y="47"/>
                  <a:pt x="626" y="48"/>
                </a:cubicBezTo>
                <a:cubicBezTo>
                  <a:pt x="629" y="51"/>
                  <a:pt x="632" y="51"/>
                  <a:pt x="636" y="49"/>
                </a:cubicBezTo>
                <a:cubicBezTo>
                  <a:pt x="638" y="48"/>
                  <a:pt x="641" y="47"/>
                  <a:pt x="644" y="46"/>
                </a:cubicBezTo>
                <a:cubicBezTo>
                  <a:pt x="645" y="45"/>
                  <a:pt x="646" y="45"/>
                  <a:pt x="646" y="43"/>
                </a:cubicBezTo>
                <a:cubicBezTo>
                  <a:pt x="646" y="40"/>
                  <a:pt x="646" y="36"/>
                  <a:pt x="646" y="33"/>
                </a:cubicBezTo>
                <a:cubicBezTo>
                  <a:pt x="646" y="30"/>
                  <a:pt x="646" y="27"/>
                  <a:pt x="646" y="24"/>
                </a:cubicBezTo>
                <a:cubicBezTo>
                  <a:pt x="647" y="27"/>
                  <a:pt x="648" y="30"/>
                  <a:pt x="648" y="32"/>
                </a:cubicBezTo>
                <a:cubicBezTo>
                  <a:pt x="649" y="37"/>
                  <a:pt x="649" y="41"/>
                  <a:pt x="648" y="45"/>
                </a:cubicBezTo>
                <a:cubicBezTo>
                  <a:pt x="647" y="46"/>
                  <a:pt x="646" y="47"/>
                  <a:pt x="646" y="47"/>
                </a:cubicBezTo>
                <a:cubicBezTo>
                  <a:pt x="642" y="47"/>
                  <a:pt x="639" y="49"/>
                  <a:pt x="636" y="51"/>
                </a:cubicBezTo>
                <a:cubicBezTo>
                  <a:pt x="631" y="54"/>
                  <a:pt x="628" y="52"/>
                  <a:pt x="624" y="48"/>
                </a:cubicBezTo>
                <a:cubicBezTo>
                  <a:pt x="624" y="48"/>
                  <a:pt x="624" y="47"/>
                  <a:pt x="624" y="46"/>
                </a:cubicBezTo>
                <a:cubicBezTo>
                  <a:pt x="625" y="44"/>
                  <a:pt x="624" y="42"/>
                  <a:pt x="622" y="40"/>
                </a:cubicBezTo>
                <a:cubicBezTo>
                  <a:pt x="621" y="38"/>
                  <a:pt x="619" y="36"/>
                  <a:pt x="620" y="33"/>
                </a:cubicBezTo>
                <a:cubicBezTo>
                  <a:pt x="621" y="31"/>
                  <a:pt x="622" y="29"/>
                  <a:pt x="623" y="28"/>
                </a:cubicBezTo>
                <a:cubicBezTo>
                  <a:pt x="625" y="25"/>
                  <a:pt x="627" y="23"/>
                  <a:pt x="629" y="20"/>
                </a:cubicBezTo>
                <a:cubicBezTo>
                  <a:pt x="629" y="20"/>
                  <a:pt x="628" y="20"/>
                  <a:pt x="628" y="20"/>
                </a:cubicBezTo>
                <a:cubicBezTo>
                  <a:pt x="623" y="21"/>
                  <a:pt x="619" y="23"/>
                  <a:pt x="615" y="26"/>
                </a:cubicBezTo>
                <a:cubicBezTo>
                  <a:pt x="610" y="30"/>
                  <a:pt x="607" y="35"/>
                  <a:pt x="607" y="42"/>
                </a:cubicBezTo>
                <a:cubicBezTo>
                  <a:pt x="606" y="49"/>
                  <a:pt x="609" y="55"/>
                  <a:pt x="612" y="61"/>
                </a:cubicBezTo>
                <a:cubicBezTo>
                  <a:pt x="613" y="61"/>
                  <a:pt x="613" y="63"/>
                  <a:pt x="613" y="64"/>
                </a:cubicBezTo>
                <a:cubicBezTo>
                  <a:pt x="613" y="66"/>
                  <a:pt x="613" y="67"/>
                  <a:pt x="612" y="68"/>
                </a:cubicBezTo>
                <a:cubicBezTo>
                  <a:pt x="611" y="70"/>
                  <a:pt x="612" y="71"/>
                  <a:pt x="613" y="72"/>
                </a:cubicBezTo>
                <a:cubicBezTo>
                  <a:pt x="616" y="72"/>
                  <a:pt x="619" y="73"/>
                  <a:pt x="622" y="73"/>
                </a:cubicBezTo>
                <a:cubicBezTo>
                  <a:pt x="622" y="73"/>
                  <a:pt x="623" y="72"/>
                  <a:pt x="623" y="72"/>
                </a:cubicBezTo>
                <a:cubicBezTo>
                  <a:pt x="624" y="71"/>
                  <a:pt x="624" y="69"/>
                  <a:pt x="624" y="68"/>
                </a:cubicBezTo>
                <a:cubicBezTo>
                  <a:pt x="626" y="66"/>
                  <a:pt x="626" y="63"/>
                  <a:pt x="626" y="61"/>
                </a:cubicBezTo>
                <a:cubicBezTo>
                  <a:pt x="626" y="60"/>
                  <a:pt x="626" y="60"/>
                  <a:pt x="626" y="59"/>
                </a:cubicBezTo>
                <a:cubicBezTo>
                  <a:pt x="626" y="59"/>
                  <a:pt x="626" y="59"/>
                  <a:pt x="626" y="59"/>
                </a:cubicBezTo>
                <a:cubicBezTo>
                  <a:pt x="627" y="61"/>
                  <a:pt x="628" y="61"/>
                  <a:pt x="630" y="61"/>
                </a:cubicBezTo>
                <a:cubicBezTo>
                  <a:pt x="631" y="61"/>
                  <a:pt x="632" y="61"/>
                  <a:pt x="633" y="61"/>
                </a:cubicBezTo>
                <a:cubicBezTo>
                  <a:pt x="635" y="61"/>
                  <a:pt x="639" y="62"/>
                  <a:pt x="639" y="58"/>
                </a:cubicBezTo>
                <a:cubicBezTo>
                  <a:pt x="639" y="60"/>
                  <a:pt x="639" y="62"/>
                  <a:pt x="639" y="63"/>
                </a:cubicBezTo>
                <a:cubicBezTo>
                  <a:pt x="638" y="63"/>
                  <a:pt x="637" y="64"/>
                  <a:pt x="635" y="64"/>
                </a:cubicBezTo>
                <a:cubicBezTo>
                  <a:pt x="634" y="65"/>
                  <a:pt x="633" y="67"/>
                  <a:pt x="634" y="68"/>
                </a:cubicBezTo>
                <a:cubicBezTo>
                  <a:pt x="635" y="70"/>
                  <a:pt x="637" y="72"/>
                  <a:pt x="638" y="74"/>
                </a:cubicBezTo>
                <a:cubicBezTo>
                  <a:pt x="640" y="75"/>
                  <a:pt x="642" y="75"/>
                  <a:pt x="643" y="73"/>
                </a:cubicBezTo>
                <a:cubicBezTo>
                  <a:pt x="644" y="72"/>
                  <a:pt x="644" y="72"/>
                  <a:pt x="645" y="71"/>
                </a:cubicBezTo>
                <a:cubicBezTo>
                  <a:pt x="647" y="70"/>
                  <a:pt x="648" y="68"/>
                  <a:pt x="650" y="67"/>
                </a:cubicBezTo>
                <a:cubicBezTo>
                  <a:pt x="654" y="63"/>
                  <a:pt x="656" y="57"/>
                  <a:pt x="658" y="51"/>
                </a:cubicBezTo>
                <a:cubicBezTo>
                  <a:pt x="658" y="51"/>
                  <a:pt x="657" y="50"/>
                  <a:pt x="657" y="49"/>
                </a:cubicBezTo>
                <a:cubicBezTo>
                  <a:pt x="656" y="48"/>
                  <a:pt x="655" y="47"/>
                  <a:pt x="653" y="47"/>
                </a:cubicBezTo>
                <a:close/>
                <a:moveTo>
                  <a:pt x="606" y="53"/>
                </a:moveTo>
                <a:cubicBezTo>
                  <a:pt x="606" y="54"/>
                  <a:pt x="604" y="55"/>
                  <a:pt x="603" y="56"/>
                </a:cubicBezTo>
                <a:cubicBezTo>
                  <a:pt x="602" y="56"/>
                  <a:pt x="602" y="57"/>
                  <a:pt x="602" y="58"/>
                </a:cubicBezTo>
                <a:cubicBezTo>
                  <a:pt x="602" y="61"/>
                  <a:pt x="606" y="65"/>
                  <a:pt x="609" y="64"/>
                </a:cubicBezTo>
                <a:cubicBezTo>
                  <a:pt x="611" y="64"/>
                  <a:pt x="612" y="63"/>
                  <a:pt x="611" y="62"/>
                </a:cubicBezTo>
                <a:cubicBezTo>
                  <a:pt x="609" y="59"/>
                  <a:pt x="608" y="56"/>
                  <a:pt x="606" y="53"/>
                </a:cubicBezTo>
                <a:close/>
                <a:moveTo>
                  <a:pt x="659" y="55"/>
                </a:moveTo>
                <a:cubicBezTo>
                  <a:pt x="657" y="60"/>
                  <a:pt x="654" y="64"/>
                  <a:pt x="652" y="68"/>
                </a:cubicBezTo>
                <a:cubicBezTo>
                  <a:pt x="655" y="68"/>
                  <a:pt x="657" y="69"/>
                  <a:pt x="660" y="68"/>
                </a:cubicBezTo>
                <a:cubicBezTo>
                  <a:pt x="660" y="68"/>
                  <a:pt x="660" y="67"/>
                  <a:pt x="660" y="67"/>
                </a:cubicBezTo>
                <a:cubicBezTo>
                  <a:pt x="660" y="64"/>
                  <a:pt x="660" y="62"/>
                  <a:pt x="660" y="59"/>
                </a:cubicBezTo>
                <a:cubicBezTo>
                  <a:pt x="660" y="58"/>
                  <a:pt x="659" y="57"/>
                  <a:pt x="659" y="55"/>
                </a:cubicBezTo>
                <a:close/>
                <a:moveTo>
                  <a:pt x="606" y="35"/>
                </a:moveTo>
                <a:cubicBezTo>
                  <a:pt x="606" y="35"/>
                  <a:pt x="605" y="36"/>
                  <a:pt x="604" y="36"/>
                </a:cubicBezTo>
                <a:cubicBezTo>
                  <a:pt x="604" y="36"/>
                  <a:pt x="603" y="36"/>
                  <a:pt x="603" y="35"/>
                </a:cubicBezTo>
                <a:cubicBezTo>
                  <a:pt x="602" y="35"/>
                  <a:pt x="602" y="34"/>
                  <a:pt x="602" y="33"/>
                </a:cubicBezTo>
                <a:cubicBezTo>
                  <a:pt x="603" y="31"/>
                  <a:pt x="603" y="29"/>
                  <a:pt x="604" y="27"/>
                </a:cubicBezTo>
                <a:cubicBezTo>
                  <a:pt x="604" y="27"/>
                  <a:pt x="604" y="27"/>
                  <a:pt x="603" y="27"/>
                </a:cubicBezTo>
                <a:cubicBezTo>
                  <a:pt x="602" y="28"/>
                  <a:pt x="601" y="29"/>
                  <a:pt x="600" y="30"/>
                </a:cubicBezTo>
                <a:cubicBezTo>
                  <a:pt x="600" y="31"/>
                  <a:pt x="601" y="36"/>
                  <a:pt x="603" y="37"/>
                </a:cubicBezTo>
                <a:cubicBezTo>
                  <a:pt x="604" y="38"/>
                  <a:pt x="606" y="37"/>
                  <a:pt x="606" y="35"/>
                </a:cubicBezTo>
                <a:close/>
                <a:moveTo>
                  <a:pt x="606" y="53"/>
                </a:moveTo>
                <a:cubicBezTo>
                  <a:pt x="605" y="54"/>
                  <a:pt x="604" y="55"/>
                  <a:pt x="603" y="56"/>
                </a:cubicBezTo>
                <a:cubicBezTo>
                  <a:pt x="602" y="56"/>
                  <a:pt x="602" y="57"/>
                  <a:pt x="602" y="58"/>
                </a:cubicBezTo>
                <a:cubicBezTo>
                  <a:pt x="602" y="61"/>
                  <a:pt x="606" y="65"/>
                  <a:pt x="609" y="65"/>
                </a:cubicBezTo>
                <a:cubicBezTo>
                  <a:pt x="611" y="65"/>
                  <a:pt x="612" y="64"/>
                  <a:pt x="611" y="62"/>
                </a:cubicBezTo>
                <a:cubicBezTo>
                  <a:pt x="609" y="59"/>
                  <a:pt x="608" y="56"/>
                  <a:pt x="606" y="53"/>
                </a:cubicBezTo>
                <a:close/>
                <a:moveTo>
                  <a:pt x="659" y="55"/>
                </a:moveTo>
                <a:cubicBezTo>
                  <a:pt x="656" y="60"/>
                  <a:pt x="654" y="64"/>
                  <a:pt x="652" y="69"/>
                </a:cubicBezTo>
                <a:cubicBezTo>
                  <a:pt x="654" y="69"/>
                  <a:pt x="657" y="69"/>
                  <a:pt x="660" y="69"/>
                </a:cubicBezTo>
                <a:cubicBezTo>
                  <a:pt x="660" y="69"/>
                  <a:pt x="660" y="67"/>
                  <a:pt x="660" y="67"/>
                </a:cubicBezTo>
                <a:cubicBezTo>
                  <a:pt x="660" y="64"/>
                  <a:pt x="660" y="62"/>
                  <a:pt x="660" y="59"/>
                </a:cubicBezTo>
                <a:cubicBezTo>
                  <a:pt x="660" y="58"/>
                  <a:pt x="659" y="57"/>
                  <a:pt x="659" y="55"/>
                </a:cubicBezTo>
                <a:close/>
                <a:moveTo>
                  <a:pt x="606" y="35"/>
                </a:moveTo>
                <a:cubicBezTo>
                  <a:pt x="605" y="35"/>
                  <a:pt x="605" y="36"/>
                  <a:pt x="604" y="36"/>
                </a:cubicBezTo>
                <a:cubicBezTo>
                  <a:pt x="603" y="36"/>
                  <a:pt x="603" y="36"/>
                  <a:pt x="603" y="35"/>
                </a:cubicBezTo>
                <a:cubicBezTo>
                  <a:pt x="602" y="35"/>
                  <a:pt x="602" y="34"/>
                  <a:pt x="602" y="33"/>
                </a:cubicBezTo>
                <a:cubicBezTo>
                  <a:pt x="603" y="31"/>
                  <a:pt x="603" y="29"/>
                  <a:pt x="604" y="27"/>
                </a:cubicBezTo>
                <a:cubicBezTo>
                  <a:pt x="603" y="27"/>
                  <a:pt x="603" y="27"/>
                  <a:pt x="603" y="27"/>
                </a:cubicBezTo>
                <a:cubicBezTo>
                  <a:pt x="602" y="28"/>
                  <a:pt x="601" y="29"/>
                  <a:pt x="600" y="30"/>
                </a:cubicBezTo>
                <a:cubicBezTo>
                  <a:pt x="599" y="31"/>
                  <a:pt x="601" y="37"/>
                  <a:pt x="603" y="37"/>
                </a:cubicBezTo>
                <a:cubicBezTo>
                  <a:pt x="604" y="38"/>
                  <a:pt x="606" y="37"/>
                  <a:pt x="606" y="35"/>
                </a:cubicBezTo>
                <a:close/>
                <a:moveTo>
                  <a:pt x="658" y="27"/>
                </a:moveTo>
                <a:cubicBezTo>
                  <a:pt x="661" y="23"/>
                  <a:pt x="661" y="23"/>
                  <a:pt x="665" y="22"/>
                </a:cubicBezTo>
                <a:cubicBezTo>
                  <a:pt x="665" y="24"/>
                  <a:pt x="666" y="25"/>
                  <a:pt x="668" y="25"/>
                </a:cubicBezTo>
                <a:cubicBezTo>
                  <a:pt x="666" y="26"/>
                  <a:pt x="664" y="28"/>
                  <a:pt x="662" y="29"/>
                </a:cubicBezTo>
                <a:cubicBezTo>
                  <a:pt x="661" y="28"/>
                  <a:pt x="661" y="28"/>
                  <a:pt x="660" y="26"/>
                </a:cubicBezTo>
                <a:cubicBezTo>
                  <a:pt x="660" y="26"/>
                  <a:pt x="659" y="26"/>
                  <a:pt x="658" y="27"/>
                </a:cubicBezTo>
                <a:close/>
                <a:moveTo>
                  <a:pt x="664" y="26"/>
                </a:moveTo>
                <a:cubicBezTo>
                  <a:pt x="663" y="26"/>
                  <a:pt x="663" y="26"/>
                  <a:pt x="662" y="26"/>
                </a:cubicBezTo>
                <a:cubicBezTo>
                  <a:pt x="662" y="26"/>
                  <a:pt x="661" y="26"/>
                  <a:pt x="661" y="27"/>
                </a:cubicBezTo>
                <a:cubicBezTo>
                  <a:pt x="661" y="27"/>
                  <a:pt x="661" y="28"/>
                  <a:pt x="662" y="28"/>
                </a:cubicBezTo>
                <a:cubicBezTo>
                  <a:pt x="663" y="28"/>
                  <a:pt x="663" y="27"/>
                  <a:pt x="664" y="26"/>
                </a:cubicBezTo>
                <a:close/>
                <a:moveTo>
                  <a:pt x="645" y="17"/>
                </a:moveTo>
                <a:cubicBezTo>
                  <a:pt x="639" y="16"/>
                  <a:pt x="636" y="19"/>
                  <a:pt x="635" y="26"/>
                </a:cubicBezTo>
                <a:cubicBezTo>
                  <a:pt x="636" y="24"/>
                  <a:pt x="637" y="22"/>
                  <a:pt x="638" y="20"/>
                </a:cubicBezTo>
                <a:cubicBezTo>
                  <a:pt x="639" y="20"/>
                  <a:pt x="639" y="20"/>
                  <a:pt x="639" y="20"/>
                </a:cubicBezTo>
                <a:cubicBezTo>
                  <a:pt x="639" y="21"/>
                  <a:pt x="639" y="22"/>
                  <a:pt x="639" y="22"/>
                </a:cubicBezTo>
                <a:cubicBezTo>
                  <a:pt x="640" y="19"/>
                  <a:pt x="642" y="17"/>
                  <a:pt x="645" y="17"/>
                </a:cubicBezTo>
                <a:close/>
                <a:moveTo>
                  <a:pt x="689" y="18"/>
                </a:moveTo>
                <a:cubicBezTo>
                  <a:pt x="687" y="19"/>
                  <a:pt x="685" y="21"/>
                  <a:pt x="684" y="22"/>
                </a:cubicBezTo>
                <a:cubicBezTo>
                  <a:pt x="686" y="23"/>
                  <a:pt x="688" y="21"/>
                  <a:pt x="689" y="18"/>
                </a:cubicBezTo>
                <a:close/>
                <a:moveTo>
                  <a:pt x="656" y="21"/>
                </a:moveTo>
                <a:cubicBezTo>
                  <a:pt x="657" y="19"/>
                  <a:pt x="658" y="18"/>
                  <a:pt x="659" y="17"/>
                </a:cubicBezTo>
                <a:cubicBezTo>
                  <a:pt x="656" y="18"/>
                  <a:pt x="656" y="19"/>
                  <a:pt x="656" y="21"/>
                </a:cubicBezTo>
                <a:close/>
                <a:moveTo>
                  <a:pt x="666" y="42"/>
                </a:moveTo>
                <a:cubicBezTo>
                  <a:pt x="664" y="42"/>
                  <a:pt x="663" y="43"/>
                  <a:pt x="663" y="44"/>
                </a:cubicBezTo>
                <a:cubicBezTo>
                  <a:pt x="664" y="43"/>
                  <a:pt x="665" y="42"/>
                  <a:pt x="666" y="42"/>
                </a:cubicBezTo>
                <a:close/>
                <a:moveTo>
                  <a:pt x="665" y="26"/>
                </a:moveTo>
                <a:cubicBezTo>
                  <a:pt x="664" y="26"/>
                  <a:pt x="663" y="25"/>
                  <a:pt x="663" y="25"/>
                </a:cubicBezTo>
                <a:cubicBezTo>
                  <a:pt x="662" y="25"/>
                  <a:pt x="661" y="26"/>
                  <a:pt x="661" y="27"/>
                </a:cubicBezTo>
                <a:cubicBezTo>
                  <a:pt x="661" y="27"/>
                  <a:pt x="662" y="27"/>
                  <a:pt x="662" y="28"/>
                </a:cubicBezTo>
                <a:cubicBezTo>
                  <a:pt x="663" y="27"/>
                  <a:pt x="663" y="27"/>
                  <a:pt x="665" y="26"/>
                </a:cubicBezTo>
                <a:close/>
                <a:moveTo>
                  <a:pt x="1318" y="4"/>
                </a:moveTo>
                <a:cubicBezTo>
                  <a:pt x="1318" y="4"/>
                  <a:pt x="1318" y="4"/>
                  <a:pt x="1318" y="4"/>
                </a:cubicBezTo>
                <a:cubicBezTo>
                  <a:pt x="1313" y="4"/>
                  <a:pt x="1313" y="4"/>
                  <a:pt x="1313" y="4"/>
                </a:cubicBezTo>
                <a:cubicBezTo>
                  <a:pt x="1311" y="5"/>
                  <a:pt x="1310" y="7"/>
                  <a:pt x="1307" y="7"/>
                </a:cubicBezTo>
                <a:cubicBezTo>
                  <a:pt x="1306" y="9"/>
                  <a:pt x="1304" y="10"/>
                  <a:pt x="1302" y="10"/>
                </a:cubicBezTo>
                <a:cubicBezTo>
                  <a:pt x="1301" y="12"/>
                  <a:pt x="1298" y="12"/>
                  <a:pt x="1297" y="13"/>
                </a:cubicBezTo>
                <a:cubicBezTo>
                  <a:pt x="1295" y="14"/>
                  <a:pt x="1293" y="15"/>
                  <a:pt x="1291" y="15"/>
                </a:cubicBezTo>
                <a:cubicBezTo>
                  <a:pt x="1291" y="15"/>
                  <a:pt x="1291" y="15"/>
                  <a:pt x="1291" y="25"/>
                </a:cubicBezTo>
                <a:cubicBezTo>
                  <a:pt x="1294" y="24"/>
                  <a:pt x="1297" y="23"/>
                  <a:pt x="1300" y="22"/>
                </a:cubicBezTo>
                <a:cubicBezTo>
                  <a:pt x="1302" y="21"/>
                  <a:pt x="1304" y="20"/>
                  <a:pt x="1307" y="18"/>
                </a:cubicBezTo>
                <a:cubicBezTo>
                  <a:pt x="1307" y="18"/>
                  <a:pt x="1307" y="18"/>
                  <a:pt x="1307" y="77"/>
                </a:cubicBezTo>
                <a:cubicBezTo>
                  <a:pt x="1307" y="77"/>
                  <a:pt x="1307" y="77"/>
                  <a:pt x="1318" y="77"/>
                </a:cubicBezTo>
                <a:cubicBezTo>
                  <a:pt x="1318" y="77"/>
                  <a:pt x="1318" y="77"/>
                  <a:pt x="1318" y="4"/>
                </a:cubicBezTo>
                <a:close/>
                <a:moveTo>
                  <a:pt x="1366" y="4"/>
                </a:moveTo>
                <a:cubicBezTo>
                  <a:pt x="1366" y="4"/>
                  <a:pt x="1366" y="4"/>
                  <a:pt x="1366" y="4"/>
                </a:cubicBezTo>
                <a:cubicBezTo>
                  <a:pt x="1361" y="4"/>
                  <a:pt x="1361" y="4"/>
                  <a:pt x="1361" y="4"/>
                </a:cubicBezTo>
                <a:cubicBezTo>
                  <a:pt x="1359" y="5"/>
                  <a:pt x="1357" y="7"/>
                  <a:pt x="1355" y="7"/>
                </a:cubicBezTo>
                <a:cubicBezTo>
                  <a:pt x="1353" y="9"/>
                  <a:pt x="1351" y="10"/>
                  <a:pt x="1350" y="10"/>
                </a:cubicBezTo>
                <a:cubicBezTo>
                  <a:pt x="1348" y="12"/>
                  <a:pt x="1346" y="12"/>
                  <a:pt x="1344" y="13"/>
                </a:cubicBezTo>
                <a:cubicBezTo>
                  <a:pt x="1342" y="14"/>
                  <a:pt x="1341" y="15"/>
                  <a:pt x="1339" y="15"/>
                </a:cubicBezTo>
                <a:cubicBezTo>
                  <a:pt x="1339" y="15"/>
                  <a:pt x="1339" y="15"/>
                  <a:pt x="1339" y="25"/>
                </a:cubicBezTo>
                <a:cubicBezTo>
                  <a:pt x="1342" y="24"/>
                  <a:pt x="1344" y="23"/>
                  <a:pt x="1347" y="22"/>
                </a:cubicBezTo>
                <a:cubicBezTo>
                  <a:pt x="1350" y="21"/>
                  <a:pt x="1352" y="20"/>
                  <a:pt x="1354" y="18"/>
                </a:cubicBezTo>
                <a:cubicBezTo>
                  <a:pt x="1354" y="18"/>
                  <a:pt x="1354" y="18"/>
                  <a:pt x="1354" y="77"/>
                </a:cubicBezTo>
                <a:cubicBezTo>
                  <a:pt x="1354" y="77"/>
                  <a:pt x="1354" y="77"/>
                  <a:pt x="1366" y="77"/>
                </a:cubicBezTo>
                <a:cubicBezTo>
                  <a:pt x="1366" y="77"/>
                  <a:pt x="1366" y="77"/>
                  <a:pt x="1366" y="4"/>
                </a:cubicBezTo>
                <a:close/>
                <a:moveTo>
                  <a:pt x="1412" y="4"/>
                </a:moveTo>
                <a:cubicBezTo>
                  <a:pt x="1412" y="4"/>
                  <a:pt x="1412" y="4"/>
                  <a:pt x="1412" y="4"/>
                </a:cubicBezTo>
                <a:cubicBezTo>
                  <a:pt x="1408" y="4"/>
                  <a:pt x="1408" y="4"/>
                  <a:pt x="1408" y="4"/>
                </a:cubicBezTo>
                <a:cubicBezTo>
                  <a:pt x="1406" y="5"/>
                  <a:pt x="1404" y="7"/>
                  <a:pt x="1402" y="7"/>
                </a:cubicBezTo>
                <a:cubicBezTo>
                  <a:pt x="1401" y="9"/>
                  <a:pt x="1399" y="10"/>
                  <a:pt x="1397" y="10"/>
                </a:cubicBezTo>
                <a:cubicBezTo>
                  <a:pt x="1395" y="11"/>
                  <a:pt x="1393" y="12"/>
                  <a:pt x="1391" y="12"/>
                </a:cubicBezTo>
                <a:cubicBezTo>
                  <a:pt x="1390" y="13"/>
                  <a:pt x="1388" y="14"/>
                  <a:pt x="1386" y="15"/>
                </a:cubicBezTo>
                <a:cubicBezTo>
                  <a:pt x="1386" y="15"/>
                  <a:pt x="1386" y="15"/>
                  <a:pt x="1386" y="25"/>
                </a:cubicBezTo>
                <a:cubicBezTo>
                  <a:pt x="1389" y="24"/>
                  <a:pt x="1392" y="23"/>
                  <a:pt x="1394" y="22"/>
                </a:cubicBezTo>
                <a:cubicBezTo>
                  <a:pt x="1396" y="21"/>
                  <a:pt x="1399" y="20"/>
                  <a:pt x="1401" y="18"/>
                </a:cubicBezTo>
                <a:cubicBezTo>
                  <a:pt x="1401" y="18"/>
                  <a:pt x="1401" y="18"/>
                  <a:pt x="1401" y="77"/>
                </a:cubicBezTo>
                <a:cubicBezTo>
                  <a:pt x="1401" y="77"/>
                  <a:pt x="1401" y="77"/>
                  <a:pt x="1412" y="77"/>
                </a:cubicBezTo>
                <a:cubicBezTo>
                  <a:pt x="1412" y="77"/>
                  <a:pt x="1412" y="77"/>
                  <a:pt x="1412" y="4"/>
                </a:cubicBezTo>
                <a:close/>
                <a:moveTo>
                  <a:pt x="47" y="3"/>
                </a:moveTo>
                <a:cubicBezTo>
                  <a:pt x="47" y="3"/>
                  <a:pt x="47" y="3"/>
                  <a:pt x="47" y="3"/>
                </a:cubicBezTo>
                <a:cubicBezTo>
                  <a:pt x="42" y="3"/>
                  <a:pt x="42" y="3"/>
                  <a:pt x="42" y="3"/>
                </a:cubicBezTo>
                <a:cubicBezTo>
                  <a:pt x="40" y="5"/>
                  <a:pt x="38" y="6"/>
                  <a:pt x="36" y="7"/>
                </a:cubicBezTo>
                <a:cubicBezTo>
                  <a:pt x="35" y="8"/>
                  <a:pt x="32" y="9"/>
                  <a:pt x="31" y="10"/>
                </a:cubicBezTo>
                <a:cubicBezTo>
                  <a:pt x="29" y="11"/>
                  <a:pt x="27" y="12"/>
                  <a:pt x="26" y="13"/>
                </a:cubicBezTo>
                <a:cubicBezTo>
                  <a:pt x="24" y="13"/>
                  <a:pt x="22" y="14"/>
                  <a:pt x="20" y="14"/>
                </a:cubicBezTo>
                <a:cubicBezTo>
                  <a:pt x="20" y="14"/>
                  <a:pt x="20" y="14"/>
                  <a:pt x="20" y="24"/>
                </a:cubicBezTo>
                <a:cubicBezTo>
                  <a:pt x="23" y="23"/>
                  <a:pt x="26" y="23"/>
                  <a:pt x="28" y="21"/>
                </a:cubicBezTo>
                <a:cubicBezTo>
                  <a:pt x="31" y="21"/>
                  <a:pt x="33" y="19"/>
                  <a:pt x="35" y="18"/>
                </a:cubicBezTo>
                <a:cubicBezTo>
                  <a:pt x="35" y="18"/>
                  <a:pt x="35" y="18"/>
                  <a:pt x="35" y="76"/>
                </a:cubicBezTo>
                <a:cubicBezTo>
                  <a:pt x="35" y="76"/>
                  <a:pt x="35" y="76"/>
                  <a:pt x="47" y="76"/>
                </a:cubicBezTo>
                <a:cubicBezTo>
                  <a:pt x="47" y="76"/>
                  <a:pt x="47" y="76"/>
                  <a:pt x="47" y="3"/>
                </a:cubicBezTo>
                <a:close/>
                <a:moveTo>
                  <a:pt x="2026" y="1078"/>
                </a:moveTo>
                <a:cubicBezTo>
                  <a:pt x="2019" y="1078"/>
                  <a:pt x="2012" y="1075"/>
                  <a:pt x="2008" y="1069"/>
                </a:cubicBezTo>
                <a:cubicBezTo>
                  <a:pt x="2004" y="1063"/>
                  <a:pt x="2002" y="1054"/>
                  <a:pt x="2002" y="1042"/>
                </a:cubicBezTo>
                <a:cubicBezTo>
                  <a:pt x="2002" y="1028"/>
                  <a:pt x="2004" y="1019"/>
                  <a:pt x="2009" y="1012"/>
                </a:cubicBezTo>
                <a:cubicBezTo>
                  <a:pt x="2013" y="1006"/>
                  <a:pt x="2019" y="1002"/>
                  <a:pt x="2028" y="1002"/>
                </a:cubicBezTo>
                <a:cubicBezTo>
                  <a:pt x="2044" y="1002"/>
                  <a:pt x="2052" y="1015"/>
                  <a:pt x="2052" y="1040"/>
                </a:cubicBezTo>
                <a:cubicBezTo>
                  <a:pt x="2052" y="1052"/>
                  <a:pt x="2050" y="1062"/>
                  <a:pt x="2045" y="1068"/>
                </a:cubicBezTo>
                <a:cubicBezTo>
                  <a:pt x="2041" y="1075"/>
                  <a:pt x="2034" y="1078"/>
                  <a:pt x="2026" y="1078"/>
                </a:cubicBezTo>
                <a:close/>
                <a:moveTo>
                  <a:pt x="2027" y="1012"/>
                </a:moveTo>
                <a:cubicBezTo>
                  <a:pt x="2018" y="1012"/>
                  <a:pt x="2014" y="1022"/>
                  <a:pt x="2014" y="1042"/>
                </a:cubicBezTo>
                <a:cubicBezTo>
                  <a:pt x="2014" y="1060"/>
                  <a:pt x="2018" y="1068"/>
                  <a:pt x="2027" y="1068"/>
                </a:cubicBezTo>
                <a:cubicBezTo>
                  <a:pt x="2036" y="1068"/>
                  <a:pt x="2040" y="1060"/>
                  <a:pt x="2040" y="1041"/>
                </a:cubicBezTo>
                <a:cubicBezTo>
                  <a:pt x="2040" y="1021"/>
                  <a:pt x="2036" y="1012"/>
                  <a:pt x="2027" y="1012"/>
                </a:cubicBezTo>
                <a:close/>
                <a:moveTo>
                  <a:pt x="2100" y="1005"/>
                </a:moveTo>
                <a:cubicBezTo>
                  <a:pt x="2100" y="1005"/>
                  <a:pt x="2100" y="1005"/>
                  <a:pt x="2100" y="1005"/>
                </a:cubicBezTo>
                <a:cubicBezTo>
                  <a:pt x="2095" y="1005"/>
                  <a:pt x="2095" y="1005"/>
                  <a:pt x="2095" y="1005"/>
                </a:cubicBezTo>
                <a:cubicBezTo>
                  <a:pt x="2093" y="1006"/>
                  <a:pt x="2091" y="1007"/>
                  <a:pt x="2089" y="1008"/>
                </a:cubicBezTo>
                <a:cubicBezTo>
                  <a:pt x="2088" y="1010"/>
                  <a:pt x="2085" y="1010"/>
                  <a:pt x="2084" y="1011"/>
                </a:cubicBezTo>
                <a:cubicBezTo>
                  <a:pt x="2082" y="1012"/>
                  <a:pt x="2080" y="1013"/>
                  <a:pt x="2079" y="1013"/>
                </a:cubicBezTo>
                <a:cubicBezTo>
                  <a:pt x="2077" y="1014"/>
                  <a:pt x="2075" y="1015"/>
                  <a:pt x="2073" y="1015"/>
                </a:cubicBezTo>
                <a:cubicBezTo>
                  <a:pt x="2073" y="1015"/>
                  <a:pt x="2073" y="1015"/>
                  <a:pt x="2073" y="1026"/>
                </a:cubicBezTo>
                <a:cubicBezTo>
                  <a:pt x="2076" y="1025"/>
                  <a:pt x="2079" y="1023"/>
                  <a:pt x="2081" y="1023"/>
                </a:cubicBezTo>
                <a:cubicBezTo>
                  <a:pt x="2084" y="1022"/>
                  <a:pt x="2086" y="1021"/>
                  <a:pt x="2088" y="1019"/>
                </a:cubicBezTo>
                <a:cubicBezTo>
                  <a:pt x="2088" y="1019"/>
                  <a:pt x="2088" y="1019"/>
                  <a:pt x="2088" y="1078"/>
                </a:cubicBezTo>
                <a:cubicBezTo>
                  <a:pt x="2088" y="1078"/>
                  <a:pt x="2088" y="1078"/>
                  <a:pt x="2100" y="1078"/>
                </a:cubicBezTo>
                <a:cubicBezTo>
                  <a:pt x="2100" y="1078"/>
                  <a:pt x="2100" y="1078"/>
                  <a:pt x="2100" y="1005"/>
                </a:cubicBezTo>
                <a:close/>
                <a:moveTo>
                  <a:pt x="2147" y="1005"/>
                </a:moveTo>
                <a:cubicBezTo>
                  <a:pt x="2147" y="1005"/>
                  <a:pt x="2147" y="1005"/>
                  <a:pt x="2147" y="1005"/>
                </a:cubicBezTo>
                <a:cubicBezTo>
                  <a:pt x="2142" y="1005"/>
                  <a:pt x="2142" y="1005"/>
                  <a:pt x="2142" y="1005"/>
                </a:cubicBezTo>
                <a:cubicBezTo>
                  <a:pt x="2140" y="1006"/>
                  <a:pt x="2138" y="1007"/>
                  <a:pt x="2136" y="1008"/>
                </a:cubicBezTo>
                <a:cubicBezTo>
                  <a:pt x="2135" y="1010"/>
                  <a:pt x="2133" y="1010"/>
                  <a:pt x="2131" y="1011"/>
                </a:cubicBezTo>
                <a:cubicBezTo>
                  <a:pt x="2130" y="1013"/>
                  <a:pt x="2128" y="1013"/>
                  <a:pt x="2126" y="1014"/>
                </a:cubicBezTo>
                <a:cubicBezTo>
                  <a:pt x="2124" y="1015"/>
                  <a:pt x="2123" y="1015"/>
                  <a:pt x="2120" y="1015"/>
                </a:cubicBezTo>
                <a:cubicBezTo>
                  <a:pt x="2120" y="1015"/>
                  <a:pt x="2120" y="1015"/>
                  <a:pt x="2120" y="1026"/>
                </a:cubicBezTo>
                <a:cubicBezTo>
                  <a:pt x="2123" y="1025"/>
                  <a:pt x="2126" y="1024"/>
                  <a:pt x="2128" y="1023"/>
                </a:cubicBezTo>
                <a:cubicBezTo>
                  <a:pt x="2131" y="1022"/>
                  <a:pt x="2133" y="1021"/>
                  <a:pt x="2135" y="1019"/>
                </a:cubicBezTo>
                <a:cubicBezTo>
                  <a:pt x="2135" y="1019"/>
                  <a:pt x="2135" y="1019"/>
                  <a:pt x="2135" y="1078"/>
                </a:cubicBezTo>
                <a:cubicBezTo>
                  <a:pt x="2135" y="1078"/>
                  <a:pt x="2135" y="1078"/>
                  <a:pt x="2147" y="1078"/>
                </a:cubicBezTo>
                <a:cubicBezTo>
                  <a:pt x="2147" y="1078"/>
                  <a:pt x="2147" y="1078"/>
                  <a:pt x="2147" y="1005"/>
                </a:cubicBezTo>
                <a:close/>
                <a:moveTo>
                  <a:pt x="2193" y="1005"/>
                </a:moveTo>
                <a:cubicBezTo>
                  <a:pt x="2193" y="1005"/>
                  <a:pt x="2193" y="1005"/>
                  <a:pt x="2193" y="1005"/>
                </a:cubicBezTo>
                <a:cubicBezTo>
                  <a:pt x="2189" y="1005"/>
                  <a:pt x="2189" y="1005"/>
                  <a:pt x="2189" y="1005"/>
                </a:cubicBezTo>
                <a:cubicBezTo>
                  <a:pt x="2187" y="1006"/>
                  <a:pt x="2186" y="1007"/>
                  <a:pt x="2183" y="1008"/>
                </a:cubicBezTo>
                <a:cubicBezTo>
                  <a:pt x="2182" y="1010"/>
                  <a:pt x="2180" y="1010"/>
                  <a:pt x="2178" y="1011"/>
                </a:cubicBezTo>
                <a:cubicBezTo>
                  <a:pt x="2176" y="1013"/>
                  <a:pt x="2175" y="1013"/>
                  <a:pt x="2173" y="1014"/>
                </a:cubicBezTo>
                <a:cubicBezTo>
                  <a:pt x="2171" y="1015"/>
                  <a:pt x="2169" y="1015"/>
                  <a:pt x="2168" y="1015"/>
                </a:cubicBezTo>
                <a:cubicBezTo>
                  <a:pt x="2168" y="1015"/>
                  <a:pt x="2168" y="1015"/>
                  <a:pt x="2168" y="1026"/>
                </a:cubicBezTo>
                <a:cubicBezTo>
                  <a:pt x="2170" y="1025"/>
                  <a:pt x="2173" y="1024"/>
                  <a:pt x="2175" y="1023"/>
                </a:cubicBezTo>
                <a:cubicBezTo>
                  <a:pt x="2178" y="1022"/>
                  <a:pt x="2180" y="1021"/>
                  <a:pt x="2182" y="1019"/>
                </a:cubicBezTo>
                <a:cubicBezTo>
                  <a:pt x="2182" y="1019"/>
                  <a:pt x="2182" y="1019"/>
                  <a:pt x="2182" y="1078"/>
                </a:cubicBezTo>
                <a:cubicBezTo>
                  <a:pt x="2182" y="1078"/>
                  <a:pt x="2182" y="1078"/>
                  <a:pt x="2193" y="1078"/>
                </a:cubicBezTo>
                <a:cubicBezTo>
                  <a:pt x="2193" y="1078"/>
                  <a:pt x="2193" y="1078"/>
                  <a:pt x="2193" y="1005"/>
                </a:cubicBezTo>
                <a:close/>
                <a:moveTo>
                  <a:pt x="2241" y="1005"/>
                </a:moveTo>
                <a:cubicBezTo>
                  <a:pt x="2241" y="1005"/>
                  <a:pt x="2241" y="1005"/>
                  <a:pt x="2241" y="1005"/>
                </a:cubicBezTo>
                <a:cubicBezTo>
                  <a:pt x="2236" y="1005"/>
                  <a:pt x="2236" y="1005"/>
                  <a:pt x="2236" y="1005"/>
                </a:cubicBezTo>
                <a:cubicBezTo>
                  <a:pt x="2234" y="1006"/>
                  <a:pt x="2232" y="1007"/>
                  <a:pt x="2230" y="1008"/>
                </a:cubicBezTo>
                <a:cubicBezTo>
                  <a:pt x="2228" y="1010"/>
                  <a:pt x="2227" y="1010"/>
                  <a:pt x="2225" y="1011"/>
                </a:cubicBezTo>
                <a:cubicBezTo>
                  <a:pt x="2223" y="1013"/>
                  <a:pt x="2221" y="1013"/>
                  <a:pt x="2220" y="1014"/>
                </a:cubicBezTo>
                <a:cubicBezTo>
                  <a:pt x="2217" y="1015"/>
                  <a:pt x="2216" y="1015"/>
                  <a:pt x="2214" y="1015"/>
                </a:cubicBezTo>
                <a:cubicBezTo>
                  <a:pt x="2214" y="1015"/>
                  <a:pt x="2214" y="1015"/>
                  <a:pt x="2214" y="1026"/>
                </a:cubicBezTo>
                <a:cubicBezTo>
                  <a:pt x="2217" y="1025"/>
                  <a:pt x="2220" y="1024"/>
                  <a:pt x="2222" y="1023"/>
                </a:cubicBezTo>
                <a:cubicBezTo>
                  <a:pt x="2225" y="1022"/>
                  <a:pt x="2227" y="1021"/>
                  <a:pt x="2229" y="1019"/>
                </a:cubicBezTo>
                <a:cubicBezTo>
                  <a:pt x="2229" y="1019"/>
                  <a:pt x="2229" y="1019"/>
                  <a:pt x="2229" y="1078"/>
                </a:cubicBezTo>
                <a:cubicBezTo>
                  <a:pt x="2229" y="1078"/>
                  <a:pt x="2229" y="1078"/>
                  <a:pt x="2241" y="1078"/>
                </a:cubicBezTo>
                <a:cubicBezTo>
                  <a:pt x="2241" y="1078"/>
                  <a:pt x="2241" y="1078"/>
                  <a:pt x="2241" y="1005"/>
                </a:cubicBezTo>
                <a:close/>
                <a:moveTo>
                  <a:pt x="2364" y="1005"/>
                </a:moveTo>
                <a:cubicBezTo>
                  <a:pt x="2364" y="1005"/>
                  <a:pt x="2364" y="1005"/>
                  <a:pt x="2364" y="1005"/>
                </a:cubicBezTo>
                <a:cubicBezTo>
                  <a:pt x="2359" y="1005"/>
                  <a:pt x="2359" y="1005"/>
                  <a:pt x="2359" y="1005"/>
                </a:cubicBezTo>
                <a:cubicBezTo>
                  <a:pt x="2357" y="1006"/>
                  <a:pt x="2355" y="1007"/>
                  <a:pt x="2353" y="1008"/>
                </a:cubicBezTo>
                <a:cubicBezTo>
                  <a:pt x="2352" y="1010"/>
                  <a:pt x="2350" y="1010"/>
                  <a:pt x="2348" y="1011"/>
                </a:cubicBezTo>
                <a:cubicBezTo>
                  <a:pt x="2346" y="1013"/>
                  <a:pt x="2344" y="1013"/>
                  <a:pt x="2343" y="1014"/>
                </a:cubicBezTo>
                <a:cubicBezTo>
                  <a:pt x="2341" y="1015"/>
                  <a:pt x="2339" y="1015"/>
                  <a:pt x="2337" y="1015"/>
                </a:cubicBezTo>
                <a:cubicBezTo>
                  <a:pt x="2337" y="1015"/>
                  <a:pt x="2337" y="1015"/>
                  <a:pt x="2337" y="1026"/>
                </a:cubicBezTo>
                <a:cubicBezTo>
                  <a:pt x="2340" y="1025"/>
                  <a:pt x="2343" y="1024"/>
                  <a:pt x="2346" y="1023"/>
                </a:cubicBezTo>
                <a:cubicBezTo>
                  <a:pt x="2348" y="1022"/>
                  <a:pt x="2350" y="1021"/>
                  <a:pt x="2352" y="1019"/>
                </a:cubicBezTo>
                <a:cubicBezTo>
                  <a:pt x="2352" y="1019"/>
                  <a:pt x="2352" y="1019"/>
                  <a:pt x="2352" y="1078"/>
                </a:cubicBezTo>
                <a:cubicBezTo>
                  <a:pt x="2352" y="1078"/>
                  <a:pt x="2352" y="1078"/>
                  <a:pt x="2364" y="1078"/>
                </a:cubicBezTo>
                <a:cubicBezTo>
                  <a:pt x="2364" y="1078"/>
                  <a:pt x="2364" y="1078"/>
                  <a:pt x="2364" y="1005"/>
                </a:cubicBezTo>
                <a:close/>
                <a:moveTo>
                  <a:pt x="2411" y="1005"/>
                </a:moveTo>
                <a:cubicBezTo>
                  <a:pt x="2411" y="1005"/>
                  <a:pt x="2411" y="1005"/>
                  <a:pt x="2411" y="1005"/>
                </a:cubicBezTo>
                <a:cubicBezTo>
                  <a:pt x="2406" y="1005"/>
                  <a:pt x="2406" y="1005"/>
                  <a:pt x="2406" y="1005"/>
                </a:cubicBezTo>
                <a:cubicBezTo>
                  <a:pt x="2404" y="1006"/>
                  <a:pt x="2403" y="1007"/>
                  <a:pt x="2400" y="1008"/>
                </a:cubicBezTo>
                <a:cubicBezTo>
                  <a:pt x="2399" y="1010"/>
                  <a:pt x="2397" y="1010"/>
                  <a:pt x="2395" y="1011"/>
                </a:cubicBezTo>
                <a:cubicBezTo>
                  <a:pt x="2394" y="1013"/>
                  <a:pt x="2392" y="1013"/>
                  <a:pt x="2390" y="1014"/>
                </a:cubicBezTo>
                <a:cubicBezTo>
                  <a:pt x="2388" y="1015"/>
                  <a:pt x="2387" y="1015"/>
                  <a:pt x="2384" y="1015"/>
                </a:cubicBezTo>
                <a:cubicBezTo>
                  <a:pt x="2384" y="1015"/>
                  <a:pt x="2384" y="1015"/>
                  <a:pt x="2384" y="1026"/>
                </a:cubicBezTo>
                <a:cubicBezTo>
                  <a:pt x="2387" y="1025"/>
                  <a:pt x="2390" y="1024"/>
                  <a:pt x="2392" y="1023"/>
                </a:cubicBezTo>
                <a:cubicBezTo>
                  <a:pt x="2395" y="1022"/>
                  <a:pt x="2398" y="1021"/>
                  <a:pt x="2400" y="1019"/>
                </a:cubicBezTo>
                <a:cubicBezTo>
                  <a:pt x="2400" y="1019"/>
                  <a:pt x="2400" y="1019"/>
                  <a:pt x="2400" y="1078"/>
                </a:cubicBezTo>
                <a:cubicBezTo>
                  <a:pt x="2400" y="1078"/>
                  <a:pt x="2400" y="1078"/>
                  <a:pt x="2411" y="1078"/>
                </a:cubicBezTo>
                <a:cubicBezTo>
                  <a:pt x="2411" y="1078"/>
                  <a:pt x="2411" y="1078"/>
                  <a:pt x="2411" y="1005"/>
                </a:cubicBezTo>
                <a:close/>
                <a:moveTo>
                  <a:pt x="2459" y="1005"/>
                </a:moveTo>
                <a:cubicBezTo>
                  <a:pt x="2459" y="1005"/>
                  <a:pt x="2459" y="1005"/>
                  <a:pt x="2459" y="1005"/>
                </a:cubicBezTo>
                <a:cubicBezTo>
                  <a:pt x="2454" y="1005"/>
                  <a:pt x="2454" y="1005"/>
                  <a:pt x="2454" y="1005"/>
                </a:cubicBezTo>
                <a:cubicBezTo>
                  <a:pt x="2452" y="1006"/>
                  <a:pt x="2450" y="1007"/>
                  <a:pt x="2449" y="1008"/>
                </a:cubicBezTo>
                <a:cubicBezTo>
                  <a:pt x="2447" y="1010"/>
                  <a:pt x="2445" y="1010"/>
                  <a:pt x="2443" y="1011"/>
                </a:cubicBezTo>
                <a:cubicBezTo>
                  <a:pt x="2441" y="1013"/>
                  <a:pt x="2439" y="1013"/>
                  <a:pt x="2438" y="1014"/>
                </a:cubicBezTo>
                <a:cubicBezTo>
                  <a:pt x="2436" y="1015"/>
                  <a:pt x="2434" y="1015"/>
                  <a:pt x="2432" y="1015"/>
                </a:cubicBezTo>
                <a:cubicBezTo>
                  <a:pt x="2432" y="1015"/>
                  <a:pt x="2432" y="1015"/>
                  <a:pt x="2432" y="1026"/>
                </a:cubicBezTo>
                <a:cubicBezTo>
                  <a:pt x="2435" y="1025"/>
                  <a:pt x="2438" y="1024"/>
                  <a:pt x="2441" y="1023"/>
                </a:cubicBezTo>
                <a:cubicBezTo>
                  <a:pt x="2443" y="1022"/>
                  <a:pt x="2445" y="1021"/>
                  <a:pt x="2447" y="1019"/>
                </a:cubicBezTo>
                <a:cubicBezTo>
                  <a:pt x="2447" y="1019"/>
                  <a:pt x="2447" y="1019"/>
                  <a:pt x="2447" y="1078"/>
                </a:cubicBezTo>
                <a:cubicBezTo>
                  <a:pt x="2447" y="1078"/>
                  <a:pt x="2447" y="1078"/>
                  <a:pt x="2459" y="1078"/>
                </a:cubicBezTo>
                <a:cubicBezTo>
                  <a:pt x="2459" y="1078"/>
                  <a:pt x="2459" y="1078"/>
                  <a:pt x="2459" y="1005"/>
                </a:cubicBezTo>
                <a:close/>
                <a:moveTo>
                  <a:pt x="2505" y="1005"/>
                </a:moveTo>
                <a:cubicBezTo>
                  <a:pt x="2505" y="1005"/>
                  <a:pt x="2505" y="1005"/>
                  <a:pt x="2505" y="1005"/>
                </a:cubicBezTo>
                <a:cubicBezTo>
                  <a:pt x="2501" y="1005"/>
                  <a:pt x="2501" y="1005"/>
                  <a:pt x="2501" y="1005"/>
                </a:cubicBezTo>
                <a:cubicBezTo>
                  <a:pt x="2499" y="1006"/>
                  <a:pt x="2498" y="1007"/>
                  <a:pt x="2495" y="1008"/>
                </a:cubicBezTo>
                <a:cubicBezTo>
                  <a:pt x="2494" y="1010"/>
                  <a:pt x="2492" y="1010"/>
                  <a:pt x="2490" y="1011"/>
                </a:cubicBezTo>
                <a:cubicBezTo>
                  <a:pt x="2488" y="1012"/>
                  <a:pt x="2487" y="1013"/>
                  <a:pt x="2485" y="1013"/>
                </a:cubicBezTo>
                <a:cubicBezTo>
                  <a:pt x="2483" y="1014"/>
                  <a:pt x="2481" y="1015"/>
                  <a:pt x="2480" y="1015"/>
                </a:cubicBezTo>
                <a:cubicBezTo>
                  <a:pt x="2480" y="1015"/>
                  <a:pt x="2480" y="1015"/>
                  <a:pt x="2480" y="1026"/>
                </a:cubicBezTo>
                <a:cubicBezTo>
                  <a:pt x="2482" y="1025"/>
                  <a:pt x="2485" y="1023"/>
                  <a:pt x="2487" y="1023"/>
                </a:cubicBezTo>
                <a:cubicBezTo>
                  <a:pt x="2490" y="1022"/>
                  <a:pt x="2492" y="1021"/>
                  <a:pt x="2494" y="1019"/>
                </a:cubicBezTo>
                <a:cubicBezTo>
                  <a:pt x="2494" y="1019"/>
                  <a:pt x="2494" y="1019"/>
                  <a:pt x="2494" y="1078"/>
                </a:cubicBezTo>
                <a:cubicBezTo>
                  <a:pt x="2494" y="1078"/>
                  <a:pt x="2494" y="1078"/>
                  <a:pt x="2505" y="1078"/>
                </a:cubicBezTo>
                <a:cubicBezTo>
                  <a:pt x="2505" y="1078"/>
                  <a:pt x="2505" y="1078"/>
                  <a:pt x="2505" y="1005"/>
                </a:cubicBezTo>
                <a:close/>
                <a:moveTo>
                  <a:pt x="2262" y="1037"/>
                </a:moveTo>
                <a:cubicBezTo>
                  <a:pt x="2262" y="1037"/>
                  <a:pt x="2262" y="1037"/>
                  <a:pt x="2262" y="1037"/>
                </a:cubicBezTo>
                <a:cubicBezTo>
                  <a:pt x="2261" y="1045"/>
                  <a:pt x="2261" y="1045"/>
                  <a:pt x="2261" y="1045"/>
                </a:cubicBezTo>
                <a:cubicBezTo>
                  <a:pt x="2268" y="1046"/>
                  <a:pt x="2268" y="1049"/>
                  <a:pt x="2268" y="1051"/>
                </a:cubicBezTo>
                <a:cubicBezTo>
                  <a:pt x="2268" y="1053"/>
                  <a:pt x="2268" y="1056"/>
                  <a:pt x="2268" y="1058"/>
                </a:cubicBezTo>
                <a:cubicBezTo>
                  <a:pt x="2268" y="1061"/>
                  <a:pt x="2267" y="1063"/>
                  <a:pt x="2267" y="1065"/>
                </a:cubicBezTo>
                <a:cubicBezTo>
                  <a:pt x="2267" y="1075"/>
                  <a:pt x="2273" y="1078"/>
                  <a:pt x="2282" y="1078"/>
                </a:cubicBezTo>
                <a:cubicBezTo>
                  <a:pt x="2282" y="1078"/>
                  <a:pt x="2282" y="1078"/>
                  <a:pt x="2286" y="1078"/>
                </a:cubicBezTo>
                <a:cubicBezTo>
                  <a:pt x="2286" y="1078"/>
                  <a:pt x="2286" y="1078"/>
                  <a:pt x="2286" y="1069"/>
                </a:cubicBezTo>
                <a:cubicBezTo>
                  <a:pt x="2286" y="1069"/>
                  <a:pt x="2286" y="1069"/>
                  <a:pt x="2284" y="1069"/>
                </a:cubicBezTo>
                <a:cubicBezTo>
                  <a:pt x="2280" y="1069"/>
                  <a:pt x="2279" y="1066"/>
                  <a:pt x="2279" y="1063"/>
                </a:cubicBezTo>
                <a:cubicBezTo>
                  <a:pt x="2279" y="1062"/>
                  <a:pt x="2279" y="1060"/>
                  <a:pt x="2280" y="1058"/>
                </a:cubicBezTo>
                <a:cubicBezTo>
                  <a:pt x="2280" y="1057"/>
                  <a:pt x="2280" y="1055"/>
                  <a:pt x="2280" y="1052"/>
                </a:cubicBezTo>
                <a:cubicBezTo>
                  <a:pt x="2280" y="1045"/>
                  <a:pt x="2277" y="1042"/>
                  <a:pt x="2271" y="1041"/>
                </a:cubicBezTo>
                <a:cubicBezTo>
                  <a:pt x="2271" y="1041"/>
                  <a:pt x="2271" y="1041"/>
                  <a:pt x="2271" y="1041"/>
                </a:cubicBezTo>
                <a:cubicBezTo>
                  <a:pt x="2277" y="1040"/>
                  <a:pt x="2280" y="1037"/>
                  <a:pt x="2280" y="1030"/>
                </a:cubicBezTo>
                <a:cubicBezTo>
                  <a:pt x="2280" y="1027"/>
                  <a:pt x="2280" y="1026"/>
                  <a:pt x="2280" y="1024"/>
                </a:cubicBezTo>
                <a:cubicBezTo>
                  <a:pt x="2279" y="1022"/>
                  <a:pt x="2279" y="1020"/>
                  <a:pt x="2279" y="1019"/>
                </a:cubicBezTo>
                <a:cubicBezTo>
                  <a:pt x="2279" y="1016"/>
                  <a:pt x="2280" y="1013"/>
                  <a:pt x="2284" y="1013"/>
                </a:cubicBezTo>
                <a:cubicBezTo>
                  <a:pt x="2284" y="1013"/>
                  <a:pt x="2284" y="1013"/>
                  <a:pt x="2286" y="1013"/>
                </a:cubicBezTo>
                <a:cubicBezTo>
                  <a:pt x="2286" y="1013"/>
                  <a:pt x="2286" y="1013"/>
                  <a:pt x="2286" y="1004"/>
                </a:cubicBezTo>
                <a:cubicBezTo>
                  <a:pt x="2286" y="1004"/>
                  <a:pt x="2286" y="1004"/>
                  <a:pt x="2282" y="1004"/>
                </a:cubicBezTo>
                <a:cubicBezTo>
                  <a:pt x="2273" y="1004"/>
                  <a:pt x="2267" y="1008"/>
                  <a:pt x="2267" y="1017"/>
                </a:cubicBezTo>
                <a:cubicBezTo>
                  <a:pt x="2267" y="1019"/>
                  <a:pt x="2268" y="1022"/>
                  <a:pt x="2268" y="1024"/>
                </a:cubicBezTo>
                <a:cubicBezTo>
                  <a:pt x="2268" y="1026"/>
                  <a:pt x="2268" y="1029"/>
                  <a:pt x="2268" y="1031"/>
                </a:cubicBezTo>
                <a:cubicBezTo>
                  <a:pt x="2268" y="1033"/>
                  <a:pt x="2268" y="1037"/>
                  <a:pt x="2262" y="1037"/>
                </a:cubicBezTo>
                <a:close/>
                <a:moveTo>
                  <a:pt x="2316" y="1045"/>
                </a:moveTo>
                <a:cubicBezTo>
                  <a:pt x="2316" y="1045"/>
                  <a:pt x="2316" y="1045"/>
                  <a:pt x="2316" y="1045"/>
                </a:cubicBezTo>
                <a:cubicBezTo>
                  <a:pt x="2316" y="1037"/>
                  <a:pt x="2316" y="1037"/>
                  <a:pt x="2316" y="1037"/>
                </a:cubicBezTo>
                <a:cubicBezTo>
                  <a:pt x="2310" y="1037"/>
                  <a:pt x="2310" y="1033"/>
                  <a:pt x="2310" y="1031"/>
                </a:cubicBezTo>
                <a:cubicBezTo>
                  <a:pt x="2310" y="1029"/>
                  <a:pt x="2310" y="1026"/>
                  <a:pt x="2310" y="1024"/>
                </a:cubicBezTo>
                <a:cubicBezTo>
                  <a:pt x="2310" y="1022"/>
                  <a:pt x="2310" y="1019"/>
                  <a:pt x="2310" y="1017"/>
                </a:cubicBezTo>
                <a:cubicBezTo>
                  <a:pt x="2310" y="1008"/>
                  <a:pt x="2305" y="1004"/>
                  <a:pt x="2296" y="1004"/>
                </a:cubicBezTo>
                <a:cubicBezTo>
                  <a:pt x="2296" y="1004"/>
                  <a:pt x="2296" y="1004"/>
                  <a:pt x="2292" y="1004"/>
                </a:cubicBezTo>
                <a:cubicBezTo>
                  <a:pt x="2292" y="1004"/>
                  <a:pt x="2292" y="1004"/>
                  <a:pt x="2292" y="1013"/>
                </a:cubicBezTo>
                <a:cubicBezTo>
                  <a:pt x="2292" y="1013"/>
                  <a:pt x="2292" y="1013"/>
                  <a:pt x="2294" y="1013"/>
                </a:cubicBezTo>
                <a:cubicBezTo>
                  <a:pt x="2298" y="1013"/>
                  <a:pt x="2299" y="1016"/>
                  <a:pt x="2299" y="1019"/>
                </a:cubicBezTo>
                <a:cubicBezTo>
                  <a:pt x="2299" y="1020"/>
                  <a:pt x="2299" y="1022"/>
                  <a:pt x="2299" y="1024"/>
                </a:cubicBezTo>
                <a:cubicBezTo>
                  <a:pt x="2298" y="1026"/>
                  <a:pt x="2298" y="1027"/>
                  <a:pt x="2298" y="1030"/>
                </a:cubicBezTo>
                <a:cubicBezTo>
                  <a:pt x="2298" y="1037"/>
                  <a:pt x="2301" y="1040"/>
                  <a:pt x="2307" y="1041"/>
                </a:cubicBezTo>
                <a:cubicBezTo>
                  <a:pt x="2307" y="1041"/>
                  <a:pt x="2307" y="1041"/>
                  <a:pt x="2307" y="1041"/>
                </a:cubicBezTo>
                <a:cubicBezTo>
                  <a:pt x="2301" y="1042"/>
                  <a:pt x="2298" y="1045"/>
                  <a:pt x="2298" y="1052"/>
                </a:cubicBezTo>
                <a:cubicBezTo>
                  <a:pt x="2298" y="1055"/>
                  <a:pt x="2298" y="1057"/>
                  <a:pt x="2299" y="1058"/>
                </a:cubicBezTo>
                <a:cubicBezTo>
                  <a:pt x="2299" y="1060"/>
                  <a:pt x="2299" y="1062"/>
                  <a:pt x="2299" y="1063"/>
                </a:cubicBezTo>
                <a:cubicBezTo>
                  <a:pt x="2299" y="1066"/>
                  <a:pt x="2298" y="1069"/>
                  <a:pt x="2294" y="1069"/>
                </a:cubicBezTo>
                <a:cubicBezTo>
                  <a:pt x="2294" y="1069"/>
                  <a:pt x="2294" y="1069"/>
                  <a:pt x="2292" y="1069"/>
                </a:cubicBezTo>
                <a:cubicBezTo>
                  <a:pt x="2292" y="1069"/>
                  <a:pt x="2292" y="1069"/>
                  <a:pt x="2292" y="1078"/>
                </a:cubicBezTo>
                <a:cubicBezTo>
                  <a:pt x="2292" y="1078"/>
                  <a:pt x="2292" y="1078"/>
                  <a:pt x="2296" y="1078"/>
                </a:cubicBezTo>
                <a:cubicBezTo>
                  <a:pt x="2305" y="1078"/>
                  <a:pt x="2310" y="1075"/>
                  <a:pt x="2310" y="1065"/>
                </a:cubicBezTo>
                <a:cubicBezTo>
                  <a:pt x="2310" y="1063"/>
                  <a:pt x="2310" y="1061"/>
                  <a:pt x="2310" y="1058"/>
                </a:cubicBezTo>
                <a:cubicBezTo>
                  <a:pt x="2310" y="1056"/>
                  <a:pt x="2310" y="1053"/>
                  <a:pt x="2310" y="1051"/>
                </a:cubicBezTo>
                <a:cubicBezTo>
                  <a:pt x="2310" y="1049"/>
                  <a:pt x="2310" y="1046"/>
                  <a:pt x="2316" y="1045"/>
                </a:cubicBezTo>
                <a:close/>
                <a:moveTo>
                  <a:pt x="2644" y="1037"/>
                </a:moveTo>
                <a:cubicBezTo>
                  <a:pt x="2644" y="1037"/>
                  <a:pt x="2644" y="1037"/>
                  <a:pt x="2644" y="1037"/>
                </a:cubicBezTo>
                <a:cubicBezTo>
                  <a:pt x="2643" y="1045"/>
                  <a:pt x="2643" y="1045"/>
                  <a:pt x="2643" y="1045"/>
                </a:cubicBezTo>
                <a:cubicBezTo>
                  <a:pt x="2649" y="1046"/>
                  <a:pt x="2650" y="1049"/>
                  <a:pt x="2650" y="1051"/>
                </a:cubicBezTo>
                <a:cubicBezTo>
                  <a:pt x="2650" y="1053"/>
                  <a:pt x="2650" y="1056"/>
                  <a:pt x="2650" y="1058"/>
                </a:cubicBezTo>
                <a:cubicBezTo>
                  <a:pt x="2649" y="1061"/>
                  <a:pt x="2649" y="1063"/>
                  <a:pt x="2649" y="1065"/>
                </a:cubicBezTo>
                <a:cubicBezTo>
                  <a:pt x="2649" y="1075"/>
                  <a:pt x="2655" y="1078"/>
                  <a:pt x="2664" y="1078"/>
                </a:cubicBezTo>
                <a:cubicBezTo>
                  <a:pt x="2664" y="1078"/>
                  <a:pt x="2664" y="1078"/>
                  <a:pt x="2667" y="1078"/>
                </a:cubicBezTo>
                <a:cubicBezTo>
                  <a:pt x="2667" y="1078"/>
                  <a:pt x="2667" y="1078"/>
                  <a:pt x="2667" y="1069"/>
                </a:cubicBezTo>
                <a:cubicBezTo>
                  <a:pt x="2667" y="1069"/>
                  <a:pt x="2667" y="1069"/>
                  <a:pt x="2666" y="1069"/>
                </a:cubicBezTo>
                <a:cubicBezTo>
                  <a:pt x="2662" y="1069"/>
                  <a:pt x="2661" y="1066"/>
                  <a:pt x="2661" y="1063"/>
                </a:cubicBezTo>
                <a:cubicBezTo>
                  <a:pt x="2661" y="1062"/>
                  <a:pt x="2661" y="1060"/>
                  <a:pt x="2661" y="1058"/>
                </a:cubicBezTo>
                <a:cubicBezTo>
                  <a:pt x="2661" y="1057"/>
                  <a:pt x="2662" y="1055"/>
                  <a:pt x="2662" y="1052"/>
                </a:cubicBezTo>
                <a:cubicBezTo>
                  <a:pt x="2662" y="1045"/>
                  <a:pt x="2659" y="1042"/>
                  <a:pt x="2653" y="1041"/>
                </a:cubicBezTo>
                <a:cubicBezTo>
                  <a:pt x="2653" y="1041"/>
                  <a:pt x="2653" y="1041"/>
                  <a:pt x="2653" y="1041"/>
                </a:cubicBezTo>
                <a:cubicBezTo>
                  <a:pt x="2659" y="1040"/>
                  <a:pt x="2662" y="1037"/>
                  <a:pt x="2662" y="1030"/>
                </a:cubicBezTo>
                <a:cubicBezTo>
                  <a:pt x="2662" y="1027"/>
                  <a:pt x="2661" y="1026"/>
                  <a:pt x="2661" y="1024"/>
                </a:cubicBezTo>
                <a:cubicBezTo>
                  <a:pt x="2661" y="1022"/>
                  <a:pt x="2661" y="1020"/>
                  <a:pt x="2661" y="1019"/>
                </a:cubicBezTo>
                <a:cubicBezTo>
                  <a:pt x="2661" y="1016"/>
                  <a:pt x="2662" y="1013"/>
                  <a:pt x="2666" y="1013"/>
                </a:cubicBezTo>
                <a:cubicBezTo>
                  <a:pt x="2666" y="1013"/>
                  <a:pt x="2666" y="1013"/>
                  <a:pt x="2667" y="1013"/>
                </a:cubicBezTo>
                <a:cubicBezTo>
                  <a:pt x="2667" y="1013"/>
                  <a:pt x="2667" y="1013"/>
                  <a:pt x="2667" y="1004"/>
                </a:cubicBezTo>
                <a:cubicBezTo>
                  <a:pt x="2667" y="1004"/>
                  <a:pt x="2667" y="1004"/>
                  <a:pt x="2664" y="1004"/>
                </a:cubicBezTo>
                <a:cubicBezTo>
                  <a:pt x="2655" y="1004"/>
                  <a:pt x="2649" y="1008"/>
                  <a:pt x="2649" y="1017"/>
                </a:cubicBezTo>
                <a:cubicBezTo>
                  <a:pt x="2649" y="1019"/>
                  <a:pt x="2649" y="1022"/>
                  <a:pt x="2649" y="1024"/>
                </a:cubicBezTo>
                <a:cubicBezTo>
                  <a:pt x="2650" y="1026"/>
                  <a:pt x="2650" y="1029"/>
                  <a:pt x="2650" y="1031"/>
                </a:cubicBezTo>
                <a:cubicBezTo>
                  <a:pt x="2650" y="1033"/>
                  <a:pt x="2649" y="1037"/>
                  <a:pt x="2644" y="1037"/>
                </a:cubicBezTo>
                <a:close/>
                <a:moveTo>
                  <a:pt x="2698" y="1045"/>
                </a:moveTo>
                <a:cubicBezTo>
                  <a:pt x="2698" y="1045"/>
                  <a:pt x="2698" y="1045"/>
                  <a:pt x="2698" y="1045"/>
                </a:cubicBezTo>
                <a:cubicBezTo>
                  <a:pt x="2698" y="1037"/>
                  <a:pt x="2698" y="1037"/>
                  <a:pt x="2698" y="1037"/>
                </a:cubicBezTo>
                <a:cubicBezTo>
                  <a:pt x="2692" y="1037"/>
                  <a:pt x="2691" y="1033"/>
                  <a:pt x="2691" y="1031"/>
                </a:cubicBezTo>
                <a:cubicBezTo>
                  <a:pt x="2691" y="1029"/>
                  <a:pt x="2691" y="1026"/>
                  <a:pt x="2692" y="1024"/>
                </a:cubicBezTo>
                <a:cubicBezTo>
                  <a:pt x="2692" y="1022"/>
                  <a:pt x="2692" y="1019"/>
                  <a:pt x="2692" y="1017"/>
                </a:cubicBezTo>
                <a:cubicBezTo>
                  <a:pt x="2692" y="1008"/>
                  <a:pt x="2687" y="1004"/>
                  <a:pt x="2678" y="1004"/>
                </a:cubicBezTo>
                <a:cubicBezTo>
                  <a:pt x="2678" y="1004"/>
                  <a:pt x="2678" y="1004"/>
                  <a:pt x="2674" y="1004"/>
                </a:cubicBezTo>
                <a:cubicBezTo>
                  <a:pt x="2674" y="1004"/>
                  <a:pt x="2674" y="1004"/>
                  <a:pt x="2674" y="1013"/>
                </a:cubicBezTo>
                <a:cubicBezTo>
                  <a:pt x="2674" y="1013"/>
                  <a:pt x="2674" y="1013"/>
                  <a:pt x="2675" y="1013"/>
                </a:cubicBezTo>
                <a:cubicBezTo>
                  <a:pt x="2679" y="1013"/>
                  <a:pt x="2681" y="1016"/>
                  <a:pt x="2681" y="1019"/>
                </a:cubicBezTo>
                <a:cubicBezTo>
                  <a:pt x="2681" y="1020"/>
                  <a:pt x="2680" y="1022"/>
                  <a:pt x="2680" y="1024"/>
                </a:cubicBezTo>
                <a:cubicBezTo>
                  <a:pt x="2680" y="1026"/>
                  <a:pt x="2680" y="1027"/>
                  <a:pt x="2680" y="1030"/>
                </a:cubicBezTo>
                <a:cubicBezTo>
                  <a:pt x="2680" y="1037"/>
                  <a:pt x="2682" y="1040"/>
                  <a:pt x="2688" y="1041"/>
                </a:cubicBezTo>
                <a:cubicBezTo>
                  <a:pt x="2688" y="1041"/>
                  <a:pt x="2688" y="1041"/>
                  <a:pt x="2688" y="1041"/>
                </a:cubicBezTo>
                <a:cubicBezTo>
                  <a:pt x="2682" y="1042"/>
                  <a:pt x="2680" y="1045"/>
                  <a:pt x="2680" y="1052"/>
                </a:cubicBezTo>
                <a:cubicBezTo>
                  <a:pt x="2680" y="1055"/>
                  <a:pt x="2680" y="1057"/>
                  <a:pt x="2680" y="1058"/>
                </a:cubicBezTo>
                <a:cubicBezTo>
                  <a:pt x="2680" y="1060"/>
                  <a:pt x="2681" y="1062"/>
                  <a:pt x="2681" y="1063"/>
                </a:cubicBezTo>
                <a:cubicBezTo>
                  <a:pt x="2681" y="1066"/>
                  <a:pt x="2679" y="1069"/>
                  <a:pt x="2675" y="1069"/>
                </a:cubicBezTo>
                <a:cubicBezTo>
                  <a:pt x="2675" y="1069"/>
                  <a:pt x="2675" y="1069"/>
                  <a:pt x="2674" y="1069"/>
                </a:cubicBezTo>
                <a:cubicBezTo>
                  <a:pt x="2674" y="1069"/>
                  <a:pt x="2674" y="1069"/>
                  <a:pt x="2674" y="1078"/>
                </a:cubicBezTo>
                <a:cubicBezTo>
                  <a:pt x="2674" y="1078"/>
                  <a:pt x="2674" y="1078"/>
                  <a:pt x="2678" y="1078"/>
                </a:cubicBezTo>
                <a:cubicBezTo>
                  <a:pt x="2686" y="1078"/>
                  <a:pt x="2692" y="1075"/>
                  <a:pt x="2692" y="1065"/>
                </a:cubicBezTo>
                <a:cubicBezTo>
                  <a:pt x="2692" y="1063"/>
                  <a:pt x="2692" y="1061"/>
                  <a:pt x="2692" y="1058"/>
                </a:cubicBezTo>
                <a:cubicBezTo>
                  <a:pt x="2691" y="1056"/>
                  <a:pt x="2691" y="1053"/>
                  <a:pt x="2691" y="1051"/>
                </a:cubicBezTo>
                <a:cubicBezTo>
                  <a:pt x="2691" y="1049"/>
                  <a:pt x="2692" y="1046"/>
                  <a:pt x="2698" y="1045"/>
                </a:cubicBezTo>
                <a:close/>
                <a:moveTo>
                  <a:pt x="2745" y="1005"/>
                </a:moveTo>
                <a:cubicBezTo>
                  <a:pt x="2745" y="1005"/>
                  <a:pt x="2745" y="1005"/>
                  <a:pt x="2745" y="1005"/>
                </a:cubicBezTo>
                <a:cubicBezTo>
                  <a:pt x="2740" y="1005"/>
                  <a:pt x="2740" y="1005"/>
                  <a:pt x="2740" y="1005"/>
                </a:cubicBezTo>
                <a:cubicBezTo>
                  <a:pt x="2738" y="1006"/>
                  <a:pt x="2737" y="1007"/>
                  <a:pt x="2735" y="1008"/>
                </a:cubicBezTo>
                <a:cubicBezTo>
                  <a:pt x="2733" y="1010"/>
                  <a:pt x="2731" y="1010"/>
                  <a:pt x="2729" y="1011"/>
                </a:cubicBezTo>
                <a:cubicBezTo>
                  <a:pt x="2727" y="1012"/>
                  <a:pt x="2726" y="1013"/>
                  <a:pt x="2724" y="1013"/>
                </a:cubicBezTo>
                <a:cubicBezTo>
                  <a:pt x="2722" y="1014"/>
                  <a:pt x="2721" y="1015"/>
                  <a:pt x="2719" y="1015"/>
                </a:cubicBezTo>
                <a:cubicBezTo>
                  <a:pt x="2719" y="1015"/>
                  <a:pt x="2719" y="1015"/>
                  <a:pt x="2719" y="1026"/>
                </a:cubicBezTo>
                <a:cubicBezTo>
                  <a:pt x="2721" y="1025"/>
                  <a:pt x="2724" y="1023"/>
                  <a:pt x="2727" y="1023"/>
                </a:cubicBezTo>
                <a:cubicBezTo>
                  <a:pt x="2729" y="1022"/>
                  <a:pt x="2732" y="1021"/>
                  <a:pt x="2734" y="1019"/>
                </a:cubicBezTo>
                <a:cubicBezTo>
                  <a:pt x="2734" y="1019"/>
                  <a:pt x="2734" y="1019"/>
                  <a:pt x="2734" y="1078"/>
                </a:cubicBezTo>
                <a:cubicBezTo>
                  <a:pt x="2734" y="1078"/>
                  <a:pt x="2734" y="1078"/>
                  <a:pt x="2745" y="1078"/>
                </a:cubicBezTo>
                <a:cubicBezTo>
                  <a:pt x="2745" y="1078"/>
                  <a:pt x="2745" y="1078"/>
                  <a:pt x="2745" y="1005"/>
                </a:cubicBezTo>
                <a:close/>
                <a:moveTo>
                  <a:pt x="2792" y="1005"/>
                </a:moveTo>
                <a:cubicBezTo>
                  <a:pt x="2792" y="1005"/>
                  <a:pt x="2792" y="1005"/>
                  <a:pt x="2792" y="1005"/>
                </a:cubicBezTo>
                <a:cubicBezTo>
                  <a:pt x="2787" y="1005"/>
                  <a:pt x="2787" y="1005"/>
                  <a:pt x="2787" y="1005"/>
                </a:cubicBezTo>
                <a:cubicBezTo>
                  <a:pt x="2785" y="1006"/>
                  <a:pt x="2784" y="1007"/>
                  <a:pt x="2782" y="1008"/>
                </a:cubicBezTo>
                <a:cubicBezTo>
                  <a:pt x="2780" y="1010"/>
                  <a:pt x="2778" y="1010"/>
                  <a:pt x="2777" y="1011"/>
                </a:cubicBezTo>
                <a:cubicBezTo>
                  <a:pt x="2775" y="1013"/>
                  <a:pt x="2773" y="1013"/>
                  <a:pt x="2772" y="1014"/>
                </a:cubicBezTo>
                <a:cubicBezTo>
                  <a:pt x="2770" y="1015"/>
                  <a:pt x="2768" y="1015"/>
                  <a:pt x="2766" y="1015"/>
                </a:cubicBezTo>
                <a:cubicBezTo>
                  <a:pt x="2766" y="1015"/>
                  <a:pt x="2766" y="1015"/>
                  <a:pt x="2766" y="1026"/>
                </a:cubicBezTo>
                <a:cubicBezTo>
                  <a:pt x="2769" y="1025"/>
                  <a:pt x="2772" y="1024"/>
                  <a:pt x="2774" y="1023"/>
                </a:cubicBezTo>
                <a:cubicBezTo>
                  <a:pt x="2777" y="1022"/>
                  <a:pt x="2779" y="1021"/>
                  <a:pt x="2781" y="1019"/>
                </a:cubicBezTo>
                <a:cubicBezTo>
                  <a:pt x="2781" y="1019"/>
                  <a:pt x="2781" y="1019"/>
                  <a:pt x="2781" y="1078"/>
                </a:cubicBezTo>
                <a:cubicBezTo>
                  <a:pt x="2781" y="1078"/>
                  <a:pt x="2781" y="1078"/>
                  <a:pt x="2792" y="1078"/>
                </a:cubicBezTo>
                <a:cubicBezTo>
                  <a:pt x="2792" y="1078"/>
                  <a:pt x="2792" y="1078"/>
                  <a:pt x="2792" y="1005"/>
                </a:cubicBezTo>
                <a:close/>
                <a:moveTo>
                  <a:pt x="2839" y="1005"/>
                </a:moveTo>
                <a:cubicBezTo>
                  <a:pt x="2839" y="1005"/>
                  <a:pt x="2839" y="1005"/>
                  <a:pt x="2839" y="1005"/>
                </a:cubicBezTo>
                <a:cubicBezTo>
                  <a:pt x="2835" y="1005"/>
                  <a:pt x="2835" y="1005"/>
                  <a:pt x="2835" y="1005"/>
                </a:cubicBezTo>
                <a:cubicBezTo>
                  <a:pt x="2833" y="1006"/>
                  <a:pt x="2831" y="1007"/>
                  <a:pt x="2829" y="1008"/>
                </a:cubicBezTo>
                <a:cubicBezTo>
                  <a:pt x="2828" y="1010"/>
                  <a:pt x="2825" y="1010"/>
                  <a:pt x="2824" y="1011"/>
                </a:cubicBezTo>
                <a:cubicBezTo>
                  <a:pt x="2822" y="1013"/>
                  <a:pt x="2820" y="1013"/>
                  <a:pt x="2818" y="1014"/>
                </a:cubicBezTo>
                <a:cubicBezTo>
                  <a:pt x="2817" y="1015"/>
                  <a:pt x="2815" y="1015"/>
                  <a:pt x="2813" y="1015"/>
                </a:cubicBezTo>
                <a:cubicBezTo>
                  <a:pt x="2813" y="1015"/>
                  <a:pt x="2813" y="1015"/>
                  <a:pt x="2813" y="1026"/>
                </a:cubicBezTo>
                <a:cubicBezTo>
                  <a:pt x="2816" y="1025"/>
                  <a:pt x="2819" y="1024"/>
                  <a:pt x="2821" y="1023"/>
                </a:cubicBezTo>
                <a:cubicBezTo>
                  <a:pt x="2823" y="1022"/>
                  <a:pt x="2826" y="1021"/>
                  <a:pt x="2828" y="1019"/>
                </a:cubicBezTo>
                <a:cubicBezTo>
                  <a:pt x="2828" y="1019"/>
                  <a:pt x="2828" y="1019"/>
                  <a:pt x="2828" y="1078"/>
                </a:cubicBezTo>
                <a:cubicBezTo>
                  <a:pt x="2828" y="1078"/>
                  <a:pt x="2828" y="1078"/>
                  <a:pt x="2839" y="1078"/>
                </a:cubicBezTo>
                <a:cubicBezTo>
                  <a:pt x="2839" y="1078"/>
                  <a:pt x="2839" y="1078"/>
                  <a:pt x="2839" y="1005"/>
                </a:cubicBezTo>
                <a:close/>
                <a:moveTo>
                  <a:pt x="2962" y="1005"/>
                </a:moveTo>
                <a:cubicBezTo>
                  <a:pt x="2962" y="1005"/>
                  <a:pt x="2962" y="1005"/>
                  <a:pt x="2962" y="1005"/>
                </a:cubicBezTo>
                <a:cubicBezTo>
                  <a:pt x="2957" y="1005"/>
                  <a:pt x="2957" y="1005"/>
                  <a:pt x="2957" y="1005"/>
                </a:cubicBezTo>
                <a:cubicBezTo>
                  <a:pt x="2955" y="1006"/>
                  <a:pt x="2953" y="1007"/>
                  <a:pt x="2951" y="1008"/>
                </a:cubicBezTo>
                <a:cubicBezTo>
                  <a:pt x="2950" y="1010"/>
                  <a:pt x="2948" y="1010"/>
                  <a:pt x="2946" y="1011"/>
                </a:cubicBezTo>
                <a:cubicBezTo>
                  <a:pt x="2944" y="1013"/>
                  <a:pt x="2942" y="1013"/>
                  <a:pt x="2941" y="1014"/>
                </a:cubicBezTo>
                <a:cubicBezTo>
                  <a:pt x="2939" y="1015"/>
                  <a:pt x="2937" y="1015"/>
                  <a:pt x="2935" y="1015"/>
                </a:cubicBezTo>
                <a:cubicBezTo>
                  <a:pt x="2935" y="1015"/>
                  <a:pt x="2935" y="1015"/>
                  <a:pt x="2935" y="1026"/>
                </a:cubicBezTo>
                <a:cubicBezTo>
                  <a:pt x="2938" y="1025"/>
                  <a:pt x="2941" y="1024"/>
                  <a:pt x="2944" y="1023"/>
                </a:cubicBezTo>
                <a:cubicBezTo>
                  <a:pt x="2946" y="1022"/>
                  <a:pt x="2948" y="1021"/>
                  <a:pt x="2950" y="1019"/>
                </a:cubicBezTo>
                <a:cubicBezTo>
                  <a:pt x="2950" y="1019"/>
                  <a:pt x="2950" y="1019"/>
                  <a:pt x="2950" y="1078"/>
                </a:cubicBezTo>
                <a:cubicBezTo>
                  <a:pt x="2950" y="1078"/>
                  <a:pt x="2950" y="1078"/>
                  <a:pt x="2962" y="1078"/>
                </a:cubicBezTo>
                <a:cubicBezTo>
                  <a:pt x="2962" y="1078"/>
                  <a:pt x="2962" y="1078"/>
                  <a:pt x="2962" y="1005"/>
                </a:cubicBezTo>
                <a:close/>
                <a:moveTo>
                  <a:pt x="3009" y="1005"/>
                </a:moveTo>
                <a:cubicBezTo>
                  <a:pt x="3009" y="1005"/>
                  <a:pt x="3009" y="1005"/>
                  <a:pt x="3009" y="1005"/>
                </a:cubicBezTo>
                <a:cubicBezTo>
                  <a:pt x="3004" y="1005"/>
                  <a:pt x="3004" y="1005"/>
                  <a:pt x="3004" y="1005"/>
                </a:cubicBezTo>
                <a:cubicBezTo>
                  <a:pt x="3002" y="1006"/>
                  <a:pt x="3001" y="1007"/>
                  <a:pt x="2999" y="1008"/>
                </a:cubicBezTo>
                <a:cubicBezTo>
                  <a:pt x="2997" y="1010"/>
                  <a:pt x="2995" y="1010"/>
                  <a:pt x="2993" y="1011"/>
                </a:cubicBezTo>
                <a:cubicBezTo>
                  <a:pt x="2992" y="1013"/>
                  <a:pt x="2990" y="1013"/>
                  <a:pt x="2988" y="1014"/>
                </a:cubicBezTo>
                <a:cubicBezTo>
                  <a:pt x="2986" y="1015"/>
                  <a:pt x="2985" y="1015"/>
                  <a:pt x="2983" y="1015"/>
                </a:cubicBezTo>
                <a:cubicBezTo>
                  <a:pt x="2983" y="1015"/>
                  <a:pt x="2983" y="1015"/>
                  <a:pt x="2983" y="1026"/>
                </a:cubicBezTo>
                <a:cubicBezTo>
                  <a:pt x="2985" y="1025"/>
                  <a:pt x="2988" y="1024"/>
                  <a:pt x="2991" y="1023"/>
                </a:cubicBezTo>
                <a:cubicBezTo>
                  <a:pt x="2993" y="1022"/>
                  <a:pt x="2996" y="1021"/>
                  <a:pt x="2998" y="1019"/>
                </a:cubicBezTo>
                <a:cubicBezTo>
                  <a:pt x="2998" y="1019"/>
                  <a:pt x="2998" y="1019"/>
                  <a:pt x="2998" y="1078"/>
                </a:cubicBezTo>
                <a:cubicBezTo>
                  <a:pt x="2998" y="1078"/>
                  <a:pt x="2998" y="1078"/>
                  <a:pt x="3009" y="1078"/>
                </a:cubicBezTo>
                <a:cubicBezTo>
                  <a:pt x="3009" y="1078"/>
                  <a:pt x="3009" y="1078"/>
                  <a:pt x="3009" y="1005"/>
                </a:cubicBezTo>
                <a:close/>
                <a:moveTo>
                  <a:pt x="3056" y="1005"/>
                </a:moveTo>
                <a:cubicBezTo>
                  <a:pt x="3056" y="1005"/>
                  <a:pt x="3056" y="1005"/>
                  <a:pt x="3056" y="1005"/>
                </a:cubicBezTo>
                <a:cubicBezTo>
                  <a:pt x="3052" y="1005"/>
                  <a:pt x="3052" y="1005"/>
                  <a:pt x="3052" y="1005"/>
                </a:cubicBezTo>
                <a:cubicBezTo>
                  <a:pt x="3050" y="1006"/>
                  <a:pt x="3048" y="1007"/>
                  <a:pt x="3046" y="1008"/>
                </a:cubicBezTo>
                <a:cubicBezTo>
                  <a:pt x="3044" y="1010"/>
                  <a:pt x="3042" y="1010"/>
                  <a:pt x="3041" y="1011"/>
                </a:cubicBezTo>
                <a:cubicBezTo>
                  <a:pt x="3039" y="1012"/>
                  <a:pt x="3037" y="1013"/>
                  <a:pt x="3035" y="1013"/>
                </a:cubicBezTo>
                <a:cubicBezTo>
                  <a:pt x="3034" y="1014"/>
                  <a:pt x="3032" y="1015"/>
                  <a:pt x="3030" y="1015"/>
                </a:cubicBezTo>
                <a:cubicBezTo>
                  <a:pt x="3030" y="1015"/>
                  <a:pt x="3030" y="1015"/>
                  <a:pt x="3030" y="1026"/>
                </a:cubicBezTo>
                <a:cubicBezTo>
                  <a:pt x="3033" y="1025"/>
                  <a:pt x="3036" y="1023"/>
                  <a:pt x="3038" y="1023"/>
                </a:cubicBezTo>
                <a:cubicBezTo>
                  <a:pt x="3040" y="1022"/>
                  <a:pt x="3043" y="1021"/>
                  <a:pt x="3044" y="1019"/>
                </a:cubicBezTo>
                <a:cubicBezTo>
                  <a:pt x="3044" y="1019"/>
                  <a:pt x="3044" y="1019"/>
                  <a:pt x="3044" y="1078"/>
                </a:cubicBezTo>
                <a:cubicBezTo>
                  <a:pt x="3044" y="1078"/>
                  <a:pt x="3044" y="1078"/>
                  <a:pt x="3056" y="1078"/>
                </a:cubicBezTo>
                <a:cubicBezTo>
                  <a:pt x="3056" y="1078"/>
                  <a:pt x="3056" y="1078"/>
                  <a:pt x="3056" y="1005"/>
                </a:cubicBezTo>
                <a:close/>
                <a:moveTo>
                  <a:pt x="3101" y="1078"/>
                </a:moveTo>
                <a:cubicBezTo>
                  <a:pt x="3093" y="1078"/>
                  <a:pt x="3087" y="1075"/>
                  <a:pt x="3082" y="1069"/>
                </a:cubicBezTo>
                <a:cubicBezTo>
                  <a:pt x="3079" y="1063"/>
                  <a:pt x="3077" y="1054"/>
                  <a:pt x="3077" y="1042"/>
                </a:cubicBezTo>
                <a:cubicBezTo>
                  <a:pt x="3077" y="1028"/>
                  <a:pt x="3079" y="1019"/>
                  <a:pt x="3083" y="1012"/>
                </a:cubicBezTo>
                <a:cubicBezTo>
                  <a:pt x="3088" y="1006"/>
                  <a:pt x="3094" y="1002"/>
                  <a:pt x="3103" y="1002"/>
                </a:cubicBezTo>
                <a:cubicBezTo>
                  <a:pt x="3119" y="1002"/>
                  <a:pt x="3127" y="1015"/>
                  <a:pt x="3127" y="1040"/>
                </a:cubicBezTo>
                <a:cubicBezTo>
                  <a:pt x="3127" y="1052"/>
                  <a:pt x="3125" y="1062"/>
                  <a:pt x="3120" y="1068"/>
                </a:cubicBezTo>
                <a:cubicBezTo>
                  <a:pt x="3115" y="1075"/>
                  <a:pt x="3109" y="1078"/>
                  <a:pt x="3101" y="1078"/>
                </a:cubicBezTo>
                <a:close/>
                <a:moveTo>
                  <a:pt x="3102" y="1012"/>
                </a:moveTo>
                <a:cubicBezTo>
                  <a:pt x="3093" y="1012"/>
                  <a:pt x="3088" y="1022"/>
                  <a:pt x="3088" y="1042"/>
                </a:cubicBezTo>
                <a:cubicBezTo>
                  <a:pt x="3088" y="1060"/>
                  <a:pt x="3093" y="1068"/>
                  <a:pt x="3101" y="1068"/>
                </a:cubicBezTo>
                <a:cubicBezTo>
                  <a:pt x="3110" y="1068"/>
                  <a:pt x="3115" y="1060"/>
                  <a:pt x="3115" y="1041"/>
                </a:cubicBezTo>
                <a:cubicBezTo>
                  <a:pt x="3115" y="1021"/>
                  <a:pt x="3110" y="1012"/>
                  <a:pt x="3102" y="1012"/>
                </a:cubicBezTo>
                <a:close/>
                <a:moveTo>
                  <a:pt x="3172" y="1078"/>
                </a:moveTo>
                <a:cubicBezTo>
                  <a:pt x="3164" y="1078"/>
                  <a:pt x="3158" y="1075"/>
                  <a:pt x="3154" y="1069"/>
                </a:cubicBezTo>
                <a:cubicBezTo>
                  <a:pt x="3149" y="1063"/>
                  <a:pt x="3147" y="1054"/>
                  <a:pt x="3147" y="1042"/>
                </a:cubicBezTo>
                <a:cubicBezTo>
                  <a:pt x="3147" y="1028"/>
                  <a:pt x="3149" y="1019"/>
                  <a:pt x="3154" y="1012"/>
                </a:cubicBezTo>
                <a:cubicBezTo>
                  <a:pt x="3158" y="1006"/>
                  <a:pt x="3165" y="1002"/>
                  <a:pt x="3174" y="1002"/>
                </a:cubicBezTo>
                <a:cubicBezTo>
                  <a:pt x="3190" y="1002"/>
                  <a:pt x="3198" y="1015"/>
                  <a:pt x="3198" y="1040"/>
                </a:cubicBezTo>
                <a:cubicBezTo>
                  <a:pt x="3198" y="1052"/>
                  <a:pt x="3196" y="1062"/>
                  <a:pt x="3191" y="1068"/>
                </a:cubicBezTo>
                <a:cubicBezTo>
                  <a:pt x="3186" y="1075"/>
                  <a:pt x="3180" y="1078"/>
                  <a:pt x="3172" y="1078"/>
                </a:cubicBezTo>
                <a:close/>
                <a:moveTo>
                  <a:pt x="3173" y="1012"/>
                </a:moveTo>
                <a:cubicBezTo>
                  <a:pt x="3164" y="1012"/>
                  <a:pt x="3159" y="1022"/>
                  <a:pt x="3159" y="1042"/>
                </a:cubicBezTo>
                <a:cubicBezTo>
                  <a:pt x="3159" y="1060"/>
                  <a:pt x="3163" y="1068"/>
                  <a:pt x="3172" y="1068"/>
                </a:cubicBezTo>
                <a:cubicBezTo>
                  <a:pt x="3181" y="1068"/>
                  <a:pt x="3186" y="1060"/>
                  <a:pt x="3186" y="1041"/>
                </a:cubicBezTo>
                <a:cubicBezTo>
                  <a:pt x="3186" y="1021"/>
                  <a:pt x="3181" y="1012"/>
                  <a:pt x="3173" y="1012"/>
                </a:cubicBezTo>
                <a:close/>
                <a:moveTo>
                  <a:pt x="2860" y="1037"/>
                </a:moveTo>
                <a:cubicBezTo>
                  <a:pt x="2860" y="1037"/>
                  <a:pt x="2860" y="1037"/>
                  <a:pt x="2860" y="1037"/>
                </a:cubicBezTo>
                <a:cubicBezTo>
                  <a:pt x="2860" y="1045"/>
                  <a:pt x="2860" y="1045"/>
                  <a:pt x="2860" y="1045"/>
                </a:cubicBezTo>
                <a:cubicBezTo>
                  <a:pt x="2866" y="1046"/>
                  <a:pt x="2867" y="1049"/>
                  <a:pt x="2867" y="1051"/>
                </a:cubicBezTo>
                <a:cubicBezTo>
                  <a:pt x="2867" y="1053"/>
                  <a:pt x="2866" y="1056"/>
                  <a:pt x="2866" y="1058"/>
                </a:cubicBezTo>
                <a:cubicBezTo>
                  <a:pt x="2866" y="1061"/>
                  <a:pt x="2866" y="1063"/>
                  <a:pt x="2866" y="1065"/>
                </a:cubicBezTo>
                <a:cubicBezTo>
                  <a:pt x="2866" y="1075"/>
                  <a:pt x="2872" y="1078"/>
                  <a:pt x="2880" y="1078"/>
                </a:cubicBezTo>
                <a:cubicBezTo>
                  <a:pt x="2880" y="1078"/>
                  <a:pt x="2880" y="1078"/>
                  <a:pt x="2884" y="1078"/>
                </a:cubicBezTo>
                <a:cubicBezTo>
                  <a:pt x="2884" y="1078"/>
                  <a:pt x="2884" y="1078"/>
                  <a:pt x="2884" y="1069"/>
                </a:cubicBezTo>
                <a:cubicBezTo>
                  <a:pt x="2884" y="1069"/>
                  <a:pt x="2884" y="1069"/>
                  <a:pt x="2882" y="1069"/>
                </a:cubicBezTo>
                <a:cubicBezTo>
                  <a:pt x="2879" y="1069"/>
                  <a:pt x="2877" y="1066"/>
                  <a:pt x="2877" y="1063"/>
                </a:cubicBezTo>
                <a:cubicBezTo>
                  <a:pt x="2877" y="1062"/>
                  <a:pt x="2877" y="1060"/>
                  <a:pt x="2878" y="1058"/>
                </a:cubicBezTo>
                <a:cubicBezTo>
                  <a:pt x="2878" y="1057"/>
                  <a:pt x="2878" y="1055"/>
                  <a:pt x="2878" y="1052"/>
                </a:cubicBezTo>
                <a:cubicBezTo>
                  <a:pt x="2878" y="1045"/>
                  <a:pt x="2875" y="1042"/>
                  <a:pt x="2870" y="1041"/>
                </a:cubicBezTo>
                <a:cubicBezTo>
                  <a:pt x="2870" y="1041"/>
                  <a:pt x="2870" y="1041"/>
                  <a:pt x="2870" y="1041"/>
                </a:cubicBezTo>
                <a:cubicBezTo>
                  <a:pt x="2875" y="1040"/>
                  <a:pt x="2878" y="1037"/>
                  <a:pt x="2878" y="1030"/>
                </a:cubicBezTo>
                <a:cubicBezTo>
                  <a:pt x="2878" y="1027"/>
                  <a:pt x="2878" y="1026"/>
                  <a:pt x="2878" y="1024"/>
                </a:cubicBezTo>
                <a:cubicBezTo>
                  <a:pt x="2877" y="1022"/>
                  <a:pt x="2877" y="1020"/>
                  <a:pt x="2877" y="1019"/>
                </a:cubicBezTo>
                <a:cubicBezTo>
                  <a:pt x="2877" y="1016"/>
                  <a:pt x="2879" y="1013"/>
                  <a:pt x="2882" y="1013"/>
                </a:cubicBezTo>
                <a:cubicBezTo>
                  <a:pt x="2882" y="1013"/>
                  <a:pt x="2882" y="1013"/>
                  <a:pt x="2884" y="1013"/>
                </a:cubicBezTo>
                <a:cubicBezTo>
                  <a:pt x="2884" y="1013"/>
                  <a:pt x="2884" y="1013"/>
                  <a:pt x="2884" y="1004"/>
                </a:cubicBezTo>
                <a:cubicBezTo>
                  <a:pt x="2884" y="1004"/>
                  <a:pt x="2884" y="1004"/>
                  <a:pt x="2880" y="1004"/>
                </a:cubicBezTo>
                <a:cubicBezTo>
                  <a:pt x="2871" y="1004"/>
                  <a:pt x="2866" y="1008"/>
                  <a:pt x="2866" y="1017"/>
                </a:cubicBezTo>
                <a:cubicBezTo>
                  <a:pt x="2866" y="1019"/>
                  <a:pt x="2866" y="1022"/>
                  <a:pt x="2866" y="1024"/>
                </a:cubicBezTo>
                <a:cubicBezTo>
                  <a:pt x="2866" y="1026"/>
                  <a:pt x="2867" y="1029"/>
                  <a:pt x="2867" y="1031"/>
                </a:cubicBezTo>
                <a:cubicBezTo>
                  <a:pt x="2867" y="1033"/>
                  <a:pt x="2866" y="1037"/>
                  <a:pt x="2860" y="1037"/>
                </a:cubicBezTo>
                <a:close/>
                <a:moveTo>
                  <a:pt x="2914" y="1045"/>
                </a:moveTo>
                <a:cubicBezTo>
                  <a:pt x="2914" y="1045"/>
                  <a:pt x="2914" y="1045"/>
                  <a:pt x="2914" y="1045"/>
                </a:cubicBezTo>
                <a:cubicBezTo>
                  <a:pt x="2914" y="1037"/>
                  <a:pt x="2914" y="1037"/>
                  <a:pt x="2914" y="1037"/>
                </a:cubicBezTo>
                <a:cubicBezTo>
                  <a:pt x="2908" y="1037"/>
                  <a:pt x="2908" y="1033"/>
                  <a:pt x="2908" y="1031"/>
                </a:cubicBezTo>
                <a:cubicBezTo>
                  <a:pt x="2908" y="1029"/>
                  <a:pt x="2908" y="1026"/>
                  <a:pt x="2908" y="1024"/>
                </a:cubicBezTo>
                <a:cubicBezTo>
                  <a:pt x="2909" y="1022"/>
                  <a:pt x="2909" y="1019"/>
                  <a:pt x="2909" y="1017"/>
                </a:cubicBezTo>
                <a:cubicBezTo>
                  <a:pt x="2909" y="1008"/>
                  <a:pt x="2903" y="1004"/>
                  <a:pt x="2894" y="1004"/>
                </a:cubicBezTo>
                <a:cubicBezTo>
                  <a:pt x="2894" y="1004"/>
                  <a:pt x="2894" y="1004"/>
                  <a:pt x="2890" y="1004"/>
                </a:cubicBezTo>
                <a:cubicBezTo>
                  <a:pt x="2890" y="1004"/>
                  <a:pt x="2890" y="1004"/>
                  <a:pt x="2890" y="1013"/>
                </a:cubicBezTo>
                <a:cubicBezTo>
                  <a:pt x="2890" y="1013"/>
                  <a:pt x="2890" y="1013"/>
                  <a:pt x="2892" y="1013"/>
                </a:cubicBezTo>
                <a:cubicBezTo>
                  <a:pt x="2896" y="1013"/>
                  <a:pt x="2897" y="1016"/>
                  <a:pt x="2897" y="1019"/>
                </a:cubicBezTo>
                <a:cubicBezTo>
                  <a:pt x="2897" y="1020"/>
                  <a:pt x="2897" y="1022"/>
                  <a:pt x="2897" y="1024"/>
                </a:cubicBezTo>
                <a:cubicBezTo>
                  <a:pt x="2896" y="1026"/>
                  <a:pt x="2896" y="1027"/>
                  <a:pt x="2896" y="1030"/>
                </a:cubicBezTo>
                <a:cubicBezTo>
                  <a:pt x="2896" y="1037"/>
                  <a:pt x="2899" y="1040"/>
                  <a:pt x="2905" y="1041"/>
                </a:cubicBezTo>
                <a:cubicBezTo>
                  <a:pt x="2905" y="1041"/>
                  <a:pt x="2905" y="1041"/>
                  <a:pt x="2905" y="1041"/>
                </a:cubicBezTo>
                <a:cubicBezTo>
                  <a:pt x="2899" y="1042"/>
                  <a:pt x="2896" y="1045"/>
                  <a:pt x="2896" y="1052"/>
                </a:cubicBezTo>
                <a:cubicBezTo>
                  <a:pt x="2896" y="1055"/>
                  <a:pt x="2896" y="1057"/>
                  <a:pt x="2897" y="1058"/>
                </a:cubicBezTo>
                <a:cubicBezTo>
                  <a:pt x="2897" y="1060"/>
                  <a:pt x="2897" y="1062"/>
                  <a:pt x="2897" y="1063"/>
                </a:cubicBezTo>
                <a:cubicBezTo>
                  <a:pt x="2897" y="1066"/>
                  <a:pt x="2896" y="1069"/>
                  <a:pt x="2892" y="1069"/>
                </a:cubicBezTo>
                <a:cubicBezTo>
                  <a:pt x="2892" y="1069"/>
                  <a:pt x="2892" y="1069"/>
                  <a:pt x="2890" y="1069"/>
                </a:cubicBezTo>
                <a:cubicBezTo>
                  <a:pt x="2890" y="1069"/>
                  <a:pt x="2890" y="1069"/>
                  <a:pt x="2890" y="1078"/>
                </a:cubicBezTo>
                <a:cubicBezTo>
                  <a:pt x="2890" y="1078"/>
                  <a:pt x="2890" y="1078"/>
                  <a:pt x="2894" y="1078"/>
                </a:cubicBezTo>
                <a:cubicBezTo>
                  <a:pt x="2903" y="1078"/>
                  <a:pt x="2909" y="1075"/>
                  <a:pt x="2909" y="1065"/>
                </a:cubicBezTo>
                <a:cubicBezTo>
                  <a:pt x="2909" y="1063"/>
                  <a:pt x="2909" y="1061"/>
                  <a:pt x="2908" y="1058"/>
                </a:cubicBezTo>
                <a:cubicBezTo>
                  <a:pt x="2908" y="1056"/>
                  <a:pt x="2908" y="1053"/>
                  <a:pt x="2908" y="1051"/>
                </a:cubicBezTo>
                <a:cubicBezTo>
                  <a:pt x="2908" y="1049"/>
                  <a:pt x="2908" y="1046"/>
                  <a:pt x="2914" y="1045"/>
                </a:cubicBezTo>
                <a:close/>
                <a:moveTo>
                  <a:pt x="3384" y="1078"/>
                </a:moveTo>
                <a:cubicBezTo>
                  <a:pt x="3377" y="1078"/>
                  <a:pt x="3371" y="1075"/>
                  <a:pt x="3366" y="1068"/>
                </a:cubicBezTo>
                <a:cubicBezTo>
                  <a:pt x="3362" y="1063"/>
                  <a:pt x="3360" y="1053"/>
                  <a:pt x="3360" y="1042"/>
                </a:cubicBezTo>
                <a:cubicBezTo>
                  <a:pt x="3360" y="1028"/>
                  <a:pt x="3362" y="1019"/>
                  <a:pt x="3366" y="1012"/>
                </a:cubicBezTo>
                <a:cubicBezTo>
                  <a:pt x="3371" y="1005"/>
                  <a:pt x="3377" y="1002"/>
                  <a:pt x="3386" y="1002"/>
                </a:cubicBezTo>
                <a:cubicBezTo>
                  <a:pt x="3402" y="1002"/>
                  <a:pt x="3410" y="1015"/>
                  <a:pt x="3410" y="1039"/>
                </a:cubicBezTo>
                <a:cubicBezTo>
                  <a:pt x="3410" y="1052"/>
                  <a:pt x="3408" y="1062"/>
                  <a:pt x="3404" y="1068"/>
                </a:cubicBezTo>
                <a:cubicBezTo>
                  <a:pt x="3399" y="1075"/>
                  <a:pt x="3393" y="1078"/>
                  <a:pt x="3384" y="1078"/>
                </a:cubicBezTo>
                <a:close/>
                <a:moveTo>
                  <a:pt x="3385" y="1012"/>
                </a:moveTo>
                <a:cubicBezTo>
                  <a:pt x="3377" y="1012"/>
                  <a:pt x="3372" y="1021"/>
                  <a:pt x="3372" y="1041"/>
                </a:cubicBezTo>
                <a:cubicBezTo>
                  <a:pt x="3372" y="1059"/>
                  <a:pt x="3377" y="1068"/>
                  <a:pt x="3385" y="1068"/>
                </a:cubicBezTo>
                <a:cubicBezTo>
                  <a:pt x="3393" y="1068"/>
                  <a:pt x="3398" y="1059"/>
                  <a:pt x="3398" y="1041"/>
                </a:cubicBezTo>
                <a:cubicBezTo>
                  <a:pt x="3398" y="1021"/>
                  <a:pt x="3394" y="1012"/>
                  <a:pt x="3385" y="1012"/>
                </a:cubicBezTo>
                <a:close/>
                <a:moveTo>
                  <a:pt x="3502" y="1078"/>
                </a:moveTo>
                <a:cubicBezTo>
                  <a:pt x="3495" y="1078"/>
                  <a:pt x="3489" y="1075"/>
                  <a:pt x="3485" y="1068"/>
                </a:cubicBezTo>
                <a:cubicBezTo>
                  <a:pt x="3480" y="1063"/>
                  <a:pt x="3478" y="1053"/>
                  <a:pt x="3478" y="1042"/>
                </a:cubicBezTo>
                <a:cubicBezTo>
                  <a:pt x="3478" y="1028"/>
                  <a:pt x="3480" y="1019"/>
                  <a:pt x="3485" y="1012"/>
                </a:cubicBezTo>
                <a:cubicBezTo>
                  <a:pt x="3489" y="1005"/>
                  <a:pt x="3495" y="1002"/>
                  <a:pt x="3504" y="1002"/>
                </a:cubicBezTo>
                <a:cubicBezTo>
                  <a:pt x="3520" y="1002"/>
                  <a:pt x="3528" y="1015"/>
                  <a:pt x="3528" y="1039"/>
                </a:cubicBezTo>
                <a:cubicBezTo>
                  <a:pt x="3528" y="1052"/>
                  <a:pt x="3526" y="1062"/>
                  <a:pt x="3522" y="1068"/>
                </a:cubicBezTo>
                <a:cubicBezTo>
                  <a:pt x="3517" y="1075"/>
                  <a:pt x="3511" y="1078"/>
                  <a:pt x="3502" y="1078"/>
                </a:cubicBezTo>
                <a:close/>
                <a:moveTo>
                  <a:pt x="3503" y="1012"/>
                </a:moveTo>
                <a:cubicBezTo>
                  <a:pt x="3495" y="1012"/>
                  <a:pt x="3490" y="1021"/>
                  <a:pt x="3490" y="1041"/>
                </a:cubicBezTo>
                <a:cubicBezTo>
                  <a:pt x="3490" y="1059"/>
                  <a:pt x="3495" y="1068"/>
                  <a:pt x="3503" y="1068"/>
                </a:cubicBezTo>
                <a:cubicBezTo>
                  <a:pt x="3512" y="1068"/>
                  <a:pt x="3516" y="1059"/>
                  <a:pt x="3516" y="1041"/>
                </a:cubicBezTo>
                <a:cubicBezTo>
                  <a:pt x="3516" y="1021"/>
                  <a:pt x="3512" y="1012"/>
                  <a:pt x="3503" y="1012"/>
                </a:cubicBezTo>
                <a:close/>
                <a:moveTo>
                  <a:pt x="3457" y="1005"/>
                </a:moveTo>
                <a:cubicBezTo>
                  <a:pt x="3457" y="1005"/>
                  <a:pt x="3457" y="1005"/>
                  <a:pt x="3457" y="1005"/>
                </a:cubicBezTo>
                <a:cubicBezTo>
                  <a:pt x="3452" y="1005"/>
                  <a:pt x="3452" y="1005"/>
                  <a:pt x="3452" y="1005"/>
                </a:cubicBezTo>
                <a:cubicBezTo>
                  <a:pt x="3450" y="1006"/>
                  <a:pt x="3449" y="1007"/>
                  <a:pt x="3447" y="1008"/>
                </a:cubicBezTo>
                <a:cubicBezTo>
                  <a:pt x="3445" y="1010"/>
                  <a:pt x="3443" y="1010"/>
                  <a:pt x="3442" y="1011"/>
                </a:cubicBezTo>
                <a:cubicBezTo>
                  <a:pt x="3440" y="1012"/>
                  <a:pt x="3438" y="1013"/>
                  <a:pt x="3437" y="1013"/>
                </a:cubicBezTo>
                <a:cubicBezTo>
                  <a:pt x="3434" y="1014"/>
                  <a:pt x="3433" y="1015"/>
                  <a:pt x="3431" y="1015"/>
                </a:cubicBezTo>
                <a:cubicBezTo>
                  <a:pt x="3431" y="1015"/>
                  <a:pt x="3431" y="1015"/>
                  <a:pt x="3431" y="1026"/>
                </a:cubicBezTo>
                <a:cubicBezTo>
                  <a:pt x="3434" y="1025"/>
                  <a:pt x="3437" y="1023"/>
                  <a:pt x="3439" y="1023"/>
                </a:cubicBezTo>
                <a:cubicBezTo>
                  <a:pt x="3442" y="1022"/>
                  <a:pt x="3444" y="1021"/>
                  <a:pt x="3446" y="1019"/>
                </a:cubicBezTo>
                <a:cubicBezTo>
                  <a:pt x="3446" y="1019"/>
                  <a:pt x="3446" y="1019"/>
                  <a:pt x="3446" y="1078"/>
                </a:cubicBezTo>
                <a:cubicBezTo>
                  <a:pt x="3446" y="1078"/>
                  <a:pt x="3446" y="1078"/>
                  <a:pt x="3457" y="1078"/>
                </a:cubicBezTo>
                <a:cubicBezTo>
                  <a:pt x="3457" y="1078"/>
                  <a:pt x="3457" y="1078"/>
                  <a:pt x="3457" y="1005"/>
                </a:cubicBezTo>
                <a:close/>
                <a:moveTo>
                  <a:pt x="3573" y="1078"/>
                </a:moveTo>
                <a:cubicBezTo>
                  <a:pt x="3566" y="1078"/>
                  <a:pt x="3559" y="1075"/>
                  <a:pt x="3556" y="1069"/>
                </a:cubicBezTo>
                <a:cubicBezTo>
                  <a:pt x="3551" y="1063"/>
                  <a:pt x="3549" y="1054"/>
                  <a:pt x="3549" y="1042"/>
                </a:cubicBezTo>
                <a:cubicBezTo>
                  <a:pt x="3549" y="1028"/>
                  <a:pt x="3551" y="1019"/>
                  <a:pt x="3556" y="1012"/>
                </a:cubicBezTo>
                <a:cubicBezTo>
                  <a:pt x="3560" y="1006"/>
                  <a:pt x="3567" y="1002"/>
                  <a:pt x="3575" y="1002"/>
                </a:cubicBezTo>
                <a:cubicBezTo>
                  <a:pt x="3591" y="1002"/>
                  <a:pt x="3599" y="1015"/>
                  <a:pt x="3599" y="1040"/>
                </a:cubicBezTo>
                <a:cubicBezTo>
                  <a:pt x="3599" y="1052"/>
                  <a:pt x="3597" y="1062"/>
                  <a:pt x="3593" y="1068"/>
                </a:cubicBezTo>
                <a:cubicBezTo>
                  <a:pt x="3588" y="1075"/>
                  <a:pt x="3582" y="1078"/>
                  <a:pt x="3573" y="1078"/>
                </a:cubicBezTo>
                <a:close/>
                <a:moveTo>
                  <a:pt x="3575" y="1012"/>
                </a:moveTo>
                <a:cubicBezTo>
                  <a:pt x="3566" y="1012"/>
                  <a:pt x="3561" y="1022"/>
                  <a:pt x="3561" y="1042"/>
                </a:cubicBezTo>
                <a:cubicBezTo>
                  <a:pt x="3561" y="1060"/>
                  <a:pt x="3565" y="1068"/>
                  <a:pt x="3574" y="1068"/>
                </a:cubicBezTo>
                <a:cubicBezTo>
                  <a:pt x="3583" y="1068"/>
                  <a:pt x="3587" y="1060"/>
                  <a:pt x="3587" y="1041"/>
                </a:cubicBezTo>
                <a:cubicBezTo>
                  <a:pt x="3587" y="1021"/>
                  <a:pt x="3583" y="1012"/>
                  <a:pt x="3575" y="1012"/>
                </a:cubicBezTo>
                <a:close/>
                <a:moveTo>
                  <a:pt x="3620" y="1037"/>
                </a:moveTo>
                <a:cubicBezTo>
                  <a:pt x="3620" y="1037"/>
                  <a:pt x="3620" y="1037"/>
                  <a:pt x="3620" y="1037"/>
                </a:cubicBezTo>
                <a:cubicBezTo>
                  <a:pt x="3620" y="1045"/>
                  <a:pt x="3620" y="1045"/>
                  <a:pt x="3620" y="1045"/>
                </a:cubicBezTo>
                <a:cubicBezTo>
                  <a:pt x="3626" y="1046"/>
                  <a:pt x="3627" y="1049"/>
                  <a:pt x="3627" y="1051"/>
                </a:cubicBezTo>
                <a:cubicBezTo>
                  <a:pt x="3627" y="1053"/>
                  <a:pt x="3627" y="1056"/>
                  <a:pt x="3627" y="1058"/>
                </a:cubicBezTo>
                <a:cubicBezTo>
                  <a:pt x="3626" y="1061"/>
                  <a:pt x="3626" y="1063"/>
                  <a:pt x="3626" y="1065"/>
                </a:cubicBezTo>
                <a:cubicBezTo>
                  <a:pt x="3626" y="1075"/>
                  <a:pt x="3632" y="1078"/>
                  <a:pt x="3640" y="1078"/>
                </a:cubicBezTo>
                <a:cubicBezTo>
                  <a:pt x="3640" y="1078"/>
                  <a:pt x="3640" y="1078"/>
                  <a:pt x="3644" y="1078"/>
                </a:cubicBezTo>
                <a:cubicBezTo>
                  <a:pt x="3644" y="1078"/>
                  <a:pt x="3644" y="1078"/>
                  <a:pt x="3644" y="1069"/>
                </a:cubicBezTo>
                <a:cubicBezTo>
                  <a:pt x="3644" y="1069"/>
                  <a:pt x="3644" y="1069"/>
                  <a:pt x="3643" y="1069"/>
                </a:cubicBezTo>
                <a:cubicBezTo>
                  <a:pt x="3639" y="1069"/>
                  <a:pt x="3638" y="1066"/>
                  <a:pt x="3638" y="1063"/>
                </a:cubicBezTo>
                <a:cubicBezTo>
                  <a:pt x="3638" y="1062"/>
                  <a:pt x="3638" y="1060"/>
                  <a:pt x="3638" y="1058"/>
                </a:cubicBezTo>
                <a:cubicBezTo>
                  <a:pt x="3638" y="1057"/>
                  <a:pt x="3638" y="1055"/>
                  <a:pt x="3638" y="1052"/>
                </a:cubicBezTo>
                <a:cubicBezTo>
                  <a:pt x="3638" y="1045"/>
                  <a:pt x="3636" y="1042"/>
                  <a:pt x="3630" y="1041"/>
                </a:cubicBezTo>
                <a:cubicBezTo>
                  <a:pt x="3630" y="1041"/>
                  <a:pt x="3630" y="1041"/>
                  <a:pt x="3630" y="1041"/>
                </a:cubicBezTo>
                <a:cubicBezTo>
                  <a:pt x="3636" y="1040"/>
                  <a:pt x="3638" y="1037"/>
                  <a:pt x="3638" y="1030"/>
                </a:cubicBezTo>
                <a:cubicBezTo>
                  <a:pt x="3638" y="1027"/>
                  <a:pt x="3638" y="1026"/>
                  <a:pt x="3638" y="1024"/>
                </a:cubicBezTo>
                <a:cubicBezTo>
                  <a:pt x="3638" y="1022"/>
                  <a:pt x="3638" y="1020"/>
                  <a:pt x="3638" y="1019"/>
                </a:cubicBezTo>
                <a:cubicBezTo>
                  <a:pt x="3638" y="1016"/>
                  <a:pt x="3639" y="1013"/>
                  <a:pt x="3643" y="1013"/>
                </a:cubicBezTo>
                <a:cubicBezTo>
                  <a:pt x="3643" y="1013"/>
                  <a:pt x="3643" y="1013"/>
                  <a:pt x="3644" y="1013"/>
                </a:cubicBezTo>
                <a:cubicBezTo>
                  <a:pt x="3644" y="1013"/>
                  <a:pt x="3644" y="1013"/>
                  <a:pt x="3644" y="1004"/>
                </a:cubicBezTo>
                <a:cubicBezTo>
                  <a:pt x="3644" y="1004"/>
                  <a:pt x="3644" y="1004"/>
                  <a:pt x="3640" y="1004"/>
                </a:cubicBezTo>
                <a:cubicBezTo>
                  <a:pt x="3631" y="1004"/>
                  <a:pt x="3626" y="1008"/>
                  <a:pt x="3626" y="1017"/>
                </a:cubicBezTo>
                <a:cubicBezTo>
                  <a:pt x="3626" y="1019"/>
                  <a:pt x="3626" y="1022"/>
                  <a:pt x="3626" y="1024"/>
                </a:cubicBezTo>
                <a:cubicBezTo>
                  <a:pt x="3627" y="1026"/>
                  <a:pt x="3627" y="1029"/>
                  <a:pt x="3627" y="1031"/>
                </a:cubicBezTo>
                <a:cubicBezTo>
                  <a:pt x="3627" y="1033"/>
                  <a:pt x="3626" y="1037"/>
                  <a:pt x="3620" y="1037"/>
                </a:cubicBezTo>
                <a:close/>
                <a:moveTo>
                  <a:pt x="3675" y="1045"/>
                </a:moveTo>
                <a:cubicBezTo>
                  <a:pt x="3675" y="1045"/>
                  <a:pt x="3675" y="1045"/>
                  <a:pt x="3675" y="1045"/>
                </a:cubicBezTo>
                <a:cubicBezTo>
                  <a:pt x="3675" y="1037"/>
                  <a:pt x="3675" y="1037"/>
                  <a:pt x="3675" y="1037"/>
                </a:cubicBezTo>
                <a:cubicBezTo>
                  <a:pt x="3668" y="1037"/>
                  <a:pt x="3668" y="1033"/>
                  <a:pt x="3668" y="1031"/>
                </a:cubicBezTo>
                <a:cubicBezTo>
                  <a:pt x="3668" y="1029"/>
                  <a:pt x="3668" y="1026"/>
                  <a:pt x="3668" y="1024"/>
                </a:cubicBezTo>
                <a:cubicBezTo>
                  <a:pt x="3669" y="1022"/>
                  <a:pt x="3669" y="1019"/>
                  <a:pt x="3669" y="1017"/>
                </a:cubicBezTo>
                <a:cubicBezTo>
                  <a:pt x="3669" y="1008"/>
                  <a:pt x="3664" y="1004"/>
                  <a:pt x="3654" y="1004"/>
                </a:cubicBezTo>
                <a:cubicBezTo>
                  <a:pt x="3654" y="1004"/>
                  <a:pt x="3654" y="1004"/>
                  <a:pt x="3651" y="1004"/>
                </a:cubicBezTo>
                <a:cubicBezTo>
                  <a:pt x="3651" y="1004"/>
                  <a:pt x="3651" y="1004"/>
                  <a:pt x="3651" y="1013"/>
                </a:cubicBezTo>
                <a:cubicBezTo>
                  <a:pt x="3651" y="1013"/>
                  <a:pt x="3651" y="1013"/>
                  <a:pt x="3652" y="1013"/>
                </a:cubicBezTo>
                <a:cubicBezTo>
                  <a:pt x="3656" y="1013"/>
                  <a:pt x="3657" y="1016"/>
                  <a:pt x="3657" y="1019"/>
                </a:cubicBezTo>
                <a:cubicBezTo>
                  <a:pt x="3657" y="1020"/>
                  <a:pt x="3657" y="1022"/>
                  <a:pt x="3657" y="1024"/>
                </a:cubicBezTo>
                <a:cubicBezTo>
                  <a:pt x="3657" y="1026"/>
                  <a:pt x="3657" y="1027"/>
                  <a:pt x="3657" y="1030"/>
                </a:cubicBezTo>
                <a:cubicBezTo>
                  <a:pt x="3657" y="1037"/>
                  <a:pt x="3659" y="1040"/>
                  <a:pt x="3665" y="1041"/>
                </a:cubicBezTo>
                <a:cubicBezTo>
                  <a:pt x="3665" y="1041"/>
                  <a:pt x="3665" y="1041"/>
                  <a:pt x="3665" y="1041"/>
                </a:cubicBezTo>
                <a:cubicBezTo>
                  <a:pt x="3659" y="1042"/>
                  <a:pt x="3657" y="1045"/>
                  <a:pt x="3657" y="1052"/>
                </a:cubicBezTo>
                <a:cubicBezTo>
                  <a:pt x="3657" y="1055"/>
                  <a:pt x="3657" y="1057"/>
                  <a:pt x="3657" y="1058"/>
                </a:cubicBezTo>
                <a:cubicBezTo>
                  <a:pt x="3657" y="1060"/>
                  <a:pt x="3657" y="1062"/>
                  <a:pt x="3657" y="1063"/>
                </a:cubicBezTo>
                <a:cubicBezTo>
                  <a:pt x="3657" y="1066"/>
                  <a:pt x="3656" y="1069"/>
                  <a:pt x="3652" y="1069"/>
                </a:cubicBezTo>
                <a:cubicBezTo>
                  <a:pt x="3652" y="1069"/>
                  <a:pt x="3652" y="1069"/>
                  <a:pt x="3651" y="1069"/>
                </a:cubicBezTo>
                <a:cubicBezTo>
                  <a:pt x="3651" y="1069"/>
                  <a:pt x="3651" y="1069"/>
                  <a:pt x="3651" y="1078"/>
                </a:cubicBezTo>
                <a:cubicBezTo>
                  <a:pt x="3651" y="1078"/>
                  <a:pt x="3651" y="1078"/>
                  <a:pt x="3654" y="1078"/>
                </a:cubicBezTo>
                <a:cubicBezTo>
                  <a:pt x="3663" y="1078"/>
                  <a:pt x="3669" y="1075"/>
                  <a:pt x="3669" y="1065"/>
                </a:cubicBezTo>
                <a:cubicBezTo>
                  <a:pt x="3669" y="1063"/>
                  <a:pt x="3669" y="1061"/>
                  <a:pt x="3668" y="1058"/>
                </a:cubicBezTo>
                <a:cubicBezTo>
                  <a:pt x="3668" y="1056"/>
                  <a:pt x="3668" y="1053"/>
                  <a:pt x="3668" y="1051"/>
                </a:cubicBezTo>
                <a:cubicBezTo>
                  <a:pt x="3668" y="1049"/>
                  <a:pt x="3668" y="1046"/>
                  <a:pt x="3675" y="1045"/>
                </a:cubicBezTo>
                <a:close/>
                <a:moveTo>
                  <a:pt x="3795" y="1078"/>
                </a:moveTo>
                <a:cubicBezTo>
                  <a:pt x="3788" y="1078"/>
                  <a:pt x="3781" y="1075"/>
                  <a:pt x="3777" y="1069"/>
                </a:cubicBezTo>
                <a:cubicBezTo>
                  <a:pt x="3773" y="1063"/>
                  <a:pt x="3771" y="1054"/>
                  <a:pt x="3771" y="1042"/>
                </a:cubicBezTo>
                <a:cubicBezTo>
                  <a:pt x="3771" y="1028"/>
                  <a:pt x="3773" y="1019"/>
                  <a:pt x="3777" y="1012"/>
                </a:cubicBezTo>
                <a:cubicBezTo>
                  <a:pt x="3782" y="1006"/>
                  <a:pt x="3788" y="1002"/>
                  <a:pt x="3797" y="1002"/>
                </a:cubicBezTo>
                <a:cubicBezTo>
                  <a:pt x="3813" y="1002"/>
                  <a:pt x="3821" y="1015"/>
                  <a:pt x="3821" y="1040"/>
                </a:cubicBezTo>
                <a:cubicBezTo>
                  <a:pt x="3821" y="1052"/>
                  <a:pt x="3819" y="1062"/>
                  <a:pt x="3814" y="1068"/>
                </a:cubicBezTo>
                <a:cubicBezTo>
                  <a:pt x="3809" y="1075"/>
                  <a:pt x="3803" y="1078"/>
                  <a:pt x="3795" y="1078"/>
                </a:cubicBezTo>
                <a:close/>
                <a:moveTo>
                  <a:pt x="3796" y="1012"/>
                </a:moveTo>
                <a:cubicBezTo>
                  <a:pt x="3787" y="1012"/>
                  <a:pt x="3782" y="1022"/>
                  <a:pt x="3782" y="1042"/>
                </a:cubicBezTo>
                <a:cubicBezTo>
                  <a:pt x="3782" y="1060"/>
                  <a:pt x="3787" y="1068"/>
                  <a:pt x="3796" y="1068"/>
                </a:cubicBezTo>
                <a:cubicBezTo>
                  <a:pt x="3804" y="1068"/>
                  <a:pt x="3809" y="1060"/>
                  <a:pt x="3809" y="1041"/>
                </a:cubicBezTo>
                <a:cubicBezTo>
                  <a:pt x="3809" y="1021"/>
                  <a:pt x="3804" y="1012"/>
                  <a:pt x="3796" y="1012"/>
                </a:cubicBezTo>
                <a:close/>
                <a:moveTo>
                  <a:pt x="3869" y="1005"/>
                </a:moveTo>
                <a:cubicBezTo>
                  <a:pt x="3869" y="1005"/>
                  <a:pt x="3869" y="1005"/>
                  <a:pt x="3869" y="1005"/>
                </a:cubicBezTo>
                <a:cubicBezTo>
                  <a:pt x="3864" y="1005"/>
                  <a:pt x="3864" y="1005"/>
                  <a:pt x="3864" y="1005"/>
                </a:cubicBezTo>
                <a:cubicBezTo>
                  <a:pt x="3861" y="1006"/>
                  <a:pt x="3860" y="1007"/>
                  <a:pt x="3858" y="1008"/>
                </a:cubicBezTo>
                <a:cubicBezTo>
                  <a:pt x="3856" y="1010"/>
                  <a:pt x="3854" y="1010"/>
                  <a:pt x="3853" y="1011"/>
                </a:cubicBezTo>
                <a:cubicBezTo>
                  <a:pt x="3850" y="1012"/>
                  <a:pt x="3849" y="1013"/>
                  <a:pt x="3848" y="1013"/>
                </a:cubicBezTo>
                <a:cubicBezTo>
                  <a:pt x="3845" y="1014"/>
                  <a:pt x="3844" y="1015"/>
                  <a:pt x="3842" y="1015"/>
                </a:cubicBezTo>
                <a:cubicBezTo>
                  <a:pt x="3842" y="1015"/>
                  <a:pt x="3842" y="1015"/>
                  <a:pt x="3842" y="1026"/>
                </a:cubicBezTo>
                <a:cubicBezTo>
                  <a:pt x="3845" y="1025"/>
                  <a:pt x="3848" y="1023"/>
                  <a:pt x="3850" y="1023"/>
                </a:cubicBezTo>
                <a:cubicBezTo>
                  <a:pt x="3853" y="1022"/>
                  <a:pt x="3855" y="1021"/>
                  <a:pt x="3857" y="1019"/>
                </a:cubicBezTo>
                <a:cubicBezTo>
                  <a:pt x="3857" y="1019"/>
                  <a:pt x="3857" y="1019"/>
                  <a:pt x="3857" y="1078"/>
                </a:cubicBezTo>
                <a:cubicBezTo>
                  <a:pt x="3857" y="1078"/>
                  <a:pt x="3857" y="1078"/>
                  <a:pt x="3869" y="1078"/>
                </a:cubicBezTo>
                <a:cubicBezTo>
                  <a:pt x="3869" y="1078"/>
                  <a:pt x="3869" y="1078"/>
                  <a:pt x="3869" y="1005"/>
                </a:cubicBezTo>
                <a:close/>
                <a:moveTo>
                  <a:pt x="2065" y="957"/>
                </a:moveTo>
                <a:cubicBezTo>
                  <a:pt x="2066" y="958"/>
                  <a:pt x="2066" y="960"/>
                  <a:pt x="2067" y="961"/>
                </a:cubicBezTo>
                <a:cubicBezTo>
                  <a:pt x="2067" y="963"/>
                  <a:pt x="2068" y="965"/>
                  <a:pt x="2068" y="966"/>
                </a:cubicBezTo>
                <a:cubicBezTo>
                  <a:pt x="2068" y="968"/>
                  <a:pt x="2068" y="969"/>
                  <a:pt x="2068" y="971"/>
                </a:cubicBezTo>
                <a:cubicBezTo>
                  <a:pt x="2069" y="974"/>
                  <a:pt x="2068" y="976"/>
                  <a:pt x="2065" y="976"/>
                </a:cubicBezTo>
                <a:cubicBezTo>
                  <a:pt x="2062" y="976"/>
                  <a:pt x="2059" y="975"/>
                  <a:pt x="2057" y="975"/>
                </a:cubicBezTo>
                <a:cubicBezTo>
                  <a:pt x="2056" y="975"/>
                  <a:pt x="2055" y="975"/>
                  <a:pt x="2055" y="976"/>
                </a:cubicBezTo>
                <a:cubicBezTo>
                  <a:pt x="2054" y="977"/>
                  <a:pt x="2052" y="979"/>
                  <a:pt x="2051" y="980"/>
                </a:cubicBezTo>
                <a:cubicBezTo>
                  <a:pt x="2049" y="983"/>
                  <a:pt x="2046" y="983"/>
                  <a:pt x="2043" y="981"/>
                </a:cubicBezTo>
                <a:cubicBezTo>
                  <a:pt x="2041" y="979"/>
                  <a:pt x="2040" y="976"/>
                  <a:pt x="2039" y="973"/>
                </a:cubicBezTo>
                <a:cubicBezTo>
                  <a:pt x="2038" y="972"/>
                  <a:pt x="2038" y="970"/>
                  <a:pt x="2041" y="969"/>
                </a:cubicBezTo>
                <a:cubicBezTo>
                  <a:pt x="2038" y="969"/>
                  <a:pt x="2036" y="969"/>
                  <a:pt x="2035" y="969"/>
                </a:cubicBezTo>
                <a:cubicBezTo>
                  <a:pt x="2034" y="971"/>
                  <a:pt x="2033" y="973"/>
                  <a:pt x="2032" y="975"/>
                </a:cubicBezTo>
                <a:cubicBezTo>
                  <a:pt x="2032" y="975"/>
                  <a:pt x="2032" y="976"/>
                  <a:pt x="2032" y="977"/>
                </a:cubicBezTo>
                <a:cubicBezTo>
                  <a:pt x="2032" y="980"/>
                  <a:pt x="2030" y="981"/>
                  <a:pt x="2027" y="981"/>
                </a:cubicBezTo>
                <a:cubicBezTo>
                  <a:pt x="2024" y="981"/>
                  <a:pt x="2021" y="980"/>
                  <a:pt x="2018" y="979"/>
                </a:cubicBezTo>
                <a:cubicBezTo>
                  <a:pt x="2016" y="978"/>
                  <a:pt x="2016" y="977"/>
                  <a:pt x="2016" y="975"/>
                </a:cubicBezTo>
                <a:cubicBezTo>
                  <a:pt x="2017" y="974"/>
                  <a:pt x="2017" y="973"/>
                  <a:pt x="2017" y="973"/>
                </a:cubicBezTo>
                <a:cubicBezTo>
                  <a:pt x="2015" y="972"/>
                  <a:pt x="2012" y="971"/>
                  <a:pt x="2010" y="969"/>
                </a:cubicBezTo>
                <a:cubicBezTo>
                  <a:pt x="2009" y="969"/>
                  <a:pt x="2008" y="967"/>
                  <a:pt x="2007" y="965"/>
                </a:cubicBezTo>
                <a:cubicBezTo>
                  <a:pt x="2006" y="963"/>
                  <a:pt x="2006" y="962"/>
                  <a:pt x="2008" y="960"/>
                </a:cubicBezTo>
                <a:cubicBezTo>
                  <a:pt x="2012" y="958"/>
                  <a:pt x="2012" y="955"/>
                  <a:pt x="2012" y="951"/>
                </a:cubicBezTo>
                <a:cubicBezTo>
                  <a:pt x="2012" y="949"/>
                  <a:pt x="2012" y="947"/>
                  <a:pt x="2012" y="945"/>
                </a:cubicBezTo>
                <a:cubicBezTo>
                  <a:pt x="2010" y="944"/>
                  <a:pt x="2008" y="944"/>
                  <a:pt x="2008" y="943"/>
                </a:cubicBezTo>
                <a:cubicBezTo>
                  <a:pt x="2006" y="941"/>
                  <a:pt x="2006" y="939"/>
                  <a:pt x="2006" y="937"/>
                </a:cubicBezTo>
                <a:cubicBezTo>
                  <a:pt x="2005" y="934"/>
                  <a:pt x="2009" y="931"/>
                  <a:pt x="2012" y="931"/>
                </a:cubicBezTo>
                <a:cubicBezTo>
                  <a:pt x="2012" y="931"/>
                  <a:pt x="2012" y="932"/>
                  <a:pt x="2012" y="933"/>
                </a:cubicBezTo>
                <a:cubicBezTo>
                  <a:pt x="2012" y="934"/>
                  <a:pt x="2012" y="935"/>
                  <a:pt x="2013" y="936"/>
                </a:cubicBezTo>
                <a:cubicBezTo>
                  <a:pt x="2012" y="936"/>
                  <a:pt x="2012" y="936"/>
                  <a:pt x="2011" y="936"/>
                </a:cubicBezTo>
                <a:cubicBezTo>
                  <a:pt x="2011" y="937"/>
                  <a:pt x="2010" y="938"/>
                  <a:pt x="2010" y="940"/>
                </a:cubicBezTo>
                <a:cubicBezTo>
                  <a:pt x="2011" y="940"/>
                  <a:pt x="2012" y="940"/>
                  <a:pt x="2012" y="939"/>
                </a:cubicBezTo>
                <a:cubicBezTo>
                  <a:pt x="2013" y="938"/>
                  <a:pt x="2014" y="937"/>
                  <a:pt x="2015" y="936"/>
                </a:cubicBezTo>
                <a:cubicBezTo>
                  <a:pt x="2019" y="929"/>
                  <a:pt x="2025" y="926"/>
                  <a:pt x="2033" y="924"/>
                </a:cubicBezTo>
                <a:cubicBezTo>
                  <a:pt x="2036" y="924"/>
                  <a:pt x="2039" y="922"/>
                  <a:pt x="2041" y="920"/>
                </a:cubicBezTo>
                <a:cubicBezTo>
                  <a:pt x="2041" y="919"/>
                  <a:pt x="2042" y="919"/>
                  <a:pt x="2043" y="919"/>
                </a:cubicBezTo>
                <a:cubicBezTo>
                  <a:pt x="2045" y="918"/>
                  <a:pt x="2047" y="916"/>
                  <a:pt x="2049" y="914"/>
                </a:cubicBezTo>
                <a:cubicBezTo>
                  <a:pt x="2056" y="907"/>
                  <a:pt x="2068" y="906"/>
                  <a:pt x="2076" y="913"/>
                </a:cubicBezTo>
                <a:cubicBezTo>
                  <a:pt x="2078" y="915"/>
                  <a:pt x="2081" y="917"/>
                  <a:pt x="2083" y="919"/>
                </a:cubicBezTo>
                <a:cubicBezTo>
                  <a:pt x="2085" y="920"/>
                  <a:pt x="2086" y="922"/>
                  <a:pt x="2087" y="924"/>
                </a:cubicBezTo>
                <a:cubicBezTo>
                  <a:pt x="2088" y="925"/>
                  <a:pt x="2089" y="925"/>
                  <a:pt x="2090" y="924"/>
                </a:cubicBezTo>
                <a:cubicBezTo>
                  <a:pt x="2091" y="924"/>
                  <a:pt x="2092" y="923"/>
                  <a:pt x="2092" y="922"/>
                </a:cubicBezTo>
                <a:cubicBezTo>
                  <a:pt x="2094" y="919"/>
                  <a:pt x="2097" y="919"/>
                  <a:pt x="2099" y="922"/>
                </a:cubicBezTo>
                <a:cubicBezTo>
                  <a:pt x="2100" y="926"/>
                  <a:pt x="2101" y="928"/>
                  <a:pt x="2101" y="931"/>
                </a:cubicBezTo>
                <a:cubicBezTo>
                  <a:pt x="2102" y="936"/>
                  <a:pt x="2101" y="940"/>
                  <a:pt x="2100" y="945"/>
                </a:cubicBezTo>
                <a:cubicBezTo>
                  <a:pt x="2097" y="951"/>
                  <a:pt x="2093" y="954"/>
                  <a:pt x="2086" y="954"/>
                </a:cubicBezTo>
                <a:cubicBezTo>
                  <a:pt x="2085" y="954"/>
                  <a:pt x="2085" y="954"/>
                  <a:pt x="2084" y="954"/>
                </a:cubicBezTo>
                <a:cubicBezTo>
                  <a:pt x="2082" y="954"/>
                  <a:pt x="2081" y="954"/>
                  <a:pt x="2080" y="957"/>
                </a:cubicBezTo>
                <a:cubicBezTo>
                  <a:pt x="2078" y="961"/>
                  <a:pt x="2073" y="963"/>
                  <a:pt x="2069" y="960"/>
                </a:cubicBezTo>
                <a:cubicBezTo>
                  <a:pt x="2068" y="958"/>
                  <a:pt x="2067" y="958"/>
                  <a:pt x="2066" y="956"/>
                </a:cubicBezTo>
                <a:cubicBezTo>
                  <a:pt x="2066" y="957"/>
                  <a:pt x="2066" y="957"/>
                  <a:pt x="2065" y="957"/>
                </a:cubicBezTo>
                <a:close/>
                <a:moveTo>
                  <a:pt x="2060" y="952"/>
                </a:moveTo>
                <a:cubicBezTo>
                  <a:pt x="2063" y="954"/>
                  <a:pt x="2067" y="955"/>
                  <a:pt x="2070" y="958"/>
                </a:cubicBezTo>
                <a:cubicBezTo>
                  <a:pt x="2071" y="960"/>
                  <a:pt x="2073" y="960"/>
                  <a:pt x="2075" y="960"/>
                </a:cubicBezTo>
                <a:cubicBezTo>
                  <a:pt x="2078" y="959"/>
                  <a:pt x="2079" y="957"/>
                  <a:pt x="2079" y="954"/>
                </a:cubicBezTo>
                <a:cubicBezTo>
                  <a:pt x="2079" y="954"/>
                  <a:pt x="2078" y="954"/>
                  <a:pt x="2078" y="954"/>
                </a:cubicBezTo>
                <a:cubicBezTo>
                  <a:pt x="2078" y="956"/>
                  <a:pt x="2077" y="957"/>
                  <a:pt x="2076" y="958"/>
                </a:cubicBezTo>
                <a:cubicBezTo>
                  <a:pt x="2075" y="959"/>
                  <a:pt x="2074" y="959"/>
                  <a:pt x="2073" y="958"/>
                </a:cubicBezTo>
                <a:cubicBezTo>
                  <a:pt x="2072" y="958"/>
                  <a:pt x="2072" y="957"/>
                  <a:pt x="2072" y="956"/>
                </a:cubicBezTo>
                <a:cubicBezTo>
                  <a:pt x="2072" y="954"/>
                  <a:pt x="2072" y="952"/>
                  <a:pt x="2072" y="950"/>
                </a:cubicBezTo>
                <a:cubicBezTo>
                  <a:pt x="2075" y="951"/>
                  <a:pt x="2079" y="952"/>
                  <a:pt x="2082" y="952"/>
                </a:cubicBezTo>
                <a:cubicBezTo>
                  <a:pt x="2090" y="954"/>
                  <a:pt x="2095" y="952"/>
                  <a:pt x="2099" y="943"/>
                </a:cubicBezTo>
                <a:cubicBezTo>
                  <a:pt x="2100" y="939"/>
                  <a:pt x="2100" y="934"/>
                  <a:pt x="2099" y="929"/>
                </a:cubicBezTo>
                <a:cubicBezTo>
                  <a:pt x="2099" y="927"/>
                  <a:pt x="2098" y="925"/>
                  <a:pt x="2097" y="923"/>
                </a:cubicBezTo>
                <a:cubicBezTo>
                  <a:pt x="2096" y="922"/>
                  <a:pt x="2095" y="921"/>
                  <a:pt x="2094" y="923"/>
                </a:cubicBezTo>
                <a:cubicBezTo>
                  <a:pt x="2092" y="924"/>
                  <a:pt x="2091" y="926"/>
                  <a:pt x="2089" y="927"/>
                </a:cubicBezTo>
                <a:cubicBezTo>
                  <a:pt x="2088" y="927"/>
                  <a:pt x="2087" y="928"/>
                  <a:pt x="2088" y="929"/>
                </a:cubicBezTo>
                <a:cubicBezTo>
                  <a:pt x="2088" y="932"/>
                  <a:pt x="2088" y="935"/>
                  <a:pt x="2086" y="939"/>
                </a:cubicBezTo>
                <a:cubicBezTo>
                  <a:pt x="2086" y="937"/>
                  <a:pt x="2087" y="935"/>
                  <a:pt x="2087" y="933"/>
                </a:cubicBezTo>
                <a:cubicBezTo>
                  <a:pt x="2087" y="932"/>
                  <a:pt x="2086" y="932"/>
                  <a:pt x="2086" y="931"/>
                </a:cubicBezTo>
                <a:cubicBezTo>
                  <a:pt x="2086" y="932"/>
                  <a:pt x="2085" y="932"/>
                  <a:pt x="2085" y="932"/>
                </a:cubicBezTo>
                <a:cubicBezTo>
                  <a:pt x="2084" y="933"/>
                  <a:pt x="2083" y="935"/>
                  <a:pt x="2083" y="936"/>
                </a:cubicBezTo>
                <a:cubicBezTo>
                  <a:pt x="2082" y="936"/>
                  <a:pt x="2082" y="936"/>
                  <a:pt x="2082" y="936"/>
                </a:cubicBezTo>
                <a:cubicBezTo>
                  <a:pt x="2083" y="935"/>
                  <a:pt x="2083" y="933"/>
                  <a:pt x="2083" y="931"/>
                </a:cubicBezTo>
                <a:cubicBezTo>
                  <a:pt x="2082" y="931"/>
                  <a:pt x="2082" y="932"/>
                  <a:pt x="2081" y="933"/>
                </a:cubicBezTo>
                <a:cubicBezTo>
                  <a:pt x="2081" y="933"/>
                  <a:pt x="2080" y="934"/>
                  <a:pt x="2080" y="935"/>
                </a:cubicBezTo>
                <a:cubicBezTo>
                  <a:pt x="2080" y="931"/>
                  <a:pt x="2081" y="931"/>
                  <a:pt x="2086" y="930"/>
                </a:cubicBezTo>
                <a:cubicBezTo>
                  <a:pt x="2086" y="929"/>
                  <a:pt x="2085" y="929"/>
                  <a:pt x="2085" y="929"/>
                </a:cubicBezTo>
                <a:cubicBezTo>
                  <a:pt x="2083" y="929"/>
                  <a:pt x="2082" y="928"/>
                  <a:pt x="2081" y="926"/>
                </a:cubicBezTo>
                <a:cubicBezTo>
                  <a:pt x="2083" y="925"/>
                  <a:pt x="2085" y="925"/>
                  <a:pt x="2086" y="924"/>
                </a:cubicBezTo>
                <a:cubicBezTo>
                  <a:pt x="2085" y="922"/>
                  <a:pt x="2083" y="919"/>
                  <a:pt x="2080" y="919"/>
                </a:cubicBezTo>
                <a:cubicBezTo>
                  <a:pt x="2079" y="919"/>
                  <a:pt x="2079" y="918"/>
                  <a:pt x="2079" y="918"/>
                </a:cubicBezTo>
                <a:cubicBezTo>
                  <a:pt x="2077" y="916"/>
                  <a:pt x="2074" y="914"/>
                  <a:pt x="2072" y="912"/>
                </a:cubicBezTo>
                <a:cubicBezTo>
                  <a:pt x="2069" y="910"/>
                  <a:pt x="2066" y="910"/>
                  <a:pt x="2064" y="910"/>
                </a:cubicBezTo>
                <a:cubicBezTo>
                  <a:pt x="2061" y="910"/>
                  <a:pt x="2058" y="911"/>
                  <a:pt x="2055" y="912"/>
                </a:cubicBezTo>
                <a:cubicBezTo>
                  <a:pt x="2052" y="913"/>
                  <a:pt x="2049" y="915"/>
                  <a:pt x="2048" y="918"/>
                </a:cubicBezTo>
                <a:cubicBezTo>
                  <a:pt x="2049" y="918"/>
                  <a:pt x="2050" y="918"/>
                  <a:pt x="2052" y="918"/>
                </a:cubicBezTo>
                <a:cubicBezTo>
                  <a:pt x="2051" y="918"/>
                  <a:pt x="2050" y="919"/>
                  <a:pt x="2050" y="919"/>
                </a:cubicBezTo>
                <a:cubicBezTo>
                  <a:pt x="2047" y="920"/>
                  <a:pt x="2045" y="919"/>
                  <a:pt x="2043" y="921"/>
                </a:cubicBezTo>
                <a:cubicBezTo>
                  <a:pt x="2039" y="925"/>
                  <a:pt x="2035" y="929"/>
                  <a:pt x="2032" y="933"/>
                </a:cubicBezTo>
                <a:cubicBezTo>
                  <a:pt x="2030" y="935"/>
                  <a:pt x="2029" y="937"/>
                  <a:pt x="2028" y="940"/>
                </a:cubicBezTo>
                <a:cubicBezTo>
                  <a:pt x="2028" y="940"/>
                  <a:pt x="2028" y="941"/>
                  <a:pt x="2028" y="941"/>
                </a:cubicBezTo>
                <a:cubicBezTo>
                  <a:pt x="2030" y="943"/>
                  <a:pt x="2031" y="945"/>
                  <a:pt x="2032" y="947"/>
                </a:cubicBezTo>
                <a:cubicBezTo>
                  <a:pt x="2034" y="946"/>
                  <a:pt x="2035" y="944"/>
                  <a:pt x="2036" y="943"/>
                </a:cubicBezTo>
                <a:cubicBezTo>
                  <a:pt x="2035" y="944"/>
                  <a:pt x="2035" y="945"/>
                  <a:pt x="2034" y="947"/>
                </a:cubicBezTo>
                <a:cubicBezTo>
                  <a:pt x="2034" y="948"/>
                  <a:pt x="2033" y="949"/>
                  <a:pt x="2032" y="951"/>
                </a:cubicBezTo>
                <a:cubicBezTo>
                  <a:pt x="2032" y="952"/>
                  <a:pt x="2032" y="953"/>
                  <a:pt x="2033" y="954"/>
                </a:cubicBezTo>
                <a:cubicBezTo>
                  <a:pt x="2035" y="957"/>
                  <a:pt x="2038" y="957"/>
                  <a:pt x="2042" y="955"/>
                </a:cubicBezTo>
                <a:cubicBezTo>
                  <a:pt x="2045" y="954"/>
                  <a:pt x="2047" y="952"/>
                  <a:pt x="2050" y="952"/>
                </a:cubicBezTo>
                <a:cubicBezTo>
                  <a:pt x="2052" y="951"/>
                  <a:pt x="2053" y="950"/>
                  <a:pt x="2053" y="949"/>
                </a:cubicBezTo>
                <a:cubicBezTo>
                  <a:pt x="2053" y="946"/>
                  <a:pt x="2053" y="942"/>
                  <a:pt x="2053" y="939"/>
                </a:cubicBezTo>
                <a:cubicBezTo>
                  <a:pt x="2053" y="936"/>
                  <a:pt x="2053" y="933"/>
                  <a:pt x="2053" y="930"/>
                </a:cubicBezTo>
                <a:cubicBezTo>
                  <a:pt x="2054" y="933"/>
                  <a:pt x="2054" y="935"/>
                  <a:pt x="2054" y="938"/>
                </a:cubicBezTo>
                <a:cubicBezTo>
                  <a:pt x="2055" y="943"/>
                  <a:pt x="2055" y="947"/>
                  <a:pt x="2054" y="951"/>
                </a:cubicBezTo>
                <a:cubicBezTo>
                  <a:pt x="2054" y="952"/>
                  <a:pt x="2053" y="953"/>
                  <a:pt x="2052" y="953"/>
                </a:cubicBezTo>
                <a:cubicBezTo>
                  <a:pt x="2049" y="953"/>
                  <a:pt x="2046" y="955"/>
                  <a:pt x="2043" y="957"/>
                </a:cubicBezTo>
                <a:cubicBezTo>
                  <a:pt x="2037" y="960"/>
                  <a:pt x="2034" y="958"/>
                  <a:pt x="2030" y="954"/>
                </a:cubicBezTo>
                <a:cubicBezTo>
                  <a:pt x="2030" y="954"/>
                  <a:pt x="2030" y="952"/>
                  <a:pt x="2030" y="952"/>
                </a:cubicBezTo>
                <a:cubicBezTo>
                  <a:pt x="2032" y="950"/>
                  <a:pt x="2030" y="948"/>
                  <a:pt x="2029" y="946"/>
                </a:cubicBezTo>
                <a:cubicBezTo>
                  <a:pt x="2027" y="944"/>
                  <a:pt x="2026" y="941"/>
                  <a:pt x="2027" y="939"/>
                </a:cubicBezTo>
                <a:cubicBezTo>
                  <a:pt x="2027" y="937"/>
                  <a:pt x="2028" y="935"/>
                  <a:pt x="2030" y="933"/>
                </a:cubicBezTo>
                <a:cubicBezTo>
                  <a:pt x="2031" y="931"/>
                  <a:pt x="2034" y="928"/>
                  <a:pt x="2035" y="926"/>
                </a:cubicBezTo>
                <a:cubicBezTo>
                  <a:pt x="2035" y="926"/>
                  <a:pt x="2034" y="926"/>
                  <a:pt x="2034" y="926"/>
                </a:cubicBezTo>
                <a:cubicBezTo>
                  <a:pt x="2029" y="927"/>
                  <a:pt x="2025" y="928"/>
                  <a:pt x="2021" y="931"/>
                </a:cubicBezTo>
                <a:cubicBezTo>
                  <a:pt x="2016" y="936"/>
                  <a:pt x="2014" y="941"/>
                  <a:pt x="2013" y="948"/>
                </a:cubicBezTo>
                <a:cubicBezTo>
                  <a:pt x="2013" y="954"/>
                  <a:pt x="2015" y="960"/>
                  <a:pt x="2019" y="966"/>
                </a:cubicBezTo>
                <a:cubicBezTo>
                  <a:pt x="2019" y="967"/>
                  <a:pt x="2020" y="969"/>
                  <a:pt x="2019" y="970"/>
                </a:cubicBezTo>
                <a:cubicBezTo>
                  <a:pt x="2019" y="971"/>
                  <a:pt x="2019" y="973"/>
                  <a:pt x="2018" y="974"/>
                </a:cubicBezTo>
                <a:cubicBezTo>
                  <a:pt x="2018" y="976"/>
                  <a:pt x="2018" y="977"/>
                  <a:pt x="2019" y="977"/>
                </a:cubicBezTo>
                <a:cubicBezTo>
                  <a:pt x="2023" y="978"/>
                  <a:pt x="2025" y="979"/>
                  <a:pt x="2028" y="979"/>
                </a:cubicBezTo>
                <a:cubicBezTo>
                  <a:pt x="2029" y="979"/>
                  <a:pt x="2030" y="978"/>
                  <a:pt x="2030" y="978"/>
                </a:cubicBezTo>
                <a:cubicBezTo>
                  <a:pt x="2030" y="977"/>
                  <a:pt x="2030" y="975"/>
                  <a:pt x="2031" y="974"/>
                </a:cubicBezTo>
                <a:cubicBezTo>
                  <a:pt x="2033" y="972"/>
                  <a:pt x="2033" y="969"/>
                  <a:pt x="2033" y="966"/>
                </a:cubicBezTo>
                <a:cubicBezTo>
                  <a:pt x="2033" y="966"/>
                  <a:pt x="2033" y="966"/>
                  <a:pt x="2033" y="965"/>
                </a:cubicBezTo>
                <a:cubicBezTo>
                  <a:pt x="2033" y="965"/>
                  <a:pt x="2033" y="965"/>
                  <a:pt x="2033" y="964"/>
                </a:cubicBezTo>
                <a:cubicBezTo>
                  <a:pt x="2033" y="967"/>
                  <a:pt x="2035" y="967"/>
                  <a:pt x="2037" y="967"/>
                </a:cubicBezTo>
                <a:cubicBezTo>
                  <a:pt x="2037" y="967"/>
                  <a:pt x="2039" y="967"/>
                  <a:pt x="2039" y="967"/>
                </a:cubicBezTo>
                <a:cubicBezTo>
                  <a:pt x="2042" y="967"/>
                  <a:pt x="2045" y="968"/>
                  <a:pt x="2046" y="964"/>
                </a:cubicBezTo>
                <a:cubicBezTo>
                  <a:pt x="2046" y="966"/>
                  <a:pt x="2046" y="967"/>
                  <a:pt x="2046" y="968"/>
                </a:cubicBezTo>
                <a:cubicBezTo>
                  <a:pt x="2044" y="969"/>
                  <a:pt x="2043" y="970"/>
                  <a:pt x="2042" y="970"/>
                </a:cubicBezTo>
                <a:cubicBezTo>
                  <a:pt x="2040" y="971"/>
                  <a:pt x="2040" y="973"/>
                  <a:pt x="2041" y="973"/>
                </a:cubicBezTo>
                <a:cubicBezTo>
                  <a:pt x="2042" y="976"/>
                  <a:pt x="2043" y="978"/>
                  <a:pt x="2045" y="980"/>
                </a:cubicBezTo>
                <a:cubicBezTo>
                  <a:pt x="2046" y="981"/>
                  <a:pt x="2048" y="981"/>
                  <a:pt x="2050" y="979"/>
                </a:cubicBezTo>
                <a:cubicBezTo>
                  <a:pt x="2050" y="978"/>
                  <a:pt x="2051" y="977"/>
                  <a:pt x="2052" y="977"/>
                </a:cubicBezTo>
                <a:cubicBezTo>
                  <a:pt x="2053" y="975"/>
                  <a:pt x="2055" y="974"/>
                  <a:pt x="2056" y="973"/>
                </a:cubicBezTo>
                <a:cubicBezTo>
                  <a:pt x="2061" y="969"/>
                  <a:pt x="2063" y="963"/>
                  <a:pt x="2064" y="957"/>
                </a:cubicBezTo>
                <a:cubicBezTo>
                  <a:pt x="2064" y="956"/>
                  <a:pt x="2063" y="956"/>
                  <a:pt x="2063" y="955"/>
                </a:cubicBezTo>
                <a:cubicBezTo>
                  <a:pt x="2062" y="954"/>
                  <a:pt x="2061" y="953"/>
                  <a:pt x="2060" y="952"/>
                </a:cubicBezTo>
                <a:close/>
                <a:moveTo>
                  <a:pt x="2013" y="959"/>
                </a:moveTo>
                <a:cubicBezTo>
                  <a:pt x="2012" y="960"/>
                  <a:pt x="2010" y="960"/>
                  <a:pt x="2009" y="962"/>
                </a:cubicBezTo>
                <a:cubicBezTo>
                  <a:pt x="2009" y="962"/>
                  <a:pt x="2008" y="963"/>
                  <a:pt x="2008" y="964"/>
                </a:cubicBezTo>
                <a:cubicBezTo>
                  <a:pt x="2008" y="966"/>
                  <a:pt x="2013" y="971"/>
                  <a:pt x="2016" y="970"/>
                </a:cubicBezTo>
                <a:cubicBezTo>
                  <a:pt x="2017" y="970"/>
                  <a:pt x="2018" y="969"/>
                  <a:pt x="2017" y="967"/>
                </a:cubicBezTo>
                <a:cubicBezTo>
                  <a:pt x="2016" y="964"/>
                  <a:pt x="2014" y="962"/>
                  <a:pt x="2013" y="959"/>
                </a:cubicBezTo>
                <a:close/>
                <a:moveTo>
                  <a:pt x="2065" y="961"/>
                </a:moveTo>
                <a:cubicBezTo>
                  <a:pt x="2063" y="966"/>
                  <a:pt x="2061" y="970"/>
                  <a:pt x="2058" y="974"/>
                </a:cubicBezTo>
                <a:cubicBezTo>
                  <a:pt x="2061" y="974"/>
                  <a:pt x="2063" y="975"/>
                  <a:pt x="2066" y="974"/>
                </a:cubicBezTo>
                <a:cubicBezTo>
                  <a:pt x="2066" y="974"/>
                  <a:pt x="2067" y="973"/>
                  <a:pt x="2067" y="973"/>
                </a:cubicBezTo>
                <a:cubicBezTo>
                  <a:pt x="2067" y="970"/>
                  <a:pt x="2067" y="967"/>
                  <a:pt x="2066" y="965"/>
                </a:cubicBezTo>
                <a:cubicBezTo>
                  <a:pt x="2066" y="964"/>
                  <a:pt x="2066" y="962"/>
                  <a:pt x="2065" y="961"/>
                </a:cubicBezTo>
                <a:close/>
                <a:moveTo>
                  <a:pt x="2013" y="941"/>
                </a:moveTo>
                <a:cubicBezTo>
                  <a:pt x="2012" y="941"/>
                  <a:pt x="2011" y="941"/>
                  <a:pt x="2011" y="941"/>
                </a:cubicBezTo>
                <a:cubicBezTo>
                  <a:pt x="2010" y="941"/>
                  <a:pt x="2009" y="941"/>
                  <a:pt x="2009" y="941"/>
                </a:cubicBezTo>
                <a:cubicBezTo>
                  <a:pt x="2009" y="941"/>
                  <a:pt x="2008" y="940"/>
                  <a:pt x="2008" y="939"/>
                </a:cubicBezTo>
                <a:cubicBezTo>
                  <a:pt x="2009" y="937"/>
                  <a:pt x="2010" y="935"/>
                  <a:pt x="2010" y="933"/>
                </a:cubicBezTo>
                <a:cubicBezTo>
                  <a:pt x="2010" y="933"/>
                  <a:pt x="2010" y="933"/>
                  <a:pt x="2010" y="933"/>
                </a:cubicBezTo>
                <a:cubicBezTo>
                  <a:pt x="2009" y="934"/>
                  <a:pt x="2008" y="935"/>
                  <a:pt x="2007" y="936"/>
                </a:cubicBezTo>
                <a:cubicBezTo>
                  <a:pt x="2006" y="937"/>
                  <a:pt x="2008" y="942"/>
                  <a:pt x="2009" y="943"/>
                </a:cubicBezTo>
                <a:cubicBezTo>
                  <a:pt x="2011" y="944"/>
                  <a:pt x="2013" y="943"/>
                  <a:pt x="2013" y="941"/>
                </a:cubicBezTo>
                <a:close/>
                <a:moveTo>
                  <a:pt x="2013" y="959"/>
                </a:moveTo>
                <a:cubicBezTo>
                  <a:pt x="2012" y="960"/>
                  <a:pt x="2010" y="961"/>
                  <a:pt x="2009" y="962"/>
                </a:cubicBezTo>
                <a:cubicBezTo>
                  <a:pt x="2009" y="962"/>
                  <a:pt x="2008" y="963"/>
                  <a:pt x="2008" y="964"/>
                </a:cubicBezTo>
                <a:cubicBezTo>
                  <a:pt x="2008" y="967"/>
                  <a:pt x="2013" y="971"/>
                  <a:pt x="2016" y="971"/>
                </a:cubicBezTo>
                <a:cubicBezTo>
                  <a:pt x="2017" y="971"/>
                  <a:pt x="2018" y="969"/>
                  <a:pt x="2017" y="968"/>
                </a:cubicBezTo>
                <a:cubicBezTo>
                  <a:pt x="2016" y="965"/>
                  <a:pt x="2014" y="962"/>
                  <a:pt x="2013" y="959"/>
                </a:cubicBezTo>
                <a:close/>
                <a:moveTo>
                  <a:pt x="2065" y="961"/>
                </a:moveTo>
                <a:cubicBezTo>
                  <a:pt x="2063" y="966"/>
                  <a:pt x="2060" y="970"/>
                  <a:pt x="2058" y="974"/>
                </a:cubicBezTo>
                <a:cubicBezTo>
                  <a:pt x="2061" y="974"/>
                  <a:pt x="2063" y="975"/>
                  <a:pt x="2066" y="974"/>
                </a:cubicBezTo>
                <a:cubicBezTo>
                  <a:pt x="2066" y="974"/>
                  <a:pt x="2067" y="973"/>
                  <a:pt x="2067" y="973"/>
                </a:cubicBezTo>
                <a:cubicBezTo>
                  <a:pt x="2067" y="970"/>
                  <a:pt x="2067" y="968"/>
                  <a:pt x="2066" y="965"/>
                </a:cubicBezTo>
                <a:cubicBezTo>
                  <a:pt x="2066" y="964"/>
                  <a:pt x="2066" y="962"/>
                  <a:pt x="2065" y="961"/>
                </a:cubicBezTo>
                <a:close/>
                <a:moveTo>
                  <a:pt x="2012" y="941"/>
                </a:moveTo>
                <a:cubicBezTo>
                  <a:pt x="2012" y="941"/>
                  <a:pt x="2011" y="942"/>
                  <a:pt x="2011" y="942"/>
                </a:cubicBezTo>
                <a:cubicBezTo>
                  <a:pt x="2010" y="942"/>
                  <a:pt x="2009" y="942"/>
                  <a:pt x="2009" y="941"/>
                </a:cubicBezTo>
                <a:cubicBezTo>
                  <a:pt x="2009" y="941"/>
                  <a:pt x="2008" y="940"/>
                  <a:pt x="2008" y="939"/>
                </a:cubicBezTo>
                <a:cubicBezTo>
                  <a:pt x="2009" y="937"/>
                  <a:pt x="2009" y="935"/>
                  <a:pt x="2010" y="933"/>
                </a:cubicBezTo>
                <a:cubicBezTo>
                  <a:pt x="2010" y="933"/>
                  <a:pt x="2010" y="933"/>
                  <a:pt x="2009" y="933"/>
                </a:cubicBezTo>
                <a:cubicBezTo>
                  <a:pt x="2009" y="934"/>
                  <a:pt x="2007" y="935"/>
                  <a:pt x="2007" y="936"/>
                </a:cubicBezTo>
                <a:cubicBezTo>
                  <a:pt x="2006" y="937"/>
                  <a:pt x="2007" y="942"/>
                  <a:pt x="2009" y="943"/>
                </a:cubicBezTo>
                <a:cubicBezTo>
                  <a:pt x="2011" y="944"/>
                  <a:pt x="2012" y="943"/>
                  <a:pt x="2012" y="941"/>
                </a:cubicBezTo>
                <a:close/>
                <a:moveTo>
                  <a:pt x="2065" y="933"/>
                </a:moveTo>
                <a:cubicBezTo>
                  <a:pt x="2068" y="929"/>
                  <a:pt x="2068" y="929"/>
                  <a:pt x="2072" y="928"/>
                </a:cubicBezTo>
                <a:cubicBezTo>
                  <a:pt x="2072" y="930"/>
                  <a:pt x="2073" y="931"/>
                  <a:pt x="2074" y="931"/>
                </a:cubicBezTo>
                <a:cubicBezTo>
                  <a:pt x="2072" y="932"/>
                  <a:pt x="2070" y="934"/>
                  <a:pt x="2068" y="935"/>
                </a:cubicBezTo>
                <a:cubicBezTo>
                  <a:pt x="2068" y="934"/>
                  <a:pt x="2067" y="933"/>
                  <a:pt x="2066" y="932"/>
                </a:cubicBezTo>
                <a:cubicBezTo>
                  <a:pt x="2066" y="932"/>
                  <a:pt x="2066" y="932"/>
                  <a:pt x="2065" y="933"/>
                </a:cubicBezTo>
                <a:close/>
                <a:moveTo>
                  <a:pt x="2071" y="932"/>
                </a:moveTo>
                <a:cubicBezTo>
                  <a:pt x="2070" y="932"/>
                  <a:pt x="2069" y="931"/>
                  <a:pt x="2069" y="931"/>
                </a:cubicBezTo>
                <a:cubicBezTo>
                  <a:pt x="2068" y="931"/>
                  <a:pt x="2068" y="932"/>
                  <a:pt x="2068" y="933"/>
                </a:cubicBezTo>
                <a:cubicBezTo>
                  <a:pt x="2068" y="933"/>
                  <a:pt x="2068" y="933"/>
                  <a:pt x="2068" y="934"/>
                </a:cubicBezTo>
                <a:cubicBezTo>
                  <a:pt x="2069" y="933"/>
                  <a:pt x="2069" y="933"/>
                  <a:pt x="2071" y="932"/>
                </a:cubicBezTo>
                <a:close/>
                <a:moveTo>
                  <a:pt x="2052" y="922"/>
                </a:moveTo>
                <a:cubicBezTo>
                  <a:pt x="2045" y="921"/>
                  <a:pt x="2042" y="924"/>
                  <a:pt x="2041" y="932"/>
                </a:cubicBezTo>
                <a:cubicBezTo>
                  <a:pt x="2042" y="930"/>
                  <a:pt x="2044" y="928"/>
                  <a:pt x="2045" y="925"/>
                </a:cubicBezTo>
                <a:cubicBezTo>
                  <a:pt x="2045" y="925"/>
                  <a:pt x="2045" y="925"/>
                  <a:pt x="2045" y="925"/>
                </a:cubicBezTo>
                <a:cubicBezTo>
                  <a:pt x="2045" y="926"/>
                  <a:pt x="2046" y="927"/>
                  <a:pt x="2046" y="928"/>
                </a:cubicBezTo>
                <a:cubicBezTo>
                  <a:pt x="2047" y="925"/>
                  <a:pt x="2048" y="923"/>
                  <a:pt x="2052" y="922"/>
                </a:cubicBezTo>
                <a:close/>
                <a:moveTo>
                  <a:pt x="2096" y="924"/>
                </a:moveTo>
                <a:cubicBezTo>
                  <a:pt x="2094" y="925"/>
                  <a:pt x="2092" y="927"/>
                  <a:pt x="2090" y="928"/>
                </a:cubicBezTo>
                <a:cubicBezTo>
                  <a:pt x="2092" y="928"/>
                  <a:pt x="2094" y="927"/>
                  <a:pt x="2096" y="924"/>
                </a:cubicBezTo>
                <a:close/>
                <a:moveTo>
                  <a:pt x="2062" y="926"/>
                </a:moveTo>
                <a:cubicBezTo>
                  <a:pt x="2063" y="925"/>
                  <a:pt x="2064" y="923"/>
                  <a:pt x="2066" y="922"/>
                </a:cubicBezTo>
                <a:cubicBezTo>
                  <a:pt x="2062" y="923"/>
                  <a:pt x="2061" y="924"/>
                  <a:pt x="2062" y="926"/>
                </a:cubicBezTo>
                <a:close/>
                <a:moveTo>
                  <a:pt x="2072" y="947"/>
                </a:moveTo>
                <a:cubicBezTo>
                  <a:pt x="2070" y="948"/>
                  <a:pt x="2070" y="949"/>
                  <a:pt x="2070" y="949"/>
                </a:cubicBezTo>
                <a:cubicBezTo>
                  <a:pt x="2070" y="949"/>
                  <a:pt x="2071" y="948"/>
                  <a:pt x="2072" y="947"/>
                </a:cubicBezTo>
                <a:close/>
                <a:moveTo>
                  <a:pt x="2071" y="932"/>
                </a:moveTo>
                <a:cubicBezTo>
                  <a:pt x="2070" y="931"/>
                  <a:pt x="2069" y="931"/>
                  <a:pt x="2069" y="931"/>
                </a:cubicBezTo>
                <a:cubicBezTo>
                  <a:pt x="2068" y="931"/>
                  <a:pt x="2068" y="932"/>
                  <a:pt x="2068" y="932"/>
                </a:cubicBezTo>
                <a:cubicBezTo>
                  <a:pt x="2068" y="933"/>
                  <a:pt x="2068" y="933"/>
                  <a:pt x="2068" y="933"/>
                </a:cubicBezTo>
                <a:cubicBezTo>
                  <a:pt x="2069" y="933"/>
                  <a:pt x="2069" y="933"/>
                  <a:pt x="2071" y="932"/>
                </a:cubicBezTo>
                <a:close/>
                <a:moveTo>
                  <a:pt x="3701" y="1078"/>
                </a:moveTo>
                <a:cubicBezTo>
                  <a:pt x="3704" y="1059"/>
                  <a:pt x="3704" y="1059"/>
                  <a:pt x="3704" y="1059"/>
                </a:cubicBezTo>
                <a:cubicBezTo>
                  <a:pt x="3695" y="1059"/>
                  <a:pt x="3695" y="1059"/>
                  <a:pt x="3695" y="1059"/>
                </a:cubicBezTo>
                <a:cubicBezTo>
                  <a:pt x="3695" y="1047"/>
                  <a:pt x="3695" y="1047"/>
                  <a:pt x="3695" y="1047"/>
                </a:cubicBezTo>
                <a:cubicBezTo>
                  <a:pt x="3706" y="1047"/>
                  <a:pt x="3706" y="1047"/>
                  <a:pt x="3706" y="1047"/>
                </a:cubicBezTo>
                <a:cubicBezTo>
                  <a:pt x="3708" y="1036"/>
                  <a:pt x="3708" y="1036"/>
                  <a:pt x="3708" y="1036"/>
                </a:cubicBezTo>
                <a:cubicBezTo>
                  <a:pt x="3698" y="1036"/>
                  <a:pt x="3698" y="1036"/>
                  <a:pt x="3698" y="1036"/>
                </a:cubicBezTo>
                <a:cubicBezTo>
                  <a:pt x="3698" y="1024"/>
                  <a:pt x="3698" y="1024"/>
                  <a:pt x="3698" y="1024"/>
                </a:cubicBezTo>
                <a:cubicBezTo>
                  <a:pt x="3710" y="1024"/>
                  <a:pt x="3710" y="1024"/>
                  <a:pt x="3710" y="1024"/>
                </a:cubicBezTo>
                <a:cubicBezTo>
                  <a:pt x="3712" y="1006"/>
                  <a:pt x="3712" y="1006"/>
                  <a:pt x="3712" y="1006"/>
                </a:cubicBezTo>
                <a:cubicBezTo>
                  <a:pt x="3724" y="1006"/>
                  <a:pt x="3724" y="1006"/>
                  <a:pt x="3724" y="1006"/>
                </a:cubicBezTo>
                <a:cubicBezTo>
                  <a:pt x="3721" y="1024"/>
                  <a:pt x="3721" y="1024"/>
                  <a:pt x="3721" y="1024"/>
                </a:cubicBezTo>
                <a:cubicBezTo>
                  <a:pt x="3730" y="1024"/>
                  <a:pt x="3730" y="1024"/>
                  <a:pt x="3730" y="1024"/>
                </a:cubicBezTo>
                <a:cubicBezTo>
                  <a:pt x="3733" y="1006"/>
                  <a:pt x="3733" y="1006"/>
                  <a:pt x="3733" y="1006"/>
                </a:cubicBezTo>
                <a:cubicBezTo>
                  <a:pt x="3745" y="1006"/>
                  <a:pt x="3745" y="1006"/>
                  <a:pt x="3745" y="1006"/>
                </a:cubicBezTo>
                <a:cubicBezTo>
                  <a:pt x="3742" y="1024"/>
                  <a:pt x="3742" y="1024"/>
                  <a:pt x="3742" y="1024"/>
                </a:cubicBezTo>
                <a:cubicBezTo>
                  <a:pt x="3751" y="1024"/>
                  <a:pt x="3751" y="1024"/>
                  <a:pt x="3751" y="1024"/>
                </a:cubicBezTo>
                <a:cubicBezTo>
                  <a:pt x="3751" y="1036"/>
                  <a:pt x="3751" y="1036"/>
                  <a:pt x="3751" y="1036"/>
                </a:cubicBezTo>
                <a:cubicBezTo>
                  <a:pt x="3740" y="1036"/>
                  <a:pt x="3740" y="1036"/>
                  <a:pt x="3740" y="1036"/>
                </a:cubicBezTo>
                <a:cubicBezTo>
                  <a:pt x="3738" y="1047"/>
                  <a:pt x="3738" y="1047"/>
                  <a:pt x="3738" y="1047"/>
                </a:cubicBezTo>
                <a:cubicBezTo>
                  <a:pt x="3747" y="1047"/>
                  <a:pt x="3747" y="1047"/>
                  <a:pt x="3747" y="1047"/>
                </a:cubicBezTo>
                <a:cubicBezTo>
                  <a:pt x="3747" y="1059"/>
                  <a:pt x="3747" y="1059"/>
                  <a:pt x="3747" y="1059"/>
                </a:cubicBezTo>
                <a:cubicBezTo>
                  <a:pt x="3736" y="1059"/>
                  <a:pt x="3736" y="1059"/>
                  <a:pt x="3736" y="1059"/>
                </a:cubicBezTo>
                <a:cubicBezTo>
                  <a:pt x="3734" y="1078"/>
                  <a:pt x="3734" y="1078"/>
                  <a:pt x="3734" y="1078"/>
                </a:cubicBezTo>
                <a:cubicBezTo>
                  <a:pt x="3722" y="1078"/>
                  <a:pt x="3722" y="1078"/>
                  <a:pt x="3722" y="1078"/>
                </a:cubicBezTo>
                <a:cubicBezTo>
                  <a:pt x="3725" y="1059"/>
                  <a:pt x="3725" y="1059"/>
                  <a:pt x="3725" y="1059"/>
                </a:cubicBezTo>
                <a:cubicBezTo>
                  <a:pt x="3715" y="1059"/>
                  <a:pt x="3715" y="1059"/>
                  <a:pt x="3715" y="1059"/>
                </a:cubicBezTo>
                <a:cubicBezTo>
                  <a:pt x="3713" y="1078"/>
                  <a:pt x="3713" y="1078"/>
                  <a:pt x="3713" y="1078"/>
                </a:cubicBezTo>
                <a:cubicBezTo>
                  <a:pt x="3701" y="1078"/>
                  <a:pt x="3701" y="1078"/>
                  <a:pt x="3701" y="1078"/>
                </a:cubicBezTo>
                <a:cubicBezTo>
                  <a:pt x="3701" y="1078"/>
                  <a:pt x="3701" y="1078"/>
                  <a:pt x="3701" y="1078"/>
                </a:cubicBezTo>
                <a:close/>
                <a:moveTo>
                  <a:pt x="3727" y="1047"/>
                </a:moveTo>
                <a:cubicBezTo>
                  <a:pt x="3729" y="1036"/>
                  <a:pt x="3729" y="1036"/>
                  <a:pt x="3729" y="1036"/>
                </a:cubicBezTo>
                <a:cubicBezTo>
                  <a:pt x="3719" y="1036"/>
                  <a:pt x="3719" y="1036"/>
                  <a:pt x="3719" y="1036"/>
                </a:cubicBezTo>
                <a:cubicBezTo>
                  <a:pt x="3718" y="1047"/>
                  <a:pt x="3718" y="1047"/>
                  <a:pt x="3718" y="1047"/>
                </a:cubicBezTo>
                <a:cubicBezTo>
                  <a:pt x="3727" y="1047"/>
                  <a:pt x="3727" y="1047"/>
                  <a:pt x="3727" y="1047"/>
                </a:cubicBezTo>
                <a:cubicBezTo>
                  <a:pt x="3727" y="1047"/>
                  <a:pt x="3727" y="1047"/>
                  <a:pt x="3727" y="1047"/>
                </a:cubicBezTo>
                <a:close/>
                <a:moveTo>
                  <a:pt x="2586" y="1052"/>
                </a:moveTo>
                <a:cubicBezTo>
                  <a:pt x="2586" y="1053"/>
                  <a:pt x="2587" y="1055"/>
                  <a:pt x="2588" y="1056"/>
                </a:cubicBezTo>
                <a:cubicBezTo>
                  <a:pt x="2588" y="1058"/>
                  <a:pt x="2588" y="1060"/>
                  <a:pt x="2589" y="1061"/>
                </a:cubicBezTo>
                <a:cubicBezTo>
                  <a:pt x="2589" y="1063"/>
                  <a:pt x="2589" y="1065"/>
                  <a:pt x="2589" y="1066"/>
                </a:cubicBezTo>
                <a:cubicBezTo>
                  <a:pt x="2590" y="1069"/>
                  <a:pt x="2589" y="1071"/>
                  <a:pt x="2586" y="1071"/>
                </a:cubicBezTo>
                <a:cubicBezTo>
                  <a:pt x="2583" y="1071"/>
                  <a:pt x="2580" y="1070"/>
                  <a:pt x="2577" y="1070"/>
                </a:cubicBezTo>
                <a:cubicBezTo>
                  <a:pt x="2577" y="1070"/>
                  <a:pt x="2576" y="1070"/>
                  <a:pt x="2576" y="1071"/>
                </a:cubicBezTo>
                <a:cubicBezTo>
                  <a:pt x="2574" y="1072"/>
                  <a:pt x="2573" y="1074"/>
                  <a:pt x="2572" y="1075"/>
                </a:cubicBezTo>
                <a:cubicBezTo>
                  <a:pt x="2570" y="1078"/>
                  <a:pt x="2566" y="1078"/>
                  <a:pt x="2564" y="1076"/>
                </a:cubicBezTo>
                <a:cubicBezTo>
                  <a:pt x="2562" y="1074"/>
                  <a:pt x="2561" y="1071"/>
                  <a:pt x="2559" y="1068"/>
                </a:cubicBezTo>
                <a:cubicBezTo>
                  <a:pt x="2559" y="1067"/>
                  <a:pt x="2559" y="1065"/>
                  <a:pt x="2561" y="1064"/>
                </a:cubicBezTo>
                <a:cubicBezTo>
                  <a:pt x="2559" y="1064"/>
                  <a:pt x="2557" y="1064"/>
                  <a:pt x="2556" y="1064"/>
                </a:cubicBezTo>
                <a:cubicBezTo>
                  <a:pt x="2555" y="1066"/>
                  <a:pt x="2554" y="1068"/>
                  <a:pt x="2553" y="1070"/>
                </a:cubicBezTo>
                <a:cubicBezTo>
                  <a:pt x="2553" y="1070"/>
                  <a:pt x="2552" y="1071"/>
                  <a:pt x="2552" y="1072"/>
                </a:cubicBezTo>
                <a:cubicBezTo>
                  <a:pt x="2552" y="1075"/>
                  <a:pt x="2551" y="1076"/>
                  <a:pt x="2548" y="1076"/>
                </a:cubicBezTo>
                <a:cubicBezTo>
                  <a:pt x="2545" y="1076"/>
                  <a:pt x="2542" y="1075"/>
                  <a:pt x="2539" y="1074"/>
                </a:cubicBezTo>
                <a:cubicBezTo>
                  <a:pt x="2537" y="1073"/>
                  <a:pt x="2537" y="1072"/>
                  <a:pt x="2537" y="1070"/>
                </a:cubicBezTo>
                <a:cubicBezTo>
                  <a:pt x="2537" y="1069"/>
                  <a:pt x="2537" y="1068"/>
                  <a:pt x="2538" y="1068"/>
                </a:cubicBezTo>
                <a:cubicBezTo>
                  <a:pt x="2536" y="1067"/>
                  <a:pt x="2533" y="1066"/>
                  <a:pt x="2531" y="1065"/>
                </a:cubicBezTo>
                <a:cubicBezTo>
                  <a:pt x="2530" y="1064"/>
                  <a:pt x="2529" y="1062"/>
                  <a:pt x="2528" y="1060"/>
                </a:cubicBezTo>
                <a:cubicBezTo>
                  <a:pt x="2527" y="1058"/>
                  <a:pt x="2527" y="1057"/>
                  <a:pt x="2529" y="1055"/>
                </a:cubicBezTo>
                <a:cubicBezTo>
                  <a:pt x="2532" y="1053"/>
                  <a:pt x="2533" y="1050"/>
                  <a:pt x="2532" y="1046"/>
                </a:cubicBezTo>
                <a:cubicBezTo>
                  <a:pt x="2532" y="1044"/>
                  <a:pt x="2532" y="1042"/>
                  <a:pt x="2532" y="1040"/>
                </a:cubicBezTo>
                <a:cubicBezTo>
                  <a:pt x="2531" y="1039"/>
                  <a:pt x="2529" y="1039"/>
                  <a:pt x="2528" y="1038"/>
                </a:cubicBezTo>
                <a:cubicBezTo>
                  <a:pt x="2527" y="1036"/>
                  <a:pt x="2526" y="1034"/>
                  <a:pt x="2526" y="1032"/>
                </a:cubicBezTo>
                <a:cubicBezTo>
                  <a:pt x="2526" y="1029"/>
                  <a:pt x="2530" y="1026"/>
                  <a:pt x="2532" y="1026"/>
                </a:cubicBezTo>
                <a:cubicBezTo>
                  <a:pt x="2533" y="1026"/>
                  <a:pt x="2533" y="1027"/>
                  <a:pt x="2533" y="1028"/>
                </a:cubicBezTo>
                <a:cubicBezTo>
                  <a:pt x="2533" y="1029"/>
                  <a:pt x="2533" y="1030"/>
                  <a:pt x="2534" y="1031"/>
                </a:cubicBezTo>
                <a:cubicBezTo>
                  <a:pt x="2533" y="1031"/>
                  <a:pt x="2532" y="1031"/>
                  <a:pt x="2532" y="1031"/>
                </a:cubicBezTo>
                <a:cubicBezTo>
                  <a:pt x="2532" y="1032"/>
                  <a:pt x="2531" y="1033"/>
                  <a:pt x="2530" y="1035"/>
                </a:cubicBezTo>
                <a:cubicBezTo>
                  <a:pt x="2532" y="1035"/>
                  <a:pt x="2532" y="1035"/>
                  <a:pt x="2533" y="1034"/>
                </a:cubicBezTo>
                <a:cubicBezTo>
                  <a:pt x="2534" y="1033"/>
                  <a:pt x="2535" y="1032"/>
                  <a:pt x="2536" y="1031"/>
                </a:cubicBezTo>
                <a:cubicBezTo>
                  <a:pt x="2540" y="1025"/>
                  <a:pt x="2546" y="1021"/>
                  <a:pt x="2554" y="1019"/>
                </a:cubicBezTo>
                <a:cubicBezTo>
                  <a:pt x="2557" y="1019"/>
                  <a:pt x="2560" y="1017"/>
                  <a:pt x="2562" y="1015"/>
                </a:cubicBezTo>
                <a:cubicBezTo>
                  <a:pt x="2562" y="1014"/>
                  <a:pt x="2563" y="1014"/>
                  <a:pt x="2563" y="1014"/>
                </a:cubicBezTo>
                <a:cubicBezTo>
                  <a:pt x="2566" y="1013"/>
                  <a:pt x="2568" y="1011"/>
                  <a:pt x="2570" y="1009"/>
                </a:cubicBezTo>
                <a:cubicBezTo>
                  <a:pt x="2577" y="1002"/>
                  <a:pt x="2589" y="1001"/>
                  <a:pt x="2597" y="1008"/>
                </a:cubicBezTo>
                <a:cubicBezTo>
                  <a:pt x="2599" y="1010"/>
                  <a:pt x="2602" y="1012"/>
                  <a:pt x="2604" y="1014"/>
                </a:cubicBezTo>
                <a:cubicBezTo>
                  <a:pt x="2606" y="1015"/>
                  <a:pt x="2607" y="1017"/>
                  <a:pt x="2608" y="1019"/>
                </a:cubicBezTo>
                <a:cubicBezTo>
                  <a:pt x="2609" y="1020"/>
                  <a:pt x="2610" y="1020"/>
                  <a:pt x="2611" y="1019"/>
                </a:cubicBezTo>
                <a:cubicBezTo>
                  <a:pt x="2612" y="1019"/>
                  <a:pt x="2612" y="1018"/>
                  <a:pt x="2613" y="1017"/>
                </a:cubicBezTo>
                <a:cubicBezTo>
                  <a:pt x="2615" y="1014"/>
                  <a:pt x="2618" y="1014"/>
                  <a:pt x="2619" y="1017"/>
                </a:cubicBezTo>
                <a:cubicBezTo>
                  <a:pt x="2621" y="1021"/>
                  <a:pt x="2621" y="1023"/>
                  <a:pt x="2622" y="1026"/>
                </a:cubicBezTo>
                <a:cubicBezTo>
                  <a:pt x="2623" y="1031"/>
                  <a:pt x="2622" y="1035"/>
                  <a:pt x="2621" y="1040"/>
                </a:cubicBezTo>
                <a:cubicBezTo>
                  <a:pt x="2618" y="1046"/>
                  <a:pt x="2614" y="1049"/>
                  <a:pt x="2607" y="1049"/>
                </a:cubicBezTo>
                <a:cubicBezTo>
                  <a:pt x="2606" y="1049"/>
                  <a:pt x="2606" y="1049"/>
                  <a:pt x="2605" y="1049"/>
                </a:cubicBezTo>
                <a:cubicBezTo>
                  <a:pt x="2603" y="1049"/>
                  <a:pt x="2601" y="1049"/>
                  <a:pt x="2601" y="1052"/>
                </a:cubicBezTo>
                <a:cubicBezTo>
                  <a:pt x="2599" y="1056"/>
                  <a:pt x="2594" y="1058"/>
                  <a:pt x="2590" y="1055"/>
                </a:cubicBezTo>
                <a:cubicBezTo>
                  <a:pt x="2589" y="1053"/>
                  <a:pt x="2588" y="1053"/>
                  <a:pt x="2587" y="1051"/>
                </a:cubicBezTo>
                <a:cubicBezTo>
                  <a:pt x="2586" y="1052"/>
                  <a:pt x="2586" y="1052"/>
                  <a:pt x="2586" y="1052"/>
                </a:cubicBezTo>
                <a:close/>
                <a:moveTo>
                  <a:pt x="2581" y="1047"/>
                </a:moveTo>
                <a:cubicBezTo>
                  <a:pt x="2584" y="1049"/>
                  <a:pt x="2588" y="1050"/>
                  <a:pt x="2590" y="1053"/>
                </a:cubicBezTo>
                <a:cubicBezTo>
                  <a:pt x="2592" y="1055"/>
                  <a:pt x="2594" y="1055"/>
                  <a:pt x="2596" y="1055"/>
                </a:cubicBezTo>
                <a:cubicBezTo>
                  <a:pt x="2599" y="1054"/>
                  <a:pt x="2600" y="1052"/>
                  <a:pt x="2600" y="1049"/>
                </a:cubicBezTo>
                <a:cubicBezTo>
                  <a:pt x="2600" y="1049"/>
                  <a:pt x="2599" y="1049"/>
                  <a:pt x="2599" y="1049"/>
                </a:cubicBezTo>
                <a:cubicBezTo>
                  <a:pt x="2599" y="1051"/>
                  <a:pt x="2597" y="1052"/>
                  <a:pt x="2597" y="1053"/>
                </a:cubicBezTo>
                <a:cubicBezTo>
                  <a:pt x="2596" y="1054"/>
                  <a:pt x="2594" y="1054"/>
                  <a:pt x="2594" y="1053"/>
                </a:cubicBezTo>
                <a:cubicBezTo>
                  <a:pt x="2593" y="1053"/>
                  <a:pt x="2592" y="1052"/>
                  <a:pt x="2592" y="1051"/>
                </a:cubicBezTo>
                <a:cubicBezTo>
                  <a:pt x="2592" y="1049"/>
                  <a:pt x="2593" y="1047"/>
                  <a:pt x="2593" y="1045"/>
                </a:cubicBezTo>
                <a:cubicBezTo>
                  <a:pt x="2596" y="1046"/>
                  <a:pt x="2599" y="1047"/>
                  <a:pt x="2603" y="1047"/>
                </a:cubicBezTo>
                <a:cubicBezTo>
                  <a:pt x="2610" y="1049"/>
                  <a:pt x="2616" y="1047"/>
                  <a:pt x="2619" y="1038"/>
                </a:cubicBezTo>
                <a:cubicBezTo>
                  <a:pt x="2621" y="1034"/>
                  <a:pt x="2621" y="1029"/>
                  <a:pt x="2620" y="1024"/>
                </a:cubicBezTo>
                <a:cubicBezTo>
                  <a:pt x="2619" y="1022"/>
                  <a:pt x="2619" y="1020"/>
                  <a:pt x="2618" y="1018"/>
                </a:cubicBezTo>
                <a:cubicBezTo>
                  <a:pt x="2617" y="1017"/>
                  <a:pt x="2616" y="1016"/>
                  <a:pt x="2615" y="1018"/>
                </a:cubicBezTo>
                <a:cubicBezTo>
                  <a:pt x="2613" y="1019"/>
                  <a:pt x="2612" y="1021"/>
                  <a:pt x="2610" y="1022"/>
                </a:cubicBezTo>
                <a:cubicBezTo>
                  <a:pt x="2609" y="1022"/>
                  <a:pt x="2608" y="1023"/>
                  <a:pt x="2608" y="1024"/>
                </a:cubicBezTo>
                <a:cubicBezTo>
                  <a:pt x="2609" y="1027"/>
                  <a:pt x="2608" y="1030"/>
                  <a:pt x="2607" y="1034"/>
                </a:cubicBezTo>
                <a:cubicBezTo>
                  <a:pt x="2607" y="1032"/>
                  <a:pt x="2608" y="1030"/>
                  <a:pt x="2608" y="1028"/>
                </a:cubicBezTo>
                <a:cubicBezTo>
                  <a:pt x="2608" y="1027"/>
                  <a:pt x="2607" y="1027"/>
                  <a:pt x="2607" y="1026"/>
                </a:cubicBezTo>
                <a:cubicBezTo>
                  <a:pt x="2606" y="1027"/>
                  <a:pt x="2606" y="1027"/>
                  <a:pt x="2606" y="1027"/>
                </a:cubicBezTo>
                <a:cubicBezTo>
                  <a:pt x="2605" y="1028"/>
                  <a:pt x="2604" y="1030"/>
                  <a:pt x="2603" y="1031"/>
                </a:cubicBezTo>
                <a:cubicBezTo>
                  <a:pt x="2603" y="1031"/>
                  <a:pt x="2603" y="1031"/>
                  <a:pt x="2603" y="1031"/>
                </a:cubicBezTo>
                <a:cubicBezTo>
                  <a:pt x="2603" y="1030"/>
                  <a:pt x="2604" y="1028"/>
                  <a:pt x="2604" y="1026"/>
                </a:cubicBezTo>
                <a:cubicBezTo>
                  <a:pt x="2603" y="1026"/>
                  <a:pt x="2603" y="1027"/>
                  <a:pt x="2602" y="1028"/>
                </a:cubicBezTo>
                <a:cubicBezTo>
                  <a:pt x="2601" y="1028"/>
                  <a:pt x="2601" y="1029"/>
                  <a:pt x="2601" y="1030"/>
                </a:cubicBezTo>
                <a:cubicBezTo>
                  <a:pt x="2601" y="1026"/>
                  <a:pt x="2601" y="1026"/>
                  <a:pt x="2607" y="1025"/>
                </a:cubicBezTo>
                <a:cubicBezTo>
                  <a:pt x="2607" y="1025"/>
                  <a:pt x="2606" y="1024"/>
                  <a:pt x="2606" y="1024"/>
                </a:cubicBezTo>
                <a:cubicBezTo>
                  <a:pt x="2603" y="1025"/>
                  <a:pt x="2603" y="1023"/>
                  <a:pt x="2602" y="1021"/>
                </a:cubicBezTo>
                <a:cubicBezTo>
                  <a:pt x="2604" y="1020"/>
                  <a:pt x="2605" y="1020"/>
                  <a:pt x="2607" y="1019"/>
                </a:cubicBezTo>
                <a:cubicBezTo>
                  <a:pt x="2605" y="1017"/>
                  <a:pt x="2604" y="1014"/>
                  <a:pt x="2601" y="1014"/>
                </a:cubicBezTo>
                <a:cubicBezTo>
                  <a:pt x="2600" y="1014"/>
                  <a:pt x="2600" y="1013"/>
                  <a:pt x="2600" y="1013"/>
                </a:cubicBezTo>
                <a:cubicBezTo>
                  <a:pt x="2597" y="1011"/>
                  <a:pt x="2595" y="1009"/>
                  <a:pt x="2592" y="1007"/>
                </a:cubicBezTo>
                <a:cubicBezTo>
                  <a:pt x="2590" y="1006"/>
                  <a:pt x="2587" y="1005"/>
                  <a:pt x="2585" y="1005"/>
                </a:cubicBezTo>
                <a:cubicBezTo>
                  <a:pt x="2582" y="1005"/>
                  <a:pt x="2579" y="1006"/>
                  <a:pt x="2576" y="1007"/>
                </a:cubicBezTo>
                <a:cubicBezTo>
                  <a:pt x="2573" y="1008"/>
                  <a:pt x="2570" y="1010"/>
                  <a:pt x="2568" y="1013"/>
                </a:cubicBezTo>
                <a:cubicBezTo>
                  <a:pt x="2570" y="1013"/>
                  <a:pt x="2571" y="1013"/>
                  <a:pt x="2572" y="1013"/>
                </a:cubicBezTo>
                <a:cubicBezTo>
                  <a:pt x="2572" y="1013"/>
                  <a:pt x="2571" y="1014"/>
                  <a:pt x="2570" y="1014"/>
                </a:cubicBezTo>
                <a:cubicBezTo>
                  <a:pt x="2568" y="1015"/>
                  <a:pt x="2565" y="1014"/>
                  <a:pt x="2563" y="1016"/>
                </a:cubicBezTo>
                <a:cubicBezTo>
                  <a:pt x="2560" y="1020"/>
                  <a:pt x="2556" y="1024"/>
                  <a:pt x="2552" y="1028"/>
                </a:cubicBezTo>
                <a:cubicBezTo>
                  <a:pt x="2551" y="1030"/>
                  <a:pt x="2550" y="1032"/>
                  <a:pt x="2549" y="1035"/>
                </a:cubicBezTo>
                <a:cubicBezTo>
                  <a:pt x="2549" y="1035"/>
                  <a:pt x="2549" y="1036"/>
                  <a:pt x="2549" y="1036"/>
                </a:cubicBezTo>
                <a:cubicBezTo>
                  <a:pt x="2550" y="1038"/>
                  <a:pt x="2552" y="1040"/>
                  <a:pt x="2553" y="1042"/>
                </a:cubicBezTo>
                <a:cubicBezTo>
                  <a:pt x="2554" y="1041"/>
                  <a:pt x="2556" y="1039"/>
                  <a:pt x="2557" y="1038"/>
                </a:cubicBezTo>
                <a:cubicBezTo>
                  <a:pt x="2556" y="1039"/>
                  <a:pt x="2556" y="1040"/>
                  <a:pt x="2555" y="1042"/>
                </a:cubicBezTo>
                <a:cubicBezTo>
                  <a:pt x="2554" y="1043"/>
                  <a:pt x="2554" y="1044"/>
                  <a:pt x="2553" y="1046"/>
                </a:cubicBezTo>
                <a:cubicBezTo>
                  <a:pt x="2553" y="1047"/>
                  <a:pt x="2553" y="1048"/>
                  <a:pt x="2554" y="1049"/>
                </a:cubicBezTo>
                <a:cubicBezTo>
                  <a:pt x="2556" y="1052"/>
                  <a:pt x="2559" y="1052"/>
                  <a:pt x="2563" y="1050"/>
                </a:cubicBezTo>
                <a:cubicBezTo>
                  <a:pt x="2565" y="1049"/>
                  <a:pt x="2568" y="1047"/>
                  <a:pt x="2571" y="1047"/>
                </a:cubicBezTo>
                <a:cubicBezTo>
                  <a:pt x="2572" y="1046"/>
                  <a:pt x="2574" y="1045"/>
                  <a:pt x="2574" y="1044"/>
                </a:cubicBezTo>
                <a:cubicBezTo>
                  <a:pt x="2574" y="1041"/>
                  <a:pt x="2574" y="1037"/>
                  <a:pt x="2574" y="1034"/>
                </a:cubicBezTo>
                <a:cubicBezTo>
                  <a:pt x="2574" y="1031"/>
                  <a:pt x="2574" y="1028"/>
                  <a:pt x="2574" y="1025"/>
                </a:cubicBezTo>
                <a:cubicBezTo>
                  <a:pt x="2574" y="1028"/>
                  <a:pt x="2575" y="1030"/>
                  <a:pt x="2575" y="1033"/>
                </a:cubicBezTo>
                <a:cubicBezTo>
                  <a:pt x="2576" y="1038"/>
                  <a:pt x="2576" y="1042"/>
                  <a:pt x="2575" y="1046"/>
                </a:cubicBezTo>
                <a:cubicBezTo>
                  <a:pt x="2574" y="1047"/>
                  <a:pt x="2574" y="1048"/>
                  <a:pt x="2573" y="1048"/>
                </a:cubicBezTo>
                <a:cubicBezTo>
                  <a:pt x="2570" y="1048"/>
                  <a:pt x="2566" y="1050"/>
                  <a:pt x="2563" y="1052"/>
                </a:cubicBezTo>
                <a:cubicBezTo>
                  <a:pt x="2558" y="1055"/>
                  <a:pt x="2555" y="1053"/>
                  <a:pt x="2551" y="1049"/>
                </a:cubicBezTo>
                <a:cubicBezTo>
                  <a:pt x="2551" y="1049"/>
                  <a:pt x="2551" y="1047"/>
                  <a:pt x="2551" y="1047"/>
                </a:cubicBezTo>
                <a:cubicBezTo>
                  <a:pt x="2552" y="1045"/>
                  <a:pt x="2551" y="1043"/>
                  <a:pt x="2550" y="1041"/>
                </a:cubicBezTo>
                <a:cubicBezTo>
                  <a:pt x="2548" y="1039"/>
                  <a:pt x="2546" y="1036"/>
                  <a:pt x="2548" y="1034"/>
                </a:cubicBezTo>
                <a:cubicBezTo>
                  <a:pt x="2548" y="1032"/>
                  <a:pt x="2549" y="1030"/>
                  <a:pt x="2550" y="1028"/>
                </a:cubicBezTo>
                <a:cubicBezTo>
                  <a:pt x="2552" y="1026"/>
                  <a:pt x="2554" y="1023"/>
                  <a:pt x="2556" y="1021"/>
                </a:cubicBezTo>
                <a:cubicBezTo>
                  <a:pt x="2556" y="1021"/>
                  <a:pt x="2555" y="1021"/>
                  <a:pt x="2555" y="1021"/>
                </a:cubicBezTo>
                <a:cubicBezTo>
                  <a:pt x="2550" y="1022"/>
                  <a:pt x="2546" y="1023"/>
                  <a:pt x="2542" y="1026"/>
                </a:cubicBezTo>
                <a:cubicBezTo>
                  <a:pt x="2537" y="1031"/>
                  <a:pt x="2534" y="1036"/>
                  <a:pt x="2534" y="1043"/>
                </a:cubicBezTo>
                <a:cubicBezTo>
                  <a:pt x="2534" y="1049"/>
                  <a:pt x="2536" y="1055"/>
                  <a:pt x="2539" y="1061"/>
                </a:cubicBezTo>
                <a:cubicBezTo>
                  <a:pt x="2540" y="1062"/>
                  <a:pt x="2541" y="1064"/>
                  <a:pt x="2540" y="1065"/>
                </a:cubicBezTo>
                <a:cubicBezTo>
                  <a:pt x="2540" y="1066"/>
                  <a:pt x="2540" y="1068"/>
                  <a:pt x="2539" y="1069"/>
                </a:cubicBezTo>
                <a:cubicBezTo>
                  <a:pt x="2539" y="1071"/>
                  <a:pt x="2539" y="1072"/>
                  <a:pt x="2540" y="1072"/>
                </a:cubicBezTo>
                <a:cubicBezTo>
                  <a:pt x="2543" y="1073"/>
                  <a:pt x="2546" y="1074"/>
                  <a:pt x="2549" y="1074"/>
                </a:cubicBezTo>
                <a:cubicBezTo>
                  <a:pt x="2550" y="1074"/>
                  <a:pt x="2550" y="1073"/>
                  <a:pt x="2550" y="1073"/>
                </a:cubicBezTo>
                <a:cubicBezTo>
                  <a:pt x="2551" y="1072"/>
                  <a:pt x="2551" y="1070"/>
                  <a:pt x="2552" y="1069"/>
                </a:cubicBezTo>
                <a:cubicBezTo>
                  <a:pt x="2554" y="1067"/>
                  <a:pt x="2554" y="1064"/>
                  <a:pt x="2554" y="1061"/>
                </a:cubicBezTo>
                <a:cubicBezTo>
                  <a:pt x="2554" y="1061"/>
                  <a:pt x="2554" y="1061"/>
                  <a:pt x="2554" y="1060"/>
                </a:cubicBezTo>
                <a:cubicBezTo>
                  <a:pt x="2554" y="1060"/>
                  <a:pt x="2554" y="1060"/>
                  <a:pt x="2554" y="1059"/>
                </a:cubicBezTo>
                <a:cubicBezTo>
                  <a:pt x="2554" y="1062"/>
                  <a:pt x="2556" y="1062"/>
                  <a:pt x="2557" y="1062"/>
                </a:cubicBezTo>
                <a:cubicBezTo>
                  <a:pt x="2558" y="1062"/>
                  <a:pt x="2559" y="1062"/>
                  <a:pt x="2560" y="1062"/>
                </a:cubicBezTo>
                <a:cubicBezTo>
                  <a:pt x="2563" y="1062"/>
                  <a:pt x="2566" y="1063"/>
                  <a:pt x="2566" y="1059"/>
                </a:cubicBezTo>
                <a:cubicBezTo>
                  <a:pt x="2566" y="1061"/>
                  <a:pt x="2566" y="1063"/>
                  <a:pt x="2566" y="1063"/>
                </a:cubicBezTo>
                <a:cubicBezTo>
                  <a:pt x="2565" y="1064"/>
                  <a:pt x="2564" y="1065"/>
                  <a:pt x="2563" y="1065"/>
                </a:cubicBezTo>
                <a:cubicBezTo>
                  <a:pt x="2561" y="1066"/>
                  <a:pt x="2561" y="1068"/>
                  <a:pt x="2561" y="1068"/>
                </a:cubicBezTo>
                <a:cubicBezTo>
                  <a:pt x="2563" y="1071"/>
                  <a:pt x="2564" y="1073"/>
                  <a:pt x="2565" y="1075"/>
                </a:cubicBezTo>
                <a:cubicBezTo>
                  <a:pt x="2567" y="1076"/>
                  <a:pt x="2569" y="1076"/>
                  <a:pt x="2570" y="1074"/>
                </a:cubicBezTo>
                <a:cubicBezTo>
                  <a:pt x="2571" y="1073"/>
                  <a:pt x="2572" y="1072"/>
                  <a:pt x="2572" y="1072"/>
                </a:cubicBezTo>
                <a:cubicBezTo>
                  <a:pt x="2574" y="1070"/>
                  <a:pt x="2576" y="1069"/>
                  <a:pt x="2577" y="1068"/>
                </a:cubicBezTo>
                <a:cubicBezTo>
                  <a:pt x="2581" y="1064"/>
                  <a:pt x="2583" y="1058"/>
                  <a:pt x="2585" y="1052"/>
                </a:cubicBezTo>
                <a:cubicBezTo>
                  <a:pt x="2585" y="1051"/>
                  <a:pt x="2584" y="1051"/>
                  <a:pt x="2584" y="1050"/>
                </a:cubicBezTo>
                <a:cubicBezTo>
                  <a:pt x="2583" y="1049"/>
                  <a:pt x="2582" y="1048"/>
                  <a:pt x="2581" y="1047"/>
                </a:cubicBezTo>
                <a:close/>
                <a:moveTo>
                  <a:pt x="2534" y="1054"/>
                </a:moveTo>
                <a:cubicBezTo>
                  <a:pt x="2533" y="1055"/>
                  <a:pt x="2531" y="1055"/>
                  <a:pt x="2530" y="1057"/>
                </a:cubicBezTo>
                <a:cubicBezTo>
                  <a:pt x="2530" y="1057"/>
                  <a:pt x="2529" y="1058"/>
                  <a:pt x="2529" y="1059"/>
                </a:cubicBezTo>
                <a:cubicBezTo>
                  <a:pt x="2529" y="1061"/>
                  <a:pt x="2534" y="1066"/>
                  <a:pt x="2537" y="1065"/>
                </a:cubicBezTo>
                <a:cubicBezTo>
                  <a:pt x="2538" y="1065"/>
                  <a:pt x="2539" y="1064"/>
                  <a:pt x="2538" y="1063"/>
                </a:cubicBezTo>
                <a:cubicBezTo>
                  <a:pt x="2537" y="1059"/>
                  <a:pt x="2535" y="1057"/>
                  <a:pt x="2534" y="1054"/>
                </a:cubicBezTo>
                <a:close/>
                <a:moveTo>
                  <a:pt x="2586" y="1056"/>
                </a:moveTo>
                <a:cubicBezTo>
                  <a:pt x="2584" y="1061"/>
                  <a:pt x="2581" y="1065"/>
                  <a:pt x="2579" y="1069"/>
                </a:cubicBezTo>
                <a:cubicBezTo>
                  <a:pt x="2582" y="1069"/>
                  <a:pt x="2584" y="1070"/>
                  <a:pt x="2587" y="1069"/>
                </a:cubicBezTo>
                <a:cubicBezTo>
                  <a:pt x="2587" y="1069"/>
                  <a:pt x="2588" y="1068"/>
                  <a:pt x="2588" y="1068"/>
                </a:cubicBezTo>
                <a:cubicBezTo>
                  <a:pt x="2588" y="1065"/>
                  <a:pt x="2588" y="1063"/>
                  <a:pt x="2587" y="1060"/>
                </a:cubicBezTo>
                <a:cubicBezTo>
                  <a:pt x="2587" y="1059"/>
                  <a:pt x="2586" y="1057"/>
                  <a:pt x="2586" y="1056"/>
                </a:cubicBezTo>
                <a:close/>
                <a:moveTo>
                  <a:pt x="2534" y="1036"/>
                </a:moveTo>
                <a:cubicBezTo>
                  <a:pt x="2533" y="1036"/>
                  <a:pt x="2532" y="1036"/>
                  <a:pt x="2532" y="1036"/>
                </a:cubicBezTo>
                <a:cubicBezTo>
                  <a:pt x="2531" y="1036"/>
                  <a:pt x="2530" y="1036"/>
                  <a:pt x="2530" y="1036"/>
                </a:cubicBezTo>
                <a:cubicBezTo>
                  <a:pt x="2530" y="1036"/>
                  <a:pt x="2529" y="1035"/>
                  <a:pt x="2529" y="1034"/>
                </a:cubicBezTo>
                <a:cubicBezTo>
                  <a:pt x="2530" y="1032"/>
                  <a:pt x="2530" y="1030"/>
                  <a:pt x="2531" y="1028"/>
                </a:cubicBezTo>
                <a:cubicBezTo>
                  <a:pt x="2531" y="1028"/>
                  <a:pt x="2531" y="1028"/>
                  <a:pt x="2530" y="1028"/>
                </a:cubicBezTo>
                <a:cubicBezTo>
                  <a:pt x="2530" y="1029"/>
                  <a:pt x="2528" y="1030"/>
                  <a:pt x="2528" y="1031"/>
                </a:cubicBezTo>
                <a:cubicBezTo>
                  <a:pt x="2527" y="1032"/>
                  <a:pt x="2528" y="1037"/>
                  <a:pt x="2530" y="1038"/>
                </a:cubicBezTo>
                <a:cubicBezTo>
                  <a:pt x="2532" y="1039"/>
                  <a:pt x="2534" y="1038"/>
                  <a:pt x="2534" y="1036"/>
                </a:cubicBezTo>
                <a:close/>
                <a:moveTo>
                  <a:pt x="2533" y="1054"/>
                </a:moveTo>
                <a:cubicBezTo>
                  <a:pt x="2532" y="1055"/>
                  <a:pt x="2531" y="1056"/>
                  <a:pt x="2530" y="1057"/>
                </a:cubicBezTo>
                <a:cubicBezTo>
                  <a:pt x="2529" y="1057"/>
                  <a:pt x="2529" y="1058"/>
                  <a:pt x="2529" y="1059"/>
                </a:cubicBezTo>
                <a:cubicBezTo>
                  <a:pt x="2529" y="1062"/>
                  <a:pt x="2533" y="1066"/>
                  <a:pt x="2536" y="1066"/>
                </a:cubicBezTo>
                <a:cubicBezTo>
                  <a:pt x="2538" y="1066"/>
                  <a:pt x="2539" y="1064"/>
                  <a:pt x="2538" y="1063"/>
                </a:cubicBezTo>
                <a:cubicBezTo>
                  <a:pt x="2536" y="1060"/>
                  <a:pt x="2535" y="1057"/>
                  <a:pt x="2533" y="1054"/>
                </a:cubicBezTo>
                <a:close/>
                <a:moveTo>
                  <a:pt x="2586" y="1056"/>
                </a:moveTo>
                <a:cubicBezTo>
                  <a:pt x="2584" y="1061"/>
                  <a:pt x="2581" y="1065"/>
                  <a:pt x="2579" y="1069"/>
                </a:cubicBezTo>
                <a:cubicBezTo>
                  <a:pt x="2582" y="1069"/>
                  <a:pt x="2584" y="1070"/>
                  <a:pt x="2587" y="1069"/>
                </a:cubicBezTo>
                <a:cubicBezTo>
                  <a:pt x="2587" y="1069"/>
                  <a:pt x="2588" y="1068"/>
                  <a:pt x="2588" y="1068"/>
                </a:cubicBezTo>
                <a:cubicBezTo>
                  <a:pt x="2588" y="1065"/>
                  <a:pt x="2588" y="1063"/>
                  <a:pt x="2587" y="1060"/>
                </a:cubicBezTo>
                <a:cubicBezTo>
                  <a:pt x="2587" y="1059"/>
                  <a:pt x="2586" y="1057"/>
                  <a:pt x="2586" y="1056"/>
                </a:cubicBezTo>
                <a:close/>
                <a:moveTo>
                  <a:pt x="2533" y="1036"/>
                </a:moveTo>
                <a:cubicBezTo>
                  <a:pt x="2533" y="1036"/>
                  <a:pt x="2532" y="1037"/>
                  <a:pt x="2531" y="1037"/>
                </a:cubicBezTo>
                <a:cubicBezTo>
                  <a:pt x="2531" y="1037"/>
                  <a:pt x="2530" y="1037"/>
                  <a:pt x="2530" y="1036"/>
                </a:cubicBezTo>
                <a:cubicBezTo>
                  <a:pt x="2529" y="1036"/>
                  <a:pt x="2529" y="1035"/>
                  <a:pt x="2529" y="1034"/>
                </a:cubicBezTo>
                <a:cubicBezTo>
                  <a:pt x="2530" y="1032"/>
                  <a:pt x="2530" y="1030"/>
                  <a:pt x="2531" y="1028"/>
                </a:cubicBezTo>
                <a:cubicBezTo>
                  <a:pt x="2531" y="1028"/>
                  <a:pt x="2531" y="1028"/>
                  <a:pt x="2530" y="1028"/>
                </a:cubicBezTo>
                <a:cubicBezTo>
                  <a:pt x="2529" y="1029"/>
                  <a:pt x="2528" y="1030"/>
                  <a:pt x="2527" y="1031"/>
                </a:cubicBezTo>
                <a:cubicBezTo>
                  <a:pt x="2527" y="1032"/>
                  <a:pt x="2528" y="1037"/>
                  <a:pt x="2530" y="1038"/>
                </a:cubicBezTo>
                <a:cubicBezTo>
                  <a:pt x="2531" y="1039"/>
                  <a:pt x="2533" y="1038"/>
                  <a:pt x="2533" y="1036"/>
                </a:cubicBezTo>
                <a:close/>
                <a:moveTo>
                  <a:pt x="2586" y="1028"/>
                </a:moveTo>
                <a:cubicBezTo>
                  <a:pt x="2589" y="1024"/>
                  <a:pt x="2589" y="1024"/>
                  <a:pt x="2593" y="1023"/>
                </a:cubicBezTo>
                <a:cubicBezTo>
                  <a:pt x="2593" y="1025"/>
                  <a:pt x="2594" y="1026"/>
                  <a:pt x="2595" y="1026"/>
                </a:cubicBezTo>
                <a:cubicBezTo>
                  <a:pt x="2593" y="1027"/>
                  <a:pt x="2591" y="1029"/>
                  <a:pt x="2589" y="1030"/>
                </a:cubicBezTo>
                <a:cubicBezTo>
                  <a:pt x="2588" y="1029"/>
                  <a:pt x="2588" y="1028"/>
                  <a:pt x="2587" y="1027"/>
                </a:cubicBezTo>
                <a:cubicBezTo>
                  <a:pt x="2587" y="1027"/>
                  <a:pt x="2586" y="1027"/>
                  <a:pt x="2586" y="1028"/>
                </a:cubicBezTo>
                <a:close/>
                <a:moveTo>
                  <a:pt x="2591" y="1027"/>
                </a:moveTo>
                <a:cubicBezTo>
                  <a:pt x="2591" y="1027"/>
                  <a:pt x="2590" y="1026"/>
                  <a:pt x="2589" y="1026"/>
                </a:cubicBezTo>
                <a:cubicBezTo>
                  <a:pt x="2589" y="1026"/>
                  <a:pt x="2588" y="1027"/>
                  <a:pt x="2588" y="1028"/>
                </a:cubicBezTo>
                <a:cubicBezTo>
                  <a:pt x="2588" y="1028"/>
                  <a:pt x="2589" y="1028"/>
                  <a:pt x="2589" y="1029"/>
                </a:cubicBezTo>
                <a:cubicBezTo>
                  <a:pt x="2590" y="1028"/>
                  <a:pt x="2590" y="1028"/>
                  <a:pt x="2591" y="1027"/>
                </a:cubicBezTo>
                <a:close/>
                <a:moveTo>
                  <a:pt x="2573" y="1018"/>
                </a:moveTo>
                <a:cubicBezTo>
                  <a:pt x="2566" y="1017"/>
                  <a:pt x="2563" y="1019"/>
                  <a:pt x="2562" y="1027"/>
                </a:cubicBezTo>
                <a:cubicBezTo>
                  <a:pt x="2563" y="1025"/>
                  <a:pt x="2564" y="1023"/>
                  <a:pt x="2566" y="1020"/>
                </a:cubicBezTo>
                <a:cubicBezTo>
                  <a:pt x="2566" y="1020"/>
                  <a:pt x="2566" y="1020"/>
                  <a:pt x="2566" y="1020"/>
                </a:cubicBezTo>
                <a:cubicBezTo>
                  <a:pt x="2566" y="1022"/>
                  <a:pt x="2566" y="1022"/>
                  <a:pt x="2566" y="1023"/>
                </a:cubicBezTo>
                <a:cubicBezTo>
                  <a:pt x="2568" y="1020"/>
                  <a:pt x="2569" y="1018"/>
                  <a:pt x="2573" y="1018"/>
                </a:cubicBezTo>
                <a:close/>
                <a:moveTo>
                  <a:pt x="2616" y="1019"/>
                </a:moveTo>
                <a:cubicBezTo>
                  <a:pt x="2614" y="1020"/>
                  <a:pt x="2612" y="1022"/>
                  <a:pt x="2611" y="1023"/>
                </a:cubicBezTo>
                <a:cubicBezTo>
                  <a:pt x="2613" y="1024"/>
                  <a:pt x="2615" y="1022"/>
                  <a:pt x="2616" y="1019"/>
                </a:cubicBezTo>
                <a:close/>
                <a:moveTo>
                  <a:pt x="2583" y="1021"/>
                </a:moveTo>
                <a:cubicBezTo>
                  <a:pt x="2584" y="1020"/>
                  <a:pt x="2585" y="1019"/>
                  <a:pt x="2587" y="1017"/>
                </a:cubicBezTo>
                <a:cubicBezTo>
                  <a:pt x="2583" y="1019"/>
                  <a:pt x="2582" y="1019"/>
                  <a:pt x="2583" y="1021"/>
                </a:cubicBezTo>
                <a:close/>
                <a:moveTo>
                  <a:pt x="2593" y="1042"/>
                </a:moveTo>
                <a:cubicBezTo>
                  <a:pt x="2591" y="1043"/>
                  <a:pt x="2590" y="1044"/>
                  <a:pt x="2590" y="1044"/>
                </a:cubicBezTo>
                <a:cubicBezTo>
                  <a:pt x="2591" y="1044"/>
                  <a:pt x="2592" y="1043"/>
                  <a:pt x="2593" y="1042"/>
                </a:cubicBezTo>
                <a:close/>
                <a:moveTo>
                  <a:pt x="2591" y="1027"/>
                </a:moveTo>
                <a:cubicBezTo>
                  <a:pt x="2591" y="1027"/>
                  <a:pt x="2590" y="1026"/>
                  <a:pt x="2590" y="1026"/>
                </a:cubicBezTo>
                <a:cubicBezTo>
                  <a:pt x="2589" y="1026"/>
                  <a:pt x="2588" y="1027"/>
                  <a:pt x="2588" y="1027"/>
                </a:cubicBezTo>
                <a:cubicBezTo>
                  <a:pt x="2588" y="1028"/>
                  <a:pt x="2589" y="1028"/>
                  <a:pt x="2589" y="1029"/>
                </a:cubicBezTo>
                <a:cubicBezTo>
                  <a:pt x="2590" y="1028"/>
                  <a:pt x="2590" y="1028"/>
                  <a:pt x="2591" y="1027"/>
                </a:cubicBezTo>
                <a:close/>
                <a:moveTo>
                  <a:pt x="3246" y="1005"/>
                </a:moveTo>
                <a:cubicBezTo>
                  <a:pt x="3246" y="1005"/>
                  <a:pt x="3246" y="1005"/>
                  <a:pt x="3246" y="1005"/>
                </a:cubicBezTo>
                <a:cubicBezTo>
                  <a:pt x="3240" y="1005"/>
                  <a:pt x="3240" y="1005"/>
                  <a:pt x="3240" y="1005"/>
                </a:cubicBezTo>
                <a:cubicBezTo>
                  <a:pt x="3238" y="1006"/>
                  <a:pt x="3237" y="1007"/>
                  <a:pt x="3235" y="1008"/>
                </a:cubicBezTo>
                <a:cubicBezTo>
                  <a:pt x="3233" y="1010"/>
                  <a:pt x="3232" y="1010"/>
                  <a:pt x="3229" y="1011"/>
                </a:cubicBezTo>
                <a:cubicBezTo>
                  <a:pt x="3228" y="1013"/>
                  <a:pt x="3226" y="1013"/>
                  <a:pt x="3224" y="1014"/>
                </a:cubicBezTo>
                <a:cubicBezTo>
                  <a:pt x="3222" y="1015"/>
                  <a:pt x="3220" y="1015"/>
                  <a:pt x="3218" y="1015"/>
                </a:cubicBezTo>
                <a:cubicBezTo>
                  <a:pt x="3218" y="1015"/>
                  <a:pt x="3218" y="1015"/>
                  <a:pt x="3218" y="1026"/>
                </a:cubicBezTo>
                <a:cubicBezTo>
                  <a:pt x="3221" y="1025"/>
                  <a:pt x="3224" y="1024"/>
                  <a:pt x="3227" y="1023"/>
                </a:cubicBezTo>
                <a:cubicBezTo>
                  <a:pt x="3229" y="1022"/>
                  <a:pt x="3232" y="1021"/>
                  <a:pt x="3234" y="1019"/>
                </a:cubicBezTo>
                <a:cubicBezTo>
                  <a:pt x="3234" y="1019"/>
                  <a:pt x="3234" y="1019"/>
                  <a:pt x="3234" y="1078"/>
                </a:cubicBezTo>
                <a:cubicBezTo>
                  <a:pt x="3234" y="1078"/>
                  <a:pt x="3234" y="1078"/>
                  <a:pt x="3246" y="1078"/>
                </a:cubicBezTo>
                <a:cubicBezTo>
                  <a:pt x="3246" y="1078"/>
                  <a:pt x="3246" y="1078"/>
                  <a:pt x="3246" y="1005"/>
                </a:cubicBezTo>
                <a:close/>
                <a:moveTo>
                  <a:pt x="3293" y="1005"/>
                </a:moveTo>
                <a:cubicBezTo>
                  <a:pt x="3293" y="1005"/>
                  <a:pt x="3293" y="1005"/>
                  <a:pt x="3293" y="1005"/>
                </a:cubicBezTo>
                <a:cubicBezTo>
                  <a:pt x="3288" y="1005"/>
                  <a:pt x="3288" y="1005"/>
                  <a:pt x="3288" y="1005"/>
                </a:cubicBezTo>
                <a:cubicBezTo>
                  <a:pt x="3286" y="1006"/>
                  <a:pt x="3284" y="1007"/>
                  <a:pt x="3282" y="1008"/>
                </a:cubicBezTo>
                <a:cubicBezTo>
                  <a:pt x="3281" y="1010"/>
                  <a:pt x="3278" y="1010"/>
                  <a:pt x="3277" y="1011"/>
                </a:cubicBezTo>
                <a:cubicBezTo>
                  <a:pt x="3275" y="1013"/>
                  <a:pt x="3273" y="1013"/>
                  <a:pt x="3272" y="1014"/>
                </a:cubicBezTo>
                <a:cubicBezTo>
                  <a:pt x="3269" y="1015"/>
                  <a:pt x="3268" y="1015"/>
                  <a:pt x="3266" y="1015"/>
                </a:cubicBezTo>
                <a:cubicBezTo>
                  <a:pt x="3266" y="1015"/>
                  <a:pt x="3266" y="1015"/>
                  <a:pt x="3266" y="1026"/>
                </a:cubicBezTo>
                <a:cubicBezTo>
                  <a:pt x="3269" y="1025"/>
                  <a:pt x="3272" y="1024"/>
                  <a:pt x="3274" y="1023"/>
                </a:cubicBezTo>
                <a:cubicBezTo>
                  <a:pt x="3277" y="1022"/>
                  <a:pt x="3279" y="1021"/>
                  <a:pt x="3281" y="1019"/>
                </a:cubicBezTo>
                <a:cubicBezTo>
                  <a:pt x="3281" y="1019"/>
                  <a:pt x="3281" y="1019"/>
                  <a:pt x="3281" y="1078"/>
                </a:cubicBezTo>
                <a:cubicBezTo>
                  <a:pt x="3281" y="1078"/>
                  <a:pt x="3281" y="1078"/>
                  <a:pt x="3293" y="1078"/>
                </a:cubicBezTo>
                <a:cubicBezTo>
                  <a:pt x="3293" y="1078"/>
                  <a:pt x="3293" y="1078"/>
                  <a:pt x="3293" y="1005"/>
                </a:cubicBezTo>
                <a:close/>
                <a:moveTo>
                  <a:pt x="3340" y="1005"/>
                </a:moveTo>
                <a:cubicBezTo>
                  <a:pt x="3340" y="1005"/>
                  <a:pt x="3340" y="1005"/>
                  <a:pt x="3340" y="1005"/>
                </a:cubicBezTo>
                <a:cubicBezTo>
                  <a:pt x="3335" y="1005"/>
                  <a:pt x="3335" y="1005"/>
                  <a:pt x="3335" y="1005"/>
                </a:cubicBezTo>
                <a:cubicBezTo>
                  <a:pt x="3333" y="1006"/>
                  <a:pt x="3332" y="1007"/>
                  <a:pt x="3329" y="1008"/>
                </a:cubicBezTo>
                <a:cubicBezTo>
                  <a:pt x="3328" y="1010"/>
                  <a:pt x="3326" y="1010"/>
                  <a:pt x="3324" y="1011"/>
                </a:cubicBezTo>
                <a:cubicBezTo>
                  <a:pt x="3322" y="1012"/>
                  <a:pt x="3321" y="1013"/>
                  <a:pt x="3318" y="1013"/>
                </a:cubicBezTo>
                <a:cubicBezTo>
                  <a:pt x="3317" y="1014"/>
                  <a:pt x="3315" y="1015"/>
                  <a:pt x="3313" y="1015"/>
                </a:cubicBezTo>
                <a:cubicBezTo>
                  <a:pt x="3313" y="1015"/>
                  <a:pt x="3313" y="1015"/>
                  <a:pt x="3313" y="1026"/>
                </a:cubicBezTo>
                <a:cubicBezTo>
                  <a:pt x="3316" y="1025"/>
                  <a:pt x="3319" y="1023"/>
                  <a:pt x="3321" y="1023"/>
                </a:cubicBezTo>
                <a:cubicBezTo>
                  <a:pt x="3324" y="1022"/>
                  <a:pt x="3326" y="1021"/>
                  <a:pt x="3328" y="1019"/>
                </a:cubicBezTo>
                <a:cubicBezTo>
                  <a:pt x="3328" y="1019"/>
                  <a:pt x="3328" y="1019"/>
                  <a:pt x="3328" y="1078"/>
                </a:cubicBezTo>
                <a:cubicBezTo>
                  <a:pt x="3328" y="1078"/>
                  <a:pt x="3328" y="1078"/>
                  <a:pt x="3340" y="1078"/>
                </a:cubicBezTo>
                <a:cubicBezTo>
                  <a:pt x="3340" y="1078"/>
                  <a:pt x="3340" y="1078"/>
                  <a:pt x="3340" y="1005"/>
                </a:cubicBezTo>
                <a:close/>
                <a:moveTo>
                  <a:pt x="3550" y="909"/>
                </a:moveTo>
                <a:cubicBezTo>
                  <a:pt x="3550" y="909"/>
                  <a:pt x="3550" y="909"/>
                  <a:pt x="3550" y="909"/>
                </a:cubicBezTo>
                <a:cubicBezTo>
                  <a:pt x="3545" y="909"/>
                  <a:pt x="3545" y="909"/>
                  <a:pt x="3545" y="909"/>
                </a:cubicBezTo>
                <a:cubicBezTo>
                  <a:pt x="3543" y="911"/>
                  <a:pt x="3542" y="912"/>
                  <a:pt x="3539" y="913"/>
                </a:cubicBezTo>
                <a:cubicBezTo>
                  <a:pt x="3538" y="915"/>
                  <a:pt x="3536" y="915"/>
                  <a:pt x="3534" y="916"/>
                </a:cubicBezTo>
                <a:cubicBezTo>
                  <a:pt x="3532" y="917"/>
                  <a:pt x="3530" y="917"/>
                  <a:pt x="3529" y="918"/>
                </a:cubicBezTo>
                <a:cubicBezTo>
                  <a:pt x="3527" y="919"/>
                  <a:pt x="3525" y="920"/>
                  <a:pt x="3523" y="920"/>
                </a:cubicBezTo>
                <a:cubicBezTo>
                  <a:pt x="3523" y="920"/>
                  <a:pt x="3523" y="920"/>
                  <a:pt x="3523" y="931"/>
                </a:cubicBezTo>
                <a:cubicBezTo>
                  <a:pt x="3526" y="930"/>
                  <a:pt x="3529" y="928"/>
                  <a:pt x="3531" y="928"/>
                </a:cubicBezTo>
                <a:cubicBezTo>
                  <a:pt x="3534" y="927"/>
                  <a:pt x="3536" y="925"/>
                  <a:pt x="3539" y="924"/>
                </a:cubicBezTo>
                <a:cubicBezTo>
                  <a:pt x="3539" y="924"/>
                  <a:pt x="3539" y="924"/>
                  <a:pt x="3539" y="983"/>
                </a:cubicBezTo>
                <a:cubicBezTo>
                  <a:pt x="3539" y="983"/>
                  <a:pt x="3539" y="983"/>
                  <a:pt x="3550" y="983"/>
                </a:cubicBezTo>
                <a:cubicBezTo>
                  <a:pt x="3550" y="983"/>
                  <a:pt x="3550" y="983"/>
                  <a:pt x="3550" y="909"/>
                </a:cubicBezTo>
                <a:close/>
                <a:moveTo>
                  <a:pt x="3596" y="909"/>
                </a:moveTo>
                <a:cubicBezTo>
                  <a:pt x="3596" y="909"/>
                  <a:pt x="3596" y="909"/>
                  <a:pt x="3596" y="909"/>
                </a:cubicBezTo>
                <a:cubicBezTo>
                  <a:pt x="3591" y="909"/>
                  <a:pt x="3591" y="909"/>
                  <a:pt x="3591" y="909"/>
                </a:cubicBezTo>
                <a:cubicBezTo>
                  <a:pt x="3589" y="911"/>
                  <a:pt x="3588" y="912"/>
                  <a:pt x="3586" y="913"/>
                </a:cubicBezTo>
                <a:cubicBezTo>
                  <a:pt x="3584" y="915"/>
                  <a:pt x="3582" y="915"/>
                  <a:pt x="3581" y="916"/>
                </a:cubicBezTo>
                <a:cubicBezTo>
                  <a:pt x="3579" y="917"/>
                  <a:pt x="3577" y="918"/>
                  <a:pt x="3576" y="919"/>
                </a:cubicBezTo>
                <a:cubicBezTo>
                  <a:pt x="3574" y="920"/>
                  <a:pt x="3572" y="920"/>
                  <a:pt x="3570" y="920"/>
                </a:cubicBezTo>
                <a:cubicBezTo>
                  <a:pt x="3570" y="920"/>
                  <a:pt x="3570" y="920"/>
                  <a:pt x="3570" y="931"/>
                </a:cubicBezTo>
                <a:cubicBezTo>
                  <a:pt x="3573" y="930"/>
                  <a:pt x="3576" y="929"/>
                  <a:pt x="3578" y="928"/>
                </a:cubicBezTo>
                <a:cubicBezTo>
                  <a:pt x="3581" y="927"/>
                  <a:pt x="3583" y="925"/>
                  <a:pt x="3585" y="924"/>
                </a:cubicBezTo>
                <a:cubicBezTo>
                  <a:pt x="3585" y="924"/>
                  <a:pt x="3585" y="924"/>
                  <a:pt x="3585" y="983"/>
                </a:cubicBezTo>
                <a:cubicBezTo>
                  <a:pt x="3585" y="983"/>
                  <a:pt x="3585" y="983"/>
                  <a:pt x="3596" y="983"/>
                </a:cubicBezTo>
                <a:cubicBezTo>
                  <a:pt x="3596" y="983"/>
                  <a:pt x="3596" y="983"/>
                  <a:pt x="3596" y="909"/>
                </a:cubicBezTo>
                <a:close/>
                <a:moveTo>
                  <a:pt x="3643" y="909"/>
                </a:moveTo>
                <a:cubicBezTo>
                  <a:pt x="3643" y="909"/>
                  <a:pt x="3643" y="909"/>
                  <a:pt x="3643" y="909"/>
                </a:cubicBezTo>
                <a:cubicBezTo>
                  <a:pt x="3638" y="909"/>
                  <a:pt x="3638" y="909"/>
                  <a:pt x="3638" y="909"/>
                </a:cubicBezTo>
                <a:cubicBezTo>
                  <a:pt x="3636" y="911"/>
                  <a:pt x="3635" y="912"/>
                  <a:pt x="3632" y="913"/>
                </a:cubicBezTo>
                <a:cubicBezTo>
                  <a:pt x="3631" y="915"/>
                  <a:pt x="3629" y="915"/>
                  <a:pt x="3627" y="916"/>
                </a:cubicBezTo>
                <a:cubicBezTo>
                  <a:pt x="3625" y="917"/>
                  <a:pt x="3624" y="918"/>
                  <a:pt x="3621" y="919"/>
                </a:cubicBezTo>
                <a:cubicBezTo>
                  <a:pt x="3620" y="920"/>
                  <a:pt x="3618" y="920"/>
                  <a:pt x="3616" y="920"/>
                </a:cubicBezTo>
                <a:cubicBezTo>
                  <a:pt x="3616" y="920"/>
                  <a:pt x="3616" y="920"/>
                  <a:pt x="3616" y="931"/>
                </a:cubicBezTo>
                <a:cubicBezTo>
                  <a:pt x="3619" y="930"/>
                  <a:pt x="3622" y="929"/>
                  <a:pt x="3624" y="928"/>
                </a:cubicBezTo>
                <a:cubicBezTo>
                  <a:pt x="3626" y="927"/>
                  <a:pt x="3629" y="925"/>
                  <a:pt x="3631" y="924"/>
                </a:cubicBezTo>
                <a:cubicBezTo>
                  <a:pt x="3631" y="924"/>
                  <a:pt x="3631" y="924"/>
                  <a:pt x="3631" y="983"/>
                </a:cubicBezTo>
                <a:cubicBezTo>
                  <a:pt x="3631" y="983"/>
                  <a:pt x="3631" y="983"/>
                  <a:pt x="3643" y="983"/>
                </a:cubicBezTo>
                <a:cubicBezTo>
                  <a:pt x="3643" y="983"/>
                  <a:pt x="3643" y="983"/>
                  <a:pt x="3643" y="909"/>
                </a:cubicBezTo>
                <a:close/>
                <a:moveTo>
                  <a:pt x="3689" y="909"/>
                </a:moveTo>
                <a:cubicBezTo>
                  <a:pt x="3689" y="909"/>
                  <a:pt x="3689" y="909"/>
                  <a:pt x="3689" y="909"/>
                </a:cubicBezTo>
                <a:cubicBezTo>
                  <a:pt x="3684" y="909"/>
                  <a:pt x="3684" y="909"/>
                  <a:pt x="3684" y="909"/>
                </a:cubicBezTo>
                <a:cubicBezTo>
                  <a:pt x="3682" y="911"/>
                  <a:pt x="3680" y="912"/>
                  <a:pt x="3678" y="913"/>
                </a:cubicBezTo>
                <a:cubicBezTo>
                  <a:pt x="3677" y="915"/>
                  <a:pt x="3675" y="915"/>
                  <a:pt x="3673" y="916"/>
                </a:cubicBezTo>
                <a:cubicBezTo>
                  <a:pt x="3672" y="917"/>
                  <a:pt x="3670" y="918"/>
                  <a:pt x="3668" y="919"/>
                </a:cubicBezTo>
                <a:cubicBezTo>
                  <a:pt x="3666" y="920"/>
                  <a:pt x="3664" y="920"/>
                  <a:pt x="3662" y="920"/>
                </a:cubicBezTo>
                <a:cubicBezTo>
                  <a:pt x="3662" y="920"/>
                  <a:pt x="3662" y="920"/>
                  <a:pt x="3662" y="931"/>
                </a:cubicBezTo>
                <a:cubicBezTo>
                  <a:pt x="3665" y="930"/>
                  <a:pt x="3668" y="929"/>
                  <a:pt x="3670" y="928"/>
                </a:cubicBezTo>
                <a:cubicBezTo>
                  <a:pt x="3673" y="927"/>
                  <a:pt x="3675" y="925"/>
                  <a:pt x="3678" y="924"/>
                </a:cubicBezTo>
                <a:cubicBezTo>
                  <a:pt x="3678" y="924"/>
                  <a:pt x="3678" y="924"/>
                  <a:pt x="3678" y="983"/>
                </a:cubicBezTo>
                <a:cubicBezTo>
                  <a:pt x="3678" y="983"/>
                  <a:pt x="3678" y="983"/>
                  <a:pt x="3689" y="983"/>
                </a:cubicBezTo>
                <a:cubicBezTo>
                  <a:pt x="3689" y="983"/>
                  <a:pt x="3689" y="983"/>
                  <a:pt x="3689" y="909"/>
                </a:cubicBezTo>
                <a:close/>
                <a:moveTo>
                  <a:pt x="3811" y="909"/>
                </a:moveTo>
                <a:cubicBezTo>
                  <a:pt x="3811" y="909"/>
                  <a:pt x="3811" y="909"/>
                  <a:pt x="3811" y="909"/>
                </a:cubicBezTo>
                <a:cubicBezTo>
                  <a:pt x="3806" y="909"/>
                  <a:pt x="3806" y="909"/>
                  <a:pt x="3806" y="909"/>
                </a:cubicBezTo>
                <a:cubicBezTo>
                  <a:pt x="3804" y="911"/>
                  <a:pt x="3802" y="912"/>
                  <a:pt x="3800" y="913"/>
                </a:cubicBezTo>
                <a:cubicBezTo>
                  <a:pt x="3798" y="915"/>
                  <a:pt x="3797" y="915"/>
                  <a:pt x="3795" y="916"/>
                </a:cubicBezTo>
                <a:cubicBezTo>
                  <a:pt x="3793" y="917"/>
                  <a:pt x="3791" y="918"/>
                  <a:pt x="3790" y="919"/>
                </a:cubicBezTo>
                <a:cubicBezTo>
                  <a:pt x="3787" y="920"/>
                  <a:pt x="3786" y="920"/>
                  <a:pt x="3784" y="920"/>
                </a:cubicBezTo>
                <a:cubicBezTo>
                  <a:pt x="3784" y="920"/>
                  <a:pt x="3784" y="920"/>
                  <a:pt x="3784" y="931"/>
                </a:cubicBezTo>
                <a:cubicBezTo>
                  <a:pt x="3787" y="930"/>
                  <a:pt x="3790" y="929"/>
                  <a:pt x="3793" y="928"/>
                </a:cubicBezTo>
                <a:cubicBezTo>
                  <a:pt x="3795" y="927"/>
                  <a:pt x="3797" y="925"/>
                  <a:pt x="3799" y="924"/>
                </a:cubicBezTo>
                <a:cubicBezTo>
                  <a:pt x="3799" y="924"/>
                  <a:pt x="3799" y="924"/>
                  <a:pt x="3799" y="983"/>
                </a:cubicBezTo>
                <a:cubicBezTo>
                  <a:pt x="3799" y="983"/>
                  <a:pt x="3799" y="983"/>
                  <a:pt x="3811" y="983"/>
                </a:cubicBezTo>
                <a:cubicBezTo>
                  <a:pt x="3811" y="983"/>
                  <a:pt x="3811" y="983"/>
                  <a:pt x="3811" y="909"/>
                </a:cubicBezTo>
                <a:close/>
                <a:moveTo>
                  <a:pt x="3858" y="909"/>
                </a:moveTo>
                <a:cubicBezTo>
                  <a:pt x="3858" y="909"/>
                  <a:pt x="3858" y="909"/>
                  <a:pt x="3858" y="909"/>
                </a:cubicBezTo>
                <a:cubicBezTo>
                  <a:pt x="3853" y="909"/>
                  <a:pt x="3853" y="909"/>
                  <a:pt x="3853" y="909"/>
                </a:cubicBezTo>
                <a:cubicBezTo>
                  <a:pt x="3850" y="911"/>
                  <a:pt x="3849" y="912"/>
                  <a:pt x="3847" y="913"/>
                </a:cubicBezTo>
                <a:cubicBezTo>
                  <a:pt x="3845" y="915"/>
                  <a:pt x="3843" y="915"/>
                  <a:pt x="3842" y="916"/>
                </a:cubicBezTo>
                <a:cubicBezTo>
                  <a:pt x="3840" y="917"/>
                  <a:pt x="3838" y="918"/>
                  <a:pt x="3837" y="919"/>
                </a:cubicBezTo>
                <a:cubicBezTo>
                  <a:pt x="3834" y="920"/>
                  <a:pt x="3833" y="920"/>
                  <a:pt x="3831" y="920"/>
                </a:cubicBezTo>
                <a:cubicBezTo>
                  <a:pt x="3831" y="920"/>
                  <a:pt x="3831" y="920"/>
                  <a:pt x="3831" y="931"/>
                </a:cubicBezTo>
                <a:cubicBezTo>
                  <a:pt x="3834" y="930"/>
                  <a:pt x="3837" y="929"/>
                  <a:pt x="3839" y="928"/>
                </a:cubicBezTo>
                <a:cubicBezTo>
                  <a:pt x="3842" y="927"/>
                  <a:pt x="3844" y="925"/>
                  <a:pt x="3846" y="924"/>
                </a:cubicBezTo>
                <a:cubicBezTo>
                  <a:pt x="3846" y="924"/>
                  <a:pt x="3846" y="924"/>
                  <a:pt x="3846" y="983"/>
                </a:cubicBezTo>
                <a:cubicBezTo>
                  <a:pt x="3846" y="983"/>
                  <a:pt x="3846" y="983"/>
                  <a:pt x="3858" y="983"/>
                </a:cubicBezTo>
                <a:cubicBezTo>
                  <a:pt x="3858" y="983"/>
                  <a:pt x="3858" y="983"/>
                  <a:pt x="3858" y="909"/>
                </a:cubicBezTo>
                <a:close/>
                <a:moveTo>
                  <a:pt x="3709" y="942"/>
                </a:moveTo>
                <a:cubicBezTo>
                  <a:pt x="3709" y="942"/>
                  <a:pt x="3709" y="942"/>
                  <a:pt x="3709" y="942"/>
                </a:cubicBezTo>
                <a:cubicBezTo>
                  <a:pt x="3709" y="950"/>
                  <a:pt x="3709" y="950"/>
                  <a:pt x="3709" y="950"/>
                </a:cubicBezTo>
                <a:cubicBezTo>
                  <a:pt x="3715" y="950"/>
                  <a:pt x="3716" y="953"/>
                  <a:pt x="3716" y="956"/>
                </a:cubicBezTo>
                <a:cubicBezTo>
                  <a:pt x="3716" y="958"/>
                  <a:pt x="3716" y="960"/>
                  <a:pt x="3716" y="963"/>
                </a:cubicBezTo>
                <a:cubicBezTo>
                  <a:pt x="3715" y="966"/>
                  <a:pt x="3715" y="968"/>
                  <a:pt x="3715" y="970"/>
                </a:cubicBezTo>
                <a:cubicBezTo>
                  <a:pt x="3715" y="980"/>
                  <a:pt x="3721" y="983"/>
                  <a:pt x="3730" y="983"/>
                </a:cubicBezTo>
                <a:cubicBezTo>
                  <a:pt x="3730" y="983"/>
                  <a:pt x="3730" y="983"/>
                  <a:pt x="3733" y="983"/>
                </a:cubicBezTo>
                <a:cubicBezTo>
                  <a:pt x="3733" y="983"/>
                  <a:pt x="3733" y="983"/>
                  <a:pt x="3733" y="974"/>
                </a:cubicBezTo>
                <a:cubicBezTo>
                  <a:pt x="3733" y="974"/>
                  <a:pt x="3733" y="974"/>
                  <a:pt x="3732" y="974"/>
                </a:cubicBezTo>
                <a:cubicBezTo>
                  <a:pt x="3728" y="974"/>
                  <a:pt x="3727" y="971"/>
                  <a:pt x="3727" y="968"/>
                </a:cubicBezTo>
                <a:cubicBezTo>
                  <a:pt x="3727" y="966"/>
                  <a:pt x="3727" y="965"/>
                  <a:pt x="3727" y="963"/>
                </a:cubicBezTo>
                <a:cubicBezTo>
                  <a:pt x="3727" y="962"/>
                  <a:pt x="3728" y="959"/>
                  <a:pt x="3728" y="957"/>
                </a:cubicBezTo>
                <a:cubicBezTo>
                  <a:pt x="3728" y="950"/>
                  <a:pt x="3725" y="947"/>
                  <a:pt x="3719" y="946"/>
                </a:cubicBezTo>
                <a:cubicBezTo>
                  <a:pt x="3719" y="946"/>
                  <a:pt x="3719" y="946"/>
                  <a:pt x="3719" y="946"/>
                </a:cubicBezTo>
                <a:cubicBezTo>
                  <a:pt x="3725" y="944"/>
                  <a:pt x="3728" y="942"/>
                  <a:pt x="3728" y="935"/>
                </a:cubicBezTo>
                <a:cubicBezTo>
                  <a:pt x="3728" y="932"/>
                  <a:pt x="3727" y="930"/>
                  <a:pt x="3727" y="928"/>
                </a:cubicBezTo>
                <a:cubicBezTo>
                  <a:pt x="3727" y="927"/>
                  <a:pt x="3727" y="925"/>
                  <a:pt x="3727" y="924"/>
                </a:cubicBezTo>
                <a:cubicBezTo>
                  <a:pt x="3727" y="920"/>
                  <a:pt x="3728" y="918"/>
                  <a:pt x="3732" y="918"/>
                </a:cubicBezTo>
                <a:cubicBezTo>
                  <a:pt x="3732" y="918"/>
                  <a:pt x="3732" y="918"/>
                  <a:pt x="3733" y="918"/>
                </a:cubicBezTo>
                <a:cubicBezTo>
                  <a:pt x="3733" y="918"/>
                  <a:pt x="3733" y="918"/>
                  <a:pt x="3733" y="909"/>
                </a:cubicBezTo>
                <a:cubicBezTo>
                  <a:pt x="3733" y="909"/>
                  <a:pt x="3733" y="909"/>
                  <a:pt x="3730" y="909"/>
                </a:cubicBezTo>
                <a:cubicBezTo>
                  <a:pt x="3720" y="909"/>
                  <a:pt x="3715" y="913"/>
                  <a:pt x="3715" y="921"/>
                </a:cubicBezTo>
                <a:cubicBezTo>
                  <a:pt x="3715" y="923"/>
                  <a:pt x="3715" y="926"/>
                  <a:pt x="3715" y="929"/>
                </a:cubicBezTo>
                <a:cubicBezTo>
                  <a:pt x="3716" y="931"/>
                  <a:pt x="3716" y="934"/>
                  <a:pt x="3716" y="935"/>
                </a:cubicBezTo>
                <a:cubicBezTo>
                  <a:pt x="3716" y="938"/>
                  <a:pt x="3715" y="941"/>
                  <a:pt x="3709" y="942"/>
                </a:cubicBezTo>
                <a:close/>
                <a:moveTo>
                  <a:pt x="3764" y="950"/>
                </a:moveTo>
                <a:cubicBezTo>
                  <a:pt x="3764" y="950"/>
                  <a:pt x="3764" y="950"/>
                  <a:pt x="3764" y="950"/>
                </a:cubicBezTo>
                <a:cubicBezTo>
                  <a:pt x="3764" y="942"/>
                  <a:pt x="3764" y="942"/>
                  <a:pt x="3764" y="942"/>
                </a:cubicBezTo>
                <a:cubicBezTo>
                  <a:pt x="3758" y="941"/>
                  <a:pt x="3757" y="938"/>
                  <a:pt x="3757" y="935"/>
                </a:cubicBezTo>
                <a:cubicBezTo>
                  <a:pt x="3757" y="934"/>
                  <a:pt x="3757" y="931"/>
                  <a:pt x="3758" y="929"/>
                </a:cubicBezTo>
                <a:cubicBezTo>
                  <a:pt x="3758" y="926"/>
                  <a:pt x="3758" y="923"/>
                  <a:pt x="3758" y="921"/>
                </a:cubicBezTo>
                <a:cubicBezTo>
                  <a:pt x="3758" y="913"/>
                  <a:pt x="3753" y="909"/>
                  <a:pt x="3744" y="909"/>
                </a:cubicBezTo>
                <a:cubicBezTo>
                  <a:pt x="3744" y="909"/>
                  <a:pt x="3744" y="909"/>
                  <a:pt x="3740" y="909"/>
                </a:cubicBezTo>
                <a:cubicBezTo>
                  <a:pt x="3740" y="909"/>
                  <a:pt x="3740" y="909"/>
                  <a:pt x="3740" y="918"/>
                </a:cubicBezTo>
                <a:cubicBezTo>
                  <a:pt x="3740" y="918"/>
                  <a:pt x="3740" y="918"/>
                  <a:pt x="3741" y="918"/>
                </a:cubicBezTo>
                <a:cubicBezTo>
                  <a:pt x="3745" y="918"/>
                  <a:pt x="3747" y="920"/>
                  <a:pt x="3747" y="924"/>
                </a:cubicBezTo>
                <a:cubicBezTo>
                  <a:pt x="3747" y="925"/>
                  <a:pt x="3746" y="927"/>
                  <a:pt x="3746" y="928"/>
                </a:cubicBezTo>
                <a:cubicBezTo>
                  <a:pt x="3746" y="930"/>
                  <a:pt x="3746" y="932"/>
                  <a:pt x="3746" y="935"/>
                </a:cubicBezTo>
                <a:cubicBezTo>
                  <a:pt x="3746" y="942"/>
                  <a:pt x="3749" y="944"/>
                  <a:pt x="3754" y="946"/>
                </a:cubicBezTo>
                <a:cubicBezTo>
                  <a:pt x="3754" y="946"/>
                  <a:pt x="3754" y="946"/>
                  <a:pt x="3754" y="946"/>
                </a:cubicBezTo>
                <a:cubicBezTo>
                  <a:pt x="3749" y="947"/>
                  <a:pt x="3746" y="950"/>
                  <a:pt x="3746" y="957"/>
                </a:cubicBezTo>
                <a:cubicBezTo>
                  <a:pt x="3746" y="959"/>
                  <a:pt x="3746" y="962"/>
                  <a:pt x="3746" y="963"/>
                </a:cubicBezTo>
                <a:cubicBezTo>
                  <a:pt x="3746" y="965"/>
                  <a:pt x="3747" y="966"/>
                  <a:pt x="3747" y="968"/>
                </a:cubicBezTo>
                <a:cubicBezTo>
                  <a:pt x="3747" y="971"/>
                  <a:pt x="3746" y="974"/>
                  <a:pt x="3741" y="974"/>
                </a:cubicBezTo>
                <a:cubicBezTo>
                  <a:pt x="3741" y="974"/>
                  <a:pt x="3741" y="974"/>
                  <a:pt x="3740" y="974"/>
                </a:cubicBezTo>
                <a:cubicBezTo>
                  <a:pt x="3740" y="974"/>
                  <a:pt x="3740" y="974"/>
                  <a:pt x="3740" y="983"/>
                </a:cubicBezTo>
                <a:cubicBezTo>
                  <a:pt x="3740" y="983"/>
                  <a:pt x="3740" y="983"/>
                  <a:pt x="3744" y="983"/>
                </a:cubicBezTo>
                <a:cubicBezTo>
                  <a:pt x="3753" y="983"/>
                  <a:pt x="3758" y="980"/>
                  <a:pt x="3758" y="970"/>
                </a:cubicBezTo>
                <a:cubicBezTo>
                  <a:pt x="3758" y="968"/>
                  <a:pt x="3758" y="966"/>
                  <a:pt x="3758" y="963"/>
                </a:cubicBezTo>
                <a:cubicBezTo>
                  <a:pt x="3757" y="960"/>
                  <a:pt x="3757" y="958"/>
                  <a:pt x="3757" y="956"/>
                </a:cubicBezTo>
                <a:cubicBezTo>
                  <a:pt x="3757" y="953"/>
                  <a:pt x="3758" y="950"/>
                  <a:pt x="3764" y="950"/>
                </a:cubicBezTo>
                <a:close/>
                <a:moveTo>
                  <a:pt x="3151" y="983"/>
                </a:moveTo>
                <a:cubicBezTo>
                  <a:pt x="3144" y="983"/>
                  <a:pt x="3137" y="980"/>
                  <a:pt x="3133" y="974"/>
                </a:cubicBezTo>
                <a:cubicBezTo>
                  <a:pt x="3129" y="968"/>
                  <a:pt x="3127" y="959"/>
                  <a:pt x="3127" y="946"/>
                </a:cubicBezTo>
                <a:cubicBezTo>
                  <a:pt x="3127" y="933"/>
                  <a:pt x="3129" y="924"/>
                  <a:pt x="3134" y="917"/>
                </a:cubicBezTo>
                <a:cubicBezTo>
                  <a:pt x="3138" y="911"/>
                  <a:pt x="3145" y="907"/>
                  <a:pt x="3153" y="907"/>
                </a:cubicBezTo>
                <a:cubicBezTo>
                  <a:pt x="3169" y="907"/>
                  <a:pt x="3177" y="919"/>
                  <a:pt x="3177" y="945"/>
                </a:cubicBezTo>
                <a:cubicBezTo>
                  <a:pt x="3177" y="957"/>
                  <a:pt x="3175" y="967"/>
                  <a:pt x="3170" y="973"/>
                </a:cubicBezTo>
                <a:cubicBezTo>
                  <a:pt x="3166" y="980"/>
                  <a:pt x="3159" y="983"/>
                  <a:pt x="3151" y="983"/>
                </a:cubicBezTo>
                <a:close/>
                <a:moveTo>
                  <a:pt x="3153" y="917"/>
                </a:moveTo>
                <a:cubicBezTo>
                  <a:pt x="3143" y="917"/>
                  <a:pt x="3139" y="927"/>
                  <a:pt x="3139" y="946"/>
                </a:cubicBezTo>
                <a:cubicBezTo>
                  <a:pt x="3139" y="965"/>
                  <a:pt x="3143" y="973"/>
                  <a:pt x="3152" y="973"/>
                </a:cubicBezTo>
                <a:cubicBezTo>
                  <a:pt x="3161" y="973"/>
                  <a:pt x="3165" y="965"/>
                  <a:pt x="3165" y="946"/>
                </a:cubicBezTo>
                <a:cubicBezTo>
                  <a:pt x="3165" y="926"/>
                  <a:pt x="3161" y="917"/>
                  <a:pt x="3153" y="917"/>
                </a:cubicBezTo>
                <a:close/>
                <a:moveTo>
                  <a:pt x="3221" y="983"/>
                </a:moveTo>
                <a:cubicBezTo>
                  <a:pt x="3214" y="983"/>
                  <a:pt x="3207" y="980"/>
                  <a:pt x="3204" y="974"/>
                </a:cubicBezTo>
                <a:cubicBezTo>
                  <a:pt x="3199" y="968"/>
                  <a:pt x="3197" y="959"/>
                  <a:pt x="3197" y="946"/>
                </a:cubicBezTo>
                <a:cubicBezTo>
                  <a:pt x="3197" y="933"/>
                  <a:pt x="3199" y="924"/>
                  <a:pt x="3204" y="917"/>
                </a:cubicBezTo>
                <a:cubicBezTo>
                  <a:pt x="3208" y="911"/>
                  <a:pt x="3215" y="907"/>
                  <a:pt x="3223" y="907"/>
                </a:cubicBezTo>
                <a:cubicBezTo>
                  <a:pt x="3239" y="907"/>
                  <a:pt x="3248" y="919"/>
                  <a:pt x="3248" y="945"/>
                </a:cubicBezTo>
                <a:cubicBezTo>
                  <a:pt x="3248" y="957"/>
                  <a:pt x="3245" y="967"/>
                  <a:pt x="3241" y="973"/>
                </a:cubicBezTo>
                <a:cubicBezTo>
                  <a:pt x="3236" y="980"/>
                  <a:pt x="3230" y="983"/>
                  <a:pt x="3221" y="983"/>
                </a:cubicBezTo>
                <a:close/>
                <a:moveTo>
                  <a:pt x="3223" y="917"/>
                </a:moveTo>
                <a:cubicBezTo>
                  <a:pt x="3214" y="917"/>
                  <a:pt x="3209" y="927"/>
                  <a:pt x="3209" y="946"/>
                </a:cubicBezTo>
                <a:cubicBezTo>
                  <a:pt x="3209" y="965"/>
                  <a:pt x="3213" y="973"/>
                  <a:pt x="3222" y="973"/>
                </a:cubicBezTo>
                <a:cubicBezTo>
                  <a:pt x="3231" y="973"/>
                  <a:pt x="3235" y="965"/>
                  <a:pt x="3235" y="946"/>
                </a:cubicBezTo>
                <a:cubicBezTo>
                  <a:pt x="3235" y="926"/>
                  <a:pt x="3231" y="917"/>
                  <a:pt x="3223" y="917"/>
                </a:cubicBezTo>
                <a:close/>
                <a:moveTo>
                  <a:pt x="3431" y="983"/>
                </a:moveTo>
                <a:cubicBezTo>
                  <a:pt x="3424" y="983"/>
                  <a:pt x="3418" y="980"/>
                  <a:pt x="3413" y="973"/>
                </a:cubicBezTo>
                <a:cubicBezTo>
                  <a:pt x="3409" y="968"/>
                  <a:pt x="3407" y="958"/>
                  <a:pt x="3407" y="946"/>
                </a:cubicBezTo>
                <a:cubicBezTo>
                  <a:pt x="3407" y="933"/>
                  <a:pt x="3409" y="924"/>
                  <a:pt x="3413" y="917"/>
                </a:cubicBezTo>
                <a:cubicBezTo>
                  <a:pt x="3418" y="910"/>
                  <a:pt x="3424" y="907"/>
                  <a:pt x="3433" y="907"/>
                </a:cubicBezTo>
                <a:cubicBezTo>
                  <a:pt x="3449" y="907"/>
                  <a:pt x="3457" y="919"/>
                  <a:pt x="3457" y="944"/>
                </a:cubicBezTo>
                <a:cubicBezTo>
                  <a:pt x="3457" y="957"/>
                  <a:pt x="3455" y="967"/>
                  <a:pt x="3451" y="973"/>
                </a:cubicBezTo>
                <a:cubicBezTo>
                  <a:pt x="3446" y="980"/>
                  <a:pt x="3440" y="983"/>
                  <a:pt x="3431" y="983"/>
                </a:cubicBezTo>
                <a:close/>
                <a:moveTo>
                  <a:pt x="3432" y="917"/>
                </a:moveTo>
                <a:cubicBezTo>
                  <a:pt x="3424" y="917"/>
                  <a:pt x="3419" y="926"/>
                  <a:pt x="3419" y="946"/>
                </a:cubicBezTo>
                <a:cubicBezTo>
                  <a:pt x="3419" y="964"/>
                  <a:pt x="3424" y="973"/>
                  <a:pt x="3432" y="973"/>
                </a:cubicBezTo>
                <a:cubicBezTo>
                  <a:pt x="3440" y="973"/>
                  <a:pt x="3445" y="964"/>
                  <a:pt x="3445" y="946"/>
                </a:cubicBezTo>
                <a:cubicBezTo>
                  <a:pt x="3445" y="926"/>
                  <a:pt x="3441" y="917"/>
                  <a:pt x="3432" y="917"/>
                </a:cubicBezTo>
                <a:close/>
                <a:moveTo>
                  <a:pt x="3503" y="909"/>
                </a:moveTo>
                <a:cubicBezTo>
                  <a:pt x="3503" y="909"/>
                  <a:pt x="3503" y="909"/>
                  <a:pt x="3503" y="909"/>
                </a:cubicBezTo>
                <a:cubicBezTo>
                  <a:pt x="3498" y="909"/>
                  <a:pt x="3498" y="909"/>
                  <a:pt x="3498" y="909"/>
                </a:cubicBezTo>
                <a:cubicBezTo>
                  <a:pt x="3496" y="911"/>
                  <a:pt x="3495" y="912"/>
                  <a:pt x="3493" y="913"/>
                </a:cubicBezTo>
                <a:cubicBezTo>
                  <a:pt x="3491" y="915"/>
                  <a:pt x="3489" y="915"/>
                  <a:pt x="3488" y="916"/>
                </a:cubicBezTo>
                <a:cubicBezTo>
                  <a:pt x="3486" y="917"/>
                  <a:pt x="3484" y="917"/>
                  <a:pt x="3483" y="918"/>
                </a:cubicBezTo>
                <a:cubicBezTo>
                  <a:pt x="3481" y="919"/>
                  <a:pt x="3479" y="920"/>
                  <a:pt x="3477" y="920"/>
                </a:cubicBezTo>
                <a:cubicBezTo>
                  <a:pt x="3477" y="920"/>
                  <a:pt x="3477" y="920"/>
                  <a:pt x="3477" y="931"/>
                </a:cubicBezTo>
                <a:cubicBezTo>
                  <a:pt x="3480" y="930"/>
                  <a:pt x="3483" y="928"/>
                  <a:pt x="3485" y="928"/>
                </a:cubicBezTo>
                <a:cubicBezTo>
                  <a:pt x="3488" y="927"/>
                  <a:pt x="3490" y="925"/>
                  <a:pt x="3492" y="924"/>
                </a:cubicBezTo>
                <a:cubicBezTo>
                  <a:pt x="3492" y="924"/>
                  <a:pt x="3492" y="924"/>
                  <a:pt x="3492" y="983"/>
                </a:cubicBezTo>
                <a:cubicBezTo>
                  <a:pt x="3492" y="983"/>
                  <a:pt x="3492" y="983"/>
                  <a:pt x="3503" y="983"/>
                </a:cubicBezTo>
                <a:cubicBezTo>
                  <a:pt x="3503" y="983"/>
                  <a:pt x="3503" y="983"/>
                  <a:pt x="3503" y="909"/>
                </a:cubicBezTo>
                <a:close/>
                <a:moveTo>
                  <a:pt x="3295" y="909"/>
                </a:moveTo>
                <a:cubicBezTo>
                  <a:pt x="3295" y="909"/>
                  <a:pt x="3295" y="909"/>
                  <a:pt x="3295" y="909"/>
                </a:cubicBezTo>
                <a:cubicBezTo>
                  <a:pt x="3289" y="909"/>
                  <a:pt x="3289" y="909"/>
                  <a:pt x="3289" y="909"/>
                </a:cubicBezTo>
                <a:cubicBezTo>
                  <a:pt x="3287" y="911"/>
                  <a:pt x="3286" y="912"/>
                  <a:pt x="3283" y="913"/>
                </a:cubicBezTo>
                <a:cubicBezTo>
                  <a:pt x="3282" y="915"/>
                  <a:pt x="3281" y="915"/>
                  <a:pt x="3278" y="916"/>
                </a:cubicBezTo>
                <a:cubicBezTo>
                  <a:pt x="3277" y="917"/>
                  <a:pt x="3275" y="918"/>
                  <a:pt x="3273" y="919"/>
                </a:cubicBezTo>
                <a:cubicBezTo>
                  <a:pt x="3271" y="920"/>
                  <a:pt x="3269" y="920"/>
                  <a:pt x="3267" y="920"/>
                </a:cubicBezTo>
                <a:cubicBezTo>
                  <a:pt x="3267" y="920"/>
                  <a:pt x="3267" y="920"/>
                  <a:pt x="3267" y="931"/>
                </a:cubicBezTo>
                <a:cubicBezTo>
                  <a:pt x="3270" y="930"/>
                  <a:pt x="3273" y="929"/>
                  <a:pt x="3276" y="928"/>
                </a:cubicBezTo>
                <a:cubicBezTo>
                  <a:pt x="3278" y="927"/>
                  <a:pt x="3281" y="925"/>
                  <a:pt x="3283" y="924"/>
                </a:cubicBezTo>
                <a:cubicBezTo>
                  <a:pt x="3283" y="924"/>
                  <a:pt x="3283" y="924"/>
                  <a:pt x="3283" y="983"/>
                </a:cubicBezTo>
                <a:cubicBezTo>
                  <a:pt x="3283" y="983"/>
                  <a:pt x="3283" y="983"/>
                  <a:pt x="3295" y="983"/>
                </a:cubicBezTo>
                <a:cubicBezTo>
                  <a:pt x="3295" y="983"/>
                  <a:pt x="3295" y="983"/>
                  <a:pt x="3295" y="909"/>
                </a:cubicBezTo>
                <a:close/>
                <a:moveTo>
                  <a:pt x="3341" y="909"/>
                </a:moveTo>
                <a:cubicBezTo>
                  <a:pt x="3341" y="909"/>
                  <a:pt x="3341" y="909"/>
                  <a:pt x="3341" y="909"/>
                </a:cubicBezTo>
                <a:cubicBezTo>
                  <a:pt x="3336" y="909"/>
                  <a:pt x="3336" y="909"/>
                  <a:pt x="3336" y="909"/>
                </a:cubicBezTo>
                <a:cubicBezTo>
                  <a:pt x="3334" y="911"/>
                  <a:pt x="3332" y="912"/>
                  <a:pt x="3330" y="913"/>
                </a:cubicBezTo>
                <a:cubicBezTo>
                  <a:pt x="3329" y="915"/>
                  <a:pt x="3327" y="915"/>
                  <a:pt x="3325" y="916"/>
                </a:cubicBezTo>
                <a:cubicBezTo>
                  <a:pt x="3324" y="917"/>
                  <a:pt x="3322" y="918"/>
                  <a:pt x="3320" y="919"/>
                </a:cubicBezTo>
                <a:cubicBezTo>
                  <a:pt x="3318" y="920"/>
                  <a:pt x="3316" y="920"/>
                  <a:pt x="3314" y="920"/>
                </a:cubicBezTo>
                <a:cubicBezTo>
                  <a:pt x="3314" y="920"/>
                  <a:pt x="3314" y="920"/>
                  <a:pt x="3314" y="931"/>
                </a:cubicBezTo>
                <a:cubicBezTo>
                  <a:pt x="3317" y="930"/>
                  <a:pt x="3320" y="929"/>
                  <a:pt x="3322" y="928"/>
                </a:cubicBezTo>
                <a:cubicBezTo>
                  <a:pt x="3325" y="927"/>
                  <a:pt x="3327" y="925"/>
                  <a:pt x="3330" y="924"/>
                </a:cubicBezTo>
                <a:cubicBezTo>
                  <a:pt x="3330" y="924"/>
                  <a:pt x="3330" y="924"/>
                  <a:pt x="3330" y="983"/>
                </a:cubicBezTo>
                <a:cubicBezTo>
                  <a:pt x="3330" y="983"/>
                  <a:pt x="3330" y="983"/>
                  <a:pt x="3341" y="983"/>
                </a:cubicBezTo>
                <a:cubicBezTo>
                  <a:pt x="3341" y="983"/>
                  <a:pt x="3341" y="983"/>
                  <a:pt x="3341" y="909"/>
                </a:cubicBezTo>
                <a:close/>
                <a:moveTo>
                  <a:pt x="3387" y="909"/>
                </a:moveTo>
                <a:cubicBezTo>
                  <a:pt x="3387" y="909"/>
                  <a:pt x="3387" y="909"/>
                  <a:pt x="3387" y="909"/>
                </a:cubicBezTo>
                <a:cubicBezTo>
                  <a:pt x="3383" y="909"/>
                  <a:pt x="3383" y="909"/>
                  <a:pt x="3383" y="909"/>
                </a:cubicBezTo>
                <a:cubicBezTo>
                  <a:pt x="3381" y="911"/>
                  <a:pt x="3379" y="912"/>
                  <a:pt x="3377" y="913"/>
                </a:cubicBezTo>
                <a:cubicBezTo>
                  <a:pt x="3375" y="915"/>
                  <a:pt x="3373" y="915"/>
                  <a:pt x="3372" y="916"/>
                </a:cubicBezTo>
                <a:cubicBezTo>
                  <a:pt x="3370" y="917"/>
                  <a:pt x="3368" y="917"/>
                  <a:pt x="3366" y="918"/>
                </a:cubicBezTo>
                <a:cubicBezTo>
                  <a:pt x="3364" y="919"/>
                  <a:pt x="3362" y="920"/>
                  <a:pt x="3361" y="920"/>
                </a:cubicBezTo>
                <a:cubicBezTo>
                  <a:pt x="3361" y="920"/>
                  <a:pt x="3361" y="920"/>
                  <a:pt x="3361" y="931"/>
                </a:cubicBezTo>
                <a:cubicBezTo>
                  <a:pt x="3364" y="930"/>
                  <a:pt x="3367" y="928"/>
                  <a:pt x="3369" y="928"/>
                </a:cubicBezTo>
                <a:cubicBezTo>
                  <a:pt x="3371" y="927"/>
                  <a:pt x="3374" y="925"/>
                  <a:pt x="3375" y="924"/>
                </a:cubicBezTo>
                <a:cubicBezTo>
                  <a:pt x="3375" y="924"/>
                  <a:pt x="3375" y="924"/>
                  <a:pt x="3375" y="983"/>
                </a:cubicBezTo>
                <a:cubicBezTo>
                  <a:pt x="3375" y="983"/>
                  <a:pt x="3375" y="983"/>
                  <a:pt x="3387" y="983"/>
                </a:cubicBezTo>
                <a:cubicBezTo>
                  <a:pt x="3387" y="983"/>
                  <a:pt x="3387" y="983"/>
                  <a:pt x="3387" y="909"/>
                </a:cubicBezTo>
                <a:close/>
                <a:moveTo>
                  <a:pt x="2144" y="909"/>
                </a:moveTo>
                <a:cubicBezTo>
                  <a:pt x="2144" y="909"/>
                  <a:pt x="2144" y="909"/>
                  <a:pt x="2144" y="909"/>
                </a:cubicBezTo>
                <a:cubicBezTo>
                  <a:pt x="2139" y="909"/>
                  <a:pt x="2139" y="909"/>
                  <a:pt x="2139" y="909"/>
                </a:cubicBezTo>
                <a:cubicBezTo>
                  <a:pt x="2137" y="911"/>
                  <a:pt x="2136" y="912"/>
                  <a:pt x="2134" y="913"/>
                </a:cubicBezTo>
                <a:cubicBezTo>
                  <a:pt x="2132" y="915"/>
                  <a:pt x="2130" y="915"/>
                  <a:pt x="2129" y="916"/>
                </a:cubicBezTo>
                <a:cubicBezTo>
                  <a:pt x="2127" y="917"/>
                  <a:pt x="2125" y="918"/>
                  <a:pt x="2123" y="919"/>
                </a:cubicBezTo>
                <a:cubicBezTo>
                  <a:pt x="2121" y="920"/>
                  <a:pt x="2120" y="920"/>
                  <a:pt x="2118" y="920"/>
                </a:cubicBezTo>
                <a:cubicBezTo>
                  <a:pt x="2118" y="920"/>
                  <a:pt x="2118" y="920"/>
                  <a:pt x="2118" y="931"/>
                </a:cubicBezTo>
                <a:cubicBezTo>
                  <a:pt x="2121" y="930"/>
                  <a:pt x="2123" y="929"/>
                  <a:pt x="2126" y="928"/>
                </a:cubicBezTo>
                <a:cubicBezTo>
                  <a:pt x="2129" y="927"/>
                  <a:pt x="2131" y="925"/>
                  <a:pt x="2133" y="924"/>
                </a:cubicBezTo>
                <a:cubicBezTo>
                  <a:pt x="2133" y="924"/>
                  <a:pt x="2133" y="924"/>
                  <a:pt x="2133" y="983"/>
                </a:cubicBezTo>
                <a:cubicBezTo>
                  <a:pt x="2133" y="983"/>
                  <a:pt x="2133" y="983"/>
                  <a:pt x="2144" y="983"/>
                </a:cubicBezTo>
                <a:cubicBezTo>
                  <a:pt x="2144" y="983"/>
                  <a:pt x="2144" y="983"/>
                  <a:pt x="2144" y="909"/>
                </a:cubicBezTo>
                <a:close/>
                <a:moveTo>
                  <a:pt x="2192" y="909"/>
                </a:moveTo>
                <a:cubicBezTo>
                  <a:pt x="2192" y="909"/>
                  <a:pt x="2192" y="909"/>
                  <a:pt x="2192" y="909"/>
                </a:cubicBezTo>
                <a:cubicBezTo>
                  <a:pt x="2186" y="909"/>
                  <a:pt x="2186" y="909"/>
                  <a:pt x="2186" y="909"/>
                </a:cubicBezTo>
                <a:cubicBezTo>
                  <a:pt x="2185" y="911"/>
                  <a:pt x="2183" y="912"/>
                  <a:pt x="2181" y="913"/>
                </a:cubicBezTo>
                <a:cubicBezTo>
                  <a:pt x="2179" y="915"/>
                  <a:pt x="2177" y="915"/>
                  <a:pt x="2175" y="916"/>
                </a:cubicBezTo>
                <a:cubicBezTo>
                  <a:pt x="2174" y="917"/>
                  <a:pt x="2172" y="918"/>
                  <a:pt x="2170" y="919"/>
                </a:cubicBezTo>
                <a:cubicBezTo>
                  <a:pt x="2168" y="920"/>
                  <a:pt x="2166" y="920"/>
                  <a:pt x="2164" y="920"/>
                </a:cubicBezTo>
                <a:cubicBezTo>
                  <a:pt x="2164" y="920"/>
                  <a:pt x="2164" y="920"/>
                  <a:pt x="2164" y="931"/>
                </a:cubicBezTo>
                <a:cubicBezTo>
                  <a:pt x="2167" y="930"/>
                  <a:pt x="2170" y="929"/>
                  <a:pt x="2173" y="928"/>
                </a:cubicBezTo>
                <a:cubicBezTo>
                  <a:pt x="2175" y="927"/>
                  <a:pt x="2177" y="925"/>
                  <a:pt x="2180" y="924"/>
                </a:cubicBezTo>
                <a:cubicBezTo>
                  <a:pt x="2180" y="924"/>
                  <a:pt x="2180" y="924"/>
                  <a:pt x="2180" y="983"/>
                </a:cubicBezTo>
                <a:cubicBezTo>
                  <a:pt x="2180" y="983"/>
                  <a:pt x="2180" y="983"/>
                  <a:pt x="2192" y="983"/>
                </a:cubicBezTo>
                <a:cubicBezTo>
                  <a:pt x="2192" y="983"/>
                  <a:pt x="2192" y="983"/>
                  <a:pt x="2192" y="909"/>
                </a:cubicBezTo>
                <a:close/>
                <a:moveTo>
                  <a:pt x="2237" y="909"/>
                </a:moveTo>
                <a:cubicBezTo>
                  <a:pt x="2237" y="909"/>
                  <a:pt x="2237" y="909"/>
                  <a:pt x="2237" y="909"/>
                </a:cubicBezTo>
                <a:cubicBezTo>
                  <a:pt x="2233" y="909"/>
                  <a:pt x="2233" y="909"/>
                  <a:pt x="2233" y="909"/>
                </a:cubicBezTo>
                <a:cubicBezTo>
                  <a:pt x="2231" y="911"/>
                  <a:pt x="2229" y="912"/>
                  <a:pt x="2227" y="913"/>
                </a:cubicBezTo>
                <a:cubicBezTo>
                  <a:pt x="2226" y="915"/>
                  <a:pt x="2223" y="915"/>
                  <a:pt x="2222" y="916"/>
                </a:cubicBezTo>
                <a:cubicBezTo>
                  <a:pt x="2220" y="917"/>
                  <a:pt x="2218" y="917"/>
                  <a:pt x="2216" y="918"/>
                </a:cubicBezTo>
                <a:cubicBezTo>
                  <a:pt x="2215" y="919"/>
                  <a:pt x="2213" y="920"/>
                  <a:pt x="2211" y="920"/>
                </a:cubicBezTo>
                <a:cubicBezTo>
                  <a:pt x="2211" y="920"/>
                  <a:pt x="2211" y="920"/>
                  <a:pt x="2211" y="931"/>
                </a:cubicBezTo>
                <a:cubicBezTo>
                  <a:pt x="2214" y="930"/>
                  <a:pt x="2217" y="928"/>
                  <a:pt x="2219" y="928"/>
                </a:cubicBezTo>
                <a:cubicBezTo>
                  <a:pt x="2221" y="927"/>
                  <a:pt x="2224" y="925"/>
                  <a:pt x="2226" y="924"/>
                </a:cubicBezTo>
                <a:cubicBezTo>
                  <a:pt x="2226" y="924"/>
                  <a:pt x="2226" y="924"/>
                  <a:pt x="2226" y="983"/>
                </a:cubicBezTo>
                <a:cubicBezTo>
                  <a:pt x="2226" y="983"/>
                  <a:pt x="2226" y="983"/>
                  <a:pt x="2237" y="983"/>
                </a:cubicBezTo>
                <a:cubicBezTo>
                  <a:pt x="2237" y="983"/>
                  <a:pt x="2237" y="983"/>
                  <a:pt x="2237" y="909"/>
                </a:cubicBezTo>
                <a:close/>
                <a:moveTo>
                  <a:pt x="2374" y="942"/>
                </a:moveTo>
                <a:cubicBezTo>
                  <a:pt x="2374" y="942"/>
                  <a:pt x="2374" y="942"/>
                  <a:pt x="2374" y="942"/>
                </a:cubicBezTo>
                <a:cubicBezTo>
                  <a:pt x="2373" y="950"/>
                  <a:pt x="2373" y="950"/>
                  <a:pt x="2373" y="950"/>
                </a:cubicBezTo>
                <a:cubicBezTo>
                  <a:pt x="2380" y="950"/>
                  <a:pt x="2380" y="953"/>
                  <a:pt x="2380" y="956"/>
                </a:cubicBezTo>
                <a:cubicBezTo>
                  <a:pt x="2380" y="958"/>
                  <a:pt x="2380" y="960"/>
                  <a:pt x="2380" y="963"/>
                </a:cubicBezTo>
                <a:cubicBezTo>
                  <a:pt x="2380" y="966"/>
                  <a:pt x="2379" y="968"/>
                  <a:pt x="2379" y="970"/>
                </a:cubicBezTo>
                <a:cubicBezTo>
                  <a:pt x="2379" y="980"/>
                  <a:pt x="2385" y="983"/>
                  <a:pt x="2394" y="983"/>
                </a:cubicBezTo>
                <a:cubicBezTo>
                  <a:pt x="2394" y="983"/>
                  <a:pt x="2394" y="983"/>
                  <a:pt x="2397" y="983"/>
                </a:cubicBezTo>
                <a:cubicBezTo>
                  <a:pt x="2397" y="983"/>
                  <a:pt x="2397" y="983"/>
                  <a:pt x="2397" y="974"/>
                </a:cubicBezTo>
                <a:cubicBezTo>
                  <a:pt x="2397" y="974"/>
                  <a:pt x="2397" y="974"/>
                  <a:pt x="2396" y="974"/>
                </a:cubicBezTo>
                <a:cubicBezTo>
                  <a:pt x="2392" y="974"/>
                  <a:pt x="2391" y="971"/>
                  <a:pt x="2391" y="968"/>
                </a:cubicBezTo>
                <a:cubicBezTo>
                  <a:pt x="2391" y="966"/>
                  <a:pt x="2391" y="965"/>
                  <a:pt x="2392" y="963"/>
                </a:cubicBezTo>
                <a:cubicBezTo>
                  <a:pt x="2392" y="962"/>
                  <a:pt x="2392" y="959"/>
                  <a:pt x="2392" y="957"/>
                </a:cubicBezTo>
                <a:cubicBezTo>
                  <a:pt x="2392" y="950"/>
                  <a:pt x="2389" y="947"/>
                  <a:pt x="2383" y="946"/>
                </a:cubicBezTo>
                <a:cubicBezTo>
                  <a:pt x="2383" y="946"/>
                  <a:pt x="2383" y="946"/>
                  <a:pt x="2383" y="946"/>
                </a:cubicBezTo>
                <a:cubicBezTo>
                  <a:pt x="2389" y="944"/>
                  <a:pt x="2392" y="942"/>
                  <a:pt x="2392" y="935"/>
                </a:cubicBezTo>
                <a:cubicBezTo>
                  <a:pt x="2392" y="932"/>
                  <a:pt x="2392" y="930"/>
                  <a:pt x="2392" y="928"/>
                </a:cubicBezTo>
                <a:cubicBezTo>
                  <a:pt x="2391" y="927"/>
                  <a:pt x="2391" y="925"/>
                  <a:pt x="2391" y="924"/>
                </a:cubicBezTo>
                <a:cubicBezTo>
                  <a:pt x="2391" y="920"/>
                  <a:pt x="2392" y="918"/>
                  <a:pt x="2396" y="918"/>
                </a:cubicBezTo>
                <a:cubicBezTo>
                  <a:pt x="2396" y="918"/>
                  <a:pt x="2396" y="918"/>
                  <a:pt x="2397" y="918"/>
                </a:cubicBezTo>
                <a:cubicBezTo>
                  <a:pt x="2397" y="918"/>
                  <a:pt x="2397" y="918"/>
                  <a:pt x="2397" y="909"/>
                </a:cubicBezTo>
                <a:cubicBezTo>
                  <a:pt x="2397" y="909"/>
                  <a:pt x="2397" y="909"/>
                  <a:pt x="2394" y="909"/>
                </a:cubicBezTo>
                <a:cubicBezTo>
                  <a:pt x="2385" y="909"/>
                  <a:pt x="2379" y="913"/>
                  <a:pt x="2379" y="921"/>
                </a:cubicBezTo>
                <a:cubicBezTo>
                  <a:pt x="2379" y="923"/>
                  <a:pt x="2380" y="926"/>
                  <a:pt x="2380" y="929"/>
                </a:cubicBezTo>
                <a:cubicBezTo>
                  <a:pt x="2380" y="931"/>
                  <a:pt x="2380" y="934"/>
                  <a:pt x="2380" y="935"/>
                </a:cubicBezTo>
                <a:cubicBezTo>
                  <a:pt x="2380" y="938"/>
                  <a:pt x="2380" y="941"/>
                  <a:pt x="2374" y="942"/>
                </a:cubicBezTo>
                <a:close/>
                <a:moveTo>
                  <a:pt x="2428" y="950"/>
                </a:moveTo>
                <a:cubicBezTo>
                  <a:pt x="2428" y="950"/>
                  <a:pt x="2428" y="950"/>
                  <a:pt x="2428" y="950"/>
                </a:cubicBezTo>
                <a:cubicBezTo>
                  <a:pt x="2428" y="942"/>
                  <a:pt x="2428" y="942"/>
                  <a:pt x="2428" y="942"/>
                </a:cubicBezTo>
                <a:cubicBezTo>
                  <a:pt x="2422" y="941"/>
                  <a:pt x="2422" y="938"/>
                  <a:pt x="2422" y="935"/>
                </a:cubicBezTo>
                <a:cubicBezTo>
                  <a:pt x="2422" y="934"/>
                  <a:pt x="2422" y="931"/>
                  <a:pt x="2422" y="929"/>
                </a:cubicBezTo>
                <a:cubicBezTo>
                  <a:pt x="2422" y="926"/>
                  <a:pt x="2422" y="923"/>
                  <a:pt x="2422" y="921"/>
                </a:cubicBezTo>
                <a:cubicBezTo>
                  <a:pt x="2422" y="913"/>
                  <a:pt x="2417" y="909"/>
                  <a:pt x="2408" y="909"/>
                </a:cubicBezTo>
                <a:cubicBezTo>
                  <a:pt x="2408" y="909"/>
                  <a:pt x="2408" y="909"/>
                  <a:pt x="2404" y="909"/>
                </a:cubicBezTo>
                <a:cubicBezTo>
                  <a:pt x="2404" y="909"/>
                  <a:pt x="2404" y="909"/>
                  <a:pt x="2404" y="918"/>
                </a:cubicBezTo>
                <a:cubicBezTo>
                  <a:pt x="2404" y="918"/>
                  <a:pt x="2404" y="918"/>
                  <a:pt x="2406" y="918"/>
                </a:cubicBezTo>
                <a:cubicBezTo>
                  <a:pt x="2409" y="918"/>
                  <a:pt x="2411" y="920"/>
                  <a:pt x="2411" y="924"/>
                </a:cubicBezTo>
                <a:cubicBezTo>
                  <a:pt x="2411" y="925"/>
                  <a:pt x="2410" y="927"/>
                  <a:pt x="2410" y="928"/>
                </a:cubicBezTo>
                <a:cubicBezTo>
                  <a:pt x="2410" y="930"/>
                  <a:pt x="2410" y="932"/>
                  <a:pt x="2410" y="935"/>
                </a:cubicBezTo>
                <a:cubicBezTo>
                  <a:pt x="2410" y="942"/>
                  <a:pt x="2413" y="944"/>
                  <a:pt x="2419" y="946"/>
                </a:cubicBezTo>
                <a:cubicBezTo>
                  <a:pt x="2419" y="946"/>
                  <a:pt x="2419" y="946"/>
                  <a:pt x="2419" y="946"/>
                </a:cubicBezTo>
                <a:cubicBezTo>
                  <a:pt x="2413" y="947"/>
                  <a:pt x="2410" y="950"/>
                  <a:pt x="2410" y="957"/>
                </a:cubicBezTo>
                <a:cubicBezTo>
                  <a:pt x="2410" y="959"/>
                  <a:pt x="2410" y="962"/>
                  <a:pt x="2410" y="963"/>
                </a:cubicBezTo>
                <a:cubicBezTo>
                  <a:pt x="2410" y="965"/>
                  <a:pt x="2411" y="966"/>
                  <a:pt x="2411" y="968"/>
                </a:cubicBezTo>
                <a:cubicBezTo>
                  <a:pt x="2411" y="971"/>
                  <a:pt x="2410" y="974"/>
                  <a:pt x="2406" y="974"/>
                </a:cubicBezTo>
                <a:cubicBezTo>
                  <a:pt x="2406" y="974"/>
                  <a:pt x="2406" y="974"/>
                  <a:pt x="2404" y="974"/>
                </a:cubicBezTo>
                <a:cubicBezTo>
                  <a:pt x="2404" y="974"/>
                  <a:pt x="2404" y="974"/>
                  <a:pt x="2404" y="983"/>
                </a:cubicBezTo>
                <a:cubicBezTo>
                  <a:pt x="2404" y="983"/>
                  <a:pt x="2404" y="983"/>
                  <a:pt x="2408" y="983"/>
                </a:cubicBezTo>
                <a:cubicBezTo>
                  <a:pt x="2417" y="983"/>
                  <a:pt x="2422" y="980"/>
                  <a:pt x="2422" y="970"/>
                </a:cubicBezTo>
                <a:cubicBezTo>
                  <a:pt x="2422" y="968"/>
                  <a:pt x="2422" y="966"/>
                  <a:pt x="2422" y="963"/>
                </a:cubicBezTo>
                <a:cubicBezTo>
                  <a:pt x="2422" y="960"/>
                  <a:pt x="2422" y="958"/>
                  <a:pt x="2422" y="956"/>
                </a:cubicBezTo>
                <a:cubicBezTo>
                  <a:pt x="2422" y="953"/>
                  <a:pt x="2422" y="950"/>
                  <a:pt x="2428" y="950"/>
                </a:cubicBezTo>
                <a:close/>
                <a:moveTo>
                  <a:pt x="2475" y="909"/>
                </a:moveTo>
                <a:cubicBezTo>
                  <a:pt x="2475" y="909"/>
                  <a:pt x="2475" y="909"/>
                  <a:pt x="2475" y="909"/>
                </a:cubicBezTo>
                <a:cubicBezTo>
                  <a:pt x="2470" y="909"/>
                  <a:pt x="2470" y="909"/>
                  <a:pt x="2470" y="909"/>
                </a:cubicBezTo>
                <a:cubicBezTo>
                  <a:pt x="2468" y="911"/>
                  <a:pt x="2466" y="912"/>
                  <a:pt x="2464" y="913"/>
                </a:cubicBezTo>
                <a:cubicBezTo>
                  <a:pt x="2463" y="915"/>
                  <a:pt x="2461" y="915"/>
                  <a:pt x="2459" y="916"/>
                </a:cubicBezTo>
                <a:cubicBezTo>
                  <a:pt x="2457" y="917"/>
                  <a:pt x="2456" y="917"/>
                  <a:pt x="2454" y="918"/>
                </a:cubicBezTo>
                <a:cubicBezTo>
                  <a:pt x="2452" y="919"/>
                  <a:pt x="2451" y="920"/>
                  <a:pt x="2448" y="920"/>
                </a:cubicBezTo>
                <a:cubicBezTo>
                  <a:pt x="2448" y="920"/>
                  <a:pt x="2448" y="920"/>
                  <a:pt x="2448" y="931"/>
                </a:cubicBezTo>
                <a:cubicBezTo>
                  <a:pt x="2451" y="930"/>
                  <a:pt x="2454" y="928"/>
                  <a:pt x="2456" y="928"/>
                </a:cubicBezTo>
                <a:cubicBezTo>
                  <a:pt x="2459" y="927"/>
                  <a:pt x="2461" y="925"/>
                  <a:pt x="2464" y="924"/>
                </a:cubicBezTo>
                <a:cubicBezTo>
                  <a:pt x="2464" y="924"/>
                  <a:pt x="2464" y="924"/>
                  <a:pt x="2464" y="983"/>
                </a:cubicBezTo>
                <a:cubicBezTo>
                  <a:pt x="2464" y="983"/>
                  <a:pt x="2464" y="983"/>
                  <a:pt x="2475" y="983"/>
                </a:cubicBezTo>
                <a:cubicBezTo>
                  <a:pt x="2475" y="983"/>
                  <a:pt x="2475" y="983"/>
                  <a:pt x="2475" y="909"/>
                </a:cubicBezTo>
                <a:close/>
                <a:moveTo>
                  <a:pt x="2521" y="909"/>
                </a:moveTo>
                <a:cubicBezTo>
                  <a:pt x="2521" y="909"/>
                  <a:pt x="2521" y="909"/>
                  <a:pt x="2521" y="909"/>
                </a:cubicBezTo>
                <a:cubicBezTo>
                  <a:pt x="2516" y="909"/>
                  <a:pt x="2516" y="909"/>
                  <a:pt x="2516" y="909"/>
                </a:cubicBezTo>
                <a:cubicBezTo>
                  <a:pt x="2514" y="911"/>
                  <a:pt x="2513" y="912"/>
                  <a:pt x="2511" y="913"/>
                </a:cubicBezTo>
                <a:cubicBezTo>
                  <a:pt x="2509" y="915"/>
                  <a:pt x="2507" y="915"/>
                  <a:pt x="2506" y="916"/>
                </a:cubicBezTo>
                <a:cubicBezTo>
                  <a:pt x="2504" y="917"/>
                  <a:pt x="2502" y="918"/>
                  <a:pt x="2501" y="919"/>
                </a:cubicBezTo>
                <a:cubicBezTo>
                  <a:pt x="2498" y="920"/>
                  <a:pt x="2497" y="920"/>
                  <a:pt x="2495" y="920"/>
                </a:cubicBezTo>
                <a:cubicBezTo>
                  <a:pt x="2495" y="920"/>
                  <a:pt x="2495" y="920"/>
                  <a:pt x="2495" y="931"/>
                </a:cubicBezTo>
                <a:cubicBezTo>
                  <a:pt x="2498" y="930"/>
                  <a:pt x="2501" y="929"/>
                  <a:pt x="2503" y="928"/>
                </a:cubicBezTo>
                <a:cubicBezTo>
                  <a:pt x="2506" y="927"/>
                  <a:pt x="2508" y="925"/>
                  <a:pt x="2510" y="924"/>
                </a:cubicBezTo>
                <a:cubicBezTo>
                  <a:pt x="2510" y="924"/>
                  <a:pt x="2510" y="924"/>
                  <a:pt x="2510" y="983"/>
                </a:cubicBezTo>
                <a:cubicBezTo>
                  <a:pt x="2510" y="983"/>
                  <a:pt x="2510" y="983"/>
                  <a:pt x="2521" y="983"/>
                </a:cubicBezTo>
                <a:cubicBezTo>
                  <a:pt x="2521" y="983"/>
                  <a:pt x="2521" y="983"/>
                  <a:pt x="2521" y="909"/>
                </a:cubicBezTo>
                <a:close/>
                <a:moveTo>
                  <a:pt x="2567" y="909"/>
                </a:moveTo>
                <a:cubicBezTo>
                  <a:pt x="2567" y="909"/>
                  <a:pt x="2567" y="909"/>
                  <a:pt x="2567" y="909"/>
                </a:cubicBezTo>
                <a:cubicBezTo>
                  <a:pt x="2563" y="909"/>
                  <a:pt x="2563" y="909"/>
                  <a:pt x="2563" y="909"/>
                </a:cubicBezTo>
                <a:cubicBezTo>
                  <a:pt x="2561" y="911"/>
                  <a:pt x="2559" y="912"/>
                  <a:pt x="2557" y="913"/>
                </a:cubicBezTo>
                <a:cubicBezTo>
                  <a:pt x="2556" y="915"/>
                  <a:pt x="2554" y="915"/>
                  <a:pt x="2552" y="916"/>
                </a:cubicBezTo>
                <a:cubicBezTo>
                  <a:pt x="2550" y="917"/>
                  <a:pt x="2549" y="918"/>
                  <a:pt x="2546" y="919"/>
                </a:cubicBezTo>
                <a:cubicBezTo>
                  <a:pt x="2545" y="920"/>
                  <a:pt x="2543" y="920"/>
                  <a:pt x="2541" y="920"/>
                </a:cubicBezTo>
                <a:cubicBezTo>
                  <a:pt x="2541" y="920"/>
                  <a:pt x="2541" y="920"/>
                  <a:pt x="2541" y="931"/>
                </a:cubicBezTo>
                <a:cubicBezTo>
                  <a:pt x="2544" y="930"/>
                  <a:pt x="2547" y="929"/>
                  <a:pt x="2549" y="928"/>
                </a:cubicBezTo>
                <a:cubicBezTo>
                  <a:pt x="2552" y="927"/>
                  <a:pt x="2554" y="925"/>
                  <a:pt x="2556" y="924"/>
                </a:cubicBezTo>
                <a:cubicBezTo>
                  <a:pt x="2556" y="924"/>
                  <a:pt x="2556" y="924"/>
                  <a:pt x="2556" y="983"/>
                </a:cubicBezTo>
                <a:cubicBezTo>
                  <a:pt x="2556" y="983"/>
                  <a:pt x="2556" y="983"/>
                  <a:pt x="2567" y="983"/>
                </a:cubicBezTo>
                <a:cubicBezTo>
                  <a:pt x="2567" y="983"/>
                  <a:pt x="2567" y="983"/>
                  <a:pt x="2567" y="909"/>
                </a:cubicBezTo>
                <a:close/>
                <a:moveTo>
                  <a:pt x="2317" y="957"/>
                </a:moveTo>
                <a:cubicBezTo>
                  <a:pt x="2318" y="958"/>
                  <a:pt x="2318" y="960"/>
                  <a:pt x="2319" y="961"/>
                </a:cubicBezTo>
                <a:cubicBezTo>
                  <a:pt x="2319" y="963"/>
                  <a:pt x="2319" y="965"/>
                  <a:pt x="2320" y="966"/>
                </a:cubicBezTo>
                <a:cubicBezTo>
                  <a:pt x="2320" y="968"/>
                  <a:pt x="2320" y="969"/>
                  <a:pt x="2320" y="971"/>
                </a:cubicBezTo>
                <a:cubicBezTo>
                  <a:pt x="2321" y="974"/>
                  <a:pt x="2320" y="976"/>
                  <a:pt x="2317" y="976"/>
                </a:cubicBezTo>
                <a:cubicBezTo>
                  <a:pt x="2314" y="976"/>
                  <a:pt x="2311" y="975"/>
                  <a:pt x="2308" y="975"/>
                </a:cubicBezTo>
                <a:cubicBezTo>
                  <a:pt x="2308" y="975"/>
                  <a:pt x="2307" y="975"/>
                  <a:pt x="2307" y="976"/>
                </a:cubicBezTo>
                <a:cubicBezTo>
                  <a:pt x="2305" y="977"/>
                  <a:pt x="2304" y="979"/>
                  <a:pt x="2303" y="980"/>
                </a:cubicBezTo>
                <a:cubicBezTo>
                  <a:pt x="2301" y="983"/>
                  <a:pt x="2297" y="983"/>
                  <a:pt x="2295" y="981"/>
                </a:cubicBezTo>
                <a:cubicBezTo>
                  <a:pt x="2293" y="979"/>
                  <a:pt x="2292" y="976"/>
                  <a:pt x="2290" y="973"/>
                </a:cubicBezTo>
                <a:cubicBezTo>
                  <a:pt x="2290" y="972"/>
                  <a:pt x="2290" y="970"/>
                  <a:pt x="2292" y="969"/>
                </a:cubicBezTo>
                <a:cubicBezTo>
                  <a:pt x="2290" y="969"/>
                  <a:pt x="2288" y="969"/>
                  <a:pt x="2286" y="969"/>
                </a:cubicBezTo>
                <a:cubicBezTo>
                  <a:pt x="2286" y="971"/>
                  <a:pt x="2284" y="973"/>
                  <a:pt x="2284" y="975"/>
                </a:cubicBezTo>
                <a:cubicBezTo>
                  <a:pt x="2284" y="975"/>
                  <a:pt x="2283" y="976"/>
                  <a:pt x="2283" y="977"/>
                </a:cubicBezTo>
                <a:cubicBezTo>
                  <a:pt x="2283" y="980"/>
                  <a:pt x="2282" y="981"/>
                  <a:pt x="2279" y="981"/>
                </a:cubicBezTo>
                <a:cubicBezTo>
                  <a:pt x="2276" y="981"/>
                  <a:pt x="2273" y="980"/>
                  <a:pt x="2270" y="979"/>
                </a:cubicBezTo>
                <a:cubicBezTo>
                  <a:pt x="2268" y="978"/>
                  <a:pt x="2267" y="977"/>
                  <a:pt x="2268" y="975"/>
                </a:cubicBezTo>
                <a:cubicBezTo>
                  <a:pt x="2268" y="974"/>
                  <a:pt x="2268" y="973"/>
                  <a:pt x="2269" y="973"/>
                </a:cubicBezTo>
                <a:cubicBezTo>
                  <a:pt x="2266" y="972"/>
                  <a:pt x="2264" y="971"/>
                  <a:pt x="2262" y="969"/>
                </a:cubicBezTo>
                <a:cubicBezTo>
                  <a:pt x="2261" y="969"/>
                  <a:pt x="2260" y="967"/>
                  <a:pt x="2259" y="965"/>
                </a:cubicBezTo>
                <a:cubicBezTo>
                  <a:pt x="2258" y="963"/>
                  <a:pt x="2258" y="962"/>
                  <a:pt x="2260" y="960"/>
                </a:cubicBezTo>
                <a:cubicBezTo>
                  <a:pt x="2263" y="958"/>
                  <a:pt x="2264" y="955"/>
                  <a:pt x="2263" y="951"/>
                </a:cubicBezTo>
                <a:cubicBezTo>
                  <a:pt x="2263" y="949"/>
                  <a:pt x="2263" y="947"/>
                  <a:pt x="2263" y="945"/>
                </a:cubicBezTo>
                <a:cubicBezTo>
                  <a:pt x="2262" y="944"/>
                  <a:pt x="2260" y="944"/>
                  <a:pt x="2259" y="943"/>
                </a:cubicBezTo>
                <a:cubicBezTo>
                  <a:pt x="2258" y="941"/>
                  <a:pt x="2257" y="939"/>
                  <a:pt x="2257" y="937"/>
                </a:cubicBezTo>
                <a:cubicBezTo>
                  <a:pt x="2257" y="934"/>
                  <a:pt x="2260" y="931"/>
                  <a:pt x="2263" y="931"/>
                </a:cubicBezTo>
                <a:cubicBezTo>
                  <a:pt x="2264" y="931"/>
                  <a:pt x="2264" y="932"/>
                  <a:pt x="2264" y="933"/>
                </a:cubicBezTo>
                <a:cubicBezTo>
                  <a:pt x="2264" y="934"/>
                  <a:pt x="2264" y="935"/>
                  <a:pt x="2264" y="936"/>
                </a:cubicBezTo>
                <a:cubicBezTo>
                  <a:pt x="2264" y="936"/>
                  <a:pt x="2263" y="936"/>
                  <a:pt x="2263" y="936"/>
                </a:cubicBezTo>
                <a:cubicBezTo>
                  <a:pt x="2262" y="937"/>
                  <a:pt x="2262" y="938"/>
                  <a:pt x="2261" y="940"/>
                </a:cubicBezTo>
                <a:cubicBezTo>
                  <a:pt x="2262" y="940"/>
                  <a:pt x="2263" y="940"/>
                  <a:pt x="2264" y="939"/>
                </a:cubicBezTo>
                <a:cubicBezTo>
                  <a:pt x="2265" y="938"/>
                  <a:pt x="2265" y="937"/>
                  <a:pt x="2266" y="936"/>
                </a:cubicBezTo>
                <a:cubicBezTo>
                  <a:pt x="2271" y="929"/>
                  <a:pt x="2277" y="926"/>
                  <a:pt x="2284" y="924"/>
                </a:cubicBezTo>
                <a:cubicBezTo>
                  <a:pt x="2288" y="924"/>
                  <a:pt x="2291" y="922"/>
                  <a:pt x="2293" y="920"/>
                </a:cubicBezTo>
                <a:cubicBezTo>
                  <a:pt x="2293" y="919"/>
                  <a:pt x="2294" y="919"/>
                  <a:pt x="2294" y="919"/>
                </a:cubicBezTo>
                <a:cubicBezTo>
                  <a:pt x="2297" y="918"/>
                  <a:pt x="2299" y="916"/>
                  <a:pt x="2301" y="914"/>
                </a:cubicBezTo>
                <a:cubicBezTo>
                  <a:pt x="2308" y="907"/>
                  <a:pt x="2320" y="906"/>
                  <a:pt x="2328" y="913"/>
                </a:cubicBezTo>
                <a:cubicBezTo>
                  <a:pt x="2330" y="915"/>
                  <a:pt x="2333" y="917"/>
                  <a:pt x="2335" y="919"/>
                </a:cubicBezTo>
                <a:cubicBezTo>
                  <a:pt x="2337" y="920"/>
                  <a:pt x="2338" y="922"/>
                  <a:pt x="2339" y="924"/>
                </a:cubicBezTo>
                <a:cubicBezTo>
                  <a:pt x="2340" y="925"/>
                  <a:pt x="2341" y="925"/>
                  <a:pt x="2342" y="924"/>
                </a:cubicBezTo>
                <a:cubicBezTo>
                  <a:pt x="2343" y="924"/>
                  <a:pt x="2344" y="923"/>
                  <a:pt x="2344" y="922"/>
                </a:cubicBezTo>
                <a:cubicBezTo>
                  <a:pt x="2346" y="919"/>
                  <a:pt x="2349" y="919"/>
                  <a:pt x="2351" y="922"/>
                </a:cubicBezTo>
                <a:cubicBezTo>
                  <a:pt x="2352" y="926"/>
                  <a:pt x="2353" y="928"/>
                  <a:pt x="2353" y="931"/>
                </a:cubicBezTo>
                <a:cubicBezTo>
                  <a:pt x="2354" y="936"/>
                  <a:pt x="2353" y="940"/>
                  <a:pt x="2352" y="945"/>
                </a:cubicBezTo>
                <a:cubicBezTo>
                  <a:pt x="2349" y="951"/>
                  <a:pt x="2345" y="954"/>
                  <a:pt x="2338" y="954"/>
                </a:cubicBezTo>
                <a:cubicBezTo>
                  <a:pt x="2337" y="954"/>
                  <a:pt x="2337" y="954"/>
                  <a:pt x="2336" y="954"/>
                </a:cubicBezTo>
                <a:cubicBezTo>
                  <a:pt x="2334" y="954"/>
                  <a:pt x="2332" y="954"/>
                  <a:pt x="2332" y="957"/>
                </a:cubicBezTo>
                <a:cubicBezTo>
                  <a:pt x="2330" y="961"/>
                  <a:pt x="2325" y="963"/>
                  <a:pt x="2321" y="960"/>
                </a:cubicBezTo>
                <a:cubicBezTo>
                  <a:pt x="2320" y="958"/>
                  <a:pt x="2319" y="958"/>
                  <a:pt x="2318" y="956"/>
                </a:cubicBezTo>
                <a:cubicBezTo>
                  <a:pt x="2318" y="957"/>
                  <a:pt x="2318" y="957"/>
                  <a:pt x="2317" y="957"/>
                </a:cubicBezTo>
                <a:close/>
                <a:moveTo>
                  <a:pt x="2312" y="952"/>
                </a:moveTo>
                <a:cubicBezTo>
                  <a:pt x="2315" y="954"/>
                  <a:pt x="2319" y="955"/>
                  <a:pt x="2321" y="958"/>
                </a:cubicBezTo>
                <a:cubicBezTo>
                  <a:pt x="2323" y="960"/>
                  <a:pt x="2325" y="960"/>
                  <a:pt x="2327" y="960"/>
                </a:cubicBezTo>
                <a:cubicBezTo>
                  <a:pt x="2330" y="959"/>
                  <a:pt x="2331" y="957"/>
                  <a:pt x="2331" y="954"/>
                </a:cubicBezTo>
                <a:cubicBezTo>
                  <a:pt x="2331" y="954"/>
                  <a:pt x="2330" y="954"/>
                  <a:pt x="2330" y="954"/>
                </a:cubicBezTo>
                <a:cubicBezTo>
                  <a:pt x="2330" y="956"/>
                  <a:pt x="2329" y="957"/>
                  <a:pt x="2328" y="958"/>
                </a:cubicBezTo>
                <a:cubicBezTo>
                  <a:pt x="2327" y="959"/>
                  <a:pt x="2325" y="959"/>
                  <a:pt x="2325" y="958"/>
                </a:cubicBezTo>
                <a:cubicBezTo>
                  <a:pt x="2324" y="958"/>
                  <a:pt x="2323" y="957"/>
                  <a:pt x="2323" y="956"/>
                </a:cubicBezTo>
                <a:cubicBezTo>
                  <a:pt x="2323" y="954"/>
                  <a:pt x="2324" y="952"/>
                  <a:pt x="2324" y="950"/>
                </a:cubicBezTo>
                <a:cubicBezTo>
                  <a:pt x="2327" y="951"/>
                  <a:pt x="2331" y="952"/>
                  <a:pt x="2334" y="952"/>
                </a:cubicBezTo>
                <a:cubicBezTo>
                  <a:pt x="2342" y="954"/>
                  <a:pt x="2347" y="952"/>
                  <a:pt x="2351" y="943"/>
                </a:cubicBezTo>
                <a:cubicBezTo>
                  <a:pt x="2352" y="939"/>
                  <a:pt x="2352" y="934"/>
                  <a:pt x="2351" y="929"/>
                </a:cubicBezTo>
                <a:cubicBezTo>
                  <a:pt x="2351" y="927"/>
                  <a:pt x="2350" y="925"/>
                  <a:pt x="2349" y="923"/>
                </a:cubicBezTo>
                <a:cubicBezTo>
                  <a:pt x="2348" y="922"/>
                  <a:pt x="2347" y="921"/>
                  <a:pt x="2346" y="923"/>
                </a:cubicBezTo>
                <a:cubicBezTo>
                  <a:pt x="2344" y="924"/>
                  <a:pt x="2343" y="926"/>
                  <a:pt x="2341" y="927"/>
                </a:cubicBezTo>
                <a:cubicBezTo>
                  <a:pt x="2340" y="927"/>
                  <a:pt x="2339" y="928"/>
                  <a:pt x="2340" y="929"/>
                </a:cubicBezTo>
                <a:cubicBezTo>
                  <a:pt x="2340" y="932"/>
                  <a:pt x="2340" y="935"/>
                  <a:pt x="2338" y="939"/>
                </a:cubicBezTo>
                <a:cubicBezTo>
                  <a:pt x="2338" y="937"/>
                  <a:pt x="2339" y="935"/>
                  <a:pt x="2339" y="933"/>
                </a:cubicBezTo>
                <a:cubicBezTo>
                  <a:pt x="2339" y="932"/>
                  <a:pt x="2338" y="932"/>
                  <a:pt x="2338" y="931"/>
                </a:cubicBezTo>
                <a:cubicBezTo>
                  <a:pt x="2338" y="932"/>
                  <a:pt x="2337" y="932"/>
                  <a:pt x="2337" y="932"/>
                </a:cubicBezTo>
                <a:cubicBezTo>
                  <a:pt x="2336" y="933"/>
                  <a:pt x="2335" y="935"/>
                  <a:pt x="2334" y="936"/>
                </a:cubicBezTo>
                <a:cubicBezTo>
                  <a:pt x="2334" y="936"/>
                  <a:pt x="2334" y="936"/>
                  <a:pt x="2334" y="936"/>
                </a:cubicBezTo>
                <a:cubicBezTo>
                  <a:pt x="2334" y="935"/>
                  <a:pt x="2335" y="933"/>
                  <a:pt x="2335" y="931"/>
                </a:cubicBezTo>
                <a:cubicBezTo>
                  <a:pt x="2334" y="931"/>
                  <a:pt x="2334" y="932"/>
                  <a:pt x="2333" y="933"/>
                </a:cubicBezTo>
                <a:cubicBezTo>
                  <a:pt x="2332" y="933"/>
                  <a:pt x="2332" y="934"/>
                  <a:pt x="2332" y="935"/>
                </a:cubicBezTo>
                <a:cubicBezTo>
                  <a:pt x="2332" y="931"/>
                  <a:pt x="2332" y="931"/>
                  <a:pt x="2338" y="930"/>
                </a:cubicBezTo>
                <a:cubicBezTo>
                  <a:pt x="2338" y="929"/>
                  <a:pt x="2337" y="929"/>
                  <a:pt x="2337" y="929"/>
                </a:cubicBezTo>
                <a:cubicBezTo>
                  <a:pt x="2334" y="929"/>
                  <a:pt x="2334" y="928"/>
                  <a:pt x="2333" y="926"/>
                </a:cubicBezTo>
                <a:cubicBezTo>
                  <a:pt x="2335" y="925"/>
                  <a:pt x="2336" y="925"/>
                  <a:pt x="2338" y="924"/>
                </a:cubicBezTo>
                <a:cubicBezTo>
                  <a:pt x="2336" y="922"/>
                  <a:pt x="2335" y="919"/>
                  <a:pt x="2332" y="919"/>
                </a:cubicBezTo>
                <a:cubicBezTo>
                  <a:pt x="2331" y="919"/>
                  <a:pt x="2331" y="918"/>
                  <a:pt x="2331" y="918"/>
                </a:cubicBezTo>
                <a:cubicBezTo>
                  <a:pt x="2329" y="916"/>
                  <a:pt x="2326" y="914"/>
                  <a:pt x="2323" y="912"/>
                </a:cubicBezTo>
                <a:cubicBezTo>
                  <a:pt x="2321" y="910"/>
                  <a:pt x="2318" y="910"/>
                  <a:pt x="2316" y="910"/>
                </a:cubicBezTo>
                <a:cubicBezTo>
                  <a:pt x="2313" y="910"/>
                  <a:pt x="2310" y="911"/>
                  <a:pt x="2306" y="912"/>
                </a:cubicBezTo>
                <a:cubicBezTo>
                  <a:pt x="2304" y="913"/>
                  <a:pt x="2301" y="915"/>
                  <a:pt x="2299" y="918"/>
                </a:cubicBezTo>
                <a:cubicBezTo>
                  <a:pt x="2301" y="918"/>
                  <a:pt x="2302" y="918"/>
                  <a:pt x="2303" y="918"/>
                </a:cubicBezTo>
                <a:cubicBezTo>
                  <a:pt x="2303" y="918"/>
                  <a:pt x="2302" y="919"/>
                  <a:pt x="2301" y="919"/>
                </a:cubicBezTo>
                <a:cubicBezTo>
                  <a:pt x="2299" y="920"/>
                  <a:pt x="2296" y="919"/>
                  <a:pt x="2294" y="921"/>
                </a:cubicBezTo>
                <a:cubicBezTo>
                  <a:pt x="2291" y="925"/>
                  <a:pt x="2287" y="929"/>
                  <a:pt x="2283" y="933"/>
                </a:cubicBezTo>
                <a:cubicBezTo>
                  <a:pt x="2282" y="935"/>
                  <a:pt x="2281" y="937"/>
                  <a:pt x="2280" y="940"/>
                </a:cubicBezTo>
                <a:cubicBezTo>
                  <a:pt x="2280" y="940"/>
                  <a:pt x="2280" y="941"/>
                  <a:pt x="2280" y="941"/>
                </a:cubicBezTo>
                <a:cubicBezTo>
                  <a:pt x="2281" y="943"/>
                  <a:pt x="2282" y="945"/>
                  <a:pt x="2284" y="947"/>
                </a:cubicBezTo>
                <a:cubicBezTo>
                  <a:pt x="2285" y="946"/>
                  <a:pt x="2286" y="944"/>
                  <a:pt x="2288" y="943"/>
                </a:cubicBezTo>
                <a:cubicBezTo>
                  <a:pt x="2287" y="944"/>
                  <a:pt x="2287" y="945"/>
                  <a:pt x="2286" y="947"/>
                </a:cubicBezTo>
                <a:cubicBezTo>
                  <a:pt x="2285" y="948"/>
                  <a:pt x="2284" y="949"/>
                  <a:pt x="2284" y="951"/>
                </a:cubicBezTo>
                <a:cubicBezTo>
                  <a:pt x="2284" y="952"/>
                  <a:pt x="2284" y="953"/>
                  <a:pt x="2284" y="954"/>
                </a:cubicBezTo>
                <a:cubicBezTo>
                  <a:pt x="2287" y="957"/>
                  <a:pt x="2290" y="957"/>
                  <a:pt x="2294" y="955"/>
                </a:cubicBezTo>
                <a:cubicBezTo>
                  <a:pt x="2296" y="954"/>
                  <a:pt x="2299" y="952"/>
                  <a:pt x="2302" y="952"/>
                </a:cubicBezTo>
                <a:cubicBezTo>
                  <a:pt x="2303" y="951"/>
                  <a:pt x="2305" y="950"/>
                  <a:pt x="2305" y="949"/>
                </a:cubicBezTo>
                <a:cubicBezTo>
                  <a:pt x="2305" y="946"/>
                  <a:pt x="2305" y="942"/>
                  <a:pt x="2305" y="939"/>
                </a:cubicBezTo>
                <a:cubicBezTo>
                  <a:pt x="2305" y="936"/>
                  <a:pt x="2305" y="933"/>
                  <a:pt x="2305" y="930"/>
                </a:cubicBezTo>
                <a:cubicBezTo>
                  <a:pt x="2305" y="933"/>
                  <a:pt x="2306" y="935"/>
                  <a:pt x="2306" y="938"/>
                </a:cubicBezTo>
                <a:cubicBezTo>
                  <a:pt x="2307" y="943"/>
                  <a:pt x="2307" y="947"/>
                  <a:pt x="2306" y="951"/>
                </a:cubicBezTo>
                <a:cubicBezTo>
                  <a:pt x="2305" y="952"/>
                  <a:pt x="2305" y="953"/>
                  <a:pt x="2304" y="953"/>
                </a:cubicBezTo>
                <a:cubicBezTo>
                  <a:pt x="2301" y="953"/>
                  <a:pt x="2297" y="955"/>
                  <a:pt x="2294" y="957"/>
                </a:cubicBezTo>
                <a:cubicBezTo>
                  <a:pt x="2289" y="960"/>
                  <a:pt x="2286" y="958"/>
                  <a:pt x="2282" y="954"/>
                </a:cubicBezTo>
                <a:cubicBezTo>
                  <a:pt x="2282" y="954"/>
                  <a:pt x="2282" y="952"/>
                  <a:pt x="2282" y="952"/>
                </a:cubicBezTo>
                <a:cubicBezTo>
                  <a:pt x="2283" y="950"/>
                  <a:pt x="2282" y="948"/>
                  <a:pt x="2280" y="946"/>
                </a:cubicBezTo>
                <a:cubicBezTo>
                  <a:pt x="2279" y="944"/>
                  <a:pt x="2277" y="941"/>
                  <a:pt x="2278" y="939"/>
                </a:cubicBezTo>
                <a:cubicBezTo>
                  <a:pt x="2279" y="937"/>
                  <a:pt x="2280" y="935"/>
                  <a:pt x="2281" y="933"/>
                </a:cubicBezTo>
                <a:cubicBezTo>
                  <a:pt x="2283" y="931"/>
                  <a:pt x="2285" y="928"/>
                  <a:pt x="2287" y="926"/>
                </a:cubicBezTo>
                <a:cubicBezTo>
                  <a:pt x="2287" y="926"/>
                  <a:pt x="2286" y="926"/>
                  <a:pt x="2286" y="926"/>
                </a:cubicBezTo>
                <a:cubicBezTo>
                  <a:pt x="2281" y="927"/>
                  <a:pt x="2277" y="928"/>
                  <a:pt x="2273" y="931"/>
                </a:cubicBezTo>
                <a:cubicBezTo>
                  <a:pt x="2268" y="936"/>
                  <a:pt x="2265" y="941"/>
                  <a:pt x="2265" y="948"/>
                </a:cubicBezTo>
                <a:cubicBezTo>
                  <a:pt x="2264" y="954"/>
                  <a:pt x="2267" y="960"/>
                  <a:pt x="2270" y="966"/>
                </a:cubicBezTo>
                <a:cubicBezTo>
                  <a:pt x="2271" y="967"/>
                  <a:pt x="2271" y="969"/>
                  <a:pt x="2271" y="970"/>
                </a:cubicBezTo>
                <a:cubicBezTo>
                  <a:pt x="2271" y="971"/>
                  <a:pt x="2271" y="973"/>
                  <a:pt x="2270" y="974"/>
                </a:cubicBezTo>
                <a:cubicBezTo>
                  <a:pt x="2269" y="976"/>
                  <a:pt x="2270" y="977"/>
                  <a:pt x="2271" y="977"/>
                </a:cubicBezTo>
                <a:cubicBezTo>
                  <a:pt x="2274" y="978"/>
                  <a:pt x="2277" y="979"/>
                  <a:pt x="2280" y="979"/>
                </a:cubicBezTo>
                <a:cubicBezTo>
                  <a:pt x="2280" y="979"/>
                  <a:pt x="2281" y="978"/>
                  <a:pt x="2281" y="978"/>
                </a:cubicBezTo>
                <a:cubicBezTo>
                  <a:pt x="2282" y="977"/>
                  <a:pt x="2282" y="975"/>
                  <a:pt x="2282" y="974"/>
                </a:cubicBezTo>
                <a:cubicBezTo>
                  <a:pt x="2284" y="972"/>
                  <a:pt x="2284" y="969"/>
                  <a:pt x="2284" y="966"/>
                </a:cubicBezTo>
                <a:cubicBezTo>
                  <a:pt x="2284" y="966"/>
                  <a:pt x="2284" y="966"/>
                  <a:pt x="2284" y="965"/>
                </a:cubicBezTo>
                <a:cubicBezTo>
                  <a:pt x="2284" y="965"/>
                  <a:pt x="2284" y="965"/>
                  <a:pt x="2284" y="964"/>
                </a:cubicBezTo>
                <a:cubicBezTo>
                  <a:pt x="2285" y="967"/>
                  <a:pt x="2286" y="967"/>
                  <a:pt x="2288" y="967"/>
                </a:cubicBezTo>
                <a:cubicBezTo>
                  <a:pt x="2289" y="967"/>
                  <a:pt x="2290" y="967"/>
                  <a:pt x="2291" y="967"/>
                </a:cubicBezTo>
                <a:cubicBezTo>
                  <a:pt x="2293" y="967"/>
                  <a:pt x="2297" y="968"/>
                  <a:pt x="2297" y="964"/>
                </a:cubicBezTo>
                <a:cubicBezTo>
                  <a:pt x="2297" y="966"/>
                  <a:pt x="2297" y="967"/>
                  <a:pt x="2297" y="968"/>
                </a:cubicBezTo>
                <a:cubicBezTo>
                  <a:pt x="2296" y="969"/>
                  <a:pt x="2295" y="970"/>
                  <a:pt x="2293" y="970"/>
                </a:cubicBezTo>
                <a:cubicBezTo>
                  <a:pt x="2292" y="971"/>
                  <a:pt x="2291" y="973"/>
                  <a:pt x="2292" y="973"/>
                </a:cubicBezTo>
                <a:cubicBezTo>
                  <a:pt x="2293" y="976"/>
                  <a:pt x="2295" y="978"/>
                  <a:pt x="2296" y="980"/>
                </a:cubicBezTo>
                <a:cubicBezTo>
                  <a:pt x="2298" y="981"/>
                  <a:pt x="2300" y="981"/>
                  <a:pt x="2301" y="979"/>
                </a:cubicBezTo>
                <a:cubicBezTo>
                  <a:pt x="2302" y="978"/>
                  <a:pt x="2303" y="977"/>
                  <a:pt x="2303" y="977"/>
                </a:cubicBezTo>
                <a:cubicBezTo>
                  <a:pt x="2305" y="975"/>
                  <a:pt x="2306" y="974"/>
                  <a:pt x="2308" y="973"/>
                </a:cubicBezTo>
                <a:cubicBezTo>
                  <a:pt x="2312" y="969"/>
                  <a:pt x="2314" y="963"/>
                  <a:pt x="2316" y="957"/>
                </a:cubicBezTo>
                <a:cubicBezTo>
                  <a:pt x="2316" y="956"/>
                  <a:pt x="2315" y="956"/>
                  <a:pt x="2315" y="955"/>
                </a:cubicBezTo>
                <a:cubicBezTo>
                  <a:pt x="2314" y="954"/>
                  <a:pt x="2313" y="953"/>
                  <a:pt x="2312" y="952"/>
                </a:cubicBezTo>
                <a:close/>
                <a:moveTo>
                  <a:pt x="2264" y="959"/>
                </a:moveTo>
                <a:cubicBezTo>
                  <a:pt x="2264" y="960"/>
                  <a:pt x="2262" y="960"/>
                  <a:pt x="2261" y="962"/>
                </a:cubicBezTo>
                <a:cubicBezTo>
                  <a:pt x="2260" y="962"/>
                  <a:pt x="2260" y="963"/>
                  <a:pt x="2260" y="964"/>
                </a:cubicBezTo>
                <a:cubicBezTo>
                  <a:pt x="2260" y="966"/>
                  <a:pt x="2264" y="971"/>
                  <a:pt x="2267" y="970"/>
                </a:cubicBezTo>
                <a:cubicBezTo>
                  <a:pt x="2269" y="970"/>
                  <a:pt x="2270" y="969"/>
                  <a:pt x="2269" y="967"/>
                </a:cubicBezTo>
                <a:cubicBezTo>
                  <a:pt x="2267" y="964"/>
                  <a:pt x="2266" y="962"/>
                  <a:pt x="2264" y="959"/>
                </a:cubicBezTo>
                <a:close/>
                <a:moveTo>
                  <a:pt x="2317" y="961"/>
                </a:moveTo>
                <a:cubicBezTo>
                  <a:pt x="2315" y="966"/>
                  <a:pt x="2312" y="970"/>
                  <a:pt x="2310" y="974"/>
                </a:cubicBezTo>
                <a:cubicBezTo>
                  <a:pt x="2313" y="974"/>
                  <a:pt x="2315" y="975"/>
                  <a:pt x="2318" y="974"/>
                </a:cubicBezTo>
                <a:cubicBezTo>
                  <a:pt x="2318" y="974"/>
                  <a:pt x="2319" y="973"/>
                  <a:pt x="2319" y="973"/>
                </a:cubicBezTo>
                <a:cubicBezTo>
                  <a:pt x="2319" y="970"/>
                  <a:pt x="2319" y="967"/>
                  <a:pt x="2318" y="965"/>
                </a:cubicBezTo>
                <a:cubicBezTo>
                  <a:pt x="2318" y="964"/>
                  <a:pt x="2318" y="962"/>
                  <a:pt x="2317" y="961"/>
                </a:cubicBezTo>
                <a:close/>
                <a:moveTo>
                  <a:pt x="2264" y="941"/>
                </a:moveTo>
                <a:cubicBezTo>
                  <a:pt x="2264" y="941"/>
                  <a:pt x="2263" y="941"/>
                  <a:pt x="2262" y="941"/>
                </a:cubicBezTo>
                <a:cubicBezTo>
                  <a:pt x="2262" y="941"/>
                  <a:pt x="2261" y="941"/>
                  <a:pt x="2261" y="941"/>
                </a:cubicBezTo>
                <a:cubicBezTo>
                  <a:pt x="2260" y="941"/>
                  <a:pt x="2260" y="940"/>
                  <a:pt x="2260" y="939"/>
                </a:cubicBezTo>
                <a:cubicBezTo>
                  <a:pt x="2261" y="937"/>
                  <a:pt x="2261" y="935"/>
                  <a:pt x="2262" y="933"/>
                </a:cubicBezTo>
                <a:cubicBezTo>
                  <a:pt x="2262" y="933"/>
                  <a:pt x="2262" y="933"/>
                  <a:pt x="2261" y="933"/>
                </a:cubicBezTo>
                <a:cubicBezTo>
                  <a:pt x="2260" y="934"/>
                  <a:pt x="2259" y="935"/>
                  <a:pt x="2258" y="936"/>
                </a:cubicBezTo>
                <a:cubicBezTo>
                  <a:pt x="2258" y="937"/>
                  <a:pt x="2259" y="942"/>
                  <a:pt x="2261" y="943"/>
                </a:cubicBezTo>
                <a:cubicBezTo>
                  <a:pt x="2262" y="944"/>
                  <a:pt x="2264" y="943"/>
                  <a:pt x="2264" y="941"/>
                </a:cubicBezTo>
                <a:close/>
                <a:moveTo>
                  <a:pt x="2264" y="959"/>
                </a:moveTo>
                <a:cubicBezTo>
                  <a:pt x="2264" y="960"/>
                  <a:pt x="2262" y="961"/>
                  <a:pt x="2261" y="962"/>
                </a:cubicBezTo>
                <a:cubicBezTo>
                  <a:pt x="2261" y="962"/>
                  <a:pt x="2260" y="963"/>
                  <a:pt x="2260" y="964"/>
                </a:cubicBezTo>
                <a:cubicBezTo>
                  <a:pt x="2260" y="967"/>
                  <a:pt x="2264" y="971"/>
                  <a:pt x="2267" y="971"/>
                </a:cubicBezTo>
                <a:cubicBezTo>
                  <a:pt x="2269" y="971"/>
                  <a:pt x="2270" y="969"/>
                  <a:pt x="2269" y="968"/>
                </a:cubicBezTo>
                <a:cubicBezTo>
                  <a:pt x="2267" y="965"/>
                  <a:pt x="2266" y="962"/>
                  <a:pt x="2264" y="959"/>
                </a:cubicBezTo>
                <a:close/>
                <a:moveTo>
                  <a:pt x="2317" y="961"/>
                </a:moveTo>
                <a:cubicBezTo>
                  <a:pt x="2315" y="966"/>
                  <a:pt x="2312" y="970"/>
                  <a:pt x="2310" y="974"/>
                </a:cubicBezTo>
                <a:cubicBezTo>
                  <a:pt x="2313" y="974"/>
                  <a:pt x="2315" y="975"/>
                  <a:pt x="2318" y="974"/>
                </a:cubicBezTo>
                <a:cubicBezTo>
                  <a:pt x="2318" y="974"/>
                  <a:pt x="2319" y="973"/>
                  <a:pt x="2319" y="973"/>
                </a:cubicBezTo>
                <a:cubicBezTo>
                  <a:pt x="2319" y="970"/>
                  <a:pt x="2319" y="968"/>
                  <a:pt x="2318" y="965"/>
                </a:cubicBezTo>
                <a:cubicBezTo>
                  <a:pt x="2318" y="964"/>
                  <a:pt x="2318" y="962"/>
                  <a:pt x="2317" y="961"/>
                </a:cubicBezTo>
                <a:close/>
                <a:moveTo>
                  <a:pt x="2264" y="941"/>
                </a:moveTo>
                <a:cubicBezTo>
                  <a:pt x="2264" y="941"/>
                  <a:pt x="2263" y="942"/>
                  <a:pt x="2263" y="942"/>
                </a:cubicBezTo>
                <a:cubicBezTo>
                  <a:pt x="2262" y="942"/>
                  <a:pt x="2261" y="942"/>
                  <a:pt x="2261" y="941"/>
                </a:cubicBezTo>
                <a:cubicBezTo>
                  <a:pt x="2261" y="941"/>
                  <a:pt x="2260" y="940"/>
                  <a:pt x="2260" y="939"/>
                </a:cubicBezTo>
                <a:cubicBezTo>
                  <a:pt x="2261" y="937"/>
                  <a:pt x="2261" y="935"/>
                  <a:pt x="2262" y="933"/>
                </a:cubicBezTo>
                <a:cubicBezTo>
                  <a:pt x="2262" y="933"/>
                  <a:pt x="2262" y="933"/>
                  <a:pt x="2261" y="933"/>
                </a:cubicBezTo>
                <a:cubicBezTo>
                  <a:pt x="2261" y="934"/>
                  <a:pt x="2259" y="935"/>
                  <a:pt x="2259" y="936"/>
                </a:cubicBezTo>
                <a:cubicBezTo>
                  <a:pt x="2258" y="937"/>
                  <a:pt x="2259" y="942"/>
                  <a:pt x="2261" y="943"/>
                </a:cubicBezTo>
                <a:cubicBezTo>
                  <a:pt x="2263" y="944"/>
                  <a:pt x="2264" y="943"/>
                  <a:pt x="2264" y="941"/>
                </a:cubicBezTo>
                <a:close/>
                <a:moveTo>
                  <a:pt x="2317" y="933"/>
                </a:moveTo>
                <a:cubicBezTo>
                  <a:pt x="2320" y="929"/>
                  <a:pt x="2320" y="929"/>
                  <a:pt x="2324" y="928"/>
                </a:cubicBezTo>
                <a:cubicBezTo>
                  <a:pt x="2324" y="930"/>
                  <a:pt x="2325" y="931"/>
                  <a:pt x="2326" y="931"/>
                </a:cubicBezTo>
                <a:cubicBezTo>
                  <a:pt x="2324" y="932"/>
                  <a:pt x="2322" y="934"/>
                  <a:pt x="2320" y="935"/>
                </a:cubicBezTo>
                <a:cubicBezTo>
                  <a:pt x="2320" y="934"/>
                  <a:pt x="2319" y="933"/>
                  <a:pt x="2318" y="932"/>
                </a:cubicBezTo>
                <a:cubicBezTo>
                  <a:pt x="2318" y="932"/>
                  <a:pt x="2318" y="932"/>
                  <a:pt x="2317" y="933"/>
                </a:cubicBezTo>
                <a:close/>
                <a:moveTo>
                  <a:pt x="2323" y="932"/>
                </a:moveTo>
                <a:cubicBezTo>
                  <a:pt x="2322" y="932"/>
                  <a:pt x="2321" y="931"/>
                  <a:pt x="2321" y="931"/>
                </a:cubicBezTo>
                <a:cubicBezTo>
                  <a:pt x="2320" y="931"/>
                  <a:pt x="2320" y="932"/>
                  <a:pt x="2320" y="933"/>
                </a:cubicBezTo>
                <a:cubicBezTo>
                  <a:pt x="2320" y="933"/>
                  <a:pt x="2320" y="933"/>
                  <a:pt x="2320" y="934"/>
                </a:cubicBezTo>
                <a:cubicBezTo>
                  <a:pt x="2321" y="933"/>
                  <a:pt x="2321" y="933"/>
                  <a:pt x="2323" y="932"/>
                </a:cubicBezTo>
                <a:close/>
                <a:moveTo>
                  <a:pt x="2304" y="922"/>
                </a:moveTo>
                <a:cubicBezTo>
                  <a:pt x="2297" y="921"/>
                  <a:pt x="2294" y="924"/>
                  <a:pt x="2293" y="932"/>
                </a:cubicBezTo>
                <a:cubicBezTo>
                  <a:pt x="2294" y="930"/>
                  <a:pt x="2296" y="928"/>
                  <a:pt x="2297" y="925"/>
                </a:cubicBezTo>
                <a:cubicBezTo>
                  <a:pt x="2297" y="925"/>
                  <a:pt x="2297" y="925"/>
                  <a:pt x="2297" y="925"/>
                </a:cubicBezTo>
                <a:cubicBezTo>
                  <a:pt x="2297" y="926"/>
                  <a:pt x="2298" y="927"/>
                  <a:pt x="2298" y="928"/>
                </a:cubicBezTo>
                <a:cubicBezTo>
                  <a:pt x="2299" y="925"/>
                  <a:pt x="2300" y="923"/>
                  <a:pt x="2304" y="922"/>
                </a:cubicBezTo>
                <a:close/>
                <a:moveTo>
                  <a:pt x="2348" y="924"/>
                </a:moveTo>
                <a:cubicBezTo>
                  <a:pt x="2345" y="925"/>
                  <a:pt x="2343" y="927"/>
                  <a:pt x="2342" y="928"/>
                </a:cubicBezTo>
                <a:cubicBezTo>
                  <a:pt x="2344" y="928"/>
                  <a:pt x="2346" y="927"/>
                  <a:pt x="2348" y="924"/>
                </a:cubicBezTo>
                <a:close/>
                <a:moveTo>
                  <a:pt x="2314" y="926"/>
                </a:moveTo>
                <a:cubicBezTo>
                  <a:pt x="2315" y="925"/>
                  <a:pt x="2316" y="923"/>
                  <a:pt x="2317" y="922"/>
                </a:cubicBezTo>
                <a:cubicBezTo>
                  <a:pt x="2314" y="923"/>
                  <a:pt x="2313" y="924"/>
                  <a:pt x="2314" y="926"/>
                </a:cubicBezTo>
                <a:close/>
                <a:moveTo>
                  <a:pt x="2324" y="947"/>
                </a:moveTo>
                <a:cubicBezTo>
                  <a:pt x="2322" y="948"/>
                  <a:pt x="2321" y="949"/>
                  <a:pt x="2321" y="949"/>
                </a:cubicBezTo>
                <a:cubicBezTo>
                  <a:pt x="2322" y="949"/>
                  <a:pt x="2323" y="948"/>
                  <a:pt x="2324" y="947"/>
                </a:cubicBezTo>
                <a:close/>
                <a:moveTo>
                  <a:pt x="2323" y="932"/>
                </a:moveTo>
                <a:cubicBezTo>
                  <a:pt x="2322" y="931"/>
                  <a:pt x="2321" y="931"/>
                  <a:pt x="2321" y="931"/>
                </a:cubicBezTo>
                <a:cubicBezTo>
                  <a:pt x="2320" y="931"/>
                  <a:pt x="2320" y="932"/>
                  <a:pt x="2320" y="932"/>
                </a:cubicBezTo>
                <a:cubicBezTo>
                  <a:pt x="2320" y="933"/>
                  <a:pt x="2320" y="933"/>
                  <a:pt x="2320" y="933"/>
                </a:cubicBezTo>
                <a:cubicBezTo>
                  <a:pt x="2321" y="933"/>
                  <a:pt x="2321" y="933"/>
                  <a:pt x="2323" y="932"/>
                </a:cubicBezTo>
                <a:close/>
                <a:moveTo>
                  <a:pt x="2613" y="909"/>
                </a:moveTo>
                <a:cubicBezTo>
                  <a:pt x="2613" y="909"/>
                  <a:pt x="2613" y="909"/>
                  <a:pt x="2613" y="909"/>
                </a:cubicBezTo>
                <a:cubicBezTo>
                  <a:pt x="2609" y="909"/>
                  <a:pt x="2609" y="909"/>
                  <a:pt x="2609" y="909"/>
                </a:cubicBezTo>
                <a:cubicBezTo>
                  <a:pt x="2606" y="911"/>
                  <a:pt x="2605" y="912"/>
                  <a:pt x="2603" y="913"/>
                </a:cubicBezTo>
                <a:cubicBezTo>
                  <a:pt x="2601" y="915"/>
                  <a:pt x="2599" y="915"/>
                  <a:pt x="2598" y="916"/>
                </a:cubicBezTo>
                <a:cubicBezTo>
                  <a:pt x="2596" y="917"/>
                  <a:pt x="2594" y="918"/>
                  <a:pt x="2592" y="919"/>
                </a:cubicBezTo>
                <a:cubicBezTo>
                  <a:pt x="2591" y="920"/>
                  <a:pt x="2588" y="920"/>
                  <a:pt x="2587" y="920"/>
                </a:cubicBezTo>
                <a:cubicBezTo>
                  <a:pt x="2587" y="920"/>
                  <a:pt x="2587" y="920"/>
                  <a:pt x="2587" y="931"/>
                </a:cubicBezTo>
                <a:cubicBezTo>
                  <a:pt x="2590" y="930"/>
                  <a:pt x="2593" y="929"/>
                  <a:pt x="2595" y="928"/>
                </a:cubicBezTo>
                <a:cubicBezTo>
                  <a:pt x="2597" y="927"/>
                  <a:pt x="2600" y="925"/>
                  <a:pt x="2601" y="924"/>
                </a:cubicBezTo>
                <a:cubicBezTo>
                  <a:pt x="2601" y="924"/>
                  <a:pt x="2601" y="924"/>
                  <a:pt x="2601" y="983"/>
                </a:cubicBezTo>
                <a:cubicBezTo>
                  <a:pt x="2601" y="983"/>
                  <a:pt x="2601" y="983"/>
                  <a:pt x="2613" y="983"/>
                </a:cubicBezTo>
                <a:cubicBezTo>
                  <a:pt x="2613" y="983"/>
                  <a:pt x="2613" y="983"/>
                  <a:pt x="2613" y="909"/>
                </a:cubicBezTo>
                <a:close/>
                <a:moveTo>
                  <a:pt x="2734" y="909"/>
                </a:moveTo>
                <a:cubicBezTo>
                  <a:pt x="2734" y="909"/>
                  <a:pt x="2734" y="909"/>
                  <a:pt x="2734" y="909"/>
                </a:cubicBezTo>
                <a:cubicBezTo>
                  <a:pt x="2729" y="909"/>
                  <a:pt x="2729" y="909"/>
                  <a:pt x="2729" y="909"/>
                </a:cubicBezTo>
                <a:cubicBezTo>
                  <a:pt x="2727" y="911"/>
                  <a:pt x="2726" y="912"/>
                  <a:pt x="2724" y="913"/>
                </a:cubicBezTo>
                <a:cubicBezTo>
                  <a:pt x="2722" y="915"/>
                  <a:pt x="2721" y="915"/>
                  <a:pt x="2718" y="916"/>
                </a:cubicBezTo>
                <a:cubicBezTo>
                  <a:pt x="2717" y="917"/>
                  <a:pt x="2715" y="918"/>
                  <a:pt x="2713" y="919"/>
                </a:cubicBezTo>
                <a:cubicBezTo>
                  <a:pt x="2711" y="920"/>
                  <a:pt x="2710" y="920"/>
                  <a:pt x="2708" y="920"/>
                </a:cubicBezTo>
                <a:cubicBezTo>
                  <a:pt x="2708" y="920"/>
                  <a:pt x="2708" y="920"/>
                  <a:pt x="2708" y="931"/>
                </a:cubicBezTo>
                <a:cubicBezTo>
                  <a:pt x="2710" y="930"/>
                  <a:pt x="2713" y="929"/>
                  <a:pt x="2716" y="928"/>
                </a:cubicBezTo>
                <a:cubicBezTo>
                  <a:pt x="2718" y="927"/>
                  <a:pt x="2721" y="925"/>
                  <a:pt x="2723" y="924"/>
                </a:cubicBezTo>
                <a:cubicBezTo>
                  <a:pt x="2723" y="924"/>
                  <a:pt x="2723" y="924"/>
                  <a:pt x="2723" y="983"/>
                </a:cubicBezTo>
                <a:cubicBezTo>
                  <a:pt x="2723" y="983"/>
                  <a:pt x="2723" y="983"/>
                  <a:pt x="2734" y="983"/>
                </a:cubicBezTo>
                <a:cubicBezTo>
                  <a:pt x="2734" y="983"/>
                  <a:pt x="2734" y="983"/>
                  <a:pt x="2734" y="909"/>
                </a:cubicBezTo>
                <a:close/>
                <a:moveTo>
                  <a:pt x="2781" y="909"/>
                </a:moveTo>
                <a:cubicBezTo>
                  <a:pt x="2781" y="909"/>
                  <a:pt x="2781" y="909"/>
                  <a:pt x="2781" y="909"/>
                </a:cubicBezTo>
                <a:cubicBezTo>
                  <a:pt x="2776" y="909"/>
                  <a:pt x="2776" y="909"/>
                  <a:pt x="2776" y="909"/>
                </a:cubicBezTo>
                <a:cubicBezTo>
                  <a:pt x="2774" y="911"/>
                  <a:pt x="2773" y="912"/>
                  <a:pt x="2771" y="913"/>
                </a:cubicBezTo>
                <a:cubicBezTo>
                  <a:pt x="2769" y="915"/>
                  <a:pt x="2767" y="915"/>
                  <a:pt x="2765" y="916"/>
                </a:cubicBezTo>
                <a:cubicBezTo>
                  <a:pt x="2764" y="917"/>
                  <a:pt x="2762" y="918"/>
                  <a:pt x="2760" y="919"/>
                </a:cubicBezTo>
                <a:cubicBezTo>
                  <a:pt x="2758" y="920"/>
                  <a:pt x="2757" y="920"/>
                  <a:pt x="2755" y="920"/>
                </a:cubicBezTo>
                <a:cubicBezTo>
                  <a:pt x="2755" y="920"/>
                  <a:pt x="2755" y="920"/>
                  <a:pt x="2755" y="931"/>
                </a:cubicBezTo>
                <a:cubicBezTo>
                  <a:pt x="2757" y="930"/>
                  <a:pt x="2760" y="929"/>
                  <a:pt x="2763" y="928"/>
                </a:cubicBezTo>
                <a:cubicBezTo>
                  <a:pt x="2765" y="927"/>
                  <a:pt x="2768" y="925"/>
                  <a:pt x="2770" y="924"/>
                </a:cubicBezTo>
                <a:cubicBezTo>
                  <a:pt x="2770" y="924"/>
                  <a:pt x="2770" y="924"/>
                  <a:pt x="2770" y="983"/>
                </a:cubicBezTo>
                <a:cubicBezTo>
                  <a:pt x="2770" y="983"/>
                  <a:pt x="2770" y="983"/>
                  <a:pt x="2781" y="983"/>
                </a:cubicBezTo>
                <a:cubicBezTo>
                  <a:pt x="2781" y="983"/>
                  <a:pt x="2781" y="983"/>
                  <a:pt x="2781" y="909"/>
                </a:cubicBezTo>
                <a:close/>
                <a:moveTo>
                  <a:pt x="2827" y="909"/>
                </a:moveTo>
                <a:cubicBezTo>
                  <a:pt x="2827" y="909"/>
                  <a:pt x="2827" y="909"/>
                  <a:pt x="2827" y="909"/>
                </a:cubicBezTo>
                <a:cubicBezTo>
                  <a:pt x="2823" y="909"/>
                  <a:pt x="2823" y="909"/>
                  <a:pt x="2823" y="909"/>
                </a:cubicBezTo>
                <a:cubicBezTo>
                  <a:pt x="2821" y="911"/>
                  <a:pt x="2819" y="912"/>
                  <a:pt x="2817" y="913"/>
                </a:cubicBezTo>
                <a:cubicBezTo>
                  <a:pt x="2816" y="915"/>
                  <a:pt x="2813" y="915"/>
                  <a:pt x="2812" y="916"/>
                </a:cubicBezTo>
                <a:cubicBezTo>
                  <a:pt x="2810" y="917"/>
                  <a:pt x="2808" y="917"/>
                  <a:pt x="2806" y="918"/>
                </a:cubicBezTo>
                <a:cubicBezTo>
                  <a:pt x="2805" y="919"/>
                  <a:pt x="2803" y="920"/>
                  <a:pt x="2801" y="920"/>
                </a:cubicBezTo>
                <a:cubicBezTo>
                  <a:pt x="2801" y="920"/>
                  <a:pt x="2801" y="920"/>
                  <a:pt x="2801" y="931"/>
                </a:cubicBezTo>
                <a:cubicBezTo>
                  <a:pt x="2804" y="930"/>
                  <a:pt x="2807" y="928"/>
                  <a:pt x="2809" y="928"/>
                </a:cubicBezTo>
                <a:cubicBezTo>
                  <a:pt x="2811" y="927"/>
                  <a:pt x="2814" y="925"/>
                  <a:pt x="2816" y="924"/>
                </a:cubicBezTo>
                <a:cubicBezTo>
                  <a:pt x="2816" y="924"/>
                  <a:pt x="2816" y="924"/>
                  <a:pt x="2816" y="983"/>
                </a:cubicBezTo>
                <a:cubicBezTo>
                  <a:pt x="2816" y="983"/>
                  <a:pt x="2816" y="983"/>
                  <a:pt x="2827" y="983"/>
                </a:cubicBezTo>
                <a:cubicBezTo>
                  <a:pt x="2827" y="983"/>
                  <a:pt x="2827" y="983"/>
                  <a:pt x="2827" y="909"/>
                </a:cubicBezTo>
                <a:close/>
                <a:moveTo>
                  <a:pt x="2633" y="942"/>
                </a:moveTo>
                <a:cubicBezTo>
                  <a:pt x="2633" y="942"/>
                  <a:pt x="2633" y="942"/>
                  <a:pt x="2633" y="942"/>
                </a:cubicBezTo>
                <a:cubicBezTo>
                  <a:pt x="2633" y="950"/>
                  <a:pt x="2633" y="950"/>
                  <a:pt x="2633" y="950"/>
                </a:cubicBezTo>
                <a:cubicBezTo>
                  <a:pt x="2639" y="950"/>
                  <a:pt x="2640" y="953"/>
                  <a:pt x="2640" y="956"/>
                </a:cubicBezTo>
                <a:cubicBezTo>
                  <a:pt x="2640" y="958"/>
                  <a:pt x="2639" y="960"/>
                  <a:pt x="2639" y="963"/>
                </a:cubicBezTo>
                <a:cubicBezTo>
                  <a:pt x="2639" y="966"/>
                  <a:pt x="2639" y="968"/>
                  <a:pt x="2639" y="970"/>
                </a:cubicBezTo>
                <a:cubicBezTo>
                  <a:pt x="2639" y="980"/>
                  <a:pt x="2645" y="983"/>
                  <a:pt x="2653" y="983"/>
                </a:cubicBezTo>
                <a:cubicBezTo>
                  <a:pt x="2653" y="983"/>
                  <a:pt x="2653" y="983"/>
                  <a:pt x="2657" y="983"/>
                </a:cubicBezTo>
                <a:cubicBezTo>
                  <a:pt x="2657" y="983"/>
                  <a:pt x="2657" y="983"/>
                  <a:pt x="2657" y="974"/>
                </a:cubicBezTo>
                <a:cubicBezTo>
                  <a:pt x="2657" y="974"/>
                  <a:pt x="2657" y="974"/>
                  <a:pt x="2656" y="974"/>
                </a:cubicBezTo>
                <a:cubicBezTo>
                  <a:pt x="2652" y="974"/>
                  <a:pt x="2651" y="971"/>
                  <a:pt x="2651" y="968"/>
                </a:cubicBezTo>
                <a:cubicBezTo>
                  <a:pt x="2651" y="966"/>
                  <a:pt x="2651" y="965"/>
                  <a:pt x="2651" y="963"/>
                </a:cubicBezTo>
                <a:cubicBezTo>
                  <a:pt x="2651" y="962"/>
                  <a:pt x="2651" y="959"/>
                  <a:pt x="2651" y="957"/>
                </a:cubicBezTo>
                <a:cubicBezTo>
                  <a:pt x="2651" y="950"/>
                  <a:pt x="2648" y="947"/>
                  <a:pt x="2643" y="946"/>
                </a:cubicBezTo>
                <a:cubicBezTo>
                  <a:pt x="2643" y="946"/>
                  <a:pt x="2643" y="946"/>
                  <a:pt x="2643" y="946"/>
                </a:cubicBezTo>
                <a:cubicBezTo>
                  <a:pt x="2648" y="944"/>
                  <a:pt x="2651" y="942"/>
                  <a:pt x="2651" y="935"/>
                </a:cubicBezTo>
                <a:cubicBezTo>
                  <a:pt x="2651" y="932"/>
                  <a:pt x="2651" y="930"/>
                  <a:pt x="2651" y="928"/>
                </a:cubicBezTo>
                <a:cubicBezTo>
                  <a:pt x="2651" y="927"/>
                  <a:pt x="2651" y="925"/>
                  <a:pt x="2651" y="924"/>
                </a:cubicBezTo>
                <a:cubicBezTo>
                  <a:pt x="2651" y="920"/>
                  <a:pt x="2652" y="918"/>
                  <a:pt x="2656" y="918"/>
                </a:cubicBezTo>
                <a:cubicBezTo>
                  <a:pt x="2656" y="918"/>
                  <a:pt x="2656" y="918"/>
                  <a:pt x="2657" y="918"/>
                </a:cubicBezTo>
                <a:cubicBezTo>
                  <a:pt x="2657" y="918"/>
                  <a:pt x="2657" y="918"/>
                  <a:pt x="2657" y="909"/>
                </a:cubicBezTo>
                <a:cubicBezTo>
                  <a:pt x="2657" y="909"/>
                  <a:pt x="2657" y="909"/>
                  <a:pt x="2653" y="909"/>
                </a:cubicBezTo>
                <a:cubicBezTo>
                  <a:pt x="2644" y="909"/>
                  <a:pt x="2639" y="913"/>
                  <a:pt x="2639" y="921"/>
                </a:cubicBezTo>
                <a:cubicBezTo>
                  <a:pt x="2639" y="923"/>
                  <a:pt x="2639" y="926"/>
                  <a:pt x="2639" y="929"/>
                </a:cubicBezTo>
                <a:cubicBezTo>
                  <a:pt x="2639" y="931"/>
                  <a:pt x="2640" y="934"/>
                  <a:pt x="2640" y="935"/>
                </a:cubicBezTo>
                <a:cubicBezTo>
                  <a:pt x="2640" y="938"/>
                  <a:pt x="2639" y="941"/>
                  <a:pt x="2633" y="942"/>
                </a:cubicBezTo>
                <a:close/>
                <a:moveTo>
                  <a:pt x="2688" y="950"/>
                </a:moveTo>
                <a:cubicBezTo>
                  <a:pt x="2688" y="950"/>
                  <a:pt x="2688" y="950"/>
                  <a:pt x="2688" y="950"/>
                </a:cubicBezTo>
                <a:cubicBezTo>
                  <a:pt x="2688" y="942"/>
                  <a:pt x="2688" y="942"/>
                  <a:pt x="2688" y="942"/>
                </a:cubicBezTo>
                <a:cubicBezTo>
                  <a:pt x="2682" y="941"/>
                  <a:pt x="2681" y="938"/>
                  <a:pt x="2681" y="935"/>
                </a:cubicBezTo>
                <a:cubicBezTo>
                  <a:pt x="2681" y="934"/>
                  <a:pt x="2681" y="931"/>
                  <a:pt x="2682" y="929"/>
                </a:cubicBezTo>
                <a:cubicBezTo>
                  <a:pt x="2682" y="926"/>
                  <a:pt x="2682" y="923"/>
                  <a:pt x="2682" y="921"/>
                </a:cubicBezTo>
                <a:cubicBezTo>
                  <a:pt x="2682" y="913"/>
                  <a:pt x="2677" y="909"/>
                  <a:pt x="2668" y="909"/>
                </a:cubicBezTo>
                <a:cubicBezTo>
                  <a:pt x="2668" y="909"/>
                  <a:pt x="2668" y="909"/>
                  <a:pt x="2664" y="909"/>
                </a:cubicBezTo>
                <a:cubicBezTo>
                  <a:pt x="2664" y="909"/>
                  <a:pt x="2664" y="909"/>
                  <a:pt x="2664" y="918"/>
                </a:cubicBezTo>
                <a:cubicBezTo>
                  <a:pt x="2664" y="918"/>
                  <a:pt x="2664" y="918"/>
                  <a:pt x="2665" y="918"/>
                </a:cubicBezTo>
                <a:cubicBezTo>
                  <a:pt x="2669" y="918"/>
                  <a:pt x="2670" y="920"/>
                  <a:pt x="2670" y="924"/>
                </a:cubicBezTo>
                <a:cubicBezTo>
                  <a:pt x="2670" y="925"/>
                  <a:pt x="2670" y="927"/>
                  <a:pt x="2670" y="928"/>
                </a:cubicBezTo>
                <a:cubicBezTo>
                  <a:pt x="2670" y="930"/>
                  <a:pt x="2670" y="932"/>
                  <a:pt x="2670" y="935"/>
                </a:cubicBezTo>
                <a:cubicBezTo>
                  <a:pt x="2670" y="942"/>
                  <a:pt x="2672" y="944"/>
                  <a:pt x="2678" y="946"/>
                </a:cubicBezTo>
                <a:cubicBezTo>
                  <a:pt x="2678" y="946"/>
                  <a:pt x="2678" y="946"/>
                  <a:pt x="2678" y="946"/>
                </a:cubicBezTo>
                <a:cubicBezTo>
                  <a:pt x="2672" y="947"/>
                  <a:pt x="2670" y="950"/>
                  <a:pt x="2670" y="957"/>
                </a:cubicBezTo>
                <a:cubicBezTo>
                  <a:pt x="2670" y="959"/>
                  <a:pt x="2670" y="962"/>
                  <a:pt x="2670" y="963"/>
                </a:cubicBezTo>
                <a:cubicBezTo>
                  <a:pt x="2670" y="965"/>
                  <a:pt x="2670" y="966"/>
                  <a:pt x="2670" y="968"/>
                </a:cubicBezTo>
                <a:cubicBezTo>
                  <a:pt x="2670" y="971"/>
                  <a:pt x="2669" y="974"/>
                  <a:pt x="2665" y="974"/>
                </a:cubicBezTo>
                <a:cubicBezTo>
                  <a:pt x="2665" y="974"/>
                  <a:pt x="2665" y="974"/>
                  <a:pt x="2664" y="974"/>
                </a:cubicBezTo>
                <a:cubicBezTo>
                  <a:pt x="2664" y="974"/>
                  <a:pt x="2664" y="974"/>
                  <a:pt x="2664" y="983"/>
                </a:cubicBezTo>
                <a:cubicBezTo>
                  <a:pt x="2664" y="983"/>
                  <a:pt x="2664" y="983"/>
                  <a:pt x="2668" y="983"/>
                </a:cubicBezTo>
                <a:cubicBezTo>
                  <a:pt x="2676" y="983"/>
                  <a:pt x="2682" y="980"/>
                  <a:pt x="2682" y="970"/>
                </a:cubicBezTo>
                <a:cubicBezTo>
                  <a:pt x="2682" y="968"/>
                  <a:pt x="2682" y="966"/>
                  <a:pt x="2682" y="963"/>
                </a:cubicBezTo>
                <a:cubicBezTo>
                  <a:pt x="2681" y="960"/>
                  <a:pt x="2681" y="958"/>
                  <a:pt x="2681" y="956"/>
                </a:cubicBezTo>
                <a:cubicBezTo>
                  <a:pt x="2681" y="953"/>
                  <a:pt x="2682" y="950"/>
                  <a:pt x="2688" y="950"/>
                </a:cubicBezTo>
                <a:close/>
                <a:moveTo>
                  <a:pt x="2871" y="983"/>
                </a:moveTo>
                <a:cubicBezTo>
                  <a:pt x="2864" y="983"/>
                  <a:pt x="2857" y="980"/>
                  <a:pt x="2853" y="974"/>
                </a:cubicBezTo>
                <a:cubicBezTo>
                  <a:pt x="2849" y="968"/>
                  <a:pt x="2847" y="959"/>
                  <a:pt x="2847" y="946"/>
                </a:cubicBezTo>
                <a:cubicBezTo>
                  <a:pt x="2847" y="933"/>
                  <a:pt x="2849" y="924"/>
                  <a:pt x="2853" y="917"/>
                </a:cubicBezTo>
                <a:cubicBezTo>
                  <a:pt x="2858" y="911"/>
                  <a:pt x="2864" y="907"/>
                  <a:pt x="2873" y="907"/>
                </a:cubicBezTo>
                <a:cubicBezTo>
                  <a:pt x="2890" y="907"/>
                  <a:pt x="2898" y="919"/>
                  <a:pt x="2898" y="945"/>
                </a:cubicBezTo>
                <a:cubicBezTo>
                  <a:pt x="2898" y="957"/>
                  <a:pt x="2895" y="967"/>
                  <a:pt x="2890" y="973"/>
                </a:cubicBezTo>
                <a:cubicBezTo>
                  <a:pt x="2886" y="980"/>
                  <a:pt x="2879" y="983"/>
                  <a:pt x="2871" y="983"/>
                </a:cubicBezTo>
                <a:close/>
                <a:moveTo>
                  <a:pt x="2873" y="917"/>
                </a:moveTo>
                <a:cubicBezTo>
                  <a:pt x="2863" y="917"/>
                  <a:pt x="2859" y="927"/>
                  <a:pt x="2859" y="946"/>
                </a:cubicBezTo>
                <a:cubicBezTo>
                  <a:pt x="2859" y="965"/>
                  <a:pt x="2863" y="973"/>
                  <a:pt x="2872" y="973"/>
                </a:cubicBezTo>
                <a:cubicBezTo>
                  <a:pt x="2881" y="973"/>
                  <a:pt x="2885" y="965"/>
                  <a:pt x="2885" y="946"/>
                </a:cubicBezTo>
                <a:cubicBezTo>
                  <a:pt x="2885" y="926"/>
                  <a:pt x="2881" y="917"/>
                  <a:pt x="2873" y="917"/>
                </a:cubicBezTo>
                <a:close/>
                <a:moveTo>
                  <a:pt x="2941" y="983"/>
                </a:moveTo>
                <a:cubicBezTo>
                  <a:pt x="2934" y="983"/>
                  <a:pt x="2928" y="980"/>
                  <a:pt x="2924" y="974"/>
                </a:cubicBezTo>
                <a:cubicBezTo>
                  <a:pt x="2919" y="968"/>
                  <a:pt x="2917" y="959"/>
                  <a:pt x="2917" y="946"/>
                </a:cubicBezTo>
                <a:cubicBezTo>
                  <a:pt x="2917" y="933"/>
                  <a:pt x="2919" y="924"/>
                  <a:pt x="2924" y="917"/>
                </a:cubicBezTo>
                <a:cubicBezTo>
                  <a:pt x="2928" y="911"/>
                  <a:pt x="2935" y="907"/>
                  <a:pt x="2944" y="907"/>
                </a:cubicBezTo>
                <a:cubicBezTo>
                  <a:pt x="2960" y="907"/>
                  <a:pt x="2968" y="919"/>
                  <a:pt x="2968" y="945"/>
                </a:cubicBezTo>
                <a:cubicBezTo>
                  <a:pt x="2968" y="957"/>
                  <a:pt x="2966" y="967"/>
                  <a:pt x="2961" y="973"/>
                </a:cubicBezTo>
                <a:cubicBezTo>
                  <a:pt x="2956" y="980"/>
                  <a:pt x="2950" y="983"/>
                  <a:pt x="2941" y="983"/>
                </a:cubicBezTo>
                <a:close/>
                <a:moveTo>
                  <a:pt x="2943" y="917"/>
                </a:moveTo>
                <a:cubicBezTo>
                  <a:pt x="2934" y="917"/>
                  <a:pt x="2929" y="927"/>
                  <a:pt x="2929" y="946"/>
                </a:cubicBezTo>
                <a:cubicBezTo>
                  <a:pt x="2929" y="965"/>
                  <a:pt x="2933" y="973"/>
                  <a:pt x="2942" y="973"/>
                </a:cubicBezTo>
                <a:cubicBezTo>
                  <a:pt x="2951" y="973"/>
                  <a:pt x="2955" y="965"/>
                  <a:pt x="2955" y="946"/>
                </a:cubicBezTo>
                <a:cubicBezTo>
                  <a:pt x="2955" y="926"/>
                  <a:pt x="2951" y="917"/>
                  <a:pt x="2943" y="917"/>
                </a:cubicBezTo>
                <a:close/>
                <a:moveTo>
                  <a:pt x="3015" y="909"/>
                </a:moveTo>
                <a:cubicBezTo>
                  <a:pt x="3015" y="909"/>
                  <a:pt x="3015" y="909"/>
                  <a:pt x="3015" y="909"/>
                </a:cubicBezTo>
                <a:cubicBezTo>
                  <a:pt x="3010" y="909"/>
                  <a:pt x="3010" y="909"/>
                  <a:pt x="3010" y="909"/>
                </a:cubicBezTo>
                <a:cubicBezTo>
                  <a:pt x="3007" y="911"/>
                  <a:pt x="3006" y="912"/>
                  <a:pt x="3004" y="913"/>
                </a:cubicBezTo>
                <a:cubicBezTo>
                  <a:pt x="3002" y="915"/>
                  <a:pt x="3001" y="915"/>
                  <a:pt x="2998" y="916"/>
                </a:cubicBezTo>
                <a:cubicBezTo>
                  <a:pt x="2997" y="917"/>
                  <a:pt x="2995" y="918"/>
                  <a:pt x="2993" y="919"/>
                </a:cubicBezTo>
                <a:cubicBezTo>
                  <a:pt x="2991" y="920"/>
                  <a:pt x="2990" y="920"/>
                  <a:pt x="2987" y="920"/>
                </a:cubicBezTo>
                <a:cubicBezTo>
                  <a:pt x="2987" y="920"/>
                  <a:pt x="2987" y="920"/>
                  <a:pt x="2987" y="931"/>
                </a:cubicBezTo>
                <a:cubicBezTo>
                  <a:pt x="2990" y="930"/>
                  <a:pt x="2993" y="929"/>
                  <a:pt x="2996" y="928"/>
                </a:cubicBezTo>
                <a:cubicBezTo>
                  <a:pt x="2998" y="927"/>
                  <a:pt x="3001" y="925"/>
                  <a:pt x="3003" y="924"/>
                </a:cubicBezTo>
                <a:cubicBezTo>
                  <a:pt x="3003" y="924"/>
                  <a:pt x="3003" y="924"/>
                  <a:pt x="3003" y="983"/>
                </a:cubicBezTo>
                <a:cubicBezTo>
                  <a:pt x="3003" y="983"/>
                  <a:pt x="3003" y="983"/>
                  <a:pt x="3015" y="983"/>
                </a:cubicBezTo>
                <a:cubicBezTo>
                  <a:pt x="3015" y="983"/>
                  <a:pt x="3015" y="983"/>
                  <a:pt x="3015" y="909"/>
                </a:cubicBezTo>
                <a:close/>
                <a:moveTo>
                  <a:pt x="3061" y="909"/>
                </a:moveTo>
                <a:cubicBezTo>
                  <a:pt x="3061" y="909"/>
                  <a:pt x="3061" y="909"/>
                  <a:pt x="3061" y="909"/>
                </a:cubicBezTo>
                <a:cubicBezTo>
                  <a:pt x="3056" y="909"/>
                  <a:pt x="3056" y="909"/>
                  <a:pt x="3056" y="909"/>
                </a:cubicBezTo>
                <a:cubicBezTo>
                  <a:pt x="3054" y="911"/>
                  <a:pt x="3053" y="912"/>
                  <a:pt x="3050" y="913"/>
                </a:cubicBezTo>
                <a:cubicBezTo>
                  <a:pt x="3049" y="915"/>
                  <a:pt x="3047" y="915"/>
                  <a:pt x="3045" y="916"/>
                </a:cubicBezTo>
                <a:cubicBezTo>
                  <a:pt x="3044" y="917"/>
                  <a:pt x="3042" y="918"/>
                  <a:pt x="3040" y="919"/>
                </a:cubicBezTo>
                <a:cubicBezTo>
                  <a:pt x="3038" y="920"/>
                  <a:pt x="3037" y="920"/>
                  <a:pt x="3034" y="920"/>
                </a:cubicBezTo>
                <a:cubicBezTo>
                  <a:pt x="3034" y="920"/>
                  <a:pt x="3034" y="920"/>
                  <a:pt x="3034" y="931"/>
                </a:cubicBezTo>
                <a:cubicBezTo>
                  <a:pt x="3037" y="930"/>
                  <a:pt x="3040" y="929"/>
                  <a:pt x="3042" y="928"/>
                </a:cubicBezTo>
                <a:cubicBezTo>
                  <a:pt x="3045" y="927"/>
                  <a:pt x="3047" y="925"/>
                  <a:pt x="3050" y="924"/>
                </a:cubicBezTo>
                <a:cubicBezTo>
                  <a:pt x="3050" y="924"/>
                  <a:pt x="3050" y="924"/>
                  <a:pt x="3050" y="983"/>
                </a:cubicBezTo>
                <a:cubicBezTo>
                  <a:pt x="3050" y="983"/>
                  <a:pt x="3050" y="983"/>
                  <a:pt x="3061" y="983"/>
                </a:cubicBezTo>
                <a:cubicBezTo>
                  <a:pt x="3061" y="983"/>
                  <a:pt x="3061" y="983"/>
                  <a:pt x="3061" y="909"/>
                </a:cubicBezTo>
                <a:close/>
                <a:moveTo>
                  <a:pt x="3107" y="909"/>
                </a:moveTo>
                <a:cubicBezTo>
                  <a:pt x="3107" y="909"/>
                  <a:pt x="3107" y="909"/>
                  <a:pt x="3107" y="909"/>
                </a:cubicBezTo>
                <a:cubicBezTo>
                  <a:pt x="3103" y="909"/>
                  <a:pt x="3103" y="909"/>
                  <a:pt x="3103" y="909"/>
                </a:cubicBezTo>
                <a:cubicBezTo>
                  <a:pt x="3100" y="911"/>
                  <a:pt x="3099" y="912"/>
                  <a:pt x="3097" y="913"/>
                </a:cubicBezTo>
                <a:cubicBezTo>
                  <a:pt x="3095" y="915"/>
                  <a:pt x="3093" y="915"/>
                  <a:pt x="3092" y="916"/>
                </a:cubicBezTo>
                <a:cubicBezTo>
                  <a:pt x="3090" y="917"/>
                  <a:pt x="3088" y="917"/>
                  <a:pt x="3086" y="918"/>
                </a:cubicBezTo>
                <a:cubicBezTo>
                  <a:pt x="3085" y="919"/>
                  <a:pt x="3082" y="920"/>
                  <a:pt x="3081" y="920"/>
                </a:cubicBezTo>
                <a:cubicBezTo>
                  <a:pt x="3081" y="920"/>
                  <a:pt x="3081" y="920"/>
                  <a:pt x="3081" y="931"/>
                </a:cubicBezTo>
                <a:cubicBezTo>
                  <a:pt x="3084" y="930"/>
                  <a:pt x="3087" y="928"/>
                  <a:pt x="3089" y="928"/>
                </a:cubicBezTo>
                <a:cubicBezTo>
                  <a:pt x="3091" y="927"/>
                  <a:pt x="3094" y="925"/>
                  <a:pt x="3095" y="924"/>
                </a:cubicBezTo>
                <a:cubicBezTo>
                  <a:pt x="3095" y="924"/>
                  <a:pt x="3095" y="924"/>
                  <a:pt x="3095" y="983"/>
                </a:cubicBezTo>
                <a:cubicBezTo>
                  <a:pt x="3095" y="983"/>
                  <a:pt x="3095" y="983"/>
                  <a:pt x="3107" y="983"/>
                </a:cubicBezTo>
                <a:cubicBezTo>
                  <a:pt x="3107" y="983"/>
                  <a:pt x="3107" y="983"/>
                  <a:pt x="3107" y="909"/>
                </a:cubicBezTo>
                <a:close/>
                <a:moveTo>
                  <a:pt x="2916" y="874"/>
                </a:moveTo>
                <a:cubicBezTo>
                  <a:pt x="2909" y="874"/>
                  <a:pt x="2902" y="872"/>
                  <a:pt x="2898" y="866"/>
                </a:cubicBezTo>
                <a:cubicBezTo>
                  <a:pt x="2894" y="859"/>
                  <a:pt x="2892" y="850"/>
                  <a:pt x="2892" y="838"/>
                </a:cubicBezTo>
                <a:cubicBezTo>
                  <a:pt x="2892" y="825"/>
                  <a:pt x="2894" y="815"/>
                  <a:pt x="2898" y="808"/>
                </a:cubicBezTo>
                <a:cubicBezTo>
                  <a:pt x="2903" y="802"/>
                  <a:pt x="2909" y="798"/>
                  <a:pt x="2918" y="798"/>
                </a:cubicBezTo>
                <a:cubicBezTo>
                  <a:pt x="2934" y="798"/>
                  <a:pt x="2942" y="811"/>
                  <a:pt x="2942" y="836"/>
                </a:cubicBezTo>
                <a:cubicBezTo>
                  <a:pt x="2942" y="849"/>
                  <a:pt x="2940" y="858"/>
                  <a:pt x="2935" y="865"/>
                </a:cubicBezTo>
                <a:cubicBezTo>
                  <a:pt x="2931" y="872"/>
                  <a:pt x="2924" y="874"/>
                  <a:pt x="2916" y="874"/>
                </a:cubicBezTo>
                <a:close/>
                <a:moveTo>
                  <a:pt x="2917" y="808"/>
                </a:moveTo>
                <a:cubicBezTo>
                  <a:pt x="2908" y="808"/>
                  <a:pt x="2904" y="818"/>
                  <a:pt x="2904" y="838"/>
                </a:cubicBezTo>
                <a:cubicBezTo>
                  <a:pt x="2904" y="856"/>
                  <a:pt x="2908" y="865"/>
                  <a:pt x="2917" y="865"/>
                </a:cubicBezTo>
                <a:cubicBezTo>
                  <a:pt x="2925" y="865"/>
                  <a:pt x="2930" y="856"/>
                  <a:pt x="2930" y="837"/>
                </a:cubicBezTo>
                <a:cubicBezTo>
                  <a:pt x="2930" y="817"/>
                  <a:pt x="2925" y="808"/>
                  <a:pt x="2917" y="808"/>
                </a:cubicBezTo>
                <a:close/>
                <a:moveTo>
                  <a:pt x="2990" y="801"/>
                </a:moveTo>
                <a:cubicBezTo>
                  <a:pt x="2990" y="801"/>
                  <a:pt x="2990" y="801"/>
                  <a:pt x="2990" y="801"/>
                </a:cubicBezTo>
                <a:cubicBezTo>
                  <a:pt x="2985" y="801"/>
                  <a:pt x="2985" y="801"/>
                  <a:pt x="2985" y="801"/>
                </a:cubicBezTo>
                <a:cubicBezTo>
                  <a:pt x="2983" y="802"/>
                  <a:pt x="2981" y="804"/>
                  <a:pt x="2979" y="805"/>
                </a:cubicBezTo>
                <a:cubicBezTo>
                  <a:pt x="2978" y="806"/>
                  <a:pt x="2975" y="807"/>
                  <a:pt x="2974" y="808"/>
                </a:cubicBezTo>
                <a:cubicBezTo>
                  <a:pt x="2972" y="808"/>
                  <a:pt x="2970" y="809"/>
                  <a:pt x="2969" y="810"/>
                </a:cubicBezTo>
                <a:cubicBezTo>
                  <a:pt x="2967" y="810"/>
                  <a:pt x="2965" y="811"/>
                  <a:pt x="2963" y="812"/>
                </a:cubicBezTo>
                <a:cubicBezTo>
                  <a:pt x="2963" y="812"/>
                  <a:pt x="2963" y="812"/>
                  <a:pt x="2963" y="822"/>
                </a:cubicBezTo>
                <a:cubicBezTo>
                  <a:pt x="2966" y="821"/>
                  <a:pt x="2969" y="820"/>
                  <a:pt x="2971" y="819"/>
                </a:cubicBezTo>
                <a:cubicBezTo>
                  <a:pt x="2974" y="818"/>
                  <a:pt x="2976" y="817"/>
                  <a:pt x="2978" y="816"/>
                </a:cubicBezTo>
                <a:cubicBezTo>
                  <a:pt x="2978" y="816"/>
                  <a:pt x="2978" y="816"/>
                  <a:pt x="2978" y="874"/>
                </a:cubicBezTo>
                <a:cubicBezTo>
                  <a:pt x="2978" y="874"/>
                  <a:pt x="2978" y="874"/>
                  <a:pt x="2990" y="874"/>
                </a:cubicBezTo>
                <a:cubicBezTo>
                  <a:pt x="2990" y="874"/>
                  <a:pt x="2990" y="874"/>
                  <a:pt x="2990" y="801"/>
                </a:cubicBezTo>
                <a:close/>
                <a:moveTo>
                  <a:pt x="3037" y="801"/>
                </a:moveTo>
                <a:cubicBezTo>
                  <a:pt x="3037" y="801"/>
                  <a:pt x="3037" y="801"/>
                  <a:pt x="3037" y="801"/>
                </a:cubicBezTo>
                <a:cubicBezTo>
                  <a:pt x="3032" y="801"/>
                  <a:pt x="3032" y="801"/>
                  <a:pt x="3032" y="801"/>
                </a:cubicBezTo>
                <a:cubicBezTo>
                  <a:pt x="3030" y="802"/>
                  <a:pt x="3029" y="804"/>
                  <a:pt x="3026" y="805"/>
                </a:cubicBezTo>
                <a:cubicBezTo>
                  <a:pt x="3025" y="806"/>
                  <a:pt x="3023" y="807"/>
                  <a:pt x="3021" y="808"/>
                </a:cubicBezTo>
                <a:cubicBezTo>
                  <a:pt x="3020" y="809"/>
                  <a:pt x="3018" y="810"/>
                  <a:pt x="3016" y="810"/>
                </a:cubicBezTo>
                <a:cubicBezTo>
                  <a:pt x="3014" y="811"/>
                  <a:pt x="3013" y="812"/>
                  <a:pt x="3010" y="812"/>
                </a:cubicBezTo>
                <a:cubicBezTo>
                  <a:pt x="3010" y="812"/>
                  <a:pt x="3010" y="812"/>
                  <a:pt x="3010" y="822"/>
                </a:cubicBezTo>
                <a:cubicBezTo>
                  <a:pt x="3013" y="821"/>
                  <a:pt x="3016" y="821"/>
                  <a:pt x="3018" y="819"/>
                </a:cubicBezTo>
                <a:cubicBezTo>
                  <a:pt x="3021" y="818"/>
                  <a:pt x="3023" y="817"/>
                  <a:pt x="3026" y="816"/>
                </a:cubicBezTo>
                <a:cubicBezTo>
                  <a:pt x="3026" y="816"/>
                  <a:pt x="3026" y="816"/>
                  <a:pt x="3026" y="874"/>
                </a:cubicBezTo>
                <a:cubicBezTo>
                  <a:pt x="3026" y="874"/>
                  <a:pt x="3026" y="874"/>
                  <a:pt x="3037" y="874"/>
                </a:cubicBezTo>
                <a:cubicBezTo>
                  <a:pt x="3037" y="874"/>
                  <a:pt x="3037" y="874"/>
                  <a:pt x="3037" y="801"/>
                </a:cubicBezTo>
                <a:close/>
                <a:moveTo>
                  <a:pt x="3084" y="801"/>
                </a:moveTo>
                <a:cubicBezTo>
                  <a:pt x="3084" y="801"/>
                  <a:pt x="3084" y="801"/>
                  <a:pt x="3084" y="801"/>
                </a:cubicBezTo>
                <a:cubicBezTo>
                  <a:pt x="3079" y="801"/>
                  <a:pt x="3079" y="801"/>
                  <a:pt x="3079" y="801"/>
                </a:cubicBezTo>
                <a:cubicBezTo>
                  <a:pt x="3077" y="802"/>
                  <a:pt x="3076" y="804"/>
                  <a:pt x="3074" y="805"/>
                </a:cubicBezTo>
                <a:cubicBezTo>
                  <a:pt x="3072" y="806"/>
                  <a:pt x="3070" y="807"/>
                  <a:pt x="3068" y="808"/>
                </a:cubicBezTo>
                <a:cubicBezTo>
                  <a:pt x="3066" y="809"/>
                  <a:pt x="3065" y="810"/>
                  <a:pt x="3063" y="810"/>
                </a:cubicBezTo>
                <a:cubicBezTo>
                  <a:pt x="3061" y="811"/>
                  <a:pt x="3059" y="812"/>
                  <a:pt x="3057" y="812"/>
                </a:cubicBezTo>
                <a:cubicBezTo>
                  <a:pt x="3057" y="812"/>
                  <a:pt x="3057" y="812"/>
                  <a:pt x="3057" y="822"/>
                </a:cubicBezTo>
                <a:cubicBezTo>
                  <a:pt x="3060" y="821"/>
                  <a:pt x="3063" y="821"/>
                  <a:pt x="3066" y="819"/>
                </a:cubicBezTo>
                <a:cubicBezTo>
                  <a:pt x="3068" y="818"/>
                  <a:pt x="3071" y="817"/>
                  <a:pt x="3072" y="816"/>
                </a:cubicBezTo>
                <a:cubicBezTo>
                  <a:pt x="3072" y="816"/>
                  <a:pt x="3072" y="816"/>
                  <a:pt x="3072" y="874"/>
                </a:cubicBezTo>
                <a:cubicBezTo>
                  <a:pt x="3072" y="874"/>
                  <a:pt x="3072" y="874"/>
                  <a:pt x="3084" y="874"/>
                </a:cubicBezTo>
                <a:cubicBezTo>
                  <a:pt x="3084" y="874"/>
                  <a:pt x="3084" y="874"/>
                  <a:pt x="3084" y="801"/>
                </a:cubicBezTo>
                <a:close/>
                <a:moveTo>
                  <a:pt x="3131" y="801"/>
                </a:moveTo>
                <a:cubicBezTo>
                  <a:pt x="3131" y="801"/>
                  <a:pt x="3131" y="801"/>
                  <a:pt x="3131" y="801"/>
                </a:cubicBezTo>
                <a:cubicBezTo>
                  <a:pt x="3126" y="801"/>
                  <a:pt x="3126" y="801"/>
                  <a:pt x="3126" y="801"/>
                </a:cubicBezTo>
                <a:cubicBezTo>
                  <a:pt x="3124" y="802"/>
                  <a:pt x="3123" y="804"/>
                  <a:pt x="3120" y="805"/>
                </a:cubicBezTo>
                <a:cubicBezTo>
                  <a:pt x="3119" y="806"/>
                  <a:pt x="3117" y="807"/>
                  <a:pt x="3115" y="808"/>
                </a:cubicBezTo>
                <a:cubicBezTo>
                  <a:pt x="3114" y="809"/>
                  <a:pt x="3111" y="810"/>
                  <a:pt x="3110" y="810"/>
                </a:cubicBezTo>
                <a:cubicBezTo>
                  <a:pt x="3108" y="811"/>
                  <a:pt x="3106" y="812"/>
                  <a:pt x="3104" y="812"/>
                </a:cubicBezTo>
                <a:cubicBezTo>
                  <a:pt x="3104" y="812"/>
                  <a:pt x="3104" y="812"/>
                  <a:pt x="3104" y="822"/>
                </a:cubicBezTo>
                <a:cubicBezTo>
                  <a:pt x="3107" y="821"/>
                  <a:pt x="3110" y="821"/>
                  <a:pt x="3112" y="819"/>
                </a:cubicBezTo>
                <a:cubicBezTo>
                  <a:pt x="3115" y="818"/>
                  <a:pt x="3117" y="817"/>
                  <a:pt x="3120" y="816"/>
                </a:cubicBezTo>
                <a:cubicBezTo>
                  <a:pt x="3120" y="816"/>
                  <a:pt x="3120" y="816"/>
                  <a:pt x="3120" y="874"/>
                </a:cubicBezTo>
                <a:cubicBezTo>
                  <a:pt x="3120" y="874"/>
                  <a:pt x="3120" y="874"/>
                  <a:pt x="3131" y="874"/>
                </a:cubicBezTo>
                <a:cubicBezTo>
                  <a:pt x="3131" y="874"/>
                  <a:pt x="3131" y="874"/>
                  <a:pt x="3131" y="801"/>
                </a:cubicBezTo>
                <a:close/>
                <a:moveTo>
                  <a:pt x="3254" y="801"/>
                </a:moveTo>
                <a:cubicBezTo>
                  <a:pt x="3254" y="801"/>
                  <a:pt x="3254" y="801"/>
                  <a:pt x="3254" y="801"/>
                </a:cubicBezTo>
                <a:cubicBezTo>
                  <a:pt x="3249" y="801"/>
                  <a:pt x="3249" y="801"/>
                  <a:pt x="3249" y="801"/>
                </a:cubicBezTo>
                <a:cubicBezTo>
                  <a:pt x="3247" y="802"/>
                  <a:pt x="3246" y="804"/>
                  <a:pt x="3243" y="805"/>
                </a:cubicBezTo>
                <a:cubicBezTo>
                  <a:pt x="3242" y="806"/>
                  <a:pt x="3240" y="807"/>
                  <a:pt x="3238" y="808"/>
                </a:cubicBezTo>
                <a:cubicBezTo>
                  <a:pt x="3237" y="809"/>
                  <a:pt x="3235" y="810"/>
                  <a:pt x="3233" y="810"/>
                </a:cubicBezTo>
                <a:cubicBezTo>
                  <a:pt x="3231" y="811"/>
                  <a:pt x="3230" y="812"/>
                  <a:pt x="3227" y="812"/>
                </a:cubicBezTo>
                <a:cubicBezTo>
                  <a:pt x="3227" y="812"/>
                  <a:pt x="3227" y="812"/>
                  <a:pt x="3227" y="822"/>
                </a:cubicBezTo>
                <a:cubicBezTo>
                  <a:pt x="3230" y="821"/>
                  <a:pt x="3233" y="821"/>
                  <a:pt x="3236" y="819"/>
                </a:cubicBezTo>
                <a:cubicBezTo>
                  <a:pt x="3238" y="818"/>
                  <a:pt x="3240" y="817"/>
                  <a:pt x="3243" y="816"/>
                </a:cubicBezTo>
                <a:cubicBezTo>
                  <a:pt x="3243" y="816"/>
                  <a:pt x="3243" y="816"/>
                  <a:pt x="3243" y="874"/>
                </a:cubicBezTo>
                <a:cubicBezTo>
                  <a:pt x="3243" y="874"/>
                  <a:pt x="3243" y="874"/>
                  <a:pt x="3254" y="874"/>
                </a:cubicBezTo>
                <a:cubicBezTo>
                  <a:pt x="3254" y="874"/>
                  <a:pt x="3254" y="874"/>
                  <a:pt x="3254" y="801"/>
                </a:cubicBezTo>
                <a:close/>
                <a:moveTo>
                  <a:pt x="3302" y="801"/>
                </a:moveTo>
                <a:cubicBezTo>
                  <a:pt x="3302" y="801"/>
                  <a:pt x="3302" y="801"/>
                  <a:pt x="3302" y="801"/>
                </a:cubicBezTo>
                <a:cubicBezTo>
                  <a:pt x="3297" y="801"/>
                  <a:pt x="3297" y="801"/>
                  <a:pt x="3297" y="801"/>
                </a:cubicBezTo>
                <a:cubicBezTo>
                  <a:pt x="3295" y="802"/>
                  <a:pt x="3293" y="804"/>
                  <a:pt x="3291" y="805"/>
                </a:cubicBezTo>
                <a:cubicBezTo>
                  <a:pt x="3290" y="806"/>
                  <a:pt x="3287" y="807"/>
                  <a:pt x="3286" y="808"/>
                </a:cubicBezTo>
                <a:cubicBezTo>
                  <a:pt x="3285" y="809"/>
                  <a:pt x="3282" y="810"/>
                  <a:pt x="3281" y="810"/>
                </a:cubicBezTo>
                <a:cubicBezTo>
                  <a:pt x="3279" y="811"/>
                  <a:pt x="3277" y="812"/>
                  <a:pt x="3275" y="812"/>
                </a:cubicBezTo>
                <a:cubicBezTo>
                  <a:pt x="3275" y="812"/>
                  <a:pt x="3275" y="812"/>
                  <a:pt x="3275" y="822"/>
                </a:cubicBezTo>
                <a:cubicBezTo>
                  <a:pt x="3278" y="821"/>
                  <a:pt x="3281" y="821"/>
                  <a:pt x="3283" y="819"/>
                </a:cubicBezTo>
                <a:cubicBezTo>
                  <a:pt x="3286" y="818"/>
                  <a:pt x="3288" y="817"/>
                  <a:pt x="3290" y="816"/>
                </a:cubicBezTo>
                <a:cubicBezTo>
                  <a:pt x="3290" y="816"/>
                  <a:pt x="3290" y="816"/>
                  <a:pt x="3290" y="874"/>
                </a:cubicBezTo>
                <a:cubicBezTo>
                  <a:pt x="3290" y="874"/>
                  <a:pt x="3290" y="874"/>
                  <a:pt x="3302" y="874"/>
                </a:cubicBezTo>
                <a:cubicBezTo>
                  <a:pt x="3302" y="874"/>
                  <a:pt x="3302" y="874"/>
                  <a:pt x="3302" y="801"/>
                </a:cubicBezTo>
                <a:close/>
                <a:moveTo>
                  <a:pt x="3350" y="801"/>
                </a:moveTo>
                <a:cubicBezTo>
                  <a:pt x="3350" y="801"/>
                  <a:pt x="3350" y="801"/>
                  <a:pt x="3350" y="801"/>
                </a:cubicBezTo>
                <a:cubicBezTo>
                  <a:pt x="3345" y="801"/>
                  <a:pt x="3345" y="801"/>
                  <a:pt x="3345" y="801"/>
                </a:cubicBezTo>
                <a:cubicBezTo>
                  <a:pt x="3343" y="802"/>
                  <a:pt x="3341" y="804"/>
                  <a:pt x="3339" y="805"/>
                </a:cubicBezTo>
                <a:cubicBezTo>
                  <a:pt x="3337" y="806"/>
                  <a:pt x="3336" y="807"/>
                  <a:pt x="3334" y="808"/>
                </a:cubicBezTo>
                <a:cubicBezTo>
                  <a:pt x="3332" y="809"/>
                  <a:pt x="3330" y="810"/>
                  <a:pt x="3328" y="810"/>
                </a:cubicBezTo>
                <a:cubicBezTo>
                  <a:pt x="3326" y="811"/>
                  <a:pt x="3325" y="812"/>
                  <a:pt x="3322" y="812"/>
                </a:cubicBezTo>
                <a:cubicBezTo>
                  <a:pt x="3322" y="812"/>
                  <a:pt x="3322" y="812"/>
                  <a:pt x="3322" y="822"/>
                </a:cubicBezTo>
                <a:cubicBezTo>
                  <a:pt x="3325" y="821"/>
                  <a:pt x="3328" y="821"/>
                  <a:pt x="3331" y="819"/>
                </a:cubicBezTo>
                <a:cubicBezTo>
                  <a:pt x="3334" y="818"/>
                  <a:pt x="3336" y="817"/>
                  <a:pt x="3338" y="816"/>
                </a:cubicBezTo>
                <a:cubicBezTo>
                  <a:pt x="3338" y="816"/>
                  <a:pt x="3338" y="816"/>
                  <a:pt x="3338" y="874"/>
                </a:cubicBezTo>
                <a:cubicBezTo>
                  <a:pt x="3338" y="874"/>
                  <a:pt x="3338" y="874"/>
                  <a:pt x="3350" y="874"/>
                </a:cubicBezTo>
                <a:cubicBezTo>
                  <a:pt x="3350" y="874"/>
                  <a:pt x="3350" y="874"/>
                  <a:pt x="3350" y="801"/>
                </a:cubicBezTo>
                <a:close/>
                <a:moveTo>
                  <a:pt x="3396" y="801"/>
                </a:moveTo>
                <a:cubicBezTo>
                  <a:pt x="3396" y="801"/>
                  <a:pt x="3396" y="801"/>
                  <a:pt x="3396" y="801"/>
                </a:cubicBezTo>
                <a:cubicBezTo>
                  <a:pt x="3392" y="801"/>
                  <a:pt x="3392" y="801"/>
                  <a:pt x="3392" y="801"/>
                </a:cubicBezTo>
                <a:cubicBezTo>
                  <a:pt x="3390" y="802"/>
                  <a:pt x="3388" y="804"/>
                  <a:pt x="3386" y="805"/>
                </a:cubicBezTo>
                <a:cubicBezTo>
                  <a:pt x="3385" y="806"/>
                  <a:pt x="3383" y="807"/>
                  <a:pt x="3381" y="808"/>
                </a:cubicBezTo>
                <a:cubicBezTo>
                  <a:pt x="3379" y="808"/>
                  <a:pt x="3378" y="809"/>
                  <a:pt x="3375" y="810"/>
                </a:cubicBezTo>
                <a:cubicBezTo>
                  <a:pt x="3374" y="810"/>
                  <a:pt x="3372" y="811"/>
                  <a:pt x="3370" y="812"/>
                </a:cubicBezTo>
                <a:cubicBezTo>
                  <a:pt x="3370" y="812"/>
                  <a:pt x="3370" y="812"/>
                  <a:pt x="3370" y="822"/>
                </a:cubicBezTo>
                <a:cubicBezTo>
                  <a:pt x="3373" y="821"/>
                  <a:pt x="3376" y="820"/>
                  <a:pt x="3378" y="819"/>
                </a:cubicBezTo>
                <a:cubicBezTo>
                  <a:pt x="3380" y="818"/>
                  <a:pt x="3383" y="817"/>
                  <a:pt x="3385" y="816"/>
                </a:cubicBezTo>
                <a:cubicBezTo>
                  <a:pt x="3385" y="816"/>
                  <a:pt x="3385" y="816"/>
                  <a:pt x="3385" y="874"/>
                </a:cubicBezTo>
                <a:cubicBezTo>
                  <a:pt x="3385" y="874"/>
                  <a:pt x="3385" y="874"/>
                  <a:pt x="3396" y="874"/>
                </a:cubicBezTo>
                <a:cubicBezTo>
                  <a:pt x="3396" y="874"/>
                  <a:pt x="3396" y="874"/>
                  <a:pt x="3396" y="801"/>
                </a:cubicBezTo>
                <a:close/>
                <a:moveTo>
                  <a:pt x="3152" y="833"/>
                </a:moveTo>
                <a:cubicBezTo>
                  <a:pt x="3152" y="833"/>
                  <a:pt x="3152" y="833"/>
                  <a:pt x="3152" y="833"/>
                </a:cubicBezTo>
                <a:cubicBezTo>
                  <a:pt x="3152" y="842"/>
                  <a:pt x="3152" y="842"/>
                  <a:pt x="3152" y="842"/>
                </a:cubicBezTo>
                <a:cubicBezTo>
                  <a:pt x="3158" y="842"/>
                  <a:pt x="3159" y="845"/>
                  <a:pt x="3159" y="848"/>
                </a:cubicBezTo>
                <a:cubicBezTo>
                  <a:pt x="3159" y="850"/>
                  <a:pt x="3159" y="852"/>
                  <a:pt x="3159" y="855"/>
                </a:cubicBezTo>
                <a:cubicBezTo>
                  <a:pt x="3158" y="857"/>
                  <a:pt x="3158" y="859"/>
                  <a:pt x="3158" y="862"/>
                </a:cubicBezTo>
                <a:cubicBezTo>
                  <a:pt x="3158" y="871"/>
                  <a:pt x="3164" y="874"/>
                  <a:pt x="3172" y="874"/>
                </a:cubicBezTo>
                <a:cubicBezTo>
                  <a:pt x="3172" y="874"/>
                  <a:pt x="3172" y="874"/>
                  <a:pt x="3176" y="874"/>
                </a:cubicBezTo>
                <a:cubicBezTo>
                  <a:pt x="3176" y="874"/>
                  <a:pt x="3176" y="874"/>
                  <a:pt x="3176" y="865"/>
                </a:cubicBezTo>
                <a:cubicBezTo>
                  <a:pt x="3176" y="865"/>
                  <a:pt x="3176" y="865"/>
                  <a:pt x="3175" y="865"/>
                </a:cubicBezTo>
                <a:cubicBezTo>
                  <a:pt x="3171" y="865"/>
                  <a:pt x="3170" y="863"/>
                  <a:pt x="3170" y="859"/>
                </a:cubicBezTo>
                <a:cubicBezTo>
                  <a:pt x="3170" y="858"/>
                  <a:pt x="3170" y="856"/>
                  <a:pt x="3170" y="855"/>
                </a:cubicBezTo>
                <a:cubicBezTo>
                  <a:pt x="3170" y="853"/>
                  <a:pt x="3170" y="851"/>
                  <a:pt x="3170" y="849"/>
                </a:cubicBezTo>
                <a:cubicBezTo>
                  <a:pt x="3170" y="841"/>
                  <a:pt x="3168" y="839"/>
                  <a:pt x="3162" y="837"/>
                </a:cubicBezTo>
                <a:cubicBezTo>
                  <a:pt x="3162" y="837"/>
                  <a:pt x="3162" y="837"/>
                  <a:pt x="3162" y="837"/>
                </a:cubicBezTo>
                <a:cubicBezTo>
                  <a:pt x="3168" y="836"/>
                  <a:pt x="3170" y="834"/>
                  <a:pt x="3170" y="826"/>
                </a:cubicBezTo>
                <a:cubicBezTo>
                  <a:pt x="3170" y="824"/>
                  <a:pt x="3170" y="822"/>
                  <a:pt x="3170" y="820"/>
                </a:cubicBezTo>
                <a:cubicBezTo>
                  <a:pt x="3170" y="818"/>
                  <a:pt x="3170" y="816"/>
                  <a:pt x="3170" y="815"/>
                </a:cubicBezTo>
                <a:cubicBezTo>
                  <a:pt x="3170" y="812"/>
                  <a:pt x="3171" y="809"/>
                  <a:pt x="3175" y="809"/>
                </a:cubicBezTo>
                <a:cubicBezTo>
                  <a:pt x="3175" y="809"/>
                  <a:pt x="3175" y="809"/>
                  <a:pt x="3176" y="809"/>
                </a:cubicBezTo>
                <a:cubicBezTo>
                  <a:pt x="3176" y="809"/>
                  <a:pt x="3176" y="809"/>
                  <a:pt x="3176" y="800"/>
                </a:cubicBezTo>
                <a:cubicBezTo>
                  <a:pt x="3176" y="800"/>
                  <a:pt x="3176" y="800"/>
                  <a:pt x="3172" y="800"/>
                </a:cubicBezTo>
                <a:cubicBezTo>
                  <a:pt x="3163" y="800"/>
                  <a:pt x="3158" y="804"/>
                  <a:pt x="3158" y="813"/>
                </a:cubicBezTo>
                <a:cubicBezTo>
                  <a:pt x="3158" y="815"/>
                  <a:pt x="3158" y="818"/>
                  <a:pt x="3158" y="820"/>
                </a:cubicBezTo>
                <a:cubicBezTo>
                  <a:pt x="3159" y="822"/>
                  <a:pt x="3159" y="825"/>
                  <a:pt x="3159" y="827"/>
                </a:cubicBezTo>
                <a:cubicBezTo>
                  <a:pt x="3159" y="830"/>
                  <a:pt x="3158" y="833"/>
                  <a:pt x="3152" y="833"/>
                </a:cubicBezTo>
                <a:close/>
                <a:moveTo>
                  <a:pt x="3207" y="842"/>
                </a:moveTo>
                <a:cubicBezTo>
                  <a:pt x="3207" y="842"/>
                  <a:pt x="3207" y="842"/>
                  <a:pt x="3207" y="842"/>
                </a:cubicBezTo>
                <a:cubicBezTo>
                  <a:pt x="3207" y="833"/>
                  <a:pt x="3207" y="833"/>
                  <a:pt x="3207" y="833"/>
                </a:cubicBezTo>
                <a:cubicBezTo>
                  <a:pt x="3200" y="833"/>
                  <a:pt x="3200" y="830"/>
                  <a:pt x="3200" y="827"/>
                </a:cubicBezTo>
                <a:cubicBezTo>
                  <a:pt x="3200" y="825"/>
                  <a:pt x="3200" y="822"/>
                  <a:pt x="3200" y="820"/>
                </a:cubicBezTo>
                <a:cubicBezTo>
                  <a:pt x="3201" y="818"/>
                  <a:pt x="3201" y="815"/>
                  <a:pt x="3201" y="813"/>
                </a:cubicBezTo>
                <a:cubicBezTo>
                  <a:pt x="3201" y="804"/>
                  <a:pt x="3196" y="800"/>
                  <a:pt x="3186" y="800"/>
                </a:cubicBezTo>
                <a:cubicBezTo>
                  <a:pt x="3186" y="800"/>
                  <a:pt x="3186" y="800"/>
                  <a:pt x="3183" y="800"/>
                </a:cubicBezTo>
                <a:cubicBezTo>
                  <a:pt x="3183" y="800"/>
                  <a:pt x="3183" y="800"/>
                  <a:pt x="3183" y="809"/>
                </a:cubicBezTo>
                <a:cubicBezTo>
                  <a:pt x="3183" y="809"/>
                  <a:pt x="3183" y="809"/>
                  <a:pt x="3184" y="809"/>
                </a:cubicBezTo>
                <a:cubicBezTo>
                  <a:pt x="3188" y="809"/>
                  <a:pt x="3189" y="812"/>
                  <a:pt x="3189" y="815"/>
                </a:cubicBezTo>
                <a:cubicBezTo>
                  <a:pt x="3189" y="816"/>
                  <a:pt x="3189" y="818"/>
                  <a:pt x="3189" y="820"/>
                </a:cubicBezTo>
                <a:cubicBezTo>
                  <a:pt x="3189" y="822"/>
                  <a:pt x="3189" y="824"/>
                  <a:pt x="3189" y="826"/>
                </a:cubicBezTo>
                <a:cubicBezTo>
                  <a:pt x="3189" y="834"/>
                  <a:pt x="3191" y="836"/>
                  <a:pt x="3197" y="837"/>
                </a:cubicBezTo>
                <a:cubicBezTo>
                  <a:pt x="3197" y="837"/>
                  <a:pt x="3197" y="837"/>
                  <a:pt x="3197" y="837"/>
                </a:cubicBezTo>
                <a:cubicBezTo>
                  <a:pt x="3191" y="839"/>
                  <a:pt x="3189" y="841"/>
                  <a:pt x="3189" y="849"/>
                </a:cubicBezTo>
                <a:cubicBezTo>
                  <a:pt x="3189" y="851"/>
                  <a:pt x="3189" y="853"/>
                  <a:pt x="3189" y="855"/>
                </a:cubicBezTo>
                <a:cubicBezTo>
                  <a:pt x="3189" y="856"/>
                  <a:pt x="3189" y="858"/>
                  <a:pt x="3189" y="859"/>
                </a:cubicBezTo>
                <a:cubicBezTo>
                  <a:pt x="3189" y="863"/>
                  <a:pt x="3188" y="865"/>
                  <a:pt x="3184" y="865"/>
                </a:cubicBezTo>
                <a:cubicBezTo>
                  <a:pt x="3184" y="865"/>
                  <a:pt x="3184" y="865"/>
                  <a:pt x="3183" y="865"/>
                </a:cubicBezTo>
                <a:cubicBezTo>
                  <a:pt x="3183" y="865"/>
                  <a:pt x="3183" y="865"/>
                  <a:pt x="3183" y="874"/>
                </a:cubicBezTo>
                <a:cubicBezTo>
                  <a:pt x="3183" y="874"/>
                  <a:pt x="3183" y="874"/>
                  <a:pt x="3186" y="874"/>
                </a:cubicBezTo>
                <a:cubicBezTo>
                  <a:pt x="3195" y="874"/>
                  <a:pt x="3201" y="871"/>
                  <a:pt x="3201" y="862"/>
                </a:cubicBezTo>
                <a:cubicBezTo>
                  <a:pt x="3201" y="859"/>
                  <a:pt x="3201" y="857"/>
                  <a:pt x="3200" y="855"/>
                </a:cubicBezTo>
                <a:cubicBezTo>
                  <a:pt x="3200" y="852"/>
                  <a:pt x="3200" y="850"/>
                  <a:pt x="3200" y="848"/>
                </a:cubicBezTo>
                <a:cubicBezTo>
                  <a:pt x="3200" y="845"/>
                  <a:pt x="3200" y="842"/>
                  <a:pt x="3207" y="842"/>
                </a:cubicBezTo>
                <a:close/>
                <a:moveTo>
                  <a:pt x="3534" y="833"/>
                </a:moveTo>
                <a:cubicBezTo>
                  <a:pt x="3534" y="833"/>
                  <a:pt x="3534" y="833"/>
                  <a:pt x="3534" y="833"/>
                </a:cubicBezTo>
                <a:cubicBezTo>
                  <a:pt x="3534" y="842"/>
                  <a:pt x="3534" y="842"/>
                  <a:pt x="3534" y="842"/>
                </a:cubicBezTo>
                <a:cubicBezTo>
                  <a:pt x="3540" y="842"/>
                  <a:pt x="3541" y="845"/>
                  <a:pt x="3541" y="848"/>
                </a:cubicBezTo>
                <a:cubicBezTo>
                  <a:pt x="3541" y="850"/>
                  <a:pt x="3541" y="852"/>
                  <a:pt x="3541" y="855"/>
                </a:cubicBezTo>
                <a:cubicBezTo>
                  <a:pt x="3540" y="857"/>
                  <a:pt x="3540" y="859"/>
                  <a:pt x="3540" y="862"/>
                </a:cubicBezTo>
                <a:cubicBezTo>
                  <a:pt x="3540" y="871"/>
                  <a:pt x="3546" y="874"/>
                  <a:pt x="3554" y="874"/>
                </a:cubicBezTo>
                <a:cubicBezTo>
                  <a:pt x="3554" y="874"/>
                  <a:pt x="3554" y="874"/>
                  <a:pt x="3558" y="874"/>
                </a:cubicBezTo>
                <a:cubicBezTo>
                  <a:pt x="3558" y="874"/>
                  <a:pt x="3558" y="874"/>
                  <a:pt x="3558" y="865"/>
                </a:cubicBezTo>
                <a:cubicBezTo>
                  <a:pt x="3558" y="865"/>
                  <a:pt x="3558" y="865"/>
                  <a:pt x="3557" y="865"/>
                </a:cubicBezTo>
                <a:cubicBezTo>
                  <a:pt x="3553" y="865"/>
                  <a:pt x="3552" y="863"/>
                  <a:pt x="3552" y="859"/>
                </a:cubicBezTo>
                <a:cubicBezTo>
                  <a:pt x="3552" y="858"/>
                  <a:pt x="3552" y="856"/>
                  <a:pt x="3552" y="855"/>
                </a:cubicBezTo>
                <a:cubicBezTo>
                  <a:pt x="3552" y="853"/>
                  <a:pt x="3553" y="851"/>
                  <a:pt x="3553" y="849"/>
                </a:cubicBezTo>
                <a:cubicBezTo>
                  <a:pt x="3553" y="841"/>
                  <a:pt x="3550" y="839"/>
                  <a:pt x="3544" y="837"/>
                </a:cubicBezTo>
                <a:cubicBezTo>
                  <a:pt x="3544" y="837"/>
                  <a:pt x="3544" y="837"/>
                  <a:pt x="3544" y="837"/>
                </a:cubicBezTo>
                <a:cubicBezTo>
                  <a:pt x="3550" y="836"/>
                  <a:pt x="3553" y="834"/>
                  <a:pt x="3553" y="826"/>
                </a:cubicBezTo>
                <a:cubicBezTo>
                  <a:pt x="3553" y="824"/>
                  <a:pt x="3552" y="822"/>
                  <a:pt x="3552" y="820"/>
                </a:cubicBezTo>
                <a:cubicBezTo>
                  <a:pt x="3552" y="818"/>
                  <a:pt x="3552" y="816"/>
                  <a:pt x="3552" y="815"/>
                </a:cubicBezTo>
                <a:cubicBezTo>
                  <a:pt x="3552" y="812"/>
                  <a:pt x="3553" y="809"/>
                  <a:pt x="3557" y="809"/>
                </a:cubicBezTo>
                <a:cubicBezTo>
                  <a:pt x="3557" y="809"/>
                  <a:pt x="3557" y="809"/>
                  <a:pt x="3558" y="809"/>
                </a:cubicBezTo>
                <a:cubicBezTo>
                  <a:pt x="3558" y="809"/>
                  <a:pt x="3558" y="809"/>
                  <a:pt x="3558" y="800"/>
                </a:cubicBezTo>
                <a:cubicBezTo>
                  <a:pt x="3558" y="800"/>
                  <a:pt x="3558" y="800"/>
                  <a:pt x="3554" y="800"/>
                </a:cubicBezTo>
                <a:cubicBezTo>
                  <a:pt x="3546" y="800"/>
                  <a:pt x="3540" y="804"/>
                  <a:pt x="3540" y="813"/>
                </a:cubicBezTo>
                <a:cubicBezTo>
                  <a:pt x="3540" y="815"/>
                  <a:pt x="3540" y="818"/>
                  <a:pt x="3540" y="820"/>
                </a:cubicBezTo>
                <a:cubicBezTo>
                  <a:pt x="3541" y="822"/>
                  <a:pt x="3541" y="825"/>
                  <a:pt x="3541" y="827"/>
                </a:cubicBezTo>
                <a:cubicBezTo>
                  <a:pt x="3541" y="830"/>
                  <a:pt x="3540" y="833"/>
                  <a:pt x="3534" y="833"/>
                </a:cubicBezTo>
                <a:close/>
                <a:moveTo>
                  <a:pt x="3589" y="842"/>
                </a:moveTo>
                <a:cubicBezTo>
                  <a:pt x="3589" y="842"/>
                  <a:pt x="3589" y="842"/>
                  <a:pt x="3589" y="842"/>
                </a:cubicBezTo>
                <a:cubicBezTo>
                  <a:pt x="3589" y="833"/>
                  <a:pt x="3589" y="833"/>
                  <a:pt x="3589" y="833"/>
                </a:cubicBezTo>
                <a:cubicBezTo>
                  <a:pt x="3583" y="833"/>
                  <a:pt x="3582" y="830"/>
                  <a:pt x="3582" y="827"/>
                </a:cubicBezTo>
                <a:cubicBezTo>
                  <a:pt x="3582" y="825"/>
                  <a:pt x="3582" y="822"/>
                  <a:pt x="3583" y="820"/>
                </a:cubicBezTo>
                <a:cubicBezTo>
                  <a:pt x="3583" y="818"/>
                  <a:pt x="3583" y="815"/>
                  <a:pt x="3583" y="813"/>
                </a:cubicBezTo>
                <a:cubicBezTo>
                  <a:pt x="3583" y="804"/>
                  <a:pt x="3578" y="800"/>
                  <a:pt x="3569" y="800"/>
                </a:cubicBezTo>
                <a:cubicBezTo>
                  <a:pt x="3569" y="800"/>
                  <a:pt x="3569" y="800"/>
                  <a:pt x="3565" y="800"/>
                </a:cubicBezTo>
                <a:cubicBezTo>
                  <a:pt x="3565" y="800"/>
                  <a:pt x="3565" y="800"/>
                  <a:pt x="3565" y="809"/>
                </a:cubicBezTo>
                <a:cubicBezTo>
                  <a:pt x="3565" y="809"/>
                  <a:pt x="3565" y="809"/>
                  <a:pt x="3566" y="809"/>
                </a:cubicBezTo>
                <a:cubicBezTo>
                  <a:pt x="3570" y="809"/>
                  <a:pt x="3571" y="812"/>
                  <a:pt x="3571" y="815"/>
                </a:cubicBezTo>
                <a:cubicBezTo>
                  <a:pt x="3571" y="816"/>
                  <a:pt x="3571" y="818"/>
                  <a:pt x="3571" y="820"/>
                </a:cubicBezTo>
                <a:cubicBezTo>
                  <a:pt x="3571" y="822"/>
                  <a:pt x="3571" y="824"/>
                  <a:pt x="3571" y="826"/>
                </a:cubicBezTo>
                <a:cubicBezTo>
                  <a:pt x="3571" y="834"/>
                  <a:pt x="3573" y="836"/>
                  <a:pt x="3579" y="837"/>
                </a:cubicBezTo>
                <a:cubicBezTo>
                  <a:pt x="3579" y="837"/>
                  <a:pt x="3579" y="837"/>
                  <a:pt x="3579" y="837"/>
                </a:cubicBezTo>
                <a:cubicBezTo>
                  <a:pt x="3573" y="839"/>
                  <a:pt x="3571" y="841"/>
                  <a:pt x="3571" y="849"/>
                </a:cubicBezTo>
                <a:cubicBezTo>
                  <a:pt x="3571" y="851"/>
                  <a:pt x="3571" y="853"/>
                  <a:pt x="3571" y="855"/>
                </a:cubicBezTo>
                <a:cubicBezTo>
                  <a:pt x="3571" y="856"/>
                  <a:pt x="3571" y="858"/>
                  <a:pt x="3571" y="859"/>
                </a:cubicBezTo>
                <a:cubicBezTo>
                  <a:pt x="3571" y="863"/>
                  <a:pt x="3570" y="865"/>
                  <a:pt x="3566" y="865"/>
                </a:cubicBezTo>
                <a:cubicBezTo>
                  <a:pt x="3566" y="865"/>
                  <a:pt x="3566" y="865"/>
                  <a:pt x="3565" y="865"/>
                </a:cubicBezTo>
                <a:cubicBezTo>
                  <a:pt x="3565" y="865"/>
                  <a:pt x="3565" y="865"/>
                  <a:pt x="3565" y="874"/>
                </a:cubicBezTo>
                <a:cubicBezTo>
                  <a:pt x="3565" y="874"/>
                  <a:pt x="3565" y="874"/>
                  <a:pt x="3569" y="874"/>
                </a:cubicBezTo>
                <a:cubicBezTo>
                  <a:pt x="3577" y="874"/>
                  <a:pt x="3583" y="871"/>
                  <a:pt x="3583" y="862"/>
                </a:cubicBezTo>
                <a:cubicBezTo>
                  <a:pt x="3583" y="859"/>
                  <a:pt x="3583" y="857"/>
                  <a:pt x="3583" y="855"/>
                </a:cubicBezTo>
                <a:cubicBezTo>
                  <a:pt x="3582" y="852"/>
                  <a:pt x="3582" y="850"/>
                  <a:pt x="3582" y="848"/>
                </a:cubicBezTo>
                <a:cubicBezTo>
                  <a:pt x="3582" y="845"/>
                  <a:pt x="3583" y="842"/>
                  <a:pt x="3589" y="842"/>
                </a:cubicBezTo>
                <a:close/>
                <a:moveTo>
                  <a:pt x="3637" y="801"/>
                </a:moveTo>
                <a:cubicBezTo>
                  <a:pt x="3637" y="801"/>
                  <a:pt x="3637" y="801"/>
                  <a:pt x="3637" y="801"/>
                </a:cubicBezTo>
                <a:cubicBezTo>
                  <a:pt x="3632" y="801"/>
                  <a:pt x="3632" y="801"/>
                  <a:pt x="3632" y="801"/>
                </a:cubicBezTo>
                <a:cubicBezTo>
                  <a:pt x="3629" y="802"/>
                  <a:pt x="3628" y="804"/>
                  <a:pt x="3626" y="805"/>
                </a:cubicBezTo>
                <a:cubicBezTo>
                  <a:pt x="3624" y="806"/>
                  <a:pt x="3622" y="807"/>
                  <a:pt x="3621" y="808"/>
                </a:cubicBezTo>
                <a:cubicBezTo>
                  <a:pt x="3618" y="808"/>
                  <a:pt x="3617" y="809"/>
                  <a:pt x="3615" y="810"/>
                </a:cubicBezTo>
                <a:cubicBezTo>
                  <a:pt x="3613" y="810"/>
                  <a:pt x="3612" y="811"/>
                  <a:pt x="3609" y="812"/>
                </a:cubicBezTo>
                <a:cubicBezTo>
                  <a:pt x="3609" y="812"/>
                  <a:pt x="3609" y="812"/>
                  <a:pt x="3609" y="822"/>
                </a:cubicBezTo>
                <a:cubicBezTo>
                  <a:pt x="3612" y="821"/>
                  <a:pt x="3615" y="820"/>
                  <a:pt x="3618" y="819"/>
                </a:cubicBezTo>
                <a:cubicBezTo>
                  <a:pt x="3621" y="818"/>
                  <a:pt x="3623" y="817"/>
                  <a:pt x="3625" y="816"/>
                </a:cubicBezTo>
                <a:cubicBezTo>
                  <a:pt x="3625" y="816"/>
                  <a:pt x="3625" y="816"/>
                  <a:pt x="3625" y="874"/>
                </a:cubicBezTo>
                <a:cubicBezTo>
                  <a:pt x="3625" y="874"/>
                  <a:pt x="3625" y="874"/>
                  <a:pt x="3637" y="874"/>
                </a:cubicBezTo>
                <a:cubicBezTo>
                  <a:pt x="3637" y="874"/>
                  <a:pt x="3637" y="874"/>
                  <a:pt x="3637" y="801"/>
                </a:cubicBezTo>
                <a:close/>
                <a:moveTo>
                  <a:pt x="3684" y="801"/>
                </a:moveTo>
                <a:cubicBezTo>
                  <a:pt x="3684" y="801"/>
                  <a:pt x="3684" y="801"/>
                  <a:pt x="3684" y="801"/>
                </a:cubicBezTo>
                <a:cubicBezTo>
                  <a:pt x="3679" y="801"/>
                  <a:pt x="3679" y="801"/>
                  <a:pt x="3679" y="801"/>
                </a:cubicBezTo>
                <a:cubicBezTo>
                  <a:pt x="3677" y="802"/>
                  <a:pt x="3675" y="804"/>
                  <a:pt x="3673" y="805"/>
                </a:cubicBezTo>
                <a:cubicBezTo>
                  <a:pt x="3672" y="806"/>
                  <a:pt x="3669" y="807"/>
                  <a:pt x="3668" y="808"/>
                </a:cubicBezTo>
                <a:cubicBezTo>
                  <a:pt x="3666" y="809"/>
                  <a:pt x="3664" y="810"/>
                  <a:pt x="3663" y="810"/>
                </a:cubicBezTo>
                <a:cubicBezTo>
                  <a:pt x="3661" y="811"/>
                  <a:pt x="3659" y="812"/>
                  <a:pt x="3657" y="812"/>
                </a:cubicBezTo>
                <a:cubicBezTo>
                  <a:pt x="3657" y="812"/>
                  <a:pt x="3657" y="812"/>
                  <a:pt x="3657" y="822"/>
                </a:cubicBezTo>
                <a:cubicBezTo>
                  <a:pt x="3660" y="821"/>
                  <a:pt x="3663" y="821"/>
                  <a:pt x="3665" y="819"/>
                </a:cubicBezTo>
                <a:cubicBezTo>
                  <a:pt x="3668" y="818"/>
                  <a:pt x="3670" y="817"/>
                  <a:pt x="3672" y="816"/>
                </a:cubicBezTo>
                <a:cubicBezTo>
                  <a:pt x="3672" y="816"/>
                  <a:pt x="3672" y="816"/>
                  <a:pt x="3672" y="874"/>
                </a:cubicBezTo>
                <a:cubicBezTo>
                  <a:pt x="3672" y="874"/>
                  <a:pt x="3672" y="874"/>
                  <a:pt x="3684" y="874"/>
                </a:cubicBezTo>
                <a:cubicBezTo>
                  <a:pt x="3684" y="874"/>
                  <a:pt x="3684" y="874"/>
                  <a:pt x="3684" y="801"/>
                </a:cubicBezTo>
                <a:close/>
                <a:moveTo>
                  <a:pt x="3730" y="801"/>
                </a:moveTo>
                <a:cubicBezTo>
                  <a:pt x="3730" y="801"/>
                  <a:pt x="3730" y="801"/>
                  <a:pt x="3730" y="801"/>
                </a:cubicBezTo>
                <a:cubicBezTo>
                  <a:pt x="3726" y="801"/>
                  <a:pt x="3726" y="801"/>
                  <a:pt x="3726" y="801"/>
                </a:cubicBezTo>
                <a:cubicBezTo>
                  <a:pt x="3724" y="802"/>
                  <a:pt x="3722" y="804"/>
                  <a:pt x="3720" y="805"/>
                </a:cubicBezTo>
                <a:cubicBezTo>
                  <a:pt x="3719" y="806"/>
                  <a:pt x="3716" y="807"/>
                  <a:pt x="3715" y="808"/>
                </a:cubicBezTo>
                <a:cubicBezTo>
                  <a:pt x="3713" y="809"/>
                  <a:pt x="3711" y="810"/>
                  <a:pt x="3709" y="810"/>
                </a:cubicBezTo>
                <a:cubicBezTo>
                  <a:pt x="3708" y="811"/>
                  <a:pt x="3705" y="812"/>
                  <a:pt x="3704" y="812"/>
                </a:cubicBezTo>
                <a:cubicBezTo>
                  <a:pt x="3704" y="812"/>
                  <a:pt x="3704" y="812"/>
                  <a:pt x="3704" y="822"/>
                </a:cubicBezTo>
                <a:cubicBezTo>
                  <a:pt x="3707" y="821"/>
                  <a:pt x="3710" y="821"/>
                  <a:pt x="3712" y="819"/>
                </a:cubicBezTo>
                <a:cubicBezTo>
                  <a:pt x="3714" y="818"/>
                  <a:pt x="3717" y="817"/>
                  <a:pt x="3719" y="816"/>
                </a:cubicBezTo>
                <a:cubicBezTo>
                  <a:pt x="3719" y="816"/>
                  <a:pt x="3719" y="816"/>
                  <a:pt x="3719" y="874"/>
                </a:cubicBezTo>
                <a:cubicBezTo>
                  <a:pt x="3719" y="874"/>
                  <a:pt x="3719" y="874"/>
                  <a:pt x="3730" y="874"/>
                </a:cubicBezTo>
                <a:cubicBezTo>
                  <a:pt x="3730" y="874"/>
                  <a:pt x="3730" y="874"/>
                  <a:pt x="3730" y="801"/>
                </a:cubicBezTo>
                <a:close/>
                <a:moveTo>
                  <a:pt x="3853" y="801"/>
                </a:moveTo>
                <a:cubicBezTo>
                  <a:pt x="3853" y="801"/>
                  <a:pt x="3853" y="801"/>
                  <a:pt x="3853" y="801"/>
                </a:cubicBezTo>
                <a:cubicBezTo>
                  <a:pt x="3848" y="801"/>
                  <a:pt x="3848" y="801"/>
                  <a:pt x="3848" y="801"/>
                </a:cubicBezTo>
                <a:cubicBezTo>
                  <a:pt x="3846" y="802"/>
                  <a:pt x="3845" y="804"/>
                  <a:pt x="3842" y="805"/>
                </a:cubicBezTo>
                <a:cubicBezTo>
                  <a:pt x="3841" y="806"/>
                  <a:pt x="3839" y="807"/>
                  <a:pt x="3837" y="808"/>
                </a:cubicBezTo>
                <a:cubicBezTo>
                  <a:pt x="3836" y="809"/>
                  <a:pt x="3834" y="810"/>
                  <a:pt x="3832" y="810"/>
                </a:cubicBezTo>
                <a:cubicBezTo>
                  <a:pt x="3830" y="811"/>
                  <a:pt x="3829" y="812"/>
                  <a:pt x="3826" y="812"/>
                </a:cubicBezTo>
                <a:cubicBezTo>
                  <a:pt x="3826" y="812"/>
                  <a:pt x="3826" y="812"/>
                  <a:pt x="3826" y="822"/>
                </a:cubicBezTo>
                <a:cubicBezTo>
                  <a:pt x="3829" y="821"/>
                  <a:pt x="3832" y="821"/>
                  <a:pt x="3835" y="819"/>
                </a:cubicBezTo>
                <a:cubicBezTo>
                  <a:pt x="3837" y="818"/>
                  <a:pt x="3839" y="817"/>
                  <a:pt x="3842" y="816"/>
                </a:cubicBezTo>
                <a:cubicBezTo>
                  <a:pt x="3842" y="816"/>
                  <a:pt x="3842" y="816"/>
                  <a:pt x="3842" y="874"/>
                </a:cubicBezTo>
                <a:cubicBezTo>
                  <a:pt x="3842" y="874"/>
                  <a:pt x="3842" y="874"/>
                  <a:pt x="3853" y="874"/>
                </a:cubicBezTo>
                <a:cubicBezTo>
                  <a:pt x="3853" y="874"/>
                  <a:pt x="3853" y="874"/>
                  <a:pt x="3853" y="801"/>
                </a:cubicBezTo>
                <a:close/>
                <a:moveTo>
                  <a:pt x="3751" y="833"/>
                </a:moveTo>
                <a:cubicBezTo>
                  <a:pt x="3751" y="833"/>
                  <a:pt x="3751" y="833"/>
                  <a:pt x="3751" y="833"/>
                </a:cubicBezTo>
                <a:cubicBezTo>
                  <a:pt x="3751" y="842"/>
                  <a:pt x="3751" y="842"/>
                  <a:pt x="3751" y="842"/>
                </a:cubicBezTo>
                <a:cubicBezTo>
                  <a:pt x="3757" y="842"/>
                  <a:pt x="3758" y="845"/>
                  <a:pt x="3758" y="848"/>
                </a:cubicBezTo>
                <a:cubicBezTo>
                  <a:pt x="3758" y="850"/>
                  <a:pt x="3757" y="852"/>
                  <a:pt x="3757" y="855"/>
                </a:cubicBezTo>
                <a:cubicBezTo>
                  <a:pt x="3757" y="857"/>
                  <a:pt x="3757" y="859"/>
                  <a:pt x="3757" y="862"/>
                </a:cubicBezTo>
                <a:cubicBezTo>
                  <a:pt x="3757" y="871"/>
                  <a:pt x="3763" y="874"/>
                  <a:pt x="3771" y="874"/>
                </a:cubicBezTo>
                <a:cubicBezTo>
                  <a:pt x="3771" y="874"/>
                  <a:pt x="3771" y="874"/>
                  <a:pt x="3775" y="874"/>
                </a:cubicBezTo>
                <a:cubicBezTo>
                  <a:pt x="3775" y="874"/>
                  <a:pt x="3775" y="874"/>
                  <a:pt x="3775" y="865"/>
                </a:cubicBezTo>
                <a:cubicBezTo>
                  <a:pt x="3775" y="865"/>
                  <a:pt x="3775" y="865"/>
                  <a:pt x="3774" y="865"/>
                </a:cubicBezTo>
                <a:cubicBezTo>
                  <a:pt x="3770" y="865"/>
                  <a:pt x="3769" y="863"/>
                  <a:pt x="3769" y="859"/>
                </a:cubicBezTo>
                <a:cubicBezTo>
                  <a:pt x="3769" y="858"/>
                  <a:pt x="3769" y="856"/>
                  <a:pt x="3769" y="855"/>
                </a:cubicBezTo>
                <a:cubicBezTo>
                  <a:pt x="3769" y="853"/>
                  <a:pt x="3769" y="851"/>
                  <a:pt x="3769" y="849"/>
                </a:cubicBezTo>
                <a:cubicBezTo>
                  <a:pt x="3769" y="841"/>
                  <a:pt x="3766" y="839"/>
                  <a:pt x="3761" y="837"/>
                </a:cubicBezTo>
                <a:cubicBezTo>
                  <a:pt x="3761" y="837"/>
                  <a:pt x="3761" y="837"/>
                  <a:pt x="3761" y="837"/>
                </a:cubicBezTo>
                <a:cubicBezTo>
                  <a:pt x="3766" y="836"/>
                  <a:pt x="3769" y="834"/>
                  <a:pt x="3769" y="826"/>
                </a:cubicBezTo>
                <a:cubicBezTo>
                  <a:pt x="3769" y="824"/>
                  <a:pt x="3769" y="822"/>
                  <a:pt x="3769" y="820"/>
                </a:cubicBezTo>
                <a:cubicBezTo>
                  <a:pt x="3769" y="818"/>
                  <a:pt x="3769" y="816"/>
                  <a:pt x="3769" y="815"/>
                </a:cubicBezTo>
                <a:cubicBezTo>
                  <a:pt x="3769" y="812"/>
                  <a:pt x="3770" y="809"/>
                  <a:pt x="3774" y="809"/>
                </a:cubicBezTo>
                <a:cubicBezTo>
                  <a:pt x="3774" y="809"/>
                  <a:pt x="3774" y="809"/>
                  <a:pt x="3775" y="809"/>
                </a:cubicBezTo>
                <a:cubicBezTo>
                  <a:pt x="3775" y="809"/>
                  <a:pt x="3775" y="809"/>
                  <a:pt x="3775" y="800"/>
                </a:cubicBezTo>
                <a:cubicBezTo>
                  <a:pt x="3775" y="800"/>
                  <a:pt x="3775" y="800"/>
                  <a:pt x="3771" y="800"/>
                </a:cubicBezTo>
                <a:cubicBezTo>
                  <a:pt x="3762" y="800"/>
                  <a:pt x="3757" y="804"/>
                  <a:pt x="3757" y="813"/>
                </a:cubicBezTo>
                <a:cubicBezTo>
                  <a:pt x="3757" y="815"/>
                  <a:pt x="3757" y="818"/>
                  <a:pt x="3757" y="820"/>
                </a:cubicBezTo>
                <a:cubicBezTo>
                  <a:pt x="3757" y="822"/>
                  <a:pt x="3758" y="825"/>
                  <a:pt x="3758" y="827"/>
                </a:cubicBezTo>
                <a:cubicBezTo>
                  <a:pt x="3758" y="830"/>
                  <a:pt x="3757" y="833"/>
                  <a:pt x="3751" y="833"/>
                </a:cubicBezTo>
                <a:close/>
                <a:moveTo>
                  <a:pt x="3806" y="842"/>
                </a:moveTo>
                <a:cubicBezTo>
                  <a:pt x="3806" y="842"/>
                  <a:pt x="3806" y="842"/>
                  <a:pt x="3806" y="842"/>
                </a:cubicBezTo>
                <a:cubicBezTo>
                  <a:pt x="3806" y="833"/>
                  <a:pt x="3806" y="833"/>
                  <a:pt x="3806" y="833"/>
                </a:cubicBezTo>
                <a:cubicBezTo>
                  <a:pt x="3799" y="833"/>
                  <a:pt x="3799" y="830"/>
                  <a:pt x="3799" y="827"/>
                </a:cubicBezTo>
                <a:cubicBezTo>
                  <a:pt x="3799" y="825"/>
                  <a:pt x="3799" y="822"/>
                  <a:pt x="3799" y="820"/>
                </a:cubicBezTo>
                <a:cubicBezTo>
                  <a:pt x="3800" y="818"/>
                  <a:pt x="3800" y="815"/>
                  <a:pt x="3800" y="813"/>
                </a:cubicBezTo>
                <a:cubicBezTo>
                  <a:pt x="3800" y="804"/>
                  <a:pt x="3795" y="800"/>
                  <a:pt x="3785" y="800"/>
                </a:cubicBezTo>
                <a:cubicBezTo>
                  <a:pt x="3785" y="800"/>
                  <a:pt x="3785" y="800"/>
                  <a:pt x="3782" y="800"/>
                </a:cubicBezTo>
                <a:cubicBezTo>
                  <a:pt x="3782" y="800"/>
                  <a:pt x="3782" y="800"/>
                  <a:pt x="3782" y="809"/>
                </a:cubicBezTo>
                <a:cubicBezTo>
                  <a:pt x="3782" y="809"/>
                  <a:pt x="3782" y="809"/>
                  <a:pt x="3783" y="809"/>
                </a:cubicBezTo>
                <a:cubicBezTo>
                  <a:pt x="3787" y="809"/>
                  <a:pt x="3788" y="812"/>
                  <a:pt x="3788" y="815"/>
                </a:cubicBezTo>
                <a:cubicBezTo>
                  <a:pt x="3788" y="816"/>
                  <a:pt x="3788" y="818"/>
                  <a:pt x="3788" y="820"/>
                </a:cubicBezTo>
                <a:cubicBezTo>
                  <a:pt x="3788" y="822"/>
                  <a:pt x="3788" y="824"/>
                  <a:pt x="3788" y="826"/>
                </a:cubicBezTo>
                <a:cubicBezTo>
                  <a:pt x="3788" y="834"/>
                  <a:pt x="3790" y="836"/>
                  <a:pt x="3796" y="837"/>
                </a:cubicBezTo>
                <a:cubicBezTo>
                  <a:pt x="3796" y="837"/>
                  <a:pt x="3796" y="837"/>
                  <a:pt x="3796" y="837"/>
                </a:cubicBezTo>
                <a:cubicBezTo>
                  <a:pt x="3790" y="839"/>
                  <a:pt x="3788" y="841"/>
                  <a:pt x="3788" y="849"/>
                </a:cubicBezTo>
                <a:cubicBezTo>
                  <a:pt x="3788" y="851"/>
                  <a:pt x="3788" y="853"/>
                  <a:pt x="3788" y="855"/>
                </a:cubicBezTo>
                <a:cubicBezTo>
                  <a:pt x="3788" y="856"/>
                  <a:pt x="3788" y="858"/>
                  <a:pt x="3788" y="859"/>
                </a:cubicBezTo>
                <a:cubicBezTo>
                  <a:pt x="3788" y="863"/>
                  <a:pt x="3787" y="865"/>
                  <a:pt x="3783" y="865"/>
                </a:cubicBezTo>
                <a:cubicBezTo>
                  <a:pt x="3783" y="865"/>
                  <a:pt x="3783" y="865"/>
                  <a:pt x="3782" y="865"/>
                </a:cubicBezTo>
                <a:cubicBezTo>
                  <a:pt x="3782" y="865"/>
                  <a:pt x="3782" y="865"/>
                  <a:pt x="3782" y="874"/>
                </a:cubicBezTo>
                <a:cubicBezTo>
                  <a:pt x="3782" y="874"/>
                  <a:pt x="3782" y="874"/>
                  <a:pt x="3785" y="874"/>
                </a:cubicBezTo>
                <a:cubicBezTo>
                  <a:pt x="3794" y="874"/>
                  <a:pt x="3800" y="871"/>
                  <a:pt x="3800" y="862"/>
                </a:cubicBezTo>
                <a:cubicBezTo>
                  <a:pt x="3800" y="859"/>
                  <a:pt x="3800" y="857"/>
                  <a:pt x="3799" y="855"/>
                </a:cubicBezTo>
                <a:cubicBezTo>
                  <a:pt x="3799" y="852"/>
                  <a:pt x="3799" y="850"/>
                  <a:pt x="3799" y="848"/>
                </a:cubicBezTo>
                <a:cubicBezTo>
                  <a:pt x="3799" y="845"/>
                  <a:pt x="3799" y="842"/>
                  <a:pt x="3806" y="842"/>
                </a:cubicBezTo>
                <a:close/>
                <a:moveTo>
                  <a:pt x="2947" y="752"/>
                </a:moveTo>
                <a:cubicBezTo>
                  <a:pt x="2947" y="754"/>
                  <a:pt x="2948" y="755"/>
                  <a:pt x="2949" y="757"/>
                </a:cubicBezTo>
                <a:cubicBezTo>
                  <a:pt x="2949" y="758"/>
                  <a:pt x="2949" y="760"/>
                  <a:pt x="2950" y="762"/>
                </a:cubicBezTo>
                <a:cubicBezTo>
                  <a:pt x="2950" y="763"/>
                  <a:pt x="2950" y="765"/>
                  <a:pt x="2950" y="767"/>
                </a:cubicBezTo>
                <a:cubicBezTo>
                  <a:pt x="2951" y="770"/>
                  <a:pt x="2950" y="771"/>
                  <a:pt x="2947" y="771"/>
                </a:cubicBezTo>
                <a:cubicBezTo>
                  <a:pt x="2944" y="771"/>
                  <a:pt x="2941" y="771"/>
                  <a:pt x="2938" y="771"/>
                </a:cubicBezTo>
                <a:cubicBezTo>
                  <a:pt x="2938" y="771"/>
                  <a:pt x="2937" y="771"/>
                  <a:pt x="2937" y="771"/>
                </a:cubicBezTo>
                <a:cubicBezTo>
                  <a:pt x="2935" y="773"/>
                  <a:pt x="2934" y="774"/>
                  <a:pt x="2933" y="776"/>
                </a:cubicBezTo>
                <a:cubicBezTo>
                  <a:pt x="2931" y="778"/>
                  <a:pt x="2927" y="778"/>
                  <a:pt x="2925" y="776"/>
                </a:cubicBezTo>
                <a:cubicBezTo>
                  <a:pt x="2923" y="774"/>
                  <a:pt x="2922" y="772"/>
                  <a:pt x="2920" y="769"/>
                </a:cubicBezTo>
                <a:cubicBezTo>
                  <a:pt x="2920" y="767"/>
                  <a:pt x="2920" y="766"/>
                  <a:pt x="2922" y="764"/>
                </a:cubicBezTo>
                <a:cubicBezTo>
                  <a:pt x="2920" y="764"/>
                  <a:pt x="2918" y="764"/>
                  <a:pt x="2916" y="764"/>
                </a:cubicBezTo>
                <a:cubicBezTo>
                  <a:pt x="2916" y="766"/>
                  <a:pt x="2915" y="768"/>
                  <a:pt x="2914" y="770"/>
                </a:cubicBezTo>
                <a:cubicBezTo>
                  <a:pt x="2914" y="771"/>
                  <a:pt x="2913" y="772"/>
                  <a:pt x="2913" y="773"/>
                </a:cubicBezTo>
                <a:cubicBezTo>
                  <a:pt x="2913" y="776"/>
                  <a:pt x="2912" y="777"/>
                  <a:pt x="2909" y="776"/>
                </a:cubicBezTo>
                <a:cubicBezTo>
                  <a:pt x="2906" y="776"/>
                  <a:pt x="2903" y="775"/>
                  <a:pt x="2900" y="774"/>
                </a:cubicBezTo>
                <a:cubicBezTo>
                  <a:pt x="2898" y="774"/>
                  <a:pt x="2898" y="772"/>
                  <a:pt x="2898" y="770"/>
                </a:cubicBezTo>
                <a:cubicBezTo>
                  <a:pt x="2898" y="769"/>
                  <a:pt x="2898" y="769"/>
                  <a:pt x="2899" y="769"/>
                </a:cubicBezTo>
                <a:cubicBezTo>
                  <a:pt x="2896" y="767"/>
                  <a:pt x="2894" y="767"/>
                  <a:pt x="2892" y="765"/>
                </a:cubicBezTo>
                <a:cubicBezTo>
                  <a:pt x="2891" y="764"/>
                  <a:pt x="2890" y="762"/>
                  <a:pt x="2889" y="761"/>
                </a:cubicBezTo>
                <a:cubicBezTo>
                  <a:pt x="2888" y="759"/>
                  <a:pt x="2888" y="757"/>
                  <a:pt x="2890" y="755"/>
                </a:cubicBezTo>
                <a:cubicBezTo>
                  <a:pt x="2893" y="753"/>
                  <a:pt x="2894" y="750"/>
                  <a:pt x="2893" y="746"/>
                </a:cubicBezTo>
                <a:cubicBezTo>
                  <a:pt x="2893" y="744"/>
                  <a:pt x="2893" y="742"/>
                  <a:pt x="2893" y="740"/>
                </a:cubicBezTo>
                <a:cubicBezTo>
                  <a:pt x="2892" y="740"/>
                  <a:pt x="2890" y="739"/>
                  <a:pt x="2889" y="738"/>
                </a:cubicBezTo>
                <a:cubicBezTo>
                  <a:pt x="2888" y="736"/>
                  <a:pt x="2887" y="734"/>
                  <a:pt x="2887" y="733"/>
                </a:cubicBezTo>
                <a:cubicBezTo>
                  <a:pt x="2887" y="730"/>
                  <a:pt x="2891" y="727"/>
                  <a:pt x="2893" y="726"/>
                </a:cubicBezTo>
                <a:cubicBezTo>
                  <a:pt x="2894" y="727"/>
                  <a:pt x="2894" y="728"/>
                  <a:pt x="2894" y="729"/>
                </a:cubicBezTo>
                <a:cubicBezTo>
                  <a:pt x="2894" y="730"/>
                  <a:pt x="2894" y="731"/>
                  <a:pt x="2895" y="732"/>
                </a:cubicBezTo>
                <a:cubicBezTo>
                  <a:pt x="2894" y="731"/>
                  <a:pt x="2893" y="731"/>
                  <a:pt x="2893" y="731"/>
                </a:cubicBezTo>
                <a:cubicBezTo>
                  <a:pt x="2893" y="733"/>
                  <a:pt x="2892" y="734"/>
                  <a:pt x="2891" y="736"/>
                </a:cubicBezTo>
                <a:cubicBezTo>
                  <a:pt x="2893" y="735"/>
                  <a:pt x="2893" y="735"/>
                  <a:pt x="2894" y="735"/>
                </a:cubicBezTo>
                <a:cubicBezTo>
                  <a:pt x="2895" y="734"/>
                  <a:pt x="2896" y="733"/>
                  <a:pt x="2896" y="732"/>
                </a:cubicBezTo>
                <a:cubicBezTo>
                  <a:pt x="2901" y="725"/>
                  <a:pt x="2907" y="721"/>
                  <a:pt x="2915" y="719"/>
                </a:cubicBezTo>
                <a:cubicBezTo>
                  <a:pt x="2918" y="719"/>
                  <a:pt x="2921" y="718"/>
                  <a:pt x="2923" y="715"/>
                </a:cubicBezTo>
                <a:cubicBezTo>
                  <a:pt x="2923" y="715"/>
                  <a:pt x="2924" y="714"/>
                  <a:pt x="2924" y="714"/>
                </a:cubicBezTo>
                <a:cubicBezTo>
                  <a:pt x="2927" y="714"/>
                  <a:pt x="2929" y="712"/>
                  <a:pt x="2931" y="710"/>
                </a:cubicBezTo>
                <a:cubicBezTo>
                  <a:pt x="2938" y="702"/>
                  <a:pt x="2950" y="702"/>
                  <a:pt x="2958" y="708"/>
                </a:cubicBezTo>
                <a:cubicBezTo>
                  <a:pt x="2960" y="710"/>
                  <a:pt x="2963" y="712"/>
                  <a:pt x="2965" y="714"/>
                </a:cubicBezTo>
                <a:cubicBezTo>
                  <a:pt x="2967" y="715"/>
                  <a:pt x="2968" y="717"/>
                  <a:pt x="2969" y="719"/>
                </a:cubicBezTo>
                <a:cubicBezTo>
                  <a:pt x="2970" y="721"/>
                  <a:pt x="2971" y="721"/>
                  <a:pt x="2972" y="719"/>
                </a:cubicBezTo>
                <a:cubicBezTo>
                  <a:pt x="2973" y="719"/>
                  <a:pt x="2973" y="718"/>
                  <a:pt x="2974" y="717"/>
                </a:cubicBezTo>
                <a:cubicBezTo>
                  <a:pt x="2976" y="715"/>
                  <a:pt x="2979" y="715"/>
                  <a:pt x="2980" y="718"/>
                </a:cubicBezTo>
                <a:cubicBezTo>
                  <a:pt x="2982" y="721"/>
                  <a:pt x="2982" y="724"/>
                  <a:pt x="2983" y="727"/>
                </a:cubicBezTo>
                <a:cubicBezTo>
                  <a:pt x="2984" y="731"/>
                  <a:pt x="2983" y="736"/>
                  <a:pt x="2982" y="740"/>
                </a:cubicBezTo>
                <a:cubicBezTo>
                  <a:pt x="2979" y="746"/>
                  <a:pt x="2975" y="750"/>
                  <a:pt x="2968" y="750"/>
                </a:cubicBezTo>
                <a:cubicBezTo>
                  <a:pt x="2967" y="750"/>
                  <a:pt x="2967" y="750"/>
                  <a:pt x="2966" y="750"/>
                </a:cubicBezTo>
                <a:cubicBezTo>
                  <a:pt x="2964" y="750"/>
                  <a:pt x="2962" y="750"/>
                  <a:pt x="2962" y="752"/>
                </a:cubicBezTo>
                <a:cubicBezTo>
                  <a:pt x="2960" y="757"/>
                  <a:pt x="2955" y="758"/>
                  <a:pt x="2951" y="755"/>
                </a:cubicBezTo>
                <a:cubicBezTo>
                  <a:pt x="2950" y="754"/>
                  <a:pt x="2949" y="753"/>
                  <a:pt x="2948" y="752"/>
                </a:cubicBezTo>
                <a:cubicBezTo>
                  <a:pt x="2947" y="752"/>
                  <a:pt x="2947" y="752"/>
                  <a:pt x="2947" y="752"/>
                </a:cubicBezTo>
                <a:close/>
                <a:moveTo>
                  <a:pt x="2942" y="748"/>
                </a:moveTo>
                <a:cubicBezTo>
                  <a:pt x="2945" y="750"/>
                  <a:pt x="2949" y="751"/>
                  <a:pt x="2951" y="754"/>
                </a:cubicBezTo>
                <a:cubicBezTo>
                  <a:pt x="2953" y="755"/>
                  <a:pt x="2955" y="756"/>
                  <a:pt x="2957" y="755"/>
                </a:cubicBezTo>
                <a:cubicBezTo>
                  <a:pt x="2960" y="754"/>
                  <a:pt x="2961" y="752"/>
                  <a:pt x="2961" y="749"/>
                </a:cubicBezTo>
                <a:cubicBezTo>
                  <a:pt x="2961" y="750"/>
                  <a:pt x="2960" y="750"/>
                  <a:pt x="2960" y="750"/>
                </a:cubicBezTo>
                <a:cubicBezTo>
                  <a:pt x="2960" y="752"/>
                  <a:pt x="2958" y="752"/>
                  <a:pt x="2958" y="754"/>
                </a:cubicBezTo>
                <a:cubicBezTo>
                  <a:pt x="2956" y="755"/>
                  <a:pt x="2955" y="754"/>
                  <a:pt x="2955" y="754"/>
                </a:cubicBezTo>
                <a:cubicBezTo>
                  <a:pt x="2954" y="754"/>
                  <a:pt x="2953" y="753"/>
                  <a:pt x="2953" y="752"/>
                </a:cubicBezTo>
                <a:cubicBezTo>
                  <a:pt x="2953" y="750"/>
                  <a:pt x="2954" y="748"/>
                  <a:pt x="2954" y="746"/>
                </a:cubicBezTo>
                <a:cubicBezTo>
                  <a:pt x="2957" y="746"/>
                  <a:pt x="2960" y="748"/>
                  <a:pt x="2964" y="748"/>
                </a:cubicBezTo>
                <a:cubicBezTo>
                  <a:pt x="2971" y="749"/>
                  <a:pt x="2977" y="748"/>
                  <a:pt x="2980" y="739"/>
                </a:cubicBezTo>
                <a:cubicBezTo>
                  <a:pt x="2982" y="734"/>
                  <a:pt x="2982" y="729"/>
                  <a:pt x="2981" y="724"/>
                </a:cubicBezTo>
                <a:cubicBezTo>
                  <a:pt x="2980" y="722"/>
                  <a:pt x="2980" y="721"/>
                  <a:pt x="2979" y="719"/>
                </a:cubicBezTo>
                <a:cubicBezTo>
                  <a:pt x="2978" y="717"/>
                  <a:pt x="2977" y="717"/>
                  <a:pt x="2976" y="718"/>
                </a:cubicBezTo>
                <a:cubicBezTo>
                  <a:pt x="2974" y="720"/>
                  <a:pt x="2973" y="721"/>
                  <a:pt x="2971" y="722"/>
                </a:cubicBezTo>
                <a:cubicBezTo>
                  <a:pt x="2970" y="723"/>
                  <a:pt x="2969" y="723"/>
                  <a:pt x="2969" y="725"/>
                </a:cubicBezTo>
                <a:cubicBezTo>
                  <a:pt x="2970" y="728"/>
                  <a:pt x="2969" y="731"/>
                  <a:pt x="2968" y="734"/>
                </a:cubicBezTo>
                <a:cubicBezTo>
                  <a:pt x="2968" y="732"/>
                  <a:pt x="2969" y="730"/>
                  <a:pt x="2969" y="729"/>
                </a:cubicBezTo>
                <a:cubicBezTo>
                  <a:pt x="2969" y="728"/>
                  <a:pt x="2968" y="727"/>
                  <a:pt x="2968" y="727"/>
                </a:cubicBezTo>
                <a:cubicBezTo>
                  <a:pt x="2967" y="727"/>
                  <a:pt x="2967" y="727"/>
                  <a:pt x="2967" y="728"/>
                </a:cubicBezTo>
                <a:cubicBezTo>
                  <a:pt x="2966" y="729"/>
                  <a:pt x="2965" y="731"/>
                  <a:pt x="2964" y="732"/>
                </a:cubicBezTo>
                <a:cubicBezTo>
                  <a:pt x="2964" y="732"/>
                  <a:pt x="2964" y="732"/>
                  <a:pt x="2964" y="732"/>
                </a:cubicBezTo>
                <a:cubicBezTo>
                  <a:pt x="2964" y="730"/>
                  <a:pt x="2965" y="729"/>
                  <a:pt x="2965" y="726"/>
                </a:cubicBezTo>
                <a:cubicBezTo>
                  <a:pt x="2964" y="727"/>
                  <a:pt x="2964" y="727"/>
                  <a:pt x="2963" y="728"/>
                </a:cubicBezTo>
                <a:cubicBezTo>
                  <a:pt x="2962" y="729"/>
                  <a:pt x="2962" y="729"/>
                  <a:pt x="2962" y="730"/>
                </a:cubicBezTo>
                <a:cubicBezTo>
                  <a:pt x="2962" y="727"/>
                  <a:pt x="2962" y="727"/>
                  <a:pt x="2968" y="725"/>
                </a:cubicBezTo>
                <a:cubicBezTo>
                  <a:pt x="2968" y="725"/>
                  <a:pt x="2967" y="724"/>
                  <a:pt x="2967" y="724"/>
                </a:cubicBezTo>
                <a:cubicBezTo>
                  <a:pt x="2964" y="725"/>
                  <a:pt x="2964" y="723"/>
                  <a:pt x="2963" y="721"/>
                </a:cubicBezTo>
                <a:cubicBezTo>
                  <a:pt x="2965" y="721"/>
                  <a:pt x="2966" y="720"/>
                  <a:pt x="2968" y="720"/>
                </a:cubicBezTo>
                <a:cubicBezTo>
                  <a:pt x="2966" y="717"/>
                  <a:pt x="2965" y="715"/>
                  <a:pt x="2962" y="714"/>
                </a:cubicBezTo>
                <a:cubicBezTo>
                  <a:pt x="2961" y="714"/>
                  <a:pt x="2961" y="714"/>
                  <a:pt x="2961" y="714"/>
                </a:cubicBezTo>
                <a:cubicBezTo>
                  <a:pt x="2958" y="712"/>
                  <a:pt x="2956" y="709"/>
                  <a:pt x="2953" y="707"/>
                </a:cubicBezTo>
                <a:cubicBezTo>
                  <a:pt x="2951" y="706"/>
                  <a:pt x="2948" y="705"/>
                  <a:pt x="2946" y="705"/>
                </a:cubicBezTo>
                <a:cubicBezTo>
                  <a:pt x="2943" y="706"/>
                  <a:pt x="2940" y="707"/>
                  <a:pt x="2936" y="708"/>
                </a:cubicBezTo>
                <a:cubicBezTo>
                  <a:pt x="2934" y="709"/>
                  <a:pt x="2931" y="710"/>
                  <a:pt x="2929" y="714"/>
                </a:cubicBezTo>
                <a:cubicBezTo>
                  <a:pt x="2931" y="714"/>
                  <a:pt x="2932" y="714"/>
                  <a:pt x="2933" y="714"/>
                </a:cubicBezTo>
                <a:cubicBezTo>
                  <a:pt x="2933" y="714"/>
                  <a:pt x="2932" y="714"/>
                  <a:pt x="2931" y="714"/>
                </a:cubicBezTo>
                <a:cubicBezTo>
                  <a:pt x="2929" y="715"/>
                  <a:pt x="2926" y="714"/>
                  <a:pt x="2924" y="717"/>
                </a:cubicBezTo>
                <a:cubicBezTo>
                  <a:pt x="2921" y="721"/>
                  <a:pt x="2917" y="724"/>
                  <a:pt x="2913" y="729"/>
                </a:cubicBezTo>
                <a:cubicBezTo>
                  <a:pt x="2912" y="731"/>
                  <a:pt x="2911" y="733"/>
                  <a:pt x="2910" y="735"/>
                </a:cubicBezTo>
                <a:cubicBezTo>
                  <a:pt x="2910" y="736"/>
                  <a:pt x="2910" y="736"/>
                  <a:pt x="2910" y="737"/>
                </a:cubicBezTo>
                <a:cubicBezTo>
                  <a:pt x="2911" y="739"/>
                  <a:pt x="2913" y="741"/>
                  <a:pt x="2914" y="743"/>
                </a:cubicBezTo>
                <a:cubicBezTo>
                  <a:pt x="2915" y="741"/>
                  <a:pt x="2916" y="740"/>
                  <a:pt x="2918" y="738"/>
                </a:cubicBezTo>
                <a:cubicBezTo>
                  <a:pt x="2917" y="740"/>
                  <a:pt x="2917" y="741"/>
                  <a:pt x="2916" y="742"/>
                </a:cubicBezTo>
                <a:cubicBezTo>
                  <a:pt x="2915" y="744"/>
                  <a:pt x="2915" y="745"/>
                  <a:pt x="2914" y="746"/>
                </a:cubicBezTo>
                <a:cubicBezTo>
                  <a:pt x="2914" y="747"/>
                  <a:pt x="2914" y="748"/>
                  <a:pt x="2915" y="749"/>
                </a:cubicBezTo>
                <a:cubicBezTo>
                  <a:pt x="2917" y="753"/>
                  <a:pt x="2920" y="753"/>
                  <a:pt x="2924" y="751"/>
                </a:cubicBezTo>
                <a:cubicBezTo>
                  <a:pt x="2926" y="749"/>
                  <a:pt x="2929" y="748"/>
                  <a:pt x="2932" y="747"/>
                </a:cubicBezTo>
                <a:cubicBezTo>
                  <a:pt x="2933" y="747"/>
                  <a:pt x="2935" y="746"/>
                  <a:pt x="2935" y="744"/>
                </a:cubicBezTo>
                <a:cubicBezTo>
                  <a:pt x="2935" y="741"/>
                  <a:pt x="2935" y="738"/>
                  <a:pt x="2935" y="734"/>
                </a:cubicBezTo>
                <a:cubicBezTo>
                  <a:pt x="2935" y="731"/>
                  <a:pt x="2935" y="729"/>
                  <a:pt x="2935" y="725"/>
                </a:cubicBezTo>
                <a:cubicBezTo>
                  <a:pt x="2935" y="728"/>
                  <a:pt x="2936" y="731"/>
                  <a:pt x="2936" y="733"/>
                </a:cubicBezTo>
                <a:cubicBezTo>
                  <a:pt x="2937" y="738"/>
                  <a:pt x="2937" y="742"/>
                  <a:pt x="2936" y="747"/>
                </a:cubicBezTo>
                <a:cubicBezTo>
                  <a:pt x="2935" y="748"/>
                  <a:pt x="2935" y="748"/>
                  <a:pt x="2934" y="748"/>
                </a:cubicBezTo>
                <a:cubicBezTo>
                  <a:pt x="2931" y="749"/>
                  <a:pt x="2927" y="751"/>
                  <a:pt x="2924" y="752"/>
                </a:cubicBezTo>
                <a:cubicBezTo>
                  <a:pt x="2919" y="755"/>
                  <a:pt x="2916" y="754"/>
                  <a:pt x="2912" y="750"/>
                </a:cubicBezTo>
                <a:cubicBezTo>
                  <a:pt x="2912" y="749"/>
                  <a:pt x="2912" y="748"/>
                  <a:pt x="2912" y="748"/>
                </a:cubicBezTo>
                <a:cubicBezTo>
                  <a:pt x="2913" y="745"/>
                  <a:pt x="2912" y="743"/>
                  <a:pt x="2911" y="741"/>
                </a:cubicBezTo>
                <a:cubicBezTo>
                  <a:pt x="2909" y="739"/>
                  <a:pt x="2907" y="737"/>
                  <a:pt x="2909" y="734"/>
                </a:cubicBezTo>
                <a:cubicBezTo>
                  <a:pt x="2909" y="732"/>
                  <a:pt x="2910" y="731"/>
                  <a:pt x="2911" y="729"/>
                </a:cubicBezTo>
                <a:cubicBezTo>
                  <a:pt x="2913" y="726"/>
                  <a:pt x="2915" y="724"/>
                  <a:pt x="2917" y="721"/>
                </a:cubicBezTo>
                <a:cubicBezTo>
                  <a:pt x="2917" y="721"/>
                  <a:pt x="2916" y="721"/>
                  <a:pt x="2916" y="721"/>
                </a:cubicBezTo>
                <a:cubicBezTo>
                  <a:pt x="2911" y="722"/>
                  <a:pt x="2907" y="724"/>
                  <a:pt x="2903" y="727"/>
                </a:cubicBezTo>
                <a:cubicBezTo>
                  <a:pt x="2898" y="731"/>
                  <a:pt x="2895" y="736"/>
                  <a:pt x="2895" y="743"/>
                </a:cubicBezTo>
                <a:cubicBezTo>
                  <a:pt x="2895" y="750"/>
                  <a:pt x="2897" y="756"/>
                  <a:pt x="2900" y="762"/>
                </a:cubicBezTo>
                <a:cubicBezTo>
                  <a:pt x="2901" y="763"/>
                  <a:pt x="2902" y="764"/>
                  <a:pt x="2901" y="765"/>
                </a:cubicBezTo>
                <a:cubicBezTo>
                  <a:pt x="2901" y="767"/>
                  <a:pt x="2901" y="769"/>
                  <a:pt x="2900" y="770"/>
                </a:cubicBezTo>
                <a:cubicBezTo>
                  <a:pt x="2900" y="772"/>
                  <a:pt x="2900" y="773"/>
                  <a:pt x="2901" y="773"/>
                </a:cubicBezTo>
                <a:cubicBezTo>
                  <a:pt x="2904" y="774"/>
                  <a:pt x="2907" y="774"/>
                  <a:pt x="2910" y="774"/>
                </a:cubicBezTo>
                <a:cubicBezTo>
                  <a:pt x="2911" y="774"/>
                  <a:pt x="2911" y="774"/>
                  <a:pt x="2911" y="773"/>
                </a:cubicBezTo>
                <a:cubicBezTo>
                  <a:pt x="2912" y="772"/>
                  <a:pt x="2912" y="771"/>
                  <a:pt x="2913" y="770"/>
                </a:cubicBezTo>
                <a:cubicBezTo>
                  <a:pt x="2915" y="767"/>
                  <a:pt x="2915" y="765"/>
                  <a:pt x="2915" y="762"/>
                </a:cubicBezTo>
                <a:cubicBezTo>
                  <a:pt x="2915" y="761"/>
                  <a:pt x="2915" y="761"/>
                  <a:pt x="2915" y="761"/>
                </a:cubicBezTo>
                <a:cubicBezTo>
                  <a:pt x="2915" y="760"/>
                  <a:pt x="2915" y="760"/>
                  <a:pt x="2915" y="760"/>
                </a:cubicBezTo>
                <a:cubicBezTo>
                  <a:pt x="2915" y="763"/>
                  <a:pt x="2916" y="763"/>
                  <a:pt x="2918" y="763"/>
                </a:cubicBezTo>
                <a:cubicBezTo>
                  <a:pt x="2919" y="763"/>
                  <a:pt x="2920" y="763"/>
                  <a:pt x="2921" y="763"/>
                </a:cubicBezTo>
                <a:cubicBezTo>
                  <a:pt x="2924" y="763"/>
                  <a:pt x="2927" y="763"/>
                  <a:pt x="2927" y="759"/>
                </a:cubicBezTo>
                <a:cubicBezTo>
                  <a:pt x="2927" y="761"/>
                  <a:pt x="2927" y="763"/>
                  <a:pt x="2927" y="764"/>
                </a:cubicBezTo>
                <a:cubicBezTo>
                  <a:pt x="2926" y="765"/>
                  <a:pt x="2925" y="765"/>
                  <a:pt x="2924" y="766"/>
                </a:cubicBezTo>
                <a:cubicBezTo>
                  <a:pt x="2922" y="767"/>
                  <a:pt x="2922" y="768"/>
                  <a:pt x="2922" y="769"/>
                </a:cubicBezTo>
                <a:cubicBezTo>
                  <a:pt x="2924" y="771"/>
                  <a:pt x="2925" y="773"/>
                  <a:pt x="2926" y="775"/>
                </a:cubicBezTo>
                <a:cubicBezTo>
                  <a:pt x="2928" y="776"/>
                  <a:pt x="2930" y="776"/>
                  <a:pt x="2931" y="774"/>
                </a:cubicBezTo>
                <a:cubicBezTo>
                  <a:pt x="2932" y="774"/>
                  <a:pt x="2933" y="773"/>
                  <a:pt x="2933" y="773"/>
                </a:cubicBezTo>
                <a:cubicBezTo>
                  <a:pt x="2935" y="771"/>
                  <a:pt x="2936" y="770"/>
                  <a:pt x="2938" y="769"/>
                </a:cubicBezTo>
                <a:cubicBezTo>
                  <a:pt x="2942" y="764"/>
                  <a:pt x="2944" y="758"/>
                  <a:pt x="2946" y="752"/>
                </a:cubicBezTo>
                <a:cubicBezTo>
                  <a:pt x="2946" y="752"/>
                  <a:pt x="2945" y="751"/>
                  <a:pt x="2945" y="751"/>
                </a:cubicBezTo>
                <a:cubicBezTo>
                  <a:pt x="2944" y="750"/>
                  <a:pt x="2943" y="749"/>
                  <a:pt x="2942" y="748"/>
                </a:cubicBezTo>
                <a:close/>
                <a:moveTo>
                  <a:pt x="2895" y="754"/>
                </a:moveTo>
                <a:cubicBezTo>
                  <a:pt x="2894" y="755"/>
                  <a:pt x="2892" y="756"/>
                  <a:pt x="2891" y="757"/>
                </a:cubicBezTo>
                <a:cubicBezTo>
                  <a:pt x="2891" y="757"/>
                  <a:pt x="2890" y="758"/>
                  <a:pt x="2890" y="759"/>
                </a:cubicBezTo>
                <a:cubicBezTo>
                  <a:pt x="2890" y="762"/>
                  <a:pt x="2895" y="766"/>
                  <a:pt x="2898" y="766"/>
                </a:cubicBezTo>
                <a:cubicBezTo>
                  <a:pt x="2899" y="766"/>
                  <a:pt x="2900" y="765"/>
                  <a:pt x="2899" y="763"/>
                </a:cubicBezTo>
                <a:cubicBezTo>
                  <a:pt x="2898" y="760"/>
                  <a:pt x="2896" y="757"/>
                  <a:pt x="2895" y="754"/>
                </a:cubicBezTo>
                <a:close/>
                <a:moveTo>
                  <a:pt x="2947" y="756"/>
                </a:moveTo>
                <a:cubicBezTo>
                  <a:pt x="2945" y="761"/>
                  <a:pt x="2942" y="765"/>
                  <a:pt x="2940" y="770"/>
                </a:cubicBezTo>
                <a:cubicBezTo>
                  <a:pt x="2943" y="770"/>
                  <a:pt x="2945" y="770"/>
                  <a:pt x="2948" y="770"/>
                </a:cubicBezTo>
                <a:cubicBezTo>
                  <a:pt x="2948" y="770"/>
                  <a:pt x="2949" y="769"/>
                  <a:pt x="2949" y="768"/>
                </a:cubicBezTo>
                <a:cubicBezTo>
                  <a:pt x="2949" y="765"/>
                  <a:pt x="2949" y="763"/>
                  <a:pt x="2948" y="761"/>
                </a:cubicBezTo>
                <a:cubicBezTo>
                  <a:pt x="2948" y="759"/>
                  <a:pt x="2947" y="758"/>
                  <a:pt x="2947" y="756"/>
                </a:cubicBezTo>
                <a:close/>
                <a:moveTo>
                  <a:pt x="2895" y="736"/>
                </a:moveTo>
                <a:cubicBezTo>
                  <a:pt x="2894" y="736"/>
                  <a:pt x="2893" y="737"/>
                  <a:pt x="2893" y="737"/>
                </a:cubicBezTo>
                <a:cubicBezTo>
                  <a:pt x="2892" y="737"/>
                  <a:pt x="2891" y="737"/>
                  <a:pt x="2891" y="736"/>
                </a:cubicBezTo>
                <a:cubicBezTo>
                  <a:pt x="2891" y="736"/>
                  <a:pt x="2890" y="735"/>
                  <a:pt x="2890" y="734"/>
                </a:cubicBezTo>
                <a:cubicBezTo>
                  <a:pt x="2891" y="733"/>
                  <a:pt x="2891" y="731"/>
                  <a:pt x="2892" y="729"/>
                </a:cubicBezTo>
                <a:cubicBezTo>
                  <a:pt x="2892" y="729"/>
                  <a:pt x="2892" y="729"/>
                  <a:pt x="2891" y="729"/>
                </a:cubicBezTo>
                <a:cubicBezTo>
                  <a:pt x="2891" y="729"/>
                  <a:pt x="2889" y="730"/>
                  <a:pt x="2889" y="731"/>
                </a:cubicBezTo>
                <a:cubicBezTo>
                  <a:pt x="2888" y="733"/>
                  <a:pt x="2889" y="738"/>
                  <a:pt x="2891" y="738"/>
                </a:cubicBezTo>
                <a:cubicBezTo>
                  <a:pt x="2893" y="739"/>
                  <a:pt x="2895" y="738"/>
                  <a:pt x="2895" y="736"/>
                </a:cubicBezTo>
                <a:close/>
                <a:moveTo>
                  <a:pt x="2894" y="754"/>
                </a:moveTo>
                <a:cubicBezTo>
                  <a:pt x="2893" y="755"/>
                  <a:pt x="2892" y="756"/>
                  <a:pt x="2891" y="757"/>
                </a:cubicBezTo>
                <a:cubicBezTo>
                  <a:pt x="2890" y="757"/>
                  <a:pt x="2890" y="758"/>
                  <a:pt x="2890" y="759"/>
                </a:cubicBezTo>
                <a:cubicBezTo>
                  <a:pt x="2890" y="762"/>
                  <a:pt x="2894" y="766"/>
                  <a:pt x="2897" y="766"/>
                </a:cubicBezTo>
                <a:cubicBezTo>
                  <a:pt x="2899" y="766"/>
                  <a:pt x="2900" y="764"/>
                  <a:pt x="2899" y="763"/>
                </a:cubicBezTo>
                <a:cubicBezTo>
                  <a:pt x="2897" y="760"/>
                  <a:pt x="2896" y="757"/>
                  <a:pt x="2894" y="754"/>
                </a:cubicBezTo>
                <a:close/>
                <a:moveTo>
                  <a:pt x="2947" y="756"/>
                </a:moveTo>
                <a:cubicBezTo>
                  <a:pt x="2945" y="761"/>
                  <a:pt x="2942" y="766"/>
                  <a:pt x="2940" y="770"/>
                </a:cubicBezTo>
                <a:cubicBezTo>
                  <a:pt x="2943" y="770"/>
                  <a:pt x="2945" y="770"/>
                  <a:pt x="2948" y="770"/>
                </a:cubicBezTo>
                <a:cubicBezTo>
                  <a:pt x="2948" y="770"/>
                  <a:pt x="2948" y="769"/>
                  <a:pt x="2948" y="768"/>
                </a:cubicBezTo>
                <a:cubicBezTo>
                  <a:pt x="2948" y="766"/>
                  <a:pt x="2948" y="763"/>
                  <a:pt x="2948" y="761"/>
                </a:cubicBezTo>
                <a:cubicBezTo>
                  <a:pt x="2948" y="759"/>
                  <a:pt x="2947" y="758"/>
                  <a:pt x="2947" y="756"/>
                </a:cubicBezTo>
                <a:close/>
                <a:moveTo>
                  <a:pt x="2894" y="736"/>
                </a:moveTo>
                <a:cubicBezTo>
                  <a:pt x="2893" y="736"/>
                  <a:pt x="2893" y="737"/>
                  <a:pt x="2892" y="737"/>
                </a:cubicBezTo>
                <a:cubicBezTo>
                  <a:pt x="2891" y="737"/>
                  <a:pt x="2891" y="737"/>
                  <a:pt x="2891" y="736"/>
                </a:cubicBezTo>
                <a:cubicBezTo>
                  <a:pt x="2890" y="736"/>
                  <a:pt x="2890" y="735"/>
                  <a:pt x="2890" y="734"/>
                </a:cubicBezTo>
                <a:cubicBezTo>
                  <a:pt x="2891" y="732"/>
                  <a:pt x="2891" y="730"/>
                  <a:pt x="2892" y="729"/>
                </a:cubicBezTo>
                <a:cubicBezTo>
                  <a:pt x="2891" y="729"/>
                  <a:pt x="2891" y="729"/>
                  <a:pt x="2891" y="729"/>
                </a:cubicBezTo>
                <a:cubicBezTo>
                  <a:pt x="2890" y="729"/>
                  <a:pt x="2889" y="730"/>
                  <a:pt x="2888" y="731"/>
                </a:cubicBezTo>
                <a:cubicBezTo>
                  <a:pt x="2888" y="732"/>
                  <a:pt x="2889" y="738"/>
                  <a:pt x="2891" y="738"/>
                </a:cubicBezTo>
                <a:cubicBezTo>
                  <a:pt x="2892" y="739"/>
                  <a:pt x="2894" y="738"/>
                  <a:pt x="2894" y="736"/>
                </a:cubicBezTo>
                <a:close/>
                <a:moveTo>
                  <a:pt x="2947" y="728"/>
                </a:moveTo>
                <a:cubicBezTo>
                  <a:pt x="2950" y="724"/>
                  <a:pt x="2950" y="724"/>
                  <a:pt x="2953" y="723"/>
                </a:cubicBezTo>
                <a:cubicBezTo>
                  <a:pt x="2953" y="725"/>
                  <a:pt x="2955" y="726"/>
                  <a:pt x="2956" y="726"/>
                </a:cubicBezTo>
                <a:cubicBezTo>
                  <a:pt x="2954" y="727"/>
                  <a:pt x="2952" y="729"/>
                  <a:pt x="2950" y="730"/>
                </a:cubicBezTo>
                <a:cubicBezTo>
                  <a:pt x="2949" y="729"/>
                  <a:pt x="2949" y="728"/>
                  <a:pt x="2948" y="727"/>
                </a:cubicBezTo>
                <a:cubicBezTo>
                  <a:pt x="2948" y="727"/>
                  <a:pt x="2947" y="727"/>
                  <a:pt x="2947" y="728"/>
                </a:cubicBezTo>
                <a:close/>
                <a:moveTo>
                  <a:pt x="2952" y="727"/>
                </a:moveTo>
                <a:cubicBezTo>
                  <a:pt x="2952" y="727"/>
                  <a:pt x="2951" y="727"/>
                  <a:pt x="2950" y="727"/>
                </a:cubicBezTo>
                <a:cubicBezTo>
                  <a:pt x="2950" y="727"/>
                  <a:pt x="2949" y="727"/>
                  <a:pt x="2949" y="728"/>
                </a:cubicBezTo>
                <a:cubicBezTo>
                  <a:pt x="2949" y="728"/>
                  <a:pt x="2950" y="728"/>
                  <a:pt x="2950" y="729"/>
                </a:cubicBezTo>
                <a:cubicBezTo>
                  <a:pt x="2951" y="728"/>
                  <a:pt x="2951" y="728"/>
                  <a:pt x="2952" y="727"/>
                </a:cubicBezTo>
                <a:close/>
                <a:moveTo>
                  <a:pt x="2934" y="718"/>
                </a:moveTo>
                <a:cubicBezTo>
                  <a:pt x="2927" y="717"/>
                  <a:pt x="2924" y="719"/>
                  <a:pt x="2923" y="728"/>
                </a:cubicBezTo>
                <a:cubicBezTo>
                  <a:pt x="2924" y="726"/>
                  <a:pt x="2925" y="723"/>
                  <a:pt x="2927" y="721"/>
                </a:cubicBezTo>
                <a:cubicBezTo>
                  <a:pt x="2927" y="721"/>
                  <a:pt x="2927" y="721"/>
                  <a:pt x="2927" y="721"/>
                </a:cubicBezTo>
                <a:cubicBezTo>
                  <a:pt x="2927" y="722"/>
                  <a:pt x="2927" y="723"/>
                  <a:pt x="2927" y="723"/>
                </a:cubicBezTo>
                <a:cubicBezTo>
                  <a:pt x="2929" y="720"/>
                  <a:pt x="2930" y="718"/>
                  <a:pt x="2934" y="718"/>
                </a:cubicBezTo>
                <a:close/>
                <a:moveTo>
                  <a:pt x="2977" y="719"/>
                </a:moveTo>
                <a:cubicBezTo>
                  <a:pt x="2975" y="721"/>
                  <a:pt x="2973" y="722"/>
                  <a:pt x="2972" y="723"/>
                </a:cubicBezTo>
                <a:cubicBezTo>
                  <a:pt x="2974" y="724"/>
                  <a:pt x="2976" y="722"/>
                  <a:pt x="2977" y="719"/>
                </a:cubicBezTo>
                <a:close/>
                <a:moveTo>
                  <a:pt x="2944" y="721"/>
                </a:moveTo>
                <a:cubicBezTo>
                  <a:pt x="2945" y="720"/>
                  <a:pt x="2946" y="719"/>
                  <a:pt x="2948" y="717"/>
                </a:cubicBezTo>
                <a:cubicBezTo>
                  <a:pt x="2944" y="719"/>
                  <a:pt x="2943" y="719"/>
                  <a:pt x="2944" y="721"/>
                </a:cubicBezTo>
                <a:close/>
                <a:moveTo>
                  <a:pt x="2954" y="743"/>
                </a:moveTo>
                <a:cubicBezTo>
                  <a:pt x="2952" y="743"/>
                  <a:pt x="2951" y="744"/>
                  <a:pt x="2951" y="745"/>
                </a:cubicBezTo>
                <a:cubicBezTo>
                  <a:pt x="2952" y="744"/>
                  <a:pt x="2953" y="744"/>
                  <a:pt x="2954" y="743"/>
                </a:cubicBezTo>
                <a:close/>
                <a:moveTo>
                  <a:pt x="2952" y="727"/>
                </a:moveTo>
                <a:cubicBezTo>
                  <a:pt x="2952" y="727"/>
                  <a:pt x="2951" y="727"/>
                  <a:pt x="2951" y="727"/>
                </a:cubicBezTo>
                <a:cubicBezTo>
                  <a:pt x="2950" y="727"/>
                  <a:pt x="2949" y="727"/>
                  <a:pt x="2949" y="728"/>
                </a:cubicBezTo>
                <a:cubicBezTo>
                  <a:pt x="2949" y="728"/>
                  <a:pt x="2950" y="729"/>
                  <a:pt x="2950" y="729"/>
                </a:cubicBezTo>
                <a:cubicBezTo>
                  <a:pt x="2951" y="729"/>
                  <a:pt x="2951" y="728"/>
                  <a:pt x="2952" y="727"/>
                </a:cubicBezTo>
                <a:close/>
                <a:moveTo>
                  <a:pt x="3477" y="848"/>
                </a:moveTo>
                <a:cubicBezTo>
                  <a:pt x="3477" y="850"/>
                  <a:pt x="3478" y="851"/>
                  <a:pt x="3479" y="853"/>
                </a:cubicBezTo>
                <a:cubicBezTo>
                  <a:pt x="3479" y="854"/>
                  <a:pt x="3479" y="856"/>
                  <a:pt x="3480" y="858"/>
                </a:cubicBezTo>
                <a:cubicBezTo>
                  <a:pt x="3480" y="859"/>
                  <a:pt x="3480" y="861"/>
                  <a:pt x="3480" y="863"/>
                </a:cubicBezTo>
                <a:cubicBezTo>
                  <a:pt x="3481" y="866"/>
                  <a:pt x="3480" y="867"/>
                  <a:pt x="3477" y="867"/>
                </a:cubicBezTo>
                <a:cubicBezTo>
                  <a:pt x="3474" y="867"/>
                  <a:pt x="3471" y="867"/>
                  <a:pt x="3468" y="867"/>
                </a:cubicBezTo>
                <a:cubicBezTo>
                  <a:pt x="3468" y="867"/>
                  <a:pt x="3467" y="867"/>
                  <a:pt x="3467" y="867"/>
                </a:cubicBezTo>
                <a:cubicBezTo>
                  <a:pt x="3465" y="869"/>
                  <a:pt x="3464" y="870"/>
                  <a:pt x="3462" y="872"/>
                </a:cubicBezTo>
                <a:cubicBezTo>
                  <a:pt x="3461" y="874"/>
                  <a:pt x="3457" y="874"/>
                  <a:pt x="3455" y="872"/>
                </a:cubicBezTo>
                <a:cubicBezTo>
                  <a:pt x="3453" y="870"/>
                  <a:pt x="3452" y="868"/>
                  <a:pt x="3450" y="865"/>
                </a:cubicBezTo>
                <a:cubicBezTo>
                  <a:pt x="3450" y="863"/>
                  <a:pt x="3450" y="862"/>
                  <a:pt x="3452" y="860"/>
                </a:cubicBezTo>
                <a:cubicBezTo>
                  <a:pt x="3450" y="860"/>
                  <a:pt x="3448" y="860"/>
                  <a:pt x="3446" y="860"/>
                </a:cubicBezTo>
                <a:cubicBezTo>
                  <a:pt x="3446" y="862"/>
                  <a:pt x="3444" y="864"/>
                  <a:pt x="3444" y="866"/>
                </a:cubicBezTo>
                <a:cubicBezTo>
                  <a:pt x="3444" y="867"/>
                  <a:pt x="3443" y="868"/>
                  <a:pt x="3443" y="869"/>
                </a:cubicBezTo>
                <a:cubicBezTo>
                  <a:pt x="3443" y="872"/>
                  <a:pt x="3442" y="873"/>
                  <a:pt x="3439" y="872"/>
                </a:cubicBezTo>
                <a:cubicBezTo>
                  <a:pt x="3436" y="872"/>
                  <a:pt x="3433" y="871"/>
                  <a:pt x="3430" y="870"/>
                </a:cubicBezTo>
                <a:cubicBezTo>
                  <a:pt x="3428" y="870"/>
                  <a:pt x="3428" y="868"/>
                  <a:pt x="3428" y="866"/>
                </a:cubicBezTo>
                <a:cubicBezTo>
                  <a:pt x="3428" y="865"/>
                  <a:pt x="3428" y="865"/>
                  <a:pt x="3429" y="865"/>
                </a:cubicBezTo>
                <a:cubicBezTo>
                  <a:pt x="3426" y="863"/>
                  <a:pt x="3424" y="863"/>
                  <a:pt x="3422" y="861"/>
                </a:cubicBezTo>
                <a:cubicBezTo>
                  <a:pt x="3421" y="860"/>
                  <a:pt x="3420" y="858"/>
                  <a:pt x="3419" y="857"/>
                </a:cubicBezTo>
                <a:cubicBezTo>
                  <a:pt x="3418" y="855"/>
                  <a:pt x="3418" y="853"/>
                  <a:pt x="3420" y="851"/>
                </a:cubicBezTo>
                <a:cubicBezTo>
                  <a:pt x="3423" y="849"/>
                  <a:pt x="3424" y="846"/>
                  <a:pt x="3423" y="842"/>
                </a:cubicBezTo>
                <a:cubicBezTo>
                  <a:pt x="3423" y="840"/>
                  <a:pt x="3423" y="838"/>
                  <a:pt x="3423" y="836"/>
                </a:cubicBezTo>
                <a:cubicBezTo>
                  <a:pt x="3422" y="836"/>
                  <a:pt x="3420" y="835"/>
                  <a:pt x="3419" y="834"/>
                </a:cubicBezTo>
                <a:cubicBezTo>
                  <a:pt x="3418" y="832"/>
                  <a:pt x="3417" y="830"/>
                  <a:pt x="3417" y="829"/>
                </a:cubicBezTo>
                <a:cubicBezTo>
                  <a:pt x="3417" y="826"/>
                  <a:pt x="3421" y="823"/>
                  <a:pt x="3423" y="822"/>
                </a:cubicBezTo>
                <a:cubicBezTo>
                  <a:pt x="3424" y="823"/>
                  <a:pt x="3424" y="824"/>
                  <a:pt x="3424" y="825"/>
                </a:cubicBezTo>
                <a:cubicBezTo>
                  <a:pt x="3424" y="826"/>
                  <a:pt x="3424" y="827"/>
                  <a:pt x="3424" y="828"/>
                </a:cubicBezTo>
                <a:cubicBezTo>
                  <a:pt x="3424" y="827"/>
                  <a:pt x="3423" y="827"/>
                  <a:pt x="3423" y="827"/>
                </a:cubicBezTo>
                <a:cubicBezTo>
                  <a:pt x="3422" y="829"/>
                  <a:pt x="3422" y="830"/>
                  <a:pt x="3421" y="832"/>
                </a:cubicBezTo>
                <a:cubicBezTo>
                  <a:pt x="3422" y="831"/>
                  <a:pt x="3423" y="831"/>
                  <a:pt x="3424" y="831"/>
                </a:cubicBezTo>
                <a:cubicBezTo>
                  <a:pt x="3425" y="830"/>
                  <a:pt x="3426" y="829"/>
                  <a:pt x="3426" y="828"/>
                </a:cubicBezTo>
                <a:cubicBezTo>
                  <a:pt x="3431" y="821"/>
                  <a:pt x="3437" y="817"/>
                  <a:pt x="3444" y="815"/>
                </a:cubicBezTo>
                <a:cubicBezTo>
                  <a:pt x="3448" y="815"/>
                  <a:pt x="3451" y="814"/>
                  <a:pt x="3453" y="811"/>
                </a:cubicBezTo>
                <a:cubicBezTo>
                  <a:pt x="3453" y="811"/>
                  <a:pt x="3454" y="810"/>
                  <a:pt x="3454" y="810"/>
                </a:cubicBezTo>
                <a:cubicBezTo>
                  <a:pt x="3457" y="810"/>
                  <a:pt x="3459" y="808"/>
                  <a:pt x="3461" y="806"/>
                </a:cubicBezTo>
                <a:cubicBezTo>
                  <a:pt x="3468" y="798"/>
                  <a:pt x="3480" y="798"/>
                  <a:pt x="3488" y="804"/>
                </a:cubicBezTo>
                <a:cubicBezTo>
                  <a:pt x="3490" y="806"/>
                  <a:pt x="3493" y="808"/>
                  <a:pt x="3495" y="810"/>
                </a:cubicBezTo>
                <a:cubicBezTo>
                  <a:pt x="3497" y="811"/>
                  <a:pt x="3498" y="813"/>
                  <a:pt x="3499" y="815"/>
                </a:cubicBezTo>
                <a:cubicBezTo>
                  <a:pt x="3500" y="817"/>
                  <a:pt x="3501" y="817"/>
                  <a:pt x="3502" y="815"/>
                </a:cubicBezTo>
                <a:cubicBezTo>
                  <a:pt x="3502" y="815"/>
                  <a:pt x="3503" y="814"/>
                  <a:pt x="3504" y="813"/>
                </a:cubicBezTo>
                <a:cubicBezTo>
                  <a:pt x="3506" y="811"/>
                  <a:pt x="3509" y="811"/>
                  <a:pt x="3510" y="814"/>
                </a:cubicBezTo>
                <a:cubicBezTo>
                  <a:pt x="3511" y="817"/>
                  <a:pt x="3512" y="820"/>
                  <a:pt x="3513" y="823"/>
                </a:cubicBezTo>
                <a:cubicBezTo>
                  <a:pt x="3513" y="827"/>
                  <a:pt x="3513" y="832"/>
                  <a:pt x="3511" y="836"/>
                </a:cubicBezTo>
                <a:cubicBezTo>
                  <a:pt x="3509" y="842"/>
                  <a:pt x="3504" y="846"/>
                  <a:pt x="3498" y="846"/>
                </a:cubicBezTo>
                <a:cubicBezTo>
                  <a:pt x="3497" y="846"/>
                  <a:pt x="3497" y="846"/>
                  <a:pt x="3496" y="846"/>
                </a:cubicBezTo>
                <a:cubicBezTo>
                  <a:pt x="3493" y="846"/>
                  <a:pt x="3492" y="846"/>
                  <a:pt x="3491" y="848"/>
                </a:cubicBezTo>
                <a:cubicBezTo>
                  <a:pt x="3490" y="853"/>
                  <a:pt x="3484" y="854"/>
                  <a:pt x="3481" y="851"/>
                </a:cubicBezTo>
                <a:cubicBezTo>
                  <a:pt x="3480" y="850"/>
                  <a:pt x="3479" y="849"/>
                  <a:pt x="3478" y="848"/>
                </a:cubicBezTo>
                <a:cubicBezTo>
                  <a:pt x="3477" y="848"/>
                  <a:pt x="3477" y="848"/>
                  <a:pt x="3477" y="848"/>
                </a:cubicBezTo>
                <a:close/>
                <a:moveTo>
                  <a:pt x="3471" y="844"/>
                </a:moveTo>
                <a:cubicBezTo>
                  <a:pt x="3475" y="846"/>
                  <a:pt x="3479" y="847"/>
                  <a:pt x="3481" y="850"/>
                </a:cubicBezTo>
                <a:cubicBezTo>
                  <a:pt x="3483" y="851"/>
                  <a:pt x="3485" y="852"/>
                  <a:pt x="3487" y="851"/>
                </a:cubicBezTo>
                <a:cubicBezTo>
                  <a:pt x="3490" y="850"/>
                  <a:pt x="3491" y="848"/>
                  <a:pt x="3491" y="845"/>
                </a:cubicBezTo>
                <a:cubicBezTo>
                  <a:pt x="3491" y="846"/>
                  <a:pt x="3490" y="846"/>
                  <a:pt x="3490" y="846"/>
                </a:cubicBezTo>
                <a:cubicBezTo>
                  <a:pt x="3490" y="848"/>
                  <a:pt x="3488" y="848"/>
                  <a:pt x="3488" y="850"/>
                </a:cubicBezTo>
                <a:cubicBezTo>
                  <a:pt x="3486" y="851"/>
                  <a:pt x="3485" y="850"/>
                  <a:pt x="3484" y="850"/>
                </a:cubicBezTo>
                <a:cubicBezTo>
                  <a:pt x="3484" y="850"/>
                  <a:pt x="3483" y="849"/>
                  <a:pt x="3483" y="848"/>
                </a:cubicBezTo>
                <a:cubicBezTo>
                  <a:pt x="3483" y="846"/>
                  <a:pt x="3484" y="844"/>
                  <a:pt x="3484" y="842"/>
                </a:cubicBezTo>
                <a:cubicBezTo>
                  <a:pt x="3487" y="842"/>
                  <a:pt x="3490" y="844"/>
                  <a:pt x="3494" y="844"/>
                </a:cubicBezTo>
                <a:cubicBezTo>
                  <a:pt x="3501" y="845"/>
                  <a:pt x="3507" y="844"/>
                  <a:pt x="3510" y="835"/>
                </a:cubicBezTo>
                <a:cubicBezTo>
                  <a:pt x="3512" y="830"/>
                  <a:pt x="3511" y="825"/>
                  <a:pt x="3511" y="820"/>
                </a:cubicBezTo>
                <a:cubicBezTo>
                  <a:pt x="3510" y="818"/>
                  <a:pt x="3510" y="817"/>
                  <a:pt x="3509" y="815"/>
                </a:cubicBezTo>
                <a:cubicBezTo>
                  <a:pt x="3508" y="813"/>
                  <a:pt x="3507" y="813"/>
                  <a:pt x="3506" y="814"/>
                </a:cubicBezTo>
                <a:cubicBezTo>
                  <a:pt x="3504" y="816"/>
                  <a:pt x="3502" y="817"/>
                  <a:pt x="3501" y="818"/>
                </a:cubicBezTo>
                <a:cubicBezTo>
                  <a:pt x="3500" y="819"/>
                  <a:pt x="3499" y="819"/>
                  <a:pt x="3499" y="821"/>
                </a:cubicBezTo>
                <a:cubicBezTo>
                  <a:pt x="3500" y="824"/>
                  <a:pt x="3499" y="827"/>
                  <a:pt x="3498" y="830"/>
                </a:cubicBezTo>
                <a:cubicBezTo>
                  <a:pt x="3498" y="828"/>
                  <a:pt x="3499" y="826"/>
                  <a:pt x="3499" y="825"/>
                </a:cubicBezTo>
                <a:cubicBezTo>
                  <a:pt x="3499" y="824"/>
                  <a:pt x="3498" y="823"/>
                  <a:pt x="3498" y="823"/>
                </a:cubicBezTo>
                <a:cubicBezTo>
                  <a:pt x="3497" y="823"/>
                  <a:pt x="3497" y="823"/>
                  <a:pt x="3497" y="824"/>
                </a:cubicBezTo>
                <a:cubicBezTo>
                  <a:pt x="3496" y="825"/>
                  <a:pt x="3495" y="827"/>
                  <a:pt x="3494" y="828"/>
                </a:cubicBezTo>
                <a:cubicBezTo>
                  <a:pt x="3494" y="828"/>
                  <a:pt x="3494" y="828"/>
                  <a:pt x="3494" y="828"/>
                </a:cubicBezTo>
                <a:cubicBezTo>
                  <a:pt x="3494" y="826"/>
                  <a:pt x="3495" y="825"/>
                  <a:pt x="3495" y="822"/>
                </a:cubicBezTo>
                <a:cubicBezTo>
                  <a:pt x="3494" y="823"/>
                  <a:pt x="3493" y="823"/>
                  <a:pt x="3493" y="824"/>
                </a:cubicBezTo>
                <a:cubicBezTo>
                  <a:pt x="3492" y="825"/>
                  <a:pt x="3492" y="825"/>
                  <a:pt x="3491" y="826"/>
                </a:cubicBezTo>
                <a:cubicBezTo>
                  <a:pt x="3492" y="823"/>
                  <a:pt x="3492" y="823"/>
                  <a:pt x="3498" y="821"/>
                </a:cubicBezTo>
                <a:cubicBezTo>
                  <a:pt x="3498" y="821"/>
                  <a:pt x="3497" y="820"/>
                  <a:pt x="3497" y="820"/>
                </a:cubicBezTo>
                <a:cubicBezTo>
                  <a:pt x="3494" y="821"/>
                  <a:pt x="3493" y="819"/>
                  <a:pt x="3493" y="817"/>
                </a:cubicBezTo>
                <a:cubicBezTo>
                  <a:pt x="3495" y="817"/>
                  <a:pt x="3496" y="816"/>
                  <a:pt x="3498" y="816"/>
                </a:cubicBezTo>
                <a:cubicBezTo>
                  <a:pt x="3496" y="813"/>
                  <a:pt x="3495" y="811"/>
                  <a:pt x="3491" y="810"/>
                </a:cubicBezTo>
                <a:cubicBezTo>
                  <a:pt x="3491" y="810"/>
                  <a:pt x="3491" y="810"/>
                  <a:pt x="3491" y="810"/>
                </a:cubicBezTo>
                <a:cubicBezTo>
                  <a:pt x="3488" y="808"/>
                  <a:pt x="3486" y="805"/>
                  <a:pt x="3483" y="803"/>
                </a:cubicBezTo>
                <a:cubicBezTo>
                  <a:pt x="3481" y="802"/>
                  <a:pt x="3478" y="801"/>
                  <a:pt x="3476" y="801"/>
                </a:cubicBezTo>
                <a:cubicBezTo>
                  <a:pt x="3473" y="802"/>
                  <a:pt x="3470" y="803"/>
                  <a:pt x="3466" y="804"/>
                </a:cubicBezTo>
                <a:cubicBezTo>
                  <a:pt x="3464" y="805"/>
                  <a:pt x="3461" y="806"/>
                  <a:pt x="3459" y="810"/>
                </a:cubicBezTo>
                <a:cubicBezTo>
                  <a:pt x="3461" y="810"/>
                  <a:pt x="3462" y="810"/>
                  <a:pt x="3463" y="810"/>
                </a:cubicBezTo>
                <a:cubicBezTo>
                  <a:pt x="3463" y="810"/>
                  <a:pt x="3462" y="810"/>
                  <a:pt x="3461" y="810"/>
                </a:cubicBezTo>
                <a:cubicBezTo>
                  <a:pt x="3459" y="811"/>
                  <a:pt x="3456" y="810"/>
                  <a:pt x="3454" y="813"/>
                </a:cubicBezTo>
                <a:cubicBezTo>
                  <a:pt x="3451" y="817"/>
                  <a:pt x="3447" y="820"/>
                  <a:pt x="3443" y="825"/>
                </a:cubicBezTo>
                <a:cubicBezTo>
                  <a:pt x="3442" y="827"/>
                  <a:pt x="3441" y="829"/>
                  <a:pt x="3440" y="831"/>
                </a:cubicBezTo>
                <a:cubicBezTo>
                  <a:pt x="3440" y="832"/>
                  <a:pt x="3440" y="832"/>
                  <a:pt x="3440" y="833"/>
                </a:cubicBezTo>
                <a:cubicBezTo>
                  <a:pt x="3441" y="835"/>
                  <a:pt x="3442" y="837"/>
                  <a:pt x="3444" y="839"/>
                </a:cubicBezTo>
                <a:cubicBezTo>
                  <a:pt x="3445" y="837"/>
                  <a:pt x="3446" y="836"/>
                  <a:pt x="3448" y="834"/>
                </a:cubicBezTo>
                <a:cubicBezTo>
                  <a:pt x="3447" y="836"/>
                  <a:pt x="3447" y="837"/>
                  <a:pt x="3446" y="838"/>
                </a:cubicBezTo>
                <a:cubicBezTo>
                  <a:pt x="3445" y="840"/>
                  <a:pt x="3444" y="841"/>
                  <a:pt x="3444" y="842"/>
                </a:cubicBezTo>
                <a:cubicBezTo>
                  <a:pt x="3444" y="843"/>
                  <a:pt x="3444" y="844"/>
                  <a:pt x="3444" y="845"/>
                </a:cubicBezTo>
                <a:cubicBezTo>
                  <a:pt x="3447" y="849"/>
                  <a:pt x="3450" y="849"/>
                  <a:pt x="3454" y="847"/>
                </a:cubicBezTo>
                <a:cubicBezTo>
                  <a:pt x="3456" y="845"/>
                  <a:pt x="3459" y="844"/>
                  <a:pt x="3462" y="843"/>
                </a:cubicBezTo>
                <a:cubicBezTo>
                  <a:pt x="3463" y="843"/>
                  <a:pt x="3464" y="842"/>
                  <a:pt x="3464" y="840"/>
                </a:cubicBezTo>
                <a:cubicBezTo>
                  <a:pt x="3464" y="837"/>
                  <a:pt x="3464" y="834"/>
                  <a:pt x="3464" y="830"/>
                </a:cubicBezTo>
                <a:cubicBezTo>
                  <a:pt x="3464" y="827"/>
                  <a:pt x="3464" y="825"/>
                  <a:pt x="3464" y="821"/>
                </a:cubicBezTo>
                <a:cubicBezTo>
                  <a:pt x="3465" y="824"/>
                  <a:pt x="3466" y="827"/>
                  <a:pt x="3466" y="829"/>
                </a:cubicBezTo>
                <a:cubicBezTo>
                  <a:pt x="3467" y="834"/>
                  <a:pt x="3467" y="838"/>
                  <a:pt x="3466" y="843"/>
                </a:cubicBezTo>
                <a:cubicBezTo>
                  <a:pt x="3465" y="844"/>
                  <a:pt x="3464" y="844"/>
                  <a:pt x="3464" y="844"/>
                </a:cubicBezTo>
                <a:cubicBezTo>
                  <a:pt x="3461" y="845"/>
                  <a:pt x="3457" y="847"/>
                  <a:pt x="3454" y="848"/>
                </a:cubicBezTo>
                <a:cubicBezTo>
                  <a:pt x="3449" y="851"/>
                  <a:pt x="3446" y="850"/>
                  <a:pt x="3442" y="846"/>
                </a:cubicBezTo>
                <a:cubicBezTo>
                  <a:pt x="3442" y="845"/>
                  <a:pt x="3442" y="844"/>
                  <a:pt x="3442" y="844"/>
                </a:cubicBezTo>
                <a:cubicBezTo>
                  <a:pt x="3443" y="841"/>
                  <a:pt x="3442" y="839"/>
                  <a:pt x="3441" y="837"/>
                </a:cubicBezTo>
                <a:cubicBezTo>
                  <a:pt x="3439" y="835"/>
                  <a:pt x="3437" y="833"/>
                  <a:pt x="3439" y="830"/>
                </a:cubicBezTo>
                <a:cubicBezTo>
                  <a:pt x="3439" y="828"/>
                  <a:pt x="3440" y="827"/>
                  <a:pt x="3441" y="825"/>
                </a:cubicBezTo>
                <a:cubicBezTo>
                  <a:pt x="3443" y="822"/>
                  <a:pt x="3445" y="820"/>
                  <a:pt x="3447" y="817"/>
                </a:cubicBezTo>
                <a:cubicBezTo>
                  <a:pt x="3447" y="817"/>
                  <a:pt x="3446" y="817"/>
                  <a:pt x="3446" y="817"/>
                </a:cubicBezTo>
                <a:cubicBezTo>
                  <a:pt x="3441" y="818"/>
                  <a:pt x="3437" y="820"/>
                  <a:pt x="3433" y="823"/>
                </a:cubicBezTo>
                <a:cubicBezTo>
                  <a:pt x="3428" y="827"/>
                  <a:pt x="3425" y="832"/>
                  <a:pt x="3425" y="839"/>
                </a:cubicBezTo>
                <a:cubicBezTo>
                  <a:pt x="3424" y="846"/>
                  <a:pt x="3427" y="852"/>
                  <a:pt x="3430" y="858"/>
                </a:cubicBezTo>
                <a:cubicBezTo>
                  <a:pt x="3431" y="859"/>
                  <a:pt x="3431" y="860"/>
                  <a:pt x="3431" y="861"/>
                </a:cubicBezTo>
                <a:cubicBezTo>
                  <a:pt x="3431" y="863"/>
                  <a:pt x="3431" y="865"/>
                  <a:pt x="3430" y="866"/>
                </a:cubicBezTo>
                <a:cubicBezTo>
                  <a:pt x="3430" y="868"/>
                  <a:pt x="3430" y="869"/>
                  <a:pt x="3431" y="869"/>
                </a:cubicBezTo>
                <a:cubicBezTo>
                  <a:pt x="3434" y="870"/>
                  <a:pt x="3437" y="870"/>
                  <a:pt x="3440" y="870"/>
                </a:cubicBezTo>
                <a:cubicBezTo>
                  <a:pt x="3441" y="870"/>
                  <a:pt x="3441" y="870"/>
                  <a:pt x="3441" y="869"/>
                </a:cubicBezTo>
                <a:cubicBezTo>
                  <a:pt x="3442" y="868"/>
                  <a:pt x="3442" y="867"/>
                  <a:pt x="3442" y="866"/>
                </a:cubicBezTo>
                <a:cubicBezTo>
                  <a:pt x="3444" y="863"/>
                  <a:pt x="3444" y="861"/>
                  <a:pt x="3444" y="858"/>
                </a:cubicBezTo>
                <a:cubicBezTo>
                  <a:pt x="3444" y="857"/>
                  <a:pt x="3444" y="857"/>
                  <a:pt x="3444" y="857"/>
                </a:cubicBezTo>
                <a:cubicBezTo>
                  <a:pt x="3444" y="856"/>
                  <a:pt x="3444" y="856"/>
                  <a:pt x="3444" y="856"/>
                </a:cubicBezTo>
                <a:cubicBezTo>
                  <a:pt x="3445" y="859"/>
                  <a:pt x="3446" y="859"/>
                  <a:pt x="3448" y="859"/>
                </a:cubicBezTo>
                <a:cubicBezTo>
                  <a:pt x="3449" y="859"/>
                  <a:pt x="3450" y="859"/>
                  <a:pt x="3451" y="859"/>
                </a:cubicBezTo>
                <a:cubicBezTo>
                  <a:pt x="3453" y="859"/>
                  <a:pt x="3457" y="859"/>
                  <a:pt x="3457" y="855"/>
                </a:cubicBezTo>
                <a:cubicBezTo>
                  <a:pt x="3457" y="857"/>
                  <a:pt x="3457" y="859"/>
                  <a:pt x="3457" y="860"/>
                </a:cubicBezTo>
                <a:cubicBezTo>
                  <a:pt x="3456" y="861"/>
                  <a:pt x="3455" y="861"/>
                  <a:pt x="3453" y="862"/>
                </a:cubicBezTo>
                <a:cubicBezTo>
                  <a:pt x="3452" y="863"/>
                  <a:pt x="3451" y="864"/>
                  <a:pt x="3452" y="865"/>
                </a:cubicBezTo>
                <a:cubicBezTo>
                  <a:pt x="3453" y="867"/>
                  <a:pt x="3455" y="869"/>
                  <a:pt x="3456" y="871"/>
                </a:cubicBezTo>
                <a:cubicBezTo>
                  <a:pt x="3458" y="872"/>
                  <a:pt x="3460" y="872"/>
                  <a:pt x="3461" y="870"/>
                </a:cubicBezTo>
                <a:cubicBezTo>
                  <a:pt x="3462" y="870"/>
                  <a:pt x="3462" y="869"/>
                  <a:pt x="3463" y="869"/>
                </a:cubicBezTo>
                <a:cubicBezTo>
                  <a:pt x="3465" y="867"/>
                  <a:pt x="3466" y="866"/>
                  <a:pt x="3468" y="865"/>
                </a:cubicBezTo>
                <a:cubicBezTo>
                  <a:pt x="3472" y="860"/>
                  <a:pt x="3474" y="854"/>
                  <a:pt x="3476" y="848"/>
                </a:cubicBezTo>
                <a:cubicBezTo>
                  <a:pt x="3476" y="848"/>
                  <a:pt x="3475" y="847"/>
                  <a:pt x="3475" y="847"/>
                </a:cubicBezTo>
                <a:cubicBezTo>
                  <a:pt x="3474" y="846"/>
                  <a:pt x="3473" y="845"/>
                  <a:pt x="3471" y="844"/>
                </a:cubicBezTo>
                <a:close/>
                <a:moveTo>
                  <a:pt x="3424" y="850"/>
                </a:moveTo>
                <a:cubicBezTo>
                  <a:pt x="3424" y="851"/>
                  <a:pt x="3422" y="852"/>
                  <a:pt x="3421" y="853"/>
                </a:cubicBezTo>
                <a:cubicBezTo>
                  <a:pt x="3421" y="853"/>
                  <a:pt x="3420" y="854"/>
                  <a:pt x="3420" y="855"/>
                </a:cubicBezTo>
                <a:cubicBezTo>
                  <a:pt x="3420" y="858"/>
                  <a:pt x="3424" y="862"/>
                  <a:pt x="3428" y="862"/>
                </a:cubicBezTo>
                <a:cubicBezTo>
                  <a:pt x="3429" y="862"/>
                  <a:pt x="3430" y="861"/>
                  <a:pt x="3429" y="859"/>
                </a:cubicBezTo>
                <a:cubicBezTo>
                  <a:pt x="3428" y="856"/>
                  <a:pt x="3426" y="853"/>
                  <a:pt x="3424" y="850"/>
                </a:cubicBezTo>
                <a:close/>
                <a:moveTo>
                  <a:pt x="3477" y="852"/>
                </a:moveTo>
                <a:cubicBezTo>
                  <a:pt x="3475" y="857"/>
                  <a:pt x="3472" y="861"/>
                  <a:pt x="3470" y="866"/>
                </a:cubicBezTo>
                <a:cubicBezTo>
                  <a:pt x="3473" y="866"/>
                  <a:pt x="3475" y="866"/>
                  <a:pt x="3478" y="866"/>
                </a:cubicBezTo>
                <a:cubicBezTo>
                  <a:pt x="3478" y="866"/>
                  <a:pt x="3479" y="865"/>
                  <a:pt x="3479" y="864"/>
                </a:cubicBezTo>
                <a:cubicBezTo>
                  <a:pt x="3479" y="861"/>
                  <a:pt x="3479" y="859"/>
                  <a:pt x="3478" y="857"/>
                </a:cubicBezTo>
                <a:cubicBezTo>
                  <a:pt x="3478" y="855"/>
                  <a:pt x="3477" y="854"/>
                  <a:pt x="3477" y="852"/>
                </a:cubicBezTo>
                <a:close/>
                <a:moveTo>
                  <a:pt x="3424" y="832"/>
                </a:moveTo>
                <a:cubicBezTo>
                  <a:pt x="3424" y="832"/>
                  <a:pt x="3423" y="833"/>
                  <a:pt x="3422" y="833"/>
                </a:cubicBezTo>
                <a:cubicBezTo>
                  <a:pt x="3422" y="833"/>
                  <a:pt x="3421" y="833"/>
                  <a:pt x="3421" y="832"/>
                </a:cubicBezTo>
                <a:cubicBezTo>
                  <a:pt x="3421" y="832"/>
                  <a:pt x="3420" y="831"/>
                  <a:pt x="3420" y="830"/>
                </a:cubicBezTo>
                <a:cubicBezTo>
                  <a:pt x="3421" y="829"/>
                  <a:pt x="3421" y="827"/>
                  <a:pt x="3422" y="825"/>
                </a:cubicBezTo>
                <a:cubicBezTo>
                  <a:pt x="3422" y="825"/>
                  <a:pt x="3422" y="825"/>
                  <a:pt x="3421" y="825"/>
                </a:cubicBezTo>
                <a:cubicBezTo>
                  <a:pt x="3421" y="825"/>
                  <a:pt x="3419" y="826"/>
                  <a:pt x="3419" y="827"/>
                </a:cubicBezTo>
                <a:cubicBezTo>
                  <a:pt x="3418" y="829"/>
                  <a:pt x="3419" y="834"/>
                  <a:pt x="3421" y="834"/>
                </a:cubicBezTo>
                <a:cubicBezTo>
                  <a:pt x="3422" y="835"/>
                  <a:pt x="3424" y="834"/>
                  <a:pt x="3424" y="832"/>
                </a:cubicBezTo>
                <a:close/>
                <a:moveTo>
                  <a:pt x="3424" y="850"/>
                </a:moveTo>
                <a:cubicBezTo>
                  <a:pt x="3423" y="851"/>
                  <a:pt x="3422" y="852"/>
                  <a:pt x="3421" y="853"/>
                </a:cubicBezTo>
                <a:cubicBezTo>
                  <a:pt x="3420" y="853"/>
                  <a:pt x="3420" y="854"/>
                  <a:pt x="3420" y="855"/>
                </a:cubicBezTo>
                <a:cubicBezTo>
                  <a:pt x="3420" y="858"/>
                  <a:pt x="3424" y="862"/>
                  <a:pt x="3428" y="862"/>
                </a:cubicBezTo>
                <a:cubicBezTo>
                  <a:pt x="3429" y="862"/>
                  <a:pt x="3430" y="860"/>
                  <a:pt x="3429" y="859"/>
                </a:cubicBezTo>
                <a:cubicBezTo>
                  <a:pt x="3428" y="856"/>
                  <a:pt x="3426" y="853"/>
                  <a:pt x="3424" y="850"/>
                </a:cubicBezTo>
                <a:close/>
                <a:moveTo>
                  <a:pt x="3477" y="852"/>
                </a:moveTo>
                <a:cubicBezTo>
                  <a:pt x="3474" y="857"/>
                  <a:pt x="3472" y="862"/>
                  <a:pt x="3470" y="866"/>
                </a:cubicBezTo>
                <a:cubicBezTo>
                  <a:pt x="3473" y="866"/>
                  <a:pt x="3475" y="866"/>
                  <a:pt x="3478" y="866"/>
                </a:cubicBezTo>
                <a:cubicBezTo>
                  <a:pt x="3478" y="866"/>
                  <a:pt x="3478" y="865"/>
                  <a:pt x="3478" y="864"/>
                </a:cubicBezTo>
                <a:cubicBezTo>
                  <a:pt x="3478" y="862"/>
                  <a:pt x="3478" y="859"/>
                  <a:pt x="3478" y="857"/>
                </a:cubicBezTo>
                <a:cubicBezTo>
                  <a:pt x="3478" y="855"/>
                  <a:pt x="3477" y="854"/>
                  <a:pt x="3477" y="852"/>
                </a:cubicBezTo>
                <a:close/>
                <a:moveTo>
                  <a:pt x="3424" y="832"/>
                </a:moveTo>
                <a:cubicBezTo>
                  <a:pt x="3423" y="832"/>
                  <a:pt x="3423" y="833"/>
                  <a:pt x="3422" y="833"/>
                </a:cubicBezTo>
                <a:cubicBezTo>
                  <a:pt x="3421" y="833"/>
                  <a:pt x="3421" y="833"/>
                  <a:pt x="3421" y="832"/>
                </a:cubicBezTo>
                <a:cubicBezTo>
                  <a:pt x="3420" y="832"/>
                  <a:pt x="3420" y="831"/>
                  <a:pt x="3420" y="830"/>
                </a:cubicBezTo>
                <a:cubicBezTo>
                  <a:pt x="3421" y="828"/>
                  <a:pt x="3421" y="826"/>
                  <a:pt x="3422" y="825"/>
                </a:cubicBezTo>
                <a:cubicBezTo>
                  <a:pt x="3421" y="825"/>
                  <a:pt x="3421" y="825"/>
                  <a:pt x="3421" y="825"/>
                </a:cubicBezTo>
                <a:cubicBezTo>
                  <a:pt x="3420" y="825"/>
                  <a:pt x="3419" y="826"/>
                  <a:pt x="3418" y="827"/>
                </a:cubicBezTo>
                <a:cubicBezTo>
                  <a:pt x="3417" y="828"/>
                  <a:pt x="3419" y="834"/>
                  <a:pt x="3421" y="834"/>
                </a:cubicBezTo>
                <a:cubicBezTo>
                  <a:pt x="3422" y="835"/>
                  <a:pt x="3424" y="834"/>
                  <a:pt x="3424" y="832"/>
                </a:cubicBezTo>
                <a:close/>
                <a:moveTo>
                  <a:pt x="3476" y="824"/>
                </a:moveTo>
                <a:cubicBezTo>
                  <a:pt x="3480" y="820"/>
                  <a:pt x="3480" y="820"/>
                  <a:pt x="3483" y="819"/>
                </a:cubicBezTo>
                <a:cubicBezTo>
                  <a:pt x="3483" y="821"/>
                  <a:pt x="3485" y="822"/>
                  <a:pt x="3486" y="822"/>
                </a:cubicBezTo>
                <a:cubicBezTo>
                  <a:pt x="3484" y="823"/>
                  <a:pt x="3482" y="825"/>
                  <a:pt x="3480" y="826"/>
                </a:cubicBezTo>
                <a:cubicBezTo>
                  <a:pt x="3479" y="825"/>
                  <a:pt x="3479" y="824"/>
                  <a:pt x="3478" y="823"/>
                </a:cubicBezTo>
                <a:cubicBezTo>
                  <a:pt x="3478" y="823"/>
                  <a:pt x="3477" y="823"/>
                  <a:pt x="3476" y="824"/>
                </a:cubicBezTo>
                <a:close/>
                <a:moveTo>
                  <a:pt x="3482" y="823"/>
                </a:moveTo>
                <a:cubicBezTo>
                  <a:pt x="3481" y="823"/>
                  <a:pt x="3481" y="822"/>
                  <a:pt x="3480" y="822"/>
                </a:cubicBezTo>
                <a:cubicBezTo>
                  <a:pt x="3480" y="822"/>
                  <a:pt x="3479" y="823"/>
                  <a:pt x="3479" y="824"/>
                </a:cubicBezTo>
                <a:cubicBezTo>
                  <a:pt x="3479" y="824"/>
                  <a:pt x="3480" y="824"/>
                  <a:pt x="3480" y="825"/>
                </a:cubicBezTo>
                <a:cubicBezTo>
                  <a:pt x="3481" y="824"/>
                  <a:pt x="3481" y="824"/>
                  <a:pt x="3482" y="823"/>
                </a:cubicBezTo>
                <a:close/>
                <a:moveTo>
                  <a:pt x="3464" y="814"/>
                </a:moveTo>
                <a:cubicBezTo>
                  <a:pt x="3457" y="813"/>
                  <a:pt x="3454" y="815"/>
                  <a:pt x="3453" y="823"/>
                </a:cubicBezTo>
                <a:cubicBezTo>
                  <a:pt x="3454" y="821"/>
                  <a:pt x="3455" y="819"/>
                  <a:pt x="3456" y="816"/>
                </a:cubicBezTo>
                <a:cubicBezTo>
                  <a:pt x="3457" y="816"/>
                  <a:pt x="3457" y="816"/>
                  <a:pt x="3457" y="816"/>
                </a:cubicBezTo>
                <a:cubicBezTo>
                  <a:pt x="3457" y="818"/>
                  <a:pt x="3457" y="818"/>
                  <a:pt x="3457" y="819"/>
                </a:cubicBezTo>
                <a:cubicBezTo>
                  <a:pt x="3458" y="816"/>
                  <a:pt x="3460" y="814"/>
                  <a:pt x="3464" y="814"/>
                </a:cubicBezTo>
                <a:close/>
                <a:moveTo>
                  <a:pt x="3507" y="815"/>
                </a:moveTo>
                <a:cubicBezTo>
                  <a:pt x="3505" y="817"/>
                  <a:pt x="3503" y="818"/>
                  <a:pt x="3501" y="819"/>
                </a:cubicBezTo>
                <a:cubicBezTo>
                  <a:pt x="3504" y="820"/>
                  <a:pt x="3506" y="818"/>
                  <a:pt x="3507" y="815"/>
                </a:cubicBezTo>
                <a:close/>
                <a:moveTo>
                  <a:pt x="3474" y="817"/>
                </a:moveTo>
                <a:cubicBezTo>
                  <a:pt x="3475" y="816"/>
                  <a:pt x="3476" y="815"/>
                  <a:pt x="3477" y="813"/>
                </a:cubicBezTo>
                <a:cubicBezTo>
                  <a:pt x="3474" y="815"/>
                  <a:pt x="3473" y="815"/>
                  <a:pt x="3474" y="817"/>
                </a:cubicBezTo>
                <a:close/>
                <a:moveTo>
                  <a:pt x="3484" y="839"/>
                </a:moveTo>
                <a:cubicBezTo>
                  <a:pt x="3482" y="839"/>
                  <a:pt x="3481" y="840"/>
                  <a:pt x="3481" y="841"/>
                </a:cubicBezTo>
                <a:cubicBezTo>
                  <a:pt x="3482" y="840"/>
                  <a:pt x="3483" y="840"/>
                  <a:pt x="3484" y="839"/>
                </a:cubicBezTo>
                <a:close/>
                <a:moveTo>
                  <a:pt x="3482" y="823"/>
                </a:moveTo>
                <a:cubicBezTo>
                  <a:pt x="3482" y="823"/>
                  <a:pt x="3481" y="823"/>
                  <a:pt x="3480" y="823"/>
                </a:cubicBezTo>
                <a:cubicBezTo>
                  <a:pt x="3480" y="823"/>
                  <a:pt x="3479" y="823"/>
                  <a:pt x="3479" y="824"/>
                </a:cubicBezTo>
                <a:cubicBezTo>
                  <a:pt x="3479" y="824"/>
                  <a:pt x="3480" y="825"/>
                  <a:pt x="3480" y="825"/>
                </a:cubicBezTo>
                <a:cubicBezTo>
                  <a:pt x="3481" y="825"/>
                  <a:pt x="3481" y="824"/>
                  <a:pt x="3482" y="823"/>
                </a:cubicBezTo>
                <a:close/>
                <a:moveTo>
                  <a:pt x="3031" y="705"/>
                </a:moveTo>
                <a:cubicBezTo>
                  <a:pt x="3031" y="705"/>
                  <a:pt x="3031" y="705"/>
                  <a:pt x="3031" y="705"/>
                </a:cubicBezTo>
                <a:cubicBezTo>
                  <a:pt x="3025" y="705"/>
                  <a:pt x="3025" y="705"/>
                  <a:pt x="3025" y="705"/>
                </a:cubicBezTo>
                <a:cubicBezTo>
                  <a:pt x="3023" y="706"/>
                  <a:pt x="3022" y="708"/>
                  <a:pt x="3019" y="709"/>
                </a:cubicBezTo>
                <a:cubicBezTo>
                  <a:pt x="3018" y="710"/>
                  <a:pt x="3016" y="711"/>
                  <a:pt x="3014" y="712"/>
                </a:cubicBezTo>
                <a:cubicBezTo>
                  <a:pt x="3013" y="713"/>
                  <a:pt x="3011" y="714"/>
                  <a:pt x="3009" y="714"/>
                </a:cubicBezTo>
                <a:cubicBezTo>
                  <a:pt x="3007" y="715"/>
                  <a:pt x="3005" y="716"/>
                  <a:pt x="3003" y="716"/>
                </a:cubicBezTo>
                <a:cubicBezTo>
                  <a:pt x="3003" y="716"/>
                  <a:pt x="3003" y="716"/>
                  <a:pt x="3003" y="726"/>
                </a:cubicBezTo>
                <a:cubicBezTo>
                  <a:pt x="3006" y="725"/>
                  <a:pt x="3009" y="725"/>
                  <a:pt x="3011" y="723"/>
                </a:cubicBezTo>
                <a:cubicBezTo>
                  <a:pt x="3014" y="722"/>
                  <a:pt x="3017" y="721"/>
                  <a:pt x="3019" y="720"/>
                </a:cubicBezTo>
                <a:cubicBezTo>
                  <a:pt x="3019" y="720"/>
                  <a:pt x="3019" y="720"/>
                  <a:pt x="3019" y="778"/>
                </a:cubicBezTo>
                <a:cubicBezTo>
                  <a:pt x="3019" y="778"/>
                  <a:pt x="3019" y="778"/>
                  <a:pt x="3031" y="778"/>
                </a:cubicBezTo>
                <a:cubicBezTo>
                  <a:pt x="3031" y="778"/>
                  <a:pt x="3031" y="778"/>
                  <a:pt x="3031" y="705"/>
                </a:cubicBezTo>
                <a:close/>
                <a:moveTo>
                  <a:pt x="3077" y="705"/>
                </a:moveTo>
                <a:cubicBezTo>
                  <a:pt x="3077" y="705"/>
                  <a:pt x="3077" y="705"/>
                  <a:pt x="3077" y="705"/>
                </a:cubicBezTo>
                <a:cubicBezTo>
                  <a:pt x="3072" y="705"/>
                  <a:pt x="3072" y="705"/>
                  <a:pt x="3072" y="705"/>
                </a:cubicBezTo>
                <a:cubicBezTo>
                  <a:pt x="3071" y="706"/>
                  <a:pt x="3068" y="708"/>
                  <a:pt x="3067" y="709"/>
                </a:cubicBezTo>
                <a:cubicBezTo>
                  <a:pt x="3065" y="710"/>
                  <a:pt x="3063" y="711"/>
                  <a:pt x="3061" y="712"/>
                </a:cubicBezTo>
                <a:cubicBezTo>
                  <a:pt x="3060" y="713"/>
                  <a:pt x="3058" y="714"/>
                  <a:pt x="3056" y="714"/>
                </a:cubicBezTo>
                <a:cubicBezTo>
                  <a:pt x="3054" y="715"/>
                  <a:pt x="3052" y="716"/>
                  <a:pt x="3050" y="716"/>
                </a:cubicBezTo>
                <a:cubicBezTo>
                  <a:pt x="3050" y="716"/>
                  <a:pt x="3050" y="716"/>
                  <a:pt x="3050" y="726"/>
                </a:cubicBezTo>
                <a:cubicBezTo>
                  <a:pt x="3053" y="725"/>
                  <a:pt x="3056" y="725"/>
                  <a:pt x="3059" y="723"/>
                </a:cubicBezTo>
                <a:cubicBezTo>
                  <a:pt x="3061" y="722"/>
                  <a:pt x="3063" y="721"/>
                  <a:pt x="3066" y="720"/>
                </a:cubicBezTo>
                <a:cubicBezTo>
                  <a:pt x="3066" y="720"/>
                  <a:pt x="3066" y="720"/>
                  <a:pt x="3066" y="778"/>
                </a:cubicBezTo>
                <a:cubicBezTo>
                  <a:pt x="3066" y="778"/>
                  <a:pt x="3066" y="778"/>
                  <a:pt x="3077" y="778"/>
                </a:cubicBezTo>
                <a:cubicBezTo>
                  <a:pt x="3077" y="778"/>
                  <a:pt x="3077" y="778"/>
                  <a:pt x="3077" y="705"/>
                </a:cubicBezTo>
                <a:close/>
                <a:moveTo>
                  <a:pt x="3123" y="705"/>
                </a:moveTo>
                <a:cubicBezTo>
                  <a:pt x="3123" y="705"/>
                  <a:pt x="3123" y="705"/>
                  <a:pt x="3123" y="705"/>
                </a:cubicBezTo>
                <a:cubicBezTo>
                  <a:pt x="3119" y="705"/>
                  <a:pt x="3119" y="705"/>
                  <a:pt x="3119" y="705"/>
                </a:cubicBezTo>
                <a:cubicBezTo>
                  <a:pt x="3117" y="706"/>
                  <a:pt x="3115" y="708"/>
                  <a:pt x="3113" y="709"/>
                </a:cubicBezTo>
                <a:cubicBezTo>
                  <a:pt x="3112" y="710"/>
                  <a:pt x="3110" y="711"/>
                  <a:pt x="3108" y="712"/>
                </a:cubicBezTo>
                <a:cubicBezTo>
                  <a:pt x="3106" y="712"/>
                  <a:pt x="3104" y="713"/>
                  <a:pt x="3102" y="714"/>
                </a:cubicBezTo>
                <a:cubicBezTo>
                  <a:pt x="3101" y="714"/>
                  <a:pt x="3099" y="715"/>
                  <a:pt x="3097" y="716"/>
                </a:cubicBezTo>
                <a:cubicBezTo>
                  <a:pt x="3097" y="716"/>
                  <a:pt x="3097" y="716"/>
                  <a:pt x="3097" y="726"/>
                </a:cubicBezTo>
                <a:cubicBezTo>
                  <a:pt x="3100" y="725"/>
                  <a:pt x="3103" y="724"/>
                  <a:pt x="3105" y="723"/>
                </a:cubicBezTo>
                <a:cubicBezTo>
                  <a:pt x="3107" y="722"/>
                  <a:pt x="3110" y="721"/>
                  <a:pt x="3112" y="720"/>
                </a:cubicBezTo>
                <a:cubicBezTo>
                  <a:pt x="3112" y="720"/>
                  <a:pt x="3112" y="720"/>
                  <a:pt x="3112" y="778"/>
                </a:cubicBezTo>
                <a:cubicBezTo>
                  <a:pt x="3112" y="778"/>
                  <a:pt x="3112" y="778"/>
                  <a:pt x="3123" y="778"/>
                </a:cubicBezTo>
                <a:cubicBezTo>
                  <a:pt x="3123" y="778"/>
                  <a:pt x="3123" y="778"/>
                  <a:pt x="3123" y="705"/>
                </a:cubicBezTo>
                <a:close/>
                <a:moveTo>
                  <a:pt x="3260" y="737"/>
                </a:moveTo>
                <a:cubicBezTo>
                  <a:pt x="3260" y="737"/>
                  <a:pt x="3260" y="737"/>
                  <a:pt x="3260" y="737"/>
                </a:cubicBezTo>
                <a:cubicBezTo>
                  <a:pt x="3260" y="746"/>
                  <a:pt x="3260" y="746"/>
                  <a:pt x="3260" y="746"/>
                </a:cubicBezTo>
                <a:cubicBezTo>
                  <a:pt x="3266" y="746"/>
                  <a:pt x="3267" y="749"/>
                  <a:pt x="3267" y="752"/>
                </a:cubicBezTo>
                <a:cubicBezTo>
                  <a:pt x="3267" y="754"/>
                  <a:pt x="3266" y="756"/>
                  <a:pt x="3266" y="759"/>
                </a:cubicBezTo>
                <a:cubicBezTo>
                  <a:pt x="3266" y="761"/>
                  <a:pt x="3265" y="763"/>
                  <a:pt x="3265" y="766"/>
                </a:cubicBezTo>
                <a:cubicBezTo>
                  <a:pt x="3265" y="775"/>
                  <a:pt x="3271" y="778"/>
                  <a:pt x="3280" y="778"/>
                </a:cubicBezTo>
                <a:cubicBezTo>
                  <a:pt x="3280" y="778"/>
                  <a:pt x="3280" y="778"/>
                  <a:pt x="3284" y="778"/>
                </a:cubicBezTo>
                <a:cubicBezTo>
                  <a:pt x="3284" y="778"/>
                  <a:pt x="3284" y="778"/>
                  <a:pt x="3284" y="769"/>
                </a:cubicBezTo>
                <a:cubicBezTo>
                  <a:pt x="3284" y="769"/>
                  <a:pt x="3284" y="769"/>
                  <a:pt x="3282" y="769"/>
                </a:cubicBezTo>
                <a:cubicBezTo>
                  <a:pt x="3278" y="769"/>
                  <a:pt x="3277" y="767"/>
                  <a:pt x="3277" y="763"/>
                </a:cubicBezTo>
                <a:cubicBezTo>
                  <a:pt x="3277" y="762"/>
                  <a:pt x="3277" y="760"/>
                  <a:pt x="3278" y="759"/>
                </a:cubicBezTo>
                <a:cubicBezTo>
                  <a:pt x="3278" y="757"/>
                  <a:pt x="3278" y="755"/>
                  <a:pt x="3278" y="753"/>
                </a:cubicBezTo>
                <a:cubicBezTo>
                  <a:pt x="3278" y="745"/>
                  <a:pt x="3275" y="743"/>
                  <a:pt x="3270" y="741"/>
                </a:cubicBezTo>
                <a:cubicBezTo>
                  <a:pt x="3270" y="741"/>
                  <a:pt x="3270" y="741"/>
                  <a:pt x="3270" y="741"/>
                </a:cubicBezTo>
                <a:cubicBezTo>
                  <a:pt x="3275" y="740"/>
                  <a:pt x="3278" y="738"/>
                  <a:pt x="3278" y="730"/>
                </a:cubicBezTo>
                <a:cubicBezTo>
                  <a:pt x="3278" y="728"/>
                  <a:pt x="3278" y="726"/>
                  <a:pt x="3278" y="724"/>
                </a:cubicBezTo>
                <a:cubicBezTo>
                  <a:pt x="3277" y="722"/>
                  <a:pt x="3277" y="720"/>
                  <a:pt x="3277" y="719"/>
                </a:cubicBezTo>
                <a:cubicBezTo>
                  <a:pt x="3277" y="716"/>
                  <a:pt x="3278" y="713"/>
                  <a:pt x="3282" y="713"/>
                </a:cubicBezTo>
                <a:cubicBezTo>
                  <a:pt x="3282" y="713"/>
                  <a:pt x="3282" y="713"/>
                  <a:pt x="3284" y="713"/>
                </a:cubicBezTo>
                <a:cubicBezTo>
                  <a:pt x="3284" y="713"/>
                  <a:pt x="3284" y="713"/>
                  <a:pt x="3284" y="704"/>
                </a:cubicBezTo>
                <a:cubicBezTo>
                  <a:pt x="3284" y="704"/>
                  <a:pt x="3284" y="704"/>
                  <a:pt x="3280" y="704"/>
                </a:cubicBezTo>
                <a:cubicBezTo>
                  <a:pt x="3271" y="704"/>
                  <a:pt x="3265" y="708"/>
                  <a:pt x="3265" y="717"/>
                </a:cubicBezTo>
                <a:cubicBezTo>
                  <a:pt x="3265" y="719"/>
                  <a:pt x="3266" y="722"/>
                  <a:pt x="3266" y="724"/>
                </a:cubicBezTo>
                <a:cubicBezTo>
                  <a:pt x="3266" y="726"/>
                  <a:pt x="3267" y="729"/>
                  <a:pt x="3267" y="731"/>
                </a:cubicBezTo>
                <a:cubicBezTo>
                  <a:pt x="3267" y="734"/>
                  <a:pt x="3266" y="737"/>
                  <a:pt x="3260" y="737"/>
                </a:cubicBezTo>
                <a:close/>
                <a:moveTo>
                  <a:pt x="3315" y="746"/>
                </a:moveTo>
                <a:cubicBezTo>
                  <a:pt x="3315" y="746"/>
                  <a:pt x="3315" y="746"/>
                  <a:pt x="3315" y="746"/>
                </a:cubicBezTo>
                <a:cubicBezTo>
                  <a:pt x="3315" y="737"/>
                  <a:pt x="3315" y="737"/>
                  <a:pt x="3315" y="737"/>
                </a:cubicBezTo>
                <a:cubicBezTo>
                  <a:pt x="3308" y="737"/>
                  <a:pt x="3308" y="734"/>
                  <a:pt x="3308" y="731"/>
                </a:cubicBezTo>
                <a:cubicBezTo>
                  <a:pt x="3308" y="729"/>
                  <a:pt x="3308" y="726"/>
                  <a:pt x="3308" y="724"/>
                </a:cubicBezTo>
                <a:cubicBezTo>
                  <a:pt x="3309" y="722"/>
                  <a:pt x="3309" y="719"/>
                  <a:pt x="3309" y="717"/>
                </a:cubicBezTo>
                <a:cubicBezTo>
                  <a:pt x="3309" y="708"/>
                  <a:pt x="3303" y="704"/>
                  <a:pt x="3294" y="704"/>
                </a:cubicBezTo>
                <a:cubicBezTo>
                  <a:pt x="3294" y="704"/>
                  <a:pt x="3294" y="704"/>
                  <a:pt x="3290" y="704"/>
                </a:cubicBezTo>
                <a:cubicBezTo>
                  <a:pt x="3290" y="704"/>
                  <a:pt x="3290" y="704"/>
                  <a:pt x="3290" y="713"/>
                </a:cubicBezTo>
                <a:cubicBezTo>
                  <a:pt x="3290" y="713"/>
                  <a:pt x="3290" y="713"/>
                  <a:pt x="3292" y="713"/>
                </a:cubicBezTo>
                <a:cubicBezTo>
                  <a:pt x="3296" y="713"/>
                  <a:pt x="3297" y="716"/>
                  <a:pt x="3297" y="719"/>
                </a:cubicBezTo>
                <a:cubicBezTo>
                  <a:pt x="3297" y="720"/>
                  <a:pt x="3297" y="722"/>
                  <a:pt x="3297" y="724"/>
                </a:cubicBezTo>
                <a:cubicBezTo>
                  <a:pt x="3296" y="726"/>
                  <a:pt x="3296" y="728"/>
                  <a:pt x="3296" y="730"/>
                </a:cubicBezTo>
                <a:cubicBezTo>
                  <a:pt x="3296" y="738"/>
                  <a:pt x="3299" y="740"/>
                  <a:pt x="3305" y="741"/>
                </a:cubicBezTo>
                <a:cubicBezTo>
                  <a:pt x="3305" y="741"/>
                  <a:pt x="3305" y="741"/>
                  <a:pt x="3305" y="741"/>
                </a:cubicBezTo>
                <a:cubicBezTo>
                  <a:pt x="3299" y="743"/>
                  <a:pt x="3296" y="745"/>
                  <a:pt x="3296" y="753"/>
                </a:cubicBezTo>
                <a:cubicBezTo>
                  <a:pt x="3296" y="755"/>
                  <a:pt x="3296" y="757"/>
                  <a:pt x="3297" y="759"/>
                </a:cubicBezTo>
                <a:cubicBezTo>
                  <a:pt x="3297" y="760"/>
                  <a:pt x="3297" y="762"/>
                  <a:pt x="3297" y="763"/>
                </a:cubicBezTo>
                <a:cubicBezTo>
                  <a:pt x="3297" y="767"/>
                  <a:pt x="3296" y="769"/>
                  <a:pt x="3292" y="769"/>
                </a:cubicBezTo>
                <a:cubicBezTo>
                  <a:pt x="3292" y="769"/>
                  <a:pt x="3292" y="769"/>
                  <a:pt x="3290" y="769"/>
                </a:cubicBezTo>
                <a:cubicBezTo>
                  <a:pt x="3290" y="769"/>
                  <a:pt x="3290" y="769"/>
                  <a:pt x="3290" y="778"/>
                </a:cubicBezTo>
                <a:cubicBezTo>
                  <a:pt x="3290" y="778"/>
                  <a:pt x="3290" y="778"/>
                  <a:pt x="3294" y="778"/>
                </a:cubicBezTo>
                <a:cubicBezTo>
                  <a:pt x="3303" y="778"/>
                  <a:pt x="3309" y="775"/>
                  <a:pt x="3309" y="766"/>
                </a:cubicBezTo>
                <a:cubicBezTo>
                  <a:pt x="3309" y="763"/>
                  <a:pt x="3309" y="761"/>
                  <a:pt x="3308" y="759"/>
                </a:cubicBezTo>
                <a:cubicBezTo>
                  <a:pt x="3308" y="756"/>
                  <a:pt x="3308" y="754"/>
                  <a:pt x="3308" y="752"/>
                </a:cubicBezTo>
                <a:cubicBezTo>
                  <a:pt x="3308" y="749"/>
                  <a:pt x="3308" y="746"/>
                  <a:pt x="3315" y="746"/>
                </a:cubicBezTo>
                <a:close/>
                <a:moveTo>
                  <a:pt x="3361" y="705"/>
                </a:moveTo>
                <a:cubicBezTo>
                  <a:pt x="3361" y="705"/>
                  <a:pt x="3361" y="705"/>
                  <a:pt x="3361" y="705"/>
                </a:cubicBezTo>
                <a:cubicBezTo>
                  <a:pt x="3356" y="705"/>
                  <a:pt x="3356" y="705"/>
                  <a:pt x="3356" y="705"/>
                </a:cubicBezTo>
                <a:cubicBezTo>
                  <a:pt x="3354" y="706"/>
                  <a:pt x="3353" y="708"/>
                  <a:pt x="3350" y="709"/>
                </a:cubicBezTo>
                <a:cubicBezTo>
                  <a:pt x="3349" y="710"/>
                  <a:pt x="3347" y="711"/>
                  <a:pt x="3345" y="712"/>
                </a:cubicBezTo>
                <a:cubicBezTo>
                  <a:pt x="3343" y="712"/>
                  <a:pt x="3342" y="713"/>
                  <a:pt x="3340" y="714"/>
                </a:cubicBezTo>
                <a:cubicBezTo>
                  <a:pt x="3338" y="714"/>
                  <a:pt x="3337" y="715"/>
                  <a:pt x="3334" y="716"/>
                </a:cubicBezTo>
                <a:cubicBezTo>
                  <a:pt x="3334" y="716"/>
                  <a:pt x="3334" y="716"/>
                  <a:pt x="3334" y="726"/>
                </a:cubicBezTo>
                <a:cubicBezTo>
                  <a:pt x="3337" y="725"/>
                  <a:pt x="3340" y="724"/>
                  <a:pt x="3342" y="723"/>
                </a:cubicBezTo>
                <a:cubicBezTo>
                  <a:pt x="3345" y="722"/>
                  <a:pt x="3347" y="721"/>
                  <a:pt x="3350" y="720"/>
                </a:cubicBezTo>
                <a:cubicBezTo>
                  <a:pt x="3350" y="720"/>
                  <a:pt x="3350" y="720"/>
                  <a:pt x="3350" y="778"/>
                </a:cubicBezTo>
                <a:cubicBezTo>
                  <a:pt x="3350" y="778"/>
                  <a:pt x="3350" y="778"/>
                  <a:pt x="3361" y="778"/>
                </a:cubicBezTo>
                <a:cubicBezTo>
                  <a:pt x="3361" y="778"/>
                  <a:pt x="3361" y="778"/>
                  <a:pt x="3361" y="705"/>
                </a:cubicBezTo>
                <a:close/>
                <a:moveTo>
                  <a:pt x="3408" y="705"/>
                </a:moveTo>
                <a:cubicBezTo>
                  <a:pt x="3408" y="705"/>
                  <a:pt x="3408" y="705"/>
                  <a:pt x="3408" y="705"/>
                </a:cubicBezTo>
                <a:cubicBezTo>
                  <a:pt x="3403" y="705"/>
                  <a:pt x="3403" y="705"/>
                  <a:pt x="3403" y="705"/>
                </a:cubicBezTo>
                <a:cubicBezTo>
                  <a:pt x="3401" y="706"/>
                  <a:pt x="3399" y="708"/>
                  <a:pt x="3397" y="709"/>
                </a:cubicBezTo>
                <a:cubicBezTo>
                  <a:pt x="3396" y="710"/>
                  <a:pt x="3394" y="711"/>
                  <a:pt x="3392" y="712"/>
                </a:cubicBezTo>
                <a:cubicBezTo>
                  <a:pt x="3391" y="713"/>
                  <a:pt x="3389" y="714"/>
                  <a:pt x="3387" y="714"/>
                </a:cubicBezTo>
                <a:cubicBezTo>
                  <a:pt x="3385" y="715"/>
                  <a:pt x="3384" y="716"/>
                  <a:pt x="3381" y="716"/>
                </a:cubicBezTo>
                <a:cubicBezTo>
                  <a:pt x="3381" y="716"/>
                  <a:pt x="3381" y="716"/>
                  <a:pt x="3381" y="726"/>
                </a:cubicBezTo>
                <a:cubicBezTo>
                  <a:pt x="3384" y="725"/>
                  <a:pt x="3387" y="725"/>
                  <a:pt x="3389" y="723"/>
                </a:cubicBezTo>
                <a:cubicBezTo>
                  <a:pt x="3392" y="722"/>
                  <a:pt x="3394" y="721"/>
                  <a:pt x="3396" y="720"/>
                </a:cubicBezTo>
                <a:cubicBezTo>
                  <a:pt x="3396" y="720"/>
                  <a:pt x="3396" y="720"/>
                  <a:pt x="3396" y="778"/>
                </a:cubicBezTo>
                <a:cubicBezTo>
                  <a:pt x="3396" y="778"/>
                  <a:pt x="3396" y="778"/>
                  <a:pt x="3408" y="778"/>
                </a:cubicBezTo>
                <a:cubicBezTo>
                  <a:pt x="3408" y="778"/>
                  <a:pt x="3408" y="778"/>
                  <a:pt x="3408" y="705"/>
                </a:cubicBezTo>
                <a:close/>
                <a:moveTo>
                  <a:pt x="3454" y="705"/>
                </a:moveTo>
                <a:cubicBezTo>
                  <a:pt x="3454" y="705"/>
                  <a:pt x="3454" y="705"/>
                  <a:pt x="3454" y="705"/>
                </a:cubicBezTo>
                <a:cubicBezTo>
                  <a:pt x="3450" y="705"/>
                  <a:pt x="3450" y="705"/>
                  <a:pt x="3450" y="705"/>
                </a:cubicBezTo>
                <a:cubicBezTo>
                  <a:pt x="3447" y="706"/>
                  <a:pt x="3446" y="708"/>
                  <a:pt x="3444" y="709"/>
                </a:cubicBezTo>
                <a:cubicBezTo>
                  <a:pt x="3442" y="710"/>
                  <a:pt x="3440" y="711"/>
                  <a:pt x="3439" y="712"/>
                </a:cubicBezTo>
                <a:cubicBezTo>
                  <a:pt x="3436" y="713"/>
                  <a:pt x="3435" y="714"/>
                  <a:pt x="3433" y="714"/>
                </a:cubicBezTo>
                <a:cubicBezTo>
                  <a:pt x="3431" y="715"/>
                  <a:pt x="3429" y="716"/>
                  <a:pt x="3428" y="716"/>
                </a:cubicBezTo>
                <a:cubicBezTo>
                  <a:pt x="3428" y="716"/>
                  <a:pt x="3428" y="716"/>
                  <a:pt x="3428" y="726"/>
                </a:cubicBezTo>
                <a:cubicBezTo>
                  <a:pt x="3430" y="725"/>
                  <a:pt x="3433" y="725"/>
                  <a:pt x="3436" y="723"/>
                </a:cubicBezTo>
                <a:cubicBezTo>
                  <a:pt x="3438" y="722"/>
                  <a:pt x="3441" y="721"/>
                  <a:pt x="3442" y="720"/>
                </a:cubicBezTo>
                <a:cubicBezTo>
                  <a:pt x="3442" y="720"/>
                  <a:pt x="3442" y="720"/>
                  <a:pt x="3442" y="778"/>
                </a:cubicBezTo>
                <a:cubicBezTo>
                  <a:pt x="3442" y="778"/>
                  <a:pt x="3442" y="778"/>
                  <a:pt x="3454" y="778"/>
                </a:cubicBezTo>
                <a:cubicBezTo>
                  <a:pt x="3454" y="778"/>
                  <a:pt x="3454" y="778"/>
                  <a:pt x="3454" y="705"/>
                </a:cubicBezTo>
                <a:close/>
                <a:moveTo>
                  <a:pt x="3203" y="752"/>
                </a:moveTo>
                <a:cubicBezTo>
                  <a:pt x="3204" y="754"/>
                  <a:pt x="3204" y="755"/>
                  <a:pt x="3205" y="757"/>
                </a:cubicBezTo>
                <a:cubicBezTo>
                  <a:pt x="3205" y="758"/>
                  <a:pt x="3206" y="760"/>
                  <a:pt x="3206" y="762"/>
                </a:cubicBezTo>
                <a:cubicBezTo>
                  <a:pt x="3206" y="763"/>
                  <a:pt x="3206" y="765"/>
                  <a:pt x="3206" y="767"/>
                </a:cubicBezTo>
                <a:cubicBezTo>
                  <a:pt x="3207" y="770"/>
                  <a:pt x="3206" y="771"/>
                  <a:pt x="3203" y="771"/>
                </a:cubicBezTo>
                <a:cubicBezTo>
                  <a:pt x="3200" y="771"/>
                  <a:pt x="3197" y="771"/>
                  <a:pt x="3195" y="771"/>
                </a:cubicBezTo>
                <a:cubicBezTo>
                  <a:pt x="3194" y="771"/>
                  <a:pt x="3193" y="771"/>
                  <a:pt x="3193" y="771"/>
                </a:cubicBezTo>
                <a:cubicBezTo>
                  <a:pt x="3191" y="773"/>
                  <a:pt x="3190" y="774"/>
                  <a:pt x="3189" y="776"/>
                </a:cubicBezTo>
                <a:cubicBezTo>
                  <a:pt x="3187" y="778"/>
                  <a:pt x="3183" y="778"/>
                  <a:pt x="3181" y="776"/>
                </a:cubicBezTo>
                <a:cubicBezTo>
                  <a:pt x="3179" y="774"/>
                  <a:pt x="3178" y="772"/>
                  <a:pt x="3176" y="769"/>
                </a:cubicBezTo>
                <a:cubicBezTo>
                  <a:pt x="3176" y="767"/>
                  <a:pt x="3176" y="766"/>
                  <a:pt x="3178" y="764"/>
                </a:cubicBezTo>
                <a:cubicBezTo>
                  <a:pt x="3176" y="764"/>
                  <a:pt x="3174" y="764"/>
                  <a:pt x="3172" y="764"/>
                </a:cubicBezTo>
                <a:cubicBezTo>
                  <a:pt x="3172" y="766"/>
                  <a:pt x="3170" y="768"/>
                  <a:pt x="3170" y="770"/>
                </a:cubicBezTo>
                <a:cubicBezTo>
                  <a:pt x="3170" y="771"/>
                  <a:pt x="3169" y="772"/>
                  <a:pt x="3169" y="773"/>
                </a:cubicBezTo>
                <a:cubicBezTo>
                  <a:pt x="3169" y="776"/>
                  <a:pt x="3168" y="777"/>
                  <a:pt x="3165" y="776"/>
                </a:cubicBezTo>
                <a:cubicBezTo>
                  <a:pt x="3162" y="776"/>
                  <a:pt x="3159" y="775"/>
                  <a:pt x="3156" y="774"/>
                </a:cubicBezTo>
                <a:cubicBezTo>
                  <a:pt x="3154" y="774"/>
                  <a:pt x="3154" y="772"/>
                  <a:pt x="3154" y="770"/>
                </a:cubicBezTo>
                <a:cubicBezTo>
                  <a:pt x="3154" y="769"/>
                  <a:pt x="3154" y="769"/>
                  <a:pt x="3155" y="769"/>
                </a:cubicBezTo>
                <a:cubicBezTo>
                  <a:pt x="3152" y="767"/>
                  <a:pt x="3150" y="767"/>
                  <a:pt x="3148" y="765"/>
                </a:cubicBezTo>
                <a:cubicBezTo>
                  <a:pt x="3147" y="764"/>
                  <a:pt x="3146" y="762"/>
                  <a:pt x="3145" y="761"/>
                </a:cubicBezTo>
                <a:cubicBezTo>
                  <a:pt x="3144" y="759"/>
                  <a:pt x="3144" y="757"/>
                  <a:pt x="3146" y="755"/>
                </a:cubicBezTo>
                <a:cubicBezTo>
                  <a:pt x="3149" y="753"/>
                  <a:pt x="3150" y="750"/>
                  <a:pt x="3149" y="746"/>
                </a:cubicBezTo>
                <a:cubicBezTo>
                  <a:pt x="3149" y="744"/>
                  <a:pt x="3149" y="742"/>
                  <a:pt x="3149" y="740"/>
                </a:cubicBezTo>
                <a:cubicBezTo>
                  <a:pt x="3148" y="740"/>
                  <a:pt x="3146" y="739"/>
                  <a:pt x="3145" y="738"/>
                </a:cubicBezTo>
                <a:cubicBezTo>
                  <a:pt x="3144" y="736"/>
                  <a:pt x="3143" y="734"/>
                  <a:pt x="3143" y="733"/>
                </a:cubicBezTo>
                <a:cubicBezTo>
                  <a:pt x="3143" y="730"/>
                  <a:pt x="3146" y="727"/>
                  <a:pt x="3149" y="726"/>
                </a:cubicBezTo>
                <a:cubicBezTo>
                  <a:pt x="3150" y="727"/>
                  <a:pt x="3150" y="728"/>
                  <a:pt x="3150" y="729"/>
                </a:cubicBezTo>
                <a:cubicBezTo>
                  <a:pt x="3150" y="730"/>
                  <a:pt x="3150" y="731"/>
                  <a:pt x="3150" y="732"/>
                </a:cubicBezTo>
                <a:cubicBezTo>
                  <a:pt x="3150" y="731"/>
                  <a:pt x="3149" y="731"/>
                  <a:pt x="3149" y="731"/>
                </a:cubicBezTo>
                <a:cubicBezTo>
                  <a:pt x="3148" y="733"/>
                  <a:pt x="3148" y="734"/>
                  <a:pt x="3147" y="736"/>
                </a:cubicBezTo>
                <a:cubicBezTo>
                  <a:pt x="3148" y="735"/>
                  <a:pt x="3149" y="735"/>
                  <a:pt x="3150" y="735"/>
                </a:cubicBezTo>
                <a:cubicBezTo>
                  <a:pt x="3151" y="734"/>
                  <a:pt x="3152" y="733"/>
                  <a:pt x="3152" y="732"/>
                </a:cubicBezTo>
                <a:cubicBezTo>
                  <a:pt x="3157" y="725"/>
                  <a:pt x="3163" y="721"/>
                  <a:pt x="3170" y="719"/>
                </a:cubicBezTo>
                <a:cubicBezTo>
                  <a:pt x="3174" y="719"/>
                  <a:pt x="3177" y="718"/>
                  <a:pt x="3179" y="715"/>
                </a:cubicBezTo>
                <a:cubicBezTo>
                  <a:pt x="3179" y="715"/>
                  <a:pt x="3180" y="714"/>
                  <a:pt x="3180" y="714"/>
                </a:cubicBezTo>
                <a:cubicBezTo>
                  <a:pt x="3183" y="714"/>
                  <a:pt x="3185" y="712"/>
                  <a:pt x="3187" y="710"/>
                </a:cubicBezTo>
                <a:cubicBezTo>
                  <a:pt x="3194" y="702"/>
                  <a:pt x="3206" y="702"/>
                  <a:pt x="3214" y="708"/>
                </a:cubicBezTo>
                <a:cubicBezTo>
                  <a:pt x="3216" y="710"/>
                  <a:pt x="3219" y="712"/>
                  <a:pt x="3221" y="714"/>
                </a:cubicBezTo>
                <a:cubicBezTo>
                  <a:pt x="3223" y="715"/>
                  <a:pt x="3224" y="717"/>
                  <a:pt x="3225" y="719"/>
                </a:cubicBezTo>
                <a:cubicBezTo>
                  <a:pt x="3226" y="721"/>
                  <a:pt x="3227" y="721"/>
                  <a:pt x="3228" y="719"/>
                </a:cubicBezTo>
                <a:cubicBezTo>
                  <a:pt x="3229" y="719"/>
                  <a:pt x="3230" y="718"/>
                  <a:pt x="3230" y="717"/>
                </a:cubicBezTo>
                <a:cubicBezTo>
                  <a:pt x="3232" y="715"/>
                  <a:pt x="3236" y="715"/>
                  <a:pt x="3237" y="718"/>
                </a:cubicBezTo>
                <a:cubicBezTo>
                  <a:pt x="3238" y="721"/>
                  <a:pt x="3239" y="724"/>
                  <a:pt x="3239" y="727"/>
                </a:cubicBezTo>
                <a:cubicBezTo>
                  <a:pt x="3240" y="731"/>
                  <a:pt x="3239" y="736"/>
                  <a:pt x="3238" y="740"/>
                </a:cubicBezTo>
                <a:cubicBezTo>
                  <a:pt x="3236" y="746"/>
                  <a:pt x="3231" y="750"/>
                  <a:pt x="3224" y="750"/>
                </a:cubicBezTo>
                <a:cubicBezTo>
                  <a:pt x="3223" y="750"/>
                  <a:pt x="3223" y="750"/>
                  <a:pt x="3222" y="750"/>
                </a:cubicBezTo>
                <a:cubicBezTo>
                  <a:pt x="3220" y="750"/>
                  <a:pt x="3219" y="750"/>
                  <a:pt x="3218" y="752"/>
                </a:cubicBezTo>
                <a:cubicBezTo>
                  <a:pt x="3216" y="757"/>
                  <a:pt x="3211" y="758"/>
                  <a:pt x="3207" y="755"/>
                </a:cubicBezTo>
                <a:cubicBezTo>
                  <a:pt x="3206" y="754"/>
                  <a:pt x="3205" y="753"/>
                  <a:pt x="3204" y="752"/>
                </a:cubicBezTo>
                <a:cubicBezTo>
                  <a:pt x="3204" y="752"/>
                  <a:pt x="3204" y="752"/>
                  <a:pt x="3203" y="752"/>
                </a:cubicBezTo>
                <a:close/>
                <a:moveTo>
                  <a:pt x="3198" y="748"/>
                </a:moveTo>
                <a:cubicBezTo>
                  <a:pt x="3201" y="750"/>
                  <a:pt x="3205" y="751"/>
                  <a:pt x="3208" y="754"/>
                </a:cubicBezTo>
                <a:cubicBezTo>
                  <a:pt x="3209" y="755"/>
                  <a:pt x="3211" y="756"/>
                  <a:pt x="3213" y="755"/>
                </a:cubicBezTo>
                <a:cubicBezTo>
                  <a:pt x="3216" y="754"/>
                  <a:pt x="3217" y="752"/>
                  <a:pt x="3217" y="749"/>
                </a:cubicBezTo>
                <a:cubicBezTo>
                  <a:pt x="3217" y="750"/>
                  <a:pt x="3216" y="750"/>
                  <a:pt x="3216" y="750"/>
                </a:cubicBezTo>
                <a:cubicBezTo>
                  <a:pt x="3216" y="752"/>
                  <a:pt x="3215" y="752"/>
                  <a:pt x="3214" y="754"/>
                </a:cubicBezTo>
                <a:cubicBezTo>
                  <a:pt x="3213" y="755"/>
                  <a:pt x="3211" y="754"/>
                  <a:pt x="3211" y="754"/>
                </a:cubicBezTo>
                <a:cubicBezTo>
                  <a:pt x="3210" y="754"/>
                  <a:pt x="3210" y="753"/>
                  <a:pt x="3210" y="752"/>
                </a:cubicBezTo>
                <a:cubicBezTo>
                  <a:pt x="3210" y="750"/>
                  <a:pt x="3210" y="748"/>
                  <a:pt x="3210" y="746"/>
                </a:cubicBezTo>
                <a:cubicBezTo>
                  <a:pt x="3213" y="746"/>
                  <a:pt x="3217" y="748"/>
                  <a:pt x="3220" y="748"/>
                </a:cubicBezTo>
                <a:cubicBezTo>
                  <a:pt x="3228" y="749"/>
                  <a:pt x="3234" y="748"/>
                  <a:pt x="3237" y="739"/>
                </a:cubicBezTo>
                <a:cubicBezTo>
                  <a:pt x="3238" y="734"/>
                  <a:pt x="3238" y="729"/>
                  <a:pt x="3237" y="724"/>
                </a:cubicBezTo>
                <a:cubicBezTo>
                  <a:pt x="3237" y="722"/>
                  <a:pt x="3236" y="721"/>
                  <a:pt x="3235" y="719"/>
                </a:cubicBezTo>
                <a:cubicBezTo>
                  <a:pt x="3234" y="717"/>
                  <a:pt x="3233" y="717"/>
                  <a:pt x="3232" y="718"/>
                </a:cubicBezTo>
                <a:cubicBezTo>
                  <a:pt x="3230" y="720"/>
                  <a:pt x="3229" y="721"/>
                  <a:pt x="3227" y="722"/>
                </a:cubicBezTo>
                <a:cubicBezTo>
                  <a:pt x="3226" y="723"/>
                  <a:pt x="3225" y="723"/>
                  <a:pt x="3226" y="725"/>
                </a:cubicBezTo>
                <a:cubicBezTo>
                  <a:pt x="3226" y="728"/>
                  <a:pt x="3226" y="731"/>
                  <a:pt x="3224" y="734"/>
                </a:cubicBezTo>
                <a:cubicBezTo>
                  <a:pt x="3224" y="732"/>
                  <a:pt x="3225" y="730"/>
                  <a:pt x="3225" y="729"/>
                </a:cubicBezTo>
                <a:cubicBezTo>
                  <a:pt x="3225" y="728"/>
                  <a:pt x="3224" y="727"/>
                  <a:pt x="3224" y="727"/>
                </a:cubicBezTo>
                <a:cubicBezTo>
                  <a:pt x="3224" y="727"/>
                  <a:pt x="3223" y="727"/>
                  <a:pt x="3223" y="728"/>
                </a:cubicBezTo>
                <a:cubicBezTo>
                  <a:pt x="3222" y="729"/>
                  <a:pt x="3221" y="731"/>
                  <a:pt x="3221" y="732"/>
                </a:cubicBezTo>
                <a:cubicBezTo>
                  <a:pt x="3220" y="732"/>
                  <a:pt x="3220" y="732"/>
                  <a:pt x="3220" y="732"/>
                </a:cubicBezTo>
                <a:cubicBezTo>
                  <a:pt x="3221" y="730"/>
                  <a:pt x="3221" y="729"/>
                  <a:pt x="3221" y="726"/>
                </a:cubicBezTo>
                <a:cubicBezTo>
                  <a:pt x="3220" y="727"/>
                  <a:pt x="3220" y="727"/>
                  <a:pt x="3219" y="728"/>
                </a:cubicBezTo>
                <a:cubicBezTo>
                  <a:pt x="3219" y="729"/>
                  <a:pt x="3218" y="729"/>
                  <a:pt x="3218" y="730"/>
                </a:cubicBezTo>
                <a:cubicBezTo>
                  <a:pt x="3218" y="727"/>
                  <a:pt x="3219" y="727"/>
                  <a:pt x="3224" y="725"/>
                </a:cubicBezTo>
                <a:cubicBezTo>
                  <a:pt x="3224" y="725"/>
                  <a:pt x="3223" y="724"/>
                  <a:pt x="3223" y="724"/>
                </a:cubicBezTo>
                <a:cubicBezTo>
                  <a:pt x="3221" y="725"/>
                  <a:pt x="3220" y="723"/>
                  <a:pt x="3219" y="721"/>
                </a:cubicBezTo>
                <a:cubicBezTo>
                  <a:pt x="3221" y="721"/>
                  <a:pt x="3223" y="720"/>
                  <a:pt x="3224" y="720"/>
                </a:cubicBezTo>
                <a:cubicBezTo>
                  <a:pt x="3223" y="717"/>
                  <a:pt x="3221" y="715"/>
                  <a:pt x="3218" y="714"/>
                </a:cubicBezTo>
                <a:cubicBezTo>
                  <a:pt x="3217" y="714"/>
                  <a:pt x="3217" y="714"/>
                  <a:pt x="3217" y="714"/>
                </a:cubicBezTo>
                <a:cubicBezTo>
                  <a:pt x="3215" y="712"/>
                  <a:pt x="3212" y="709"/>
                  <a:pt x="3210" y="707"/>
                </a:cubicBezTo>
                <a:cubicBezTo>
                  <a:pt x="3207" y="706"/>
                  <a:pt x="3204" y="705"/>
                  <a:pt x="3202" y="705"/>
                </a:cubicBezTo>
                <a:cubicBezTo>
                  <a:pt x="3199" y="706"/>
                  <a:pt x="3196" y="707"/>
                  <a:pt x="3193" y="708"/>
                </a:cubicBezTo>
                <a:cubicBezTo>
                  <a:pt x="3190" y="709"/>
                  <a:pt x="3187" y="710"/>
                  <a:pt x="3185" y="714"/>
                </a:cubicBezTo>
                <a:cubicBezTo>
                  <a:pt x="3187" y="714"/>
                  <a:pt x="3188" y="714"/>
                  <a:pt x="3189" y="714"/>
                </a:cubicBezTo>
                <a:cubicBezTo>
                  <a:pt x="3189" y="714"/>
                  <a:pt x="3188" y="714"/>
                  <a:pt x="3187" y="714"/>
                </a:cubicBezTo>
                <a:cubicBezTo>
                  <a:pt x="3185" y="715"/>
                  <a:pt x="3182" y="714"/>
                  <a:pt x="3180" y="717"/>
                </a:cubicBezTo>
                <a:cubicBezTo>
                  <a:pt x="3177" y="721"/>
                  <a:pt x="3173" y="724"/>
                  <a:pt x="3169" y="729"/>
                </a:cubicBezTo>
                <a:cubicBezTo>
                  <a:pt x="3168" y="731"/>
                  <a:pt x="3167" y="733"/>
                  <a:pt x="3166" y="735"/>
                </a:cubicBezTo>
                <a:cubicBezTo>
                  <a:pt x="3166" y="736"/>
                  <a:pt x="3166" y="736"/>
                  <a:pt x="3166" y="737"/>
                </a:cubicBezTo>
                <a:cubicBezTo>
                  <a:pt x="3167" y="739"/>
                  <a:pt x="3169" y="741"/>
                  <a:pt x="3170" y="743"/>
                </a:cubicBezTo>
                <a:cubicBezTo>
                  <a:pt x="3171" y="741"/>
                  <a:pt x="3172" y="740"/>
                  <a:pt x="3174" y="738"/>
                </a:cubicBezTo>
                <a:cubicBezTo>
                  <a:pt x="3173" y="740"/>
                  <a:pt x="3173" y="741"/>
                  <a:pt x="3172" y="742"/>
                </a:cubicBezTo>
                <a:cubicBezTo>
                  <a:pt x="3171" y="744"/>
                  <a:pt x="3170" y="745"/>
                  <a:pt x="3170" y="746"/>
                </a:cubicBezTo>
                <a:cubicBezTo>
                  <a:pt x="3170" y="747"/>
                  <a:pt x="3170" y="748"/>
                  <a:pt x="3170" y="749"/>
                </a:cubicBezTo>
                <a:cubicBezTo>
                  <a:pt x="3173" y="753"/>
                  <a:pt x="3176" y="753"/>
                  <a:pt x="3180" y="751"/>
                </a:cubicBezTo>
                <a:cubicBezTo>
                  <a:pt x="3182" y="749"/>
                  <a:pt x="3185" y="748"/>
                  <a:pt x="3188" y="747"/>
                </a:cubicBezTo>
                <a:cubicBezTo>
                  <a:pt x="3189" y="747"/>
                  <a:pt x="3191" y="746"/>
                  <a:pt x="3191" y="744"/>
                </a:cubicBezTo>
                <a:cubicBezTo>
                  <a:pt x="3191" y="741"/>
                  <a:pt x="3191" y="738"/>
                  <a:pt x="3191" y="734"/>
                </a:cubicBezTo>
                <a:cubicBezTo>
                  <a:pt x="3191" y="731"/>
                  <a:pt x="3191" y="729"/>
                  <a:pt x="3191" y="725"/>
                </a:cubicBezTo>
                <a:cubicBezTo>
                  <a:pt x="3191" y="728"/>
                  <a:pt x="3192" y="731"/>
                  <a:pt x="3192" y="733"/>
                </a:cubicBezTo>
                <a:cubicBezTo>
                  <a:pt x="3193" y="738"/>
                  <a:pt x="3193" y="742"/>
                  <a:pt x="3192" y="747"/>
                </a:cubicBezTo>
                <a:cubicBezTo>
                  <a:pt x="3191" y="748"/>
                  <a:pt x="3191" y="748"/>
                  <a:pt x="3190" y="748"/>
                </a:cubicBezTo>
                <a:cubicBezTo>
                  <a:pt x="3187" y="749"/>
                  <a:pt x="3183" y="751"/>
                  <a:pt x="3180" y="752"/>
                </a:cubicBezTo>
                <a:cubicBezTo>
                  <a:pt x="3175" y="755"/>
                  <a:pt x="3172" y="754"/>
                  <a:pt x="3168" y="750"/>
                </a:cubicBezTo>
                <a:cubicBezTo>
                  <a:pt x="3168" y="749"/>
                  <a:pt x="3168" y="748"/>
                  <a:pt x="3168" y="748"/>
                </a:cubicBezTo>
                <a:cubicBezTo>
                  <a:pt x="3169" y="745"/>
                  <a:pt x="3168" y="743"/>
                  <a:pt x="3167" y="741"/>
                </a:cubicBezTo>
                <a:cubicBezTo>
                  <a:pt x="3165" y="739"/>
                  <a:pt x="3163" y="737"/>
                  <a:pt x="3165" y="734"/>
                </a:cubicBezTo>
                <a:cubicBezTo>
                  <a:pt x="3165" y="732"/>
                  <a:pt x="3166" y="731"/>
                  <a:pt x="3167" y="729"/>
                </a:cubicBezTo>
                <a:cubicBezTo>
                  <a:pt x="3169" y="726"/>
                  <a:pt x="3171" y="724"/>
                  <a:pt x="3173" y="721"/>
                </a:cubicBezTo>
                <a:cubicBezTo>
                  <a:pt x="3173" y="721"/>
                  <a:pt x="3172" y="721"/>
                  <a:pt x="3172" y="721"/>
                </a:cubicBezTo>
                <a:cubicBezTo>
                  <a:pt x="3167" y="722"/>
                  <a:pt x="3163" y="724"/>
                  <a:pt x="3159" y="727"/>
                </a:cubicBezTo>
                <a:cubicBezTo>
                  <a:pt x="3154" y="731"/>
                  <a:pt x="3151" y="736"/>
                  <a:pt x="3151" y="743"/>
                </a:cubicBezTo>
                <a:cubicBezTo>
                  <a:pt x="3150" y="750"/>
                  <a:pt x="3153" y="756"/>
                  <a:pt x="3156" y="762"/>
                </a:cubicBezTo>
                <a:cubicBezTo>
                  <a:pt x="3157" y="763"/>
                  <a:pt x="3157" y="764"/>
                  <a:pt x="3157" y="765"/>
                </a:cubicBezTo>
                <a:cubicBezTo>
                  <a:pt x="3157" y="767"/>
                  <a:pt x="3157" y="769"/>
                  <a:pt x="3156" y="770"/>
                </a:cubicBezTo>
                <a:cubicBezTo>
                  <a:pt x="3156" y="772"/>
                  <a:pt x="3156" y="773"/>
                  <a:pt x="3157" y="773"/>
                </a:cubicBezTo>
                <a:cubicBezTo>
                  <a:pt x="3160" y="774"/>
                  <a:pt x="3163" y="774"/>
                  <a:pt x="3166" y="774"/>
                </a:cubicBezTo>
                <a:cubicBezTo>
                  <a:pt x="3167" y="774"/>
                  <a:pt x="3167" y="774"/>
                  <a:pt x="3167" y="773"/>
                </a:cubicBezTo>
                <a:cubicBezTo>
                  <a:pt x="3168" y="772"/>
                  <a:pt x="3168" y="771"/>
                  <a:pt x="3169" y="770"/>
                </a:cubicBezTo>
                <a:cubicBezTo>
                  <a:pt x="3170" y="767"/>
                  <a:pt x="3170" y="765"/>
                  <a:pt x="3170" y="762"/>
                </a:cubicBezTo>
                <a:cubicBezTo>
                  <a:pt x="3170" y="761"/>
                  <a:pt x="3170" y="761"/>
                  <a:pt x="3170" y="761"/>
                </a:cubicBezTo>
                <a:cubicBezTo>
                  <a:pt x="3170" y="760"/>
                  <a:pt x="3170" y="760"/>
                  <a:pt x="3170" y="760"/>
                </a:cubicBezTo>
                <a:cubicBezTo>
                  <a:pt x="3171" y="763"/>
                  <a:pt x="3172" y="763"/>
                  <a:pt x="3174" y="763"/>
                </a:cubicBezTo>
                <a:cubicBezTo>
                  <a:pt x="3175" y="763"/>
                  <a:pt x="3176" y="763"/>
                  <a:pt x="3177" y="763"/>
                </a:cubicBezTo>
                <a:cubicBezTo>
                  <a:pt x="3180" y="763"/>
                  <a:pt x="3183" y="763"/>
                  <a:pt x="3183" y="759"/>
                </a:cubicBezTo>
                <a:cubicBezTo>
                  <a:pt x="3183" y="761"/>
                  <a:pt x="3183" y="763"/>
                  <a:pt x="3183" y="764"/>
                </a:cubicBezTo>
                <a:cubicBezTo>
                  <a:pt x="3182" y="765"/>
                  <a:pt x="3181" y="765"/>
                  <a:pt x="3180" y="766"/>
                </a:cubicBezTo>
                <a:cubicBezTo>
                  <a:pt x="3178" y="767"/>
                  <a:pt x="3178" y="768"/>
                  <a:pt x="3178" y="769"/>
                </a:cubicBezTo>
                <a:cubicBezTo>
                  <a:pt x="3180" y="771"/>
                  <a:pt x="3181" y="773"/>
                  <a:pt x="3182" y="775"/>
                </a:cubicBezTo>
                <a:cubicBezTo>
                  <a:pt x="3184" y="776"/>
                  <a:pt x="3186" y="776"/>
                  <a:pt x="3187" y="774"/>
                </a:cubicBezTo>
                <a:cubicBezTo>
                  <a:pt x="3188" y="774"/>
                  <a:pt x="3189" y="773"/>
                  <a:pt x="3189" y="773"/>
                </a:cubicBezTo>
                <a:cubicBezTo>
                  <a:pt x="3191" y="771"/>
                  <a:pt x="3193" y="770"/>
                  <a:pt x="3194" y="769"/>
                </a:cubicBezTo>
                <a:cubicBezTo>
                  <a:pt x="3198" y="764"/>
                  <a:pt x="3200" y="758"/>
                  <a:pt x="3202" y="752"/>
                </a:cubicBezTo>
                <a:cubicBezTo>
                  <a:pt x="3202" y="752"/>
                  <a:pt x="3201" y="751"/>
                  <a:pt x="3201" y="751"/>
                </a:cubicBezTo>
                <a:cubicBezTo>
                  <a:pt x="3200" y="750"/>
                  <a:pt x="3199" y="749"/>
                  <a:pt x="3198" y="748"/>
                </a:cubicBezTo>
                <a:close/>
                <a:moveTo>
                  <a:pt x="3150" y="754"/>
                </a:moveTo>
                <a:cubicBezTo>
                  <a:pt x="3150" y="755"/>
                  <a:pt x="3148" y="756"/>
                  <a:pt x="3147" y="757"/>
                </a:cubicBezTo>
                <a:cubicBezTo>
                  <a:pt x="3146" y="757"/>
                  <a:pt x="3146" y="758"/>
                  <a:pt x="3146" y="759"/>
                </a:cubicBezTo>
                <a:cubicBezTo>
                  <a:pt x="3146" y="762"/>
                  <a:pt x="3150" y="766"/>
                  <a:pt x="3154" y="766"/>
                </a:cubicBezTo>
                <a:cubicBezTo>
                  <a:pt x="3155" y="766"/>
                  <a:pt x="3156" y="765"/>
                  <a:pt x="3155" y="763"/>
                </a:cubicBezTo>
                <a:cubicBezTo>
                  <a:pt x="3154" y="760"/>
                  <a:pt x="3152" y="757"/>
                  <a:pt x="3150" y="754"/>
                </a:cubicBezTo>
                <a:close/>
                <a:moveTo>
                  <a:pt x="3203" y="756"/>
                </a:moveTo>
                <a:cubicBezTo>
                  <a:pt x="3201" y="761"/>
                  <a:pt x="3198" y="765"/>
                  <a:pt x="3196" y="770"/>
                </a:cubicBezTo>
                <a:cubicBezTo>
                  <a:pt x="3199" y="770"/>
                  <a:pt x="3201" y="770"/>
                  <a:pt x="3204" y="770"/>
                </a:cubicBezTo>
                <a:cubicBezTo>
                  <a:pt x="3204" y="770"/>
                  <a:pt x="3205" y="769"/>
                  <a:pt x="3205" y="768"/>
                </a:cubicBezTo>
                <a:cubicBezTo>
                  <a:pt x="3205" y="765"/>
                  <a:pt x="3205" y="763"/>
                  <a:pt x="3204" y="761"/>
                </a:cubicBezTo>
                <a:cubicBezTo>
                  <a:pt x="3204" y="759"/>
                  <a:pt x="3204" y="758"/>
                  <a:pt x="3203" y="756"/>
                </a:cubicBezTo>
                <a:close/>
                <a:moveTo>
                  <a:pt x="3150" y="736"/>
                </a:moveTo>
                <a:cubicBezTo>
                  <a:pt x="3150" y="736"/>
                  <a:pt x="3149" y="737"/>
                  <a:pt x="3148" y="737"/>
                </a:cubicBezTo>
                <a:cubicBezTo>
                  <a:pt x="3148" y="737"/>
                  <a:pt x="3147" y="737"/>
                  <a:pt x="3147" y="736"/>
                </a:cubicBezTo>
                <a:cubicBezTo>
                  <a:pt x="3146" y="736"/>
                  <a:pt x="3146" y="735"/>
                  <a:pt x="3146" y="734"/>
                </a:cubicBezTo>
                <a:cubicBezTo>
                  <a:pt x="3147" y="733"/>
                  <a:pt x="3147" y="731"/>
                  <a:pt x="3148" y="729"/>
                </a:cubicBezTo>
                <a:cubicBezTo>
                  <a:pt x="3148" y="729"/>
                  <a:pt x="3148" y="729"/>
                  <a:pt x="3147" y="729"/>
                </a:cubicBezTo>
                <a:cubicBezTo>
                  <a:pt x="3146" y="729"/>
                  <a:pt x="3145" y="730"/>
                  <a:pt x="3144" y="731"/>
                </a:cubicBezTo>
                <a:cubicBezTo>
                  <a:pt x="3144" y="733"/>
                  <a:pt x="3145" y="738"/>
                  <a:pt x="3147" y="738"/>
                </a:cubicBezTo>
                <a:cubicBezTo>
                  <a:pt x="3148" y="739"/>
                  <a:pt x="3150" y="738"/>
                  <a:pt x="3150" y="736"/>
                </a:cubicBezTo>
                <a:close/>
                <a:moveTo>
                  <a:pt x="3150" y="754"/>
                </a:moveTo>
                <a:cubicBezTo>
                  <a:pt x="3150" y="755"/>
                  <a:pt x="3148" y="756"/>
                  <a:pt x="3147" y="757"/>
                </a:cubicBezTo>
                <a:cubicBezTo>
                  <a:pt x="3147" y="757"/>
                  <a:pt x="3146" y="758"/>
                  <a:pt x="3146" y="759"/>
                </a:cubicBezTo>
                <a:cubicBezTo>
                  <a:pt x="3146" y="762"/>
                  <a:pt x="3150" y="766"/>
                  <a:pt x="3154" y="766"/>
                </a:cubicBezTo>
                <a:cubicBezTo>
                  <a:pt x="3155" y="766"/>
                  <a:pt x="3156" y="764"/>
                  <a:pt x="3155" y="763"/>
                </a:cubicBezTo>
                <a:cubicBezTo>
                  <a:pt x="3154" y="760"/>
                  <a:pt x="3152" y="757"/>
                  <a:pt x="3150" y="754"/>
                </a:cubicBezTo>
                <a:close/>
                <a:moveTo>
                  <a:pt x="3203" y="756"/>
                </a:moveTo>
                <a:cubicBezTo>
                  <a:pt x="3201" y="761"/>
                  <a:pt x="3199" y="766"/>
                  <a:pt x="3196" y="770"/>
                </a:cubicBezTo>
                <a:cubicBezTo>
                  <a:pt x="3199" y="770"/>
                  <a:pt x="3201" y="770"/>
                  <a:pt x="3204" y="770"/>
                </a:cubicBezTo>
                <a:cubicBezTo>
                  <a:pt x="3204" y="770"/>
                  <a:pt x="3205" y="769"/>
                  <a:pt x="3205" y="768"/>
                </a:cubicBezTo>
                <a:cubicBezTo>
                  <a:pt x="3205" y="766"/>
                  <a:pt x="3205" y="763"/>
                  <a:pt x="3204" y="761"/>
                </a:cubicBezTo>
                <a:cubicBezTo>
                  <a:pt x="3204" y="759"/>
                  <a:pt x="3204" y="758"/>
                  <a:pt x="3203" y="756"/>
                </a:cubicBezTo>
                <a:close/>
                <a:moveTo>
                  <a:pt x="3151" y="736"/>
                </a:moveTo>
                <a:cubicBezTo>
                  <a:pt x="3150" y="736"/>
                  <a:pt x="3149" y="737"/>
                  <a:pt x="3149" y="737"/>
                </a:cubicBezTo>
                <a:cubicBezTo>
                  <a:pt x="3148" y="737"/>
                  <a:pt x="3147" y="737"/>
                  <a:pt x="3147" y="736"/>
                </a:cubicBezTo>
                <a:cubicBezTo>
                  <a:pt x="3147" y="736"/>
                  <a:pt x="3146" y="735"/>
                  <a:pt x="3146" y="734"/>
                </a:cubicBezTo>
                <a:cubicBezTo>
                  <a:pt x="3147" y="732"/>
                  <a:pt x="3147" y="730"/>
                  <a:pt x="3148" y="729"/>
                </a:cubicBezTo>
                <a:cubicBezTo>
                  <a:pt x="3148" y="729"/>
                  <a:pt x="3148" y="729"/>
                  <a:pt x="3147" y="729"/>
                </a:cubicBezTo>
                <a:cubicBezTo>
                  <a:pt x="3147" y="729"/>
                  <a:pt x="3145" y="730"/>
                  <a:pt x="3145" y="731"/>
                </a:cubicBezTo>
                <a:cubicBezTo>
                  <a:pt x="3144" y="732"/>
                  <a:pt x="3145" y="738"/>
                  <a:pt x="3147" y="738"/>
                </a:cubicBezTo>
                <a:cubicBezTo>
                  <a:pt x="3149" y="739"/>
                  <a:pt x="3151" y="738"/>
                  <a:pt x="3151" y="736"/>
                </a:cubicBezTo>
                <a:close/>
                <a:moveTo>
                  <a:pt x="3203" y="728"/>
                </a:moveTo>
                <a:cubicBezTo>
                  <a:pt x="3206" y="724"/>
                  <a:pt x="3206" y="724"/>
                  <a:pt x="3210" y="723"/>
                </a:cubicBezTo>
                <a:cubicBezTo>
                  <a:pt x="3210" y="725"/>
                  <a:pt x="3211" y="726"/>
                  <a:pt x="3212" y="726"/>
                </a:cubicBezTo>
                <a:cubicBezTo>
                  <a:pt x="3210" y="727"/>
                  <a:pt x="3208" y="729"/>
                  <a:pt x="3206" y="730"/>
                </a:cubicBezTo>
                <a:cubicBezTo>
                  <a:pt x="3206" y="729"/>
                  <a:pt x="3205" y="728"/>
                  <a:pt x="3204" y="727"/>
                </a:cubicBezTo>
                <a:cubicBezTo>
                  <a:pt x="3204" y="727"/>
                  <a:pt x="3204" y="727"/>
                  <a:pt x="3203" y="728"/>
                </a:cubicBezTo>
                <a:close/>
                <a:moveTo>
                  <a:pt x="3209" y="727"/>
                </a:moveTo>
                <a:cubicBezTo>
                  <a:pt x="3208" y="727"/>
                  <a:pt x="3207" y="727"/>
                  <a:pt x="3207" y="727"/>
                </a:cubicBezTo>
                <a:cubicBezTo>
                  <a:pt x="3206" y="727"/>
                  <a:pt x="3206" y="727"/>
                  <a:pt x="3206" y="728"/>
                </a:cubicBezTo>
                <a:cubicBezTo>
                  <a:pt x="3206" y="728"/>
                  <a:pt x="3206" y="728"/>
                  <a:pt x="3206" y="729"/>
                </a:cubicBezTo>
                <a:cubicBezTo>
                  <a:pt x="3207" y="728"/>
                  <a:pt x="3208" y="728"/>
                  <a:pt x="3209" y="727"/>
                </a:cubicBezTo>
                <a:close/>
                <a:moveTo>
                  <a:pt x="3190" y="718"/>
                </a:moveTo>
                <a:cubicBezTo>
                  <a:pt x="3183" y="717"/>
                  <a:pt x="3181" y="719"/>
                  <a:pt x="3179" y="728"/>
                </a:cubicBezTo>
                <a:cubicBezTo>
                  <a:pt x="3181" y="726"/>
                  <a:pt x="3182" y="723"/>
                  <a:pt x="3183" y="721"/>
                </a:cubicBezTo>
                <a:cubicBezTo>
                  <a:pt x="3183" y="721"/>
                  <a:pt x="3183" y="721"/>
                  <a:pt x="3183" y="721"/>
                </a:cubicBezTo>
                <a:cubicBezTo>
                  <a:pt x="3183" y="722"/>
                  <a:pt x="3184" y="723"/>
                  <a:pt x="3184" y="723"/>
                </a:cubicBezTo>
                <a:cubicBezTo>
                  <a:pt x="3185" y="720"/>
                  <a:pt x="3186" y="718"/>
                  <a:pt x="3190" y="718"/>
                </a:cubicBezTo>
                <a:close/>
                <a:moveTo>
                  <a:pt x="3234" y="719"/>
                </a:moveTo>
                <a:cubicBezTo>
                  <a:pt x="3232" y="721"/>
                  <a:pt x="3229" y="722"/>
                  <a:pt x="3228" y="723"/>
                </a:cubicBezTo>
                <a:cubicBezTo>
                  <a:pt x="3230" y="724"/>
                  <a:pt x="3232" y="722"/>
                  <a:pt x="3234" y="719"/>
                </a:cubicBezTo>
                <a:close/>
                <a:moveTo>
                  <a:pt x="3200" y="721"/>
                </a:moveTo>
                <a:cubicBezTo>
                  <a:pt x="3201" y="720"/>
                  <a:pt x="3202" y="719"/>
                  <a:pt x="3203" y="717"/>
                </a:cubicBezTo>
                <a:cubicBezTo>
                  <a:pt x="3200" y="719"/>
                  <a:pt x="3200" y="719"/>
                  <a:pt x="3200" y="721"/>
                </a:cubicBezTo>
                <a:close/>
                <a:moveTo>
                  <a:pt x="3210" y="743"/>
                </a:moveTo>
                <a:cubicBezTo>
                  <a:pt x="3208" y="743"/>
                  <a:pt x="3207" y="744"/>
                  <a:pt x="3207" y="745"/>
                </a:cubicBezTo>
                <a:cubicBezTo>
                  <a:pt x="3208" y="744"/>
                  <a:pt x="3209" y="744"/>
                  <a:pt x="3210" y="743"/>
                </a:cubicBezTo>
                <a:close/>
                <a:moveTo>
                  <a:pt x="3209" y="727"/>
                </a:moveTo>
                <a:cubicBezTo>
                  <a:pt x="3208" y="727"/>
                  <a:pt x="3207" y="727"/>
                  <a:pt x="3207" y="727"/>
                </a:cubicBezTo>
                <a:cubicBezTo>
                  <a:pt x="3206" y="727"/>
                  <a:pt x="3206" y="727"/>
                  <a:pt x="3206" y="728"/>
                </a:cubicBezTo>
                <a:cubicBezTo>
                  <a:pt x="3206" y="728"/>
                  <a:pt x="3206" y="729"/>
                  <a:pt x="3206" y="729"/>
                </a:cubicBezTo>
                <a:cubicBezTo>
                  <a:pt x="3207" y="729"/>
                  <a:pt x="3208" y="728"/>
                  <a:pt x="3209" y="727"/>
                </a:cubicBezTo>
                <a:close/>
                <a:moveTo>
                  <a:pt x="3500" y="705"/>
                </a:moveTo>
                <a:cubicBezTo>
                  <a:pt x="3500" y="705"/>
                  <a:pt x="3500" y="705"/>
                  <a:pt x="3500" y="705"/>
                </a:cubicBezTo>
                <a:cubicBezTo>
                  <a:pt x="3495" y="705"/>
                  <a:pt x="3495" y="705"/>
                  <a:pt x="3495" y="705"/>
                </a:cubicBezTo>
                <a:cubicBezTo>
                  <a:pt x="3493" y="706"/>
                  <a:pt x="3492" y="708"/>
                  <a:pt x="3489" y="709"/>
                </a:cubicBezTo>
                <a:cubicBezTo>
                  <a:pt x="3488" y="710"/>
                  <a:pt x="3486" y="711"/>
                  <a:pt x="3484" y="712"/>
                </a:cubicBezTo>
                <a:cubicBezTo>
                  <a:pt x="3482" y="713"/>
                  <a:pt x="3481" y="714"/>
                  <a:pt x="3479" y="714"/>
                </a:cubicBezTo>
                <a:cubicBezTo>
                  <a:pt x="3477" y="715"/>
                  <a:pt x="3475" y="716"/>
                  <a:pt x="3474" y="716"/>
                </a:cubicBezTo>
                <a:cubicBezTo>
                  <a:pt x="3474" y="716"/>
                  <a:pt x="3474" y="716"/>
                  <a:pt x="3474" y="726"/>
                </a:cubicBezTo>
                <a:cubicBezTo>
                  <a:pt x="3476" y="725"/>
                  <a:pt x="3479" y="725"/>
                  <a:pt x="3482" y="723"/>
                </a:cubicBezTo>
                <a:cubicBezTo>
                  <a:pt x="3484" y="722"/>
                  <a:pt x="3487" y="721"/>
                  <a:pt x="3488" y="720"/>
                </a:cubicBezTo>
                <a:cubicBezTo>
                  <a:pt x="3488" y="720"/>
                  <a:pt x="3488" y="720"/>
                  <a:pt x="3488" y="778"/>
                </a:cubicBezTo>
                <a:cubicBezTo>
                  <a:pt x="3488" y="778"/>
                  <a:pt x="3488" y="778"/>
                  <a:pt x="3500" y="778"/>
                </a:cubicBezTo>
                <a:cubicBezTo>
                  <a:pt x="3500" y="778"/>
                  <a:pt x="3500" y="778"/>
                  <a:pt x="3500" y="705"/>
                </a:cubicBezTo>
                <a:close/>
                <a:moveTo>
                  <a:pt x="3621" y="705"/>
                </a:moveTo>
                <a:cubicBezTo>
                  <a:pt x="3621" y="705"/>
                  <a:pt x="3621" y="705"/>
                  <a:pt x="3621" y="705"/>
                </a:cubicBezTo>
                <a:cubicBezTo>
                  <a:pt x="3616" y="705"/>
                  <a:pt x="3616" y="705"/>
                  <a:pt x="3616" y="705"/>
                </a:cubicBezTo>
                <a:cubicBezTo>
                  <a:pt x="3614" y="706"/>
                  <a:pt x="3613" y="708"/>
                  <a:pt x="3611" y="709"/>
                </a:cubicBezTo>
                <a:cubicBezTo>
                  <a:pt x="3609" y="710"/>
                  <a:pt x="3608" y="711"/>
                  <a:pt x="3605" y="712"/>
                </a:cubicBezTo>
                <a:cubicBezTo>
                  <a:pt x="3604" y="713"/>
                  <a:pt x="3602" y="714"/>
                  <a:pt x="3600" y="714"/>
                </a:cubicBezTo>
                <a:cubicBezTo>
                  <a:pt x="3598" y="715"/>
                  <a:pt x="3597" y="716"/>
                  <a:pt x="3595" y="716"/>
                </a:cubicBezTo>
                <a:cubicBezTo>
                  <a:pt x="3595" y="716"/>
                  <a:pt x="3595" y="716"/>
                  <a:pt x="3595" y="726"/>
                </a:cubicBezTo>
                <a:cubicBezTo>
                  <a:pt x="3597" y="725"/>
                  <a:pt x="3600" y="725"/>
                  <a:pt x="3603" y="723"/>
                </a:cubicBezTo>
                <a:cubicBezTo>
                  <a:pt x="3605" y="722"/>
                  <a:pt x="3608" y="721"/>
                  <a:pt x="3610" y="720"/>
                </a:cubicBezTo>
                <a:cubicBezTo>
                  <a:pt x="3610" y="720"/>
                  <a:pt x="3610" y="720"/>
                  <a:pt x="3610" y="778"/>
                </a:cubicBezTo>
                <a:cubicBezTo>
                  <a:pt x="3610" y="778"/>
                  <a:pt x="3610" y="778"/>
                  <a:pt x="3621" y="778"/>
                </a:cubicBezTo>
                <a:cubicBezTo>
                  <a:pt x="3621" y="778"/>
                  <a:pt x="3621" y="778"/>
                  <a:pt x="3621" y="705"/>
                </a:cubicBezTo>
                <a:close/>
                <a:moveTo>
                  <a:pt x="3668" y="705"/>
                </a:moveTo>
                <a:cubicBezTo>
                  <a:pt x="3668" y="705"/>
                  <a:pt x="3668" y="705"/>
                  <a:pt x="3668" y="705"/>
                </a:cubicBezTo>
                <a:cubicBezTo>
                  <a:pt x="3663" y="705"/>
                  <a:pt x="3663" y="705"/>
                  <a:pt x="3663" y="705"/>
                </a:cubicBezTo>
                <a:cubicBezTo>
                  <a:pt x="3661" y="706"/>
                  <a:pt x="3660" y="708"/>
                  <a:pt x="3657" y="709"/>
                </a:cubicBezTo>
                <a:cubicBezTo>
                  <a:pt x="3656" y="710"/>
                  <a:pt x="3654" y="711"/>
                  <a:pt x="3652" y="712"/>
                </a:cubicBezTo>
                <a:cubicBezTo>
                  <a:pt x="3651" y="713"/>
                  <a:pt x="3649" y="714"/>
                  <a:pt x="3647" y="714"/>
                </a:cubicBezTo>
                <a:cubicBezTo>
                  <a:pt x="3645" y="715"/>
                  <a:pt x="3643" y="716"/>
                  <a:pt x="3641" y="716"/>
                </a:cubicBezTo>
                <a:cubicBezTo>
                  <a:pt x="3641" y="716"/>
                  <a:pt x="3641" y="716"/>
                  <a:pt x="3641" y="726"/>
                </a:cubicBezTo>
                <a:cubicBezTo>
                  <a:pt x="3644" y="725"/>
                  <a:pt x="3647" y="725"/>
                  <a:pt x="3649" y="723"/>
                </a:cubicBezTo>
                <a:cubicBezTo>
                  <a:pt x="3652" y="722"/>
                  <a:pt x="3654" y="721"/>
                  <a:pt x="3657" y="720"/>
                </a:cubicBezTo>
                <a:cubicBezTo>
                  <a:pt x="3657" y="720"/>
                  <a:pt x="3657" y="720"/>
                  <a:pt x="3657" y="778"/>
                </a:cubicBezTo>
                <a:cubicBezTo>
                  <a:pt x="3657" y="778"/>
                  <a:pt x="3657" y="778"/>
                  <a:pt x="3668" y="778"/>
                </a:cubicBezTo>
                <a:cubicBezTo>
                  <a:pt x="3668" y="778"/>
                  <a:pt x="3668" y="778"/>
                  <a:pt x="3668" y="705"/>
                </a:cubicBezTo>
                <a:close/>
                <a:moveTo>
                  <a:pt x="3714" y="705"/>
                </a:moveTo>
                <a:cubicBezTo>
                  <a:pt x="3714" y="705"/>
                  <a:pt x="3714" y="705"/>
                  <a:pt x="3714" y="705"/>
                </a:cubicBezTo>
                <a:cubicBezTo>
                  <a:pt x="3710" y="705"/>
                  <a:pt x="3710" y="705"/>
                  <a:pt x="3710" y="705"/>
                </a:cubicBezTo>
                <a:cubicBezTo>
                  <a:pt x="3708" y="706"/>
                  <a:pt x="3706" y="708"/>
                  <a:pt x="3704" y="709"/>
                </a:cubicBezTo>
                <a:cubicBezTo>
                  <a:pt x="3703" y="710"/>
                  <a:pt x="3700" y="711"/>
                  <a:pt x="3699" y="712"/>
                </a:cubicBezTo>
                <a:cubicBezTo>
                  <a:pt x="3697" y="712"/>
                  <a:pt x="3695" y="713"/>
                  <a:pt x="3693" y="714"/>
                </a:cubicBezTo>
                <a:cubicBezTo>
                  <a:pt x="3692" y="714"/>
                  <a:pt x="3690" y="715"/>
                  <a:pt x="3688" y="716"/>
                </a:cubicBezTo>
                <a:cubicBezTo>
                  <a:pt x="3688" y="716"/>
                  <a:pt x="3688" y="716"/>
                  <a:pt x="3688" y="726"/>
                </a:cubicBezTo>
                <a:cubicBezTo>
                  <a:pt x="3691" y="725"/>
                  <a:pt x="3694" y="724"/>
                  <a:pt x="3696" y="723"/>
                </a:cubicBezTo>
                <a:cubicBezTo>
                  <a:pt x="3698" y="722"/>
                  <a:pt x="3701" y="721"/>
                  <a:pt x="3703" y="720"/>
                </a:cubicBezTo>
                <a:cubicBezTo>
                  <a:pt x="3703" y="720"/>
                  <a:pt x="3703" y="720"/>
                  <a:pt x="3703" y="778"/>
                </a:cubicBezTo>
                <a:cubicBezTo>
                  <a:pt x="3703" y="778"/>
                  <a:pt x="3703" y="778"/>
                  <a:pt x="3714" y="778"/>
                </a:cubicBezTo>
                <a:cubicBezTo>
                  <a:pt x="3714" y="778"/>
                  <a:pt x="3714" y="778"/>
                  <a:pt x="3714" y="705"/>
                </a:cubicBezTo>
                <a:close/>
                <a:moveTo>
                  <a:pt x="3520" y="737"/>
                </a:moveTo>
                <a:cubicBezTo>
                  <a:pt x="3520" y="737"/>
                  <a:pt x="3520" y="737"/>
                  <a:pt x="3520" y="737"/>
                </a:cubicBezTo>
                <a:cubicBezTo>
                  <a:pt x="3520" y="746"/>
                  <a:pt x="3520" y="746"/>
                  <a:pt x="3520" y="746"/>
                </a:cubicBezTo>
                <a:cubicBezTo>
                  <a:pt x="3526" y="746"/>
                  <a:pt x="3527" y="749"/>
                  <a:pt x="3527" y="752"/>
                </a:cubicBezTo>
                <a:cubicBezTo>
                  <a:pt x="3527" y="754"/>
                  <a:pt x="3526" y="756"/>
                  <a:pt x="3526" y="759"/>
                </a:cubicBezTo>
                <a:cubicBezTo>
                  <a:pt x="3526" y="761"/>
                  <a:pt x="3526" y="763"/>
                  <a:pt x="3526" y="766"/>
                </a:cubicBezTo>
                <a:cubicBezTo>
                  <a:pt x="3526" y="775"/>
                  <a:pt x="3532" y="778"/>
                  <a:pt x="3540" y="778"/>
                </a:cubicBezTo>
                <a:cubicBezTo>
                  <a:pt x="3540" y="778"/>
                  <a:pt x="3540" y="778"/>
                  <a:pt x="3544" y="778"/>
                </a:cubicBezTo>
                <a:cubicBezTo>
                  <a:pt x="3544" y="778"/>
                  <a:pt x="3544" y="778"/>
                  <a:pt x="3544" y="769"/>
                </a:cubicBezTo>
                <a:cubicBezTo>
                  <a:pt x="3544" y="769"/>
                  <a:pt x="3544" y="769"/>
                  <a:pt x="3542" y="769"/>
                </a:cubicBezTo>
                <a:cubicBezTo>
                  <a:pt x="3539" y="769"/>
                  <a:pt x="3537" y="767"/>
                  <a:pt x="3537" y="763"/>
                </a:cubicBezTo>
                <a:cubicBezTo>
                  <a:pt x="3537" y="762"/>
                  <a:pt x="3537" y="760"/>
                  <a:pt x="3538" y="759"/>
                </a:cubicBezTo>
                <a:cubicBezTo>
                  <a:pt x="3538" y="757"/>
                  <a:pt x="3538" y="755"/>
                  <a:pt x="3538" y="753"/>
                </a:cubicBezTo>
                <a:cubicBezTo>
                  <a:pt x="3538" y="745"/>
                  <a:pt x="3535" y="743"/>
                  <a:pt x="3530" y="741"/>
                </a:cubicBezTo>
                <a:cubicBezTo>
                  <a:pt x="3530" y="741"/>
                  <a:pt x="3530" y="741"/>
                  <a:pt x="3530" y="741"/>
                </a:cubicBezTo>
                <a:cubicBezTo>
                  <a:pt x="3535" y="740"/>
                  <a:pt x="3538" y="738"/>
                  <a:pt x="3538" y="730"/>
                </a:cubicBezTo>
                <a:cubicBezTo>
                  <a:pt x="3538" y="728"/>
                  <a:pt x="3538" y="726"/>
                  <a:pt x="3538" y="724"/>
                </a:cubicBezTo>
                <a:cubicBezTo>
                  <a:pt x="3537" y="722"/>
                  <a:pt x="3537" y="720"/>
                  <a:pt x="3537" y="719"/>
                </a:cubicBezTo>
                <a:cubicBezTo>
                  <a:pt x="3537" y="716"/>
                  <a:pt x="3539" y="713"/>
                  <a:pt x="3542" y="713"/>
                </a:cubicBezTo>
                <a:cubicBezTo>
                  <a:pt x="3542" y="713"/>
                  <a:pt x="3542" y="713"/>
                  <a:pt x="3544" y="713"/>
                </a:cubicBezTo>
                <a:cubicBezTo>
                  <a:pt x="3544" y="713"/>
                  <a:pt x="3544" y="713"/>
                  <a:pt x="3544" y="704"/>
                </a:cubicBezTo>
                <a:cubicBezTo>
                  <a:pt x="3544" y="704"/>
                  <a:pt x="3544" y="704"/>
                  <a:pt x="3540" y="704"/>
                </a:cubicBezTo>
                <a:cubicBezTo>
                  <a:pt x="3531" y="704"/>
                  <a:pt x="3526" y="708"/>
                  <a:pt x="3526" y="717"/>
                </a:cubicBezTo>
                <a:cubicBezTo>
                  <a:pt x="3526" y="719"/>
                  <a:pt x="3526" y="722"/>
                  <a:pt x="3526" y="724"/>
                </a:cubicBezTo>
                <a:cubicBezTo>
                  <a:pt x="3526" y="726"/>
                  <a:pt x="3527" y="729"/>
                  <a:pt x="3527" y="731"/>
                </a:cubicBezTo>
                <a:cubicBezTo>
                  <a:pt x="3527" y="734"/>
                  <a:pt x="3526" y="737"/>
                  <a:pt x="3520" y="737"/>
                </a:cubicBezTo>
                <a:close/>
                <a:moveTo>
                  <a:pt x="3574" y="746"/>
                </a:moveTo>
                <a:cubicBezTo>
                  <a:pt x="3574" y="746"/>
                  <a:pt x="3574" y="746"/>
                  <a:pt x="3574" y="746"/>
                </a:cubicBezTo>
                <a:cubicBezTo>
                  <a:pt x="3574" y="737"/>
                  <a:pt x="3574" y="737"/>
                  <a:pt x="3574" y="737"/>
                </a:cubicBezTo>
                <a:cubicBezTo>
                  <a:pt x="3568" y="737"/>
                  <a:pt x="3568" y="734"/>
                  <a:pt x="3568" y="731"/>
                </a:cubicBezTo>
                <a:cubicBezTo>
                  <a:pt x="3568" y="729"/>
                  <a:pt x="3568" y="726"/>
                  <a:pt x="3568" y="724"/>
                </a:cubicBezTo>
                <a:cubicBezTo>
                  <a:pt x="3569" y="722"/>
                  <a:pt x="3569" y="719"/>
                  <a:pt x="3569" y="717"/>
                </a:cubicBezTo>
                <a:cubicBezTo>
                  <a:pt x="3569" y="708"/>
                  <a:pt x="3563" y="704"/>
                  <a:pt x="3554" y="704"/>
                </a:cubicBezTo>
                <a:cubicBezTo>
                  <a:pt x="3554" y="704"/>
                  <a:pt x="3554" y="704"/>
                  <a:pt x="3550" y="704"/>
                </a:cubicBezTo>
                <a:cubicBezTo>
                  <a:pt x="3550" y="704"/>
                  <a:pt x="3550" y="704"/>
                  <a:pt x="3550" y="713"/>
                </a:cubicBezTo>
                <a:cubicBezTo>
                  <a:pt x="3550" y="713"/>
                  <a:pt x="3550" y="713"/>
                  <a:pt x="3552" y="713"/>
                </a:cubicBezTo>
                <a:cubicBezTo>
                  <a:pt x="3556" y="713"/>
                  <a:pt x="3557" y="716"/>
                  <a:pt x="3557" y="719"/>
                </a:cubicBezTo>
                <a:cubicBezTo>
                  <a:pt x="3557" y="720"/>
                  <a:pt x="3557" y="722"/>
                  <a:pt x="3557" y="724"/>
                </a:cubicBezTo>
                <a:cubicBezTo>
                  <a:pt x="3556" y="726"/>
                  <a:pt x="3556" y="728"/>
                  <a:pt x="3556" y="730"/>
                </a:cubicBezTo>
                <a:cubicBezTo>
                  <a:pt x="3556" y="738"/>
                  <a:pt x="3559" y="740"/>
                  <a:pt x="3565" y="741"/>
                </a:cubicBezTo>
                <a:cubicBezTo>
                  <a:pt x="3565" y="741"/>
                  <a:pt x="3565" y="741"/>
                  <a:pt x="3565" y="741"/>
                </a:cubicBezTo>
                <a:cubicBezTo>
                  <a:pt x="3559" y="743"/>
                  <a:pt x="3556" y="745"/>
                  <a:pt x="3556" y="753"/>
                </a:cubicBezTo>
                <a:cubicBezTo>
                  <a:pt x="3556" y="755"/>
                  <a:pt x="3556" y="757"/>
                  <a:pt x="3557" y="759"/>
                </a:cubicBezTo>
                <a:cubicBezTo>
                  <a:pt x="3557" y="760"/>
                  <a:pt x="3557" y="762"/>
                  <a:pt x="3557" y="763"/>
                </a:cubicBezTo>
                <a:cubicBezTo>
                  <a:pt x="3557" y="767"/>
                  <a:pt x="3556" y="769"/>
                  <a:pt x="3552" y="769"/>
                </a:cubicBezTo>
                <a:cubicBezTo>
                  <a:pt x="3552" y="769"/>
                  <a:pt x="3552" y="769"/>
                  <a:pt x="3550" y="769"/>
                </a:cubicBezTo>
                <a:cubicBezTo>
                  <a:pt x="3550" y="769"/>
                  <a:pt x="3550" y="769"/>
                  <a:pt x="3550" y="778"/>
                </a:cubicBezTo>
                <a:cubicBezTo>
                  <a:pt x="3550" y="778"/>
                  <a:pt x="3550" y="778"/>
                  <a:pt x="3554" y="778"/>
                </a:cubicBezTo>
                <a:cubicBezTo>
                  <a:pt x="3563" y="778"/>
                  <a:pt x="3569" y="775"/>
                  <a:pt x="3569" y="766"/>
                </a:cubicBezTo>
                <a:cubicBezTo>
                  <a:pt x="3569" y="763"/>
                  <a:pt x="3569" y="761"/>
                  <a:pt x="3568" y="759"/>
                </a:cubicBezTo>
                <a:cubicBezTo>
                  <a:pt x="3568" y="756"/>
                  <a:pt x="3568" y="754"/>
                  <a:pt x="3568" y="752"/>
                </a:cubicBezTo>
                <a:cubicBezTo>
                  <a:pt x="3568" y="749"/>
                  <a:pt x="3568" y="746"/>
                  <a:pt x="3574" y="746"/>
                </a:cubicBezTo>
                <a:close/>
                <a:moveTo>
                  <a:pt x="3758" y="778"/>
                </a:moveTo>
                <a:cubicBezTo>
                  <a:pt x="3751" y="778"/>
                  <a:pt x="3744" y="776"/>
                  <a:pt x="3740" y="770"/>
                </a:cubicBezTo>
                <a:cubicBezTo>
                  <a:pt x="3736" y="763"/>
                  <a:pt x="3734" y="754"/>
                  <a:pt x="3734" y="742"/>
                </a:cubicBezTo>
                <a:cubicBezTo>
                  <a:pt x="3734" y="729"/>
                  <a:pt x="3736" y="719"/>
                  <a:pt x="3741" y="713"/>
                </a:cubicBezTo>
                <a:cubicBezTo>
                  <a:pt x="3745" y="706"/>
                  <a:pt x="3752" y="703"/>
                  <a:pt x="3761" y="703"/>
                </a:cubicBezTo>
                <a:cubicBezTo>
                  <a:pt x="3777" y="703"/>
                  <a:pt x="3785" y="715"/>
                  <a:pt x="3785" y="741"/>
                </a:cubicBezTo>
                <a:cubicBezTo>
                  <a:pt x="3785" y="753"/>
                  <a:pt x="3782" y="762"/>
                  <a:pt x="3777" y="769"/>
                </a:cubicBezTo>
                <a:cubicBezTo>
                  <a:pt x="3773" y="776"/>
                  <a:pt x="3766" y="778"/>
                  <a:pt x="3758" y="778"/>
                </a:cubicBezTo>
                <a:close/>
                <a:moveTo>
                  <a:pt x="3760" y="712"/>
                </a:moveTo>
                <a:cubicBezTo>
                  <a:pt x="3750" y="712"/>
                  <a:pt x="3746" y="722"/>
                  <a:pt x="3746" y="742"/>
                </a:cubicBezTo>
                <a:cubicBezTo>
                  <a:pt x="3746" y="760"/>
                  <a:pt x="3750" y="769"/>
                  <a:pt x="3759" y="769"/>
                </a:cubicBezTo>
                <a:cubicBezTo>
                  <a:pt x="3768" y="769"/>
                  <a:pt x="3772" y="760"/>
                  <a:pt x="3772" y="741"/>
                </a:cubicBezTo>
                <a:cubicBezTo>
                  <a:pt x="3772" y="722"/>
                  <a:pt x="3768" y="712"/>
                  <a:pt x="3760" y="712"/>
                </a:cubicBezTo>
                <a:close/>
                <a:moveTo>
                  <a:pt x="3828" y="778"/>
                </a:moveTo>
                <a:cubicBezTo>
                  <a:pt x="3821" y="778"/>
                  <a:pt x="3815" y="776"/>
                  <a:pt x="3811" y="770"/>
                </a:cubicBezTo>
                <a:cubicBezTo>
                  <a:pt x="3807" y="763"/>
                  <a:pt x="3804" y="754"/>
                  <a:pt x="3804" y="742"/>
                </a:cubicBezTo>
                <a:cubicBezTo>
                  <a:pt x="3804" y="729"/>
                  <a:pt x="3807" y="719"/>
                  <a:pt x="3811" y="713"/>
                </a:cubicBezTo>
                <a:cubicBezTo>
                  <a:pt x="3815" y="706"/>
                  <a:pt x="3822" y="703"/>
                  <a:pt x="3831" y="703"/>
                </a:cubicBezTo>
                <a:cubicBezTo>
                  <a:pt x="3847" y="703"/>
                  <a:pt x="3855" y="715"/>
                  <a:pt x="3855" y="741"/>
                </a:cubicBezTo>
                <a:cubicBezTo>
                  <a:pt x="3855" y="753"/>
                  <a:pt x="3853" y="762"/>
                  <a:pt x="3848" y="769"/>
                </a:cubicBezTo>
                <a:cubicBezTo>
                  <a:pt x="3843" y="776"/>
                  <a:pt x="3837" y="778"/>
                  <a:pt x="3828" y="778"/>
                </a:cubicBezTo>
                <a:close/>
                <a:moveTo>
                  <a:pt x="3830" y="712"/>
                </a:moveTo>
                <a:cubicBezTo>
                  <a:pt x="3821" y="712"/>
                  <a:pt x="3816" y="722"/>
                  <a:pt x="3816" y="742"/>
                </a:cubicBezTo>
                <a:cubicBezTo>
                  <a:pt x="3816" y="760"/>
                  <a:pt x="3820" y="769"/>
                  <a:pt x="3829" y="769"/>
                </a:cubicBezTo>
                <a:cubicBezTo>
                  <a:pt x="3838" y="769"/>
                  <a:pt x="3842" y="760"/>
                  <a:pt x="3842" y="741"/>
                </a:cubicBezTo>
                <a:cubicBezTo>
                  <a:pt x="3842" y="722"/>
                  <a:pt x="3838" y="712"/>
                  <a:pt x="3830" y="712"/>
                </a:cubicBezTo>
                <a:close/>
                <a:moveTo>
                  <a:pt x="1974" y="801"/>
                </a:moveTo>
                <a:cubicBezTo>
                  <a:pt x="1974" y="801"/>
                  <a:pt x="1974" y="801"/>
                  <a:pt x="1974" y="801"/>
                </a:cubicBezTo>
                <a:cubicBezTo>
                  <a:pt x="1969" y="801"/>
                  <a:pt x="1969" y="801"/>
                  <a:pt x="1969" y="801"/>
                </a:cubicBezTo>
                <a:cubicBezTo>
                  <a:pt x="1967" y="802"/>
                  <a:pt x="1965" y="804"/>
                  <a:pt x="1963" y="805"/>
                </a:cubicBezTo>
                <a:cubicBezTo>
                  <a:pt x="1962" y="806"/>
                  <a:pt x="1960" y="807"/>
                  <a:pt x="1958" y="808"/>
                </a:cubicBezTo>
                <a:cubicBezTo>
                  <a:pt x="1956" y="809"/>
                  <a:pt x="1954" y="810"/>
                  <a:pt x="1953" y="810"/>
                </a:cubicBezTo>
                <a:cubicBezTo>
                  <a:pt x="1950" y="811"/>
                  <a:pt x="1949" y="812"/>
                  <a:pt x="1947" y="812"/>
                </a:cubicBezTo>
                <a:cubicBezTo>
                  <a:pt x="1947" y="812"/>
                  <a:pt x="1947" y="812"/>
                  <a:pt x="1947" y="822"/>
                </a:cubicBezTo>
                <a:cubicBezTo>
                  <a:pt x="1950" y="821"/>
                  <a:pt x="1953" y="821"/>
                  <a:pt x="1956" y="819"/>
                </a:cubicBezTo>
                <a:cubicBezTo>
                  <a:pt x="1958" y="818"/>
                  <a:pt x="1960" y="817"/>
                  <a:pt x="1962" y="816"/>
                </a:cubicBezTo>
                <a:cubicBezTo>
                  <a:pt x="1962" y="816"/>
                  <a:pt x="1962" y="816"/>
                  <a:pt x="1962" y="874"/>
                </a:cubicBezTo>
                <a:cubicBezTo>
                  <a:pt x="1962" y="874"/>
                  <a:pt x="1962" y="874"/>
                  <a:pt x="1974" y="874"/>
                </a:cubicBezTo>
                <a:cubicBezTo>
                  <a:pt x="1974" y="874"/>
                  <a:pt x="1974" y="874"/>
                  <a:pt x="1974" y="801"/>
                </a:cubicBezTo>
                <a:close/>
                <a:moveTo>
                  <a:pt x="2022" y="801"/>
                </a:moveTo>
                <a:cubicBezTo>
                  <a:pt x="2022" y="801"/>
                  <a:pt x="2022" y="801"/>
                  <a:pt x="2022" y="801"/>
                </a:cubicBezTo>
                <a:cubicBezTo>
                  <a:pt x="2016" y="801"/>
                  <a:pt x="2016" y="801"/>
                  <a:pt x="2016" y="801"/>
                </a:cubicBezTo>
                <a:cubicBezTo>
                  <a:pt x="2014" y="802"/>
                  <a:pt x="2013" y="804"/>
                  <a:pt x="2011" y="805"/>
                </a:cubicBezTo>
                <a:cubicBezTo>
                  <a:pt x="2009" y="806"/>
                  <a:pt x="2007" y="807"/>
                  <a:pt x="2005" y="808"/>
                </a:cubicBezTo>
                <a:cubicBezTo>
                  <a:pt x="2004" y="809"/>
                  <a:pt x="2002" y="810"/>
                  <a:pt x="2000" y="810"/>
                </a:cubicBezTo>
                <a:cubicBezTo>
                  <a:pt x="1998" y="811"/>
                  <a:pt x="1996" y="812"/>
                  <a:pt x="1994" y="812"/>
                </a:cubicBezTo>
                <a:cubicBezTo>
                  <a:pt x="1994" y="812"/>
                  <a:pt x="1994" y="812"/>
                  <a:pt x="1994" y="822"/>
                </a:cubicBezTo>
                <a:cubicBezTo>
                  <a:pt x="1997" y="821"/>
                  <a:pt x="2000" y="821"/>
                  <a:pt x="2002" y="819"/>
                </a:cubicBezTo>
                <a:cubicBezTo>
                  <a:pt x="2005" y="818"/>
                  <a:pt x="2008" y="817"/>
                  <a:pt x="2010" y="816"/>
                </a:cubicBezTo>
                <a:cubicBezTo>
                  <a:pt x="2010" y="816"/>
                  <a:pt x="2010" y="816"/>
                  <a:pt x="2010" y="874"/>
                </a:cubicBezTo>
                <a:cubicBezTo>
                  <a:pt x="2010" y="874"/>
                  <a:pt x="2010" y="874"/>
                  <a:pt x="2022" y="874"/>
                </a:cubicBezTo>
                <a:cubicBezTo>
                  <a:pt x="2022" y="874"/>
                  <a:pt x="2022" y="874"/>
                  <a:pt x="2022" y="801"/>
                </a:cubicBezTo>
                <a:close/>
                <a:moveTo>
                  <a:pt x="2068" y="801"/>
                </a:moveTo>
                <a:cubicBezTo>
                  <a:pt x="2068" y="801"/>
                  <a:pt x="2068" y="801"/>
                  <a:pt x="2068" y="801"/>
                </a:cubicBezTo>
                <a:cubicBezTo>
                  <a:pt x="2064" y="801"/>
                  <a:pt x="2064" y="801"/>
                  <a:pt x="2064" y="801"/>
                </a:cubicBezTo>
                <a:cubicBezTo>
                  <a:pt x="2062" y="802"/>
                  <a:pt x="2060" y="804"/>
                  <a:pt x="2058" y="805"/>
                </a:cubicBezTo>
                <a:cubicBezTo>
                  <a:pt x="2057" y="806"/>
                  <a:pt x="2054" y="807"/>
                  <a:pt x="2053" y="808"/>
                </a:cubicBezTo>
                <a:cubicBezTo>
                  <a:pt x="2051" y="808"/>
                  <a:pt x="2049" y="809"/>
                  <a:pt x="2047" y="810"/>
                </a:cubicBezTo>
                <a:cubicBezTo>
                  <a:pt x="2046" y="810"/>
                  <a:pt x="2044" y="811"/>
                  <a:pt x="2042" y="812"/>
                </a:cubicBezTo>
                <a:cubicBezTo>
                  <a:pt x="2042" y="812"/>
                  <a:pt x="2042" y="812"/>
                  <a:pt x="2042" y="822"/>
                </a:cubicBezTo>
                <a:cubicBezTo>
                  <a:pt x="2045" y="821"/>
                  <a:pt x="2048" y="820"/>
                  <a:pt x="2050" y="819"/>
                </a:cubicBezTo>
                <a:cubicBezTo>
                  <a:pt x="2052" y="818"/>
                  <a:pt x="2055" y="817"/>
                  <a:pt x="2057" y="816"/>
                </a:cubicBezTo>
                <a:cubicBezTo>
                  <a:pt x="2057" y="816"/>
                  <a:pt x="2057" y="816"/>
                  <a:pt x="2057" y="874"/>
                </a:cubicBezTo>
                <a:cubicBezTo>
                  <a:pt x="2057" y="874"/>
                  <a:pt x="2057" y="874"/>
                  <a:pt x="2068" y="874"/>
                </a:cubicBezTo>
                <a:cubicBezTo>
                  <a:pt x="2068" y="874"/>
                  <a:pt x="2068" y="874"/>
                  <a:pt x="2068" y="801"/>
                </a:cubicBezTo>
                <a:close/>
                <a:moveTo>
                  <a:pt x="2113" y="874"/>
                </a:moveTo>
                <a:cubicBezTo>
                  <a:pt x="2106" y="874"/>
                  <a:pt x="2099" y="872"/>
                  <a:pt x="2095" y="866"/>
                </a:cubicBezTo>
                <a:cubicBezTo>
                  <a:pt x="2091" y="859"/>
                  <a:pt x="2089" y="850"/>
                  <a:pt x="2089" y="838"/>
                </a:cubicBezTo>
                <a:cubicBezTo>
                  <a:pt x="2089" y="825"/>
                  <a:pt x="2091" y="815"/>
                  <a:pt x="2095" y="808"/>
                </a:cubicBezTo>
                <a:cubicBezTo>
                  <a:pt x="2100" y="802"/>
                  <a:pt x="2106" y="798"/>
                  <a:pt x="2115" y="798"/>
                </a:cubicBezTo>
                <a:cubicBezTo>
                  <a:pt x="2131" y="798"/>
                  <a:pt x="2139" y="811"/>
                  <a:pt x="2139" y="836"/>
                </a:cubicBezTo>
                <a:cubicBezTo>
                  <a:pt x="2139" y="849"/>
                  <a:pt x="2137" y="858"/>
                  <a:pt x="2132" y="865"/>
                </a:cubicBezTo>
                <a:cubicBezTo>
                  <a:pt x="2128" y="872"/>
                  <a:pt x="2121" y="874"/>
                  <a:pt x="2113" y="874"/>
                </a:cubicBezTo>
                <a:close/>
                <a:moveTo>
                  <a:pt x="2114" y="808"/>
                </a:moveTo>
                <a:cubicBezTo>
                  <a:pt x="2105" y="808"/>
                  <a:pt x="2101" y="818"/>
                  <a:pt x="2101" y="838"/>
                </a:cubicBezTo>
                <a:cubicBezTo>
                  <a:pt x="2101" y="856"/>
                  <a:pt x="2105" y="865"/>
                  <a:pt x="2114" y="865"/>
                </a:cubicBezTo>
                <a:cubicBezTo>
                  <a:pt x="2122" y="865"/>
                  <a:pt x="2127" y="856"/>
                  <a:pt x="2127" y="837"/>
                </a:cubicBezTo>
                <a:cubicBezTo>
                  <a:pt x="2127" y="817"/>
                  <a:pt x="2122" y="808"/>
                  <a:pt x="2114" y="808"/>
                </a:cubicBezTo>
                <a:close/>
                <a:moveTo>
                  <a:pt x="2184" y="874"/>
                </a:moveTo>
                <a:cubicBezTo>
                  <a:pt x="2176" y="874"/>
                  <a:pt x="2170" y="872"/>
                  <a:pt x="2166" y="866"/>
                </a:cubicBezTo>
                <a:cubicBezTo>
                  <a:pt x="2162" y="859"/>
                  <a:pt x="2159" y="850"/>
                  <a:pt x="2159" y="838"/>
                </a:cubicBezTo>
                <a:cubicBezTo>
                  <a:pt x="2159" y="825"/>
                  <a:pt x="2162" y="815"/>
                  <a:pt x="2166" y="808"/>
                </a:cubicBezTo>
                <a:cubicBezTo>
                  <a:pt x="2170" y="802"/>
                  <a:pt x="2177" y="798"/>
                  <a:pt x="2186" y="798"/>
                </a:cubicBezTo>
                <a:cubicBezTo>
                  <a:pt x="2202" y="798"/>
                  <a:pt x="2210" y="811"/>
                  <a:pt x="2210" y="836"/>
                </a:cubicBezTo>
                <a:cubicBezTo>
                  <a:pt x="2210" y="849"/>
                  <a:pt x="2208" y="858"/>
                  <a:pt x="2204" y="865"/>
                </a:cubicBezTo>
                <a:cubicBezTo>
                  <a:pt x="2198" y="872"/>
                  <a:pt x="2193" y="874"/>
                  <a:pt x="2184" y="874"/>
                </a:cubicBezTo>
                <a:close/>
                <a:moveTo>
                  <a:pt x="2185" y="808"/>
                </a:moveTo>
                <a:cubicBezTo>
                  <a:pt x="2176" y="808"/>
                  <a:pt x="2171" y="818"/>
                  <a:pt x="2171" y="838"/>
                </a:cubicBezTo>
                <a:cubicBezTo>
                  <a:pt x="2171" y="856"/>
                  <a:pt x="2176" y="865"/>
                  <a:pt x="2184" y="865"/>
                </a:cubicBezTo>
                <a:cubicBezTo>
                  <a:pt x="2193" y="865"/>
                  <a:pt x="2198" y="856"/>
                  <a:pt x="2198" y="837"/>
                </a:cubicBezTo>
                <a:cubicBezTo>
                  <a:pt x="2198" y="817"/>
                  <a:pt x="2193" y="808"/>
                  <a:pt x="2185" y="808"/>
                </a:cubicBezTo>
                <a:close/>
                <a:moveTo>
                  <a:pt x="2397" y="874"/>
                </a:moveTo>
                <a:cubicBezTo>
                  <a:pt x="2389" y="874"/>
                  <a:pt x="2383" y="872"/>
                  <a:pt x="2379" y="865"/>
                </a:cubicBezTo>
                <a:cubicBezTo>
                  <a:pt x="2375" y="859"/>
                  <a:pt x="2372" y="849"/>
                  <a:pt x="2372" y="838"/>
                </a:cubicBezTo>
                <a:cubicBezTo>
                  <a:pt x="2372" y="825"/>
                  <a:pt x="2375" y="815"/>
                  <a:pt x="2379" y="808"/>
                </a:cubicBezTo>
                <a:cubicBezTo>
                  <a:pt x="2383" y="801"/>
                  <a:pt x="2390" y="798"/>
                  <a:pt x="2399" y="798"/>
                </a:cubicBezTo>
                <a:cubicBezTo>
                  <a:pt x="2415" y="798"/>
                  <a:pt x="2423" y="811"/>
                  <a:pt x="2423" y="836"/>
                </a:cubicBezTo>
                <a:cubicBezTo>
                  <a:pt x="2423" y="849"/>
                  <a:pt x="2421" y="858"/>
                  <a:pt x="2416" y="865"/>
                </a:cubicBezTo>
                <a:cubicBezTo>
                  <a:pt x="2411" y="872"/>
                  <a:pt x="2405" y="874"/>
                  <a:pt x="2397" y="874"/>
                </a:cubicBezTo>
                <a:close/>
                <a:moveTo>
                  <a:pt x="2398" y="808"/>
                </a:moveTo>
                <a:cubicBezTo>
                  <a:pt x="2389" y="808"/>
                  <a:pt x="2385" y="817"/>
                  <a:pt x="2385" y="837"/>
                </a:cubicBezTo>
                <a:cubicBezTo>
                  <a:pt x="2385" y="855"/>
                  <a:pt x="2389" y="865"/>
                  <a:pt x="2398" y="865"/>
                </a:cubicBezTo>
                <a:cubicBezTo>
                  <a:pt x="2406" y="865"/>
                  <a:pt x="2410" y="855"/>
                  <a:pt x="2410" y="837"/>
                </a:cubicBezTo>
                <a:cubicBezTo>
                  <a:pt x="2410" y="817"/>
                  <a:pt x="2407" y="808"/>
                  <a:pt x="2398" y="808"/>
                </a:cubicBezTo>
                <a:close/>
                <a:moveTo>
                  <a:pt x="2515" y="874"/>
                </a:moveTo>
                <a:cubicBezTo>
                  <a:pt x="2507" y="874"/>
                  <a:pt x="2502" y="872"/>
                  <a:pt x="2497" y="865"/>
                </a:cubicBezTo>
                <a:cubicBezTo>
                  <a:pt x="2493" y="859"/>
                  <a:pt x="2491" y="849"/>
                  <a:pt x="2491" y="838"/>
                </a:cubicBezTo>
                <a:cubicBezTo>
                  <a:pt x="2491" y="825"/>
                  <a:pt x="2493" y="815"/>
                  <a:pt x="2497" y="808"/>
                </a:cubicBezTo>
                <a:cubicBezTo>
                  <a:pt x="2502" y="801"/>
                  <a:pt x="2508" y="798"/>
                  <a:pt x="2517" y="798"/>
                </a:cubicBezTo>
                <a:cubicBezTo>
                  <a:pt x="2533" y="798"/>
                  <a:pt x="2541" y="811"/>
                  <a:pt x="2541" y="836"/>
                </a:cubicBezTo>
                <a:cubicBezTo>
                  <a:pt x="2541" y="849"/>
                  <a:pt x="2539" y="858"/>
                  <a:pt x="2534" y="865"/>
                </a:cubicBezTo>
                <a:cubicBezTo>
                  <a:pt x="2529" y="872"/>
                  <a:pt x="2523" y="874"/>
                  <a:pt x="2515" y="874"/>
                </a:cubicBezTo>
                <a:close/>
                <a:moveTo>
                  <a:pt x="2516" y="808"/>
                </a:moveTo>
                <a:cubicBezTo>
                  <a:pt x="2507" y="808"/>
                  <a:pt x="2503" y="817"/>
                  <a:pt x="2503" y="837"/>
                </a:cubicBezTo>
                <a:cubicBezTo>
                  <a:pt x="2503" y="855"/>
                  <a:pt x="2507" y="865"/>
                  <a:pt x="2516" y="865"/>
                </a:cubicBezTo>
                <a:cubicBezTo>
                  <a:pt x="2524" y="865"/>
                  <a:pt x="2529" y="855"/>
                  <a:pt x="2529" y="837"/>
                </a:cubicBezTo>
                <a:cubicBezTo>
                  <a:pt x="2529" y="817"/>
                  <a:pt x="2525" y="808"/>
                  <a:pt x="2516" y="808"/>
                </a:cubicBezTo>
                <a:close/>
                <a:moveTo>
                  <a:pt x="2470" y="801"/>
                </a:moveTo>
                <a:cubicBezTo>
                  <a:pt x="2470" y="801"/>
                  <a:pt x="2470" y="801"/>
                  <a:pt x="2470" y="801"/>
                </a:cubicBezTo>
                <a:cubicBezTo>
                  <a:pt x="2465" y="801"/>
                  <a:pt x="2465" y="801"/>
                  <a:pt x="2465" y="801"/>
                </a:cubicBezTo>
                <a:cubicBezTo>
                  <a:pt x="2463" y="802"/>
                  <a:pt x="2461" y="804"/>
                  <a:pt x="2459" y="805"/>
                </a:cubicBezTo>
                <a:cubicBezTo>
                  <a:pt x="2458" y="806"/>
                  <a:pt x="2456" y="807"/>
                  <a:pt x="2454" y="808"/>
                </a:cubicBezTo>
                <a:cubicBezTo>
                  <a:pt x="2453" y="808"/>
                  <a:pt x="2451" y="809"/>
                  <a:pt x="2449" y="810"/>
                </a:cubicBezTo>
                <a:cubicBezTo>
                  <a:pt x="2447" y="810"/>
                  <a:pt x="2446" y="811"/>
                  <a:pt x="2444" y="812"/>
                </a:cubicBezTo>
                <a:cubicBezTo>
                  <a:pt x="2444" y="812"/>
                  <a:pt x="2444" y="812"/>
                  <a:pt x="2444" y="822"/>
                </a:cubicBezTo>
                <a:cubicBezTo>
                  <a:pt x="2446" y="821"/>
                  <a:pt x="2449" y="820"/>
                  <a:pt x="2451" y="819"/>
                </a:cubicBezTo>
                <a:cubicBezTo>
                  <a:pt x="2454" y="818"/>
                  <a:pt x="2456" y="817"/>
                  <a:pt x="2459" y="816"/>
                </a:cubicBezTo>
                <a:cubicBezTo>
                  <a:pt x="2459" y="816"/>
                  <a:pt x="2459" y="816"/>
                  <a:pt x="2459" y="874"/>
                </a:cubicBezTo>
                <a:cubicBezTo>
                  <a:pt x="2459" y="874"/>
                  <a:pt x="2459" y="874"/>
                  <a:pt x="2470" y="874"/>
                </a:cubicBezTo>
                <a:cubicBezTo>
                  <a:pt x="2470" y="874"/>
                  <a:pt x="2470" y="874"/>
                  <a:pt x="2470" y="801"/>
                </a:cubicBezTo>
                <a:close/>
                <a:moveTo>
                  <a:pt x="2586" y="874"/>
                </a:moveTo>
                <a:cubicBezTo>
                  <a:pt x="2578" y="874"/>
                  <a:pt x="2572" y="872"/>
                  <a:pt x="2568" y="866"/>
                </a:cubicBezTo>
                <a:cubicBezTo>
                  <a:pt x="2564" y="859"/>
                  <a:pt x="2562" y="850"/>
                  <a:pt x="2562" y="838"/>
                </a:cubicBezTo>
                <a:cubicBezTo>
                  <a:pt x="2562" y="825"/>
                  <a:pt x="2564" y="815"/>
                  <a:pt x="2568" y="808"/>
                </a:cubicBezTo>
                <a:cubicBezTo>
                  <a:pt x="2573" y="802"/>
                  <a:pt x="2579" y="798"/>
                  <a:pt x="2588" y="798"/>
                </a:cubicBezTo>
                <a:cubicBezTo>
                  <a:pt x="2604" y="798"/>
                  <a:pt x="2612" y="811"/>
                  <a:pt x="2612" y="836"/>
                </a:cubicBezTo>
                <a:cubicBezTo>
                  <a:pt x="2612" y="849"/>
                  <a:pt x="2610" y="858"/>
                  <a:pt x="2605" y="865"/>
                </a:cubicBezTo>
                <a:cubicBezTo>
                  <a:pt x="2600" y="872"/>
                  <a:pt x="2594" y="874"/>
                  <a:pt x="2586" y="874"/>
                </a:cubicBezTo>
                <a:close/>
                <a:moveTo>
                  <a:pt x="2587" y="808"/>
                </a:moveTo>
                <a:cubicBezTo>
                  <a:pt x="2578" y="808"/>
                  <a:pt x="2573" y="818"/>
                  <a:pt x="2573" y="838"/>
                </a:cubicBezTo>
                <a:cubicBezTo>
                  <a:pt x="2573" y="856"/>
                  <a:pt x="2578" y="865"/>
                  <a:pt x="2586" y="865"/>
                </a:cubicBezTo>
                <a:cubicBezTo>
                  <a:pt x="2595" y="865"/>
                  <a:pt x="2600" y="856"/>
                  <a:pt x="2600" y="837"/>
                </a:cubicBezTo>
                <a:cubicBezTo>
                  <a:pt x="2600" y="817"/>
                  <a:pt x="2595" y="808"/>
                  <a:pt x="2587" y="808"/>
                </a:cubicBezTo>
                <a:close/>
                <a:moveTo>
                  <a:pt x="2633" y="833"/>
                </a:moveTo>
                <a:cubicBezTo>
                  <a:pt x="2633" y="833"/>
                  <a:pt x="2633" y="833"/>
                  <a:pt x="2633" y="833"/>
                </a:cubicBezTo>
                <a:cubicBezTo>
                  <a:pt x="2633" y="842"/>
                  <a:pt x="2633" y="842"/>
                  <a:pt x="2633" y="842"/>
                </a:cubicBezTo>
                <a:cubicBezTo>
                  <a:pt x="2639" y="842"/>
                  <a:pt x="2640" y="845"/>
                  <a:pt x="2640" y="848"/>
                </a:cubicBezTo>
                <a:cubicBezTo>
                  <a:pt x="2640" y="850"/>
                  <a:pt x="2639" y="852"/>
                  <a:pt x="2639" y="855"/>
                </a:cubicBezTo>
                <a:cubicBezTo>
                  <a:pt x="2639" y="857"/>
                  <a:pt x="2639" y="859"/>
                  <a:pt x="2639" y="862"/>
                </a:cubicBezTo>
                <a:cubicBezTo>
                  <a:pt x="2639" y="871"/>
                  <a:pt x="2644" y="874"/>
                  <a:pt x="2653" y="874"/>
                </a:cubicBezTo>
                <a:cubicBezTo>
                  <a:pt x="2653" y="874"/>
                  <a:pt x="2653" y="874"/>
                  <a:pt x="2657" y="874"/>
                </a:cubicBezTo>
                <a:cubicBezTo>
                  <a:pt x="2657" y="874"/>
                  <a:pt x="2657" y="874"/>
                  <a:pt x="2657" y="865"/>
                </a:cubicBezTo>
                <a:cubicBezTo>
                  <a:pt x="2657" y="865"/>
                  <a:pt x="2657" y="865"/>
                  <a:pt x="2655" y="865"/>
                </a:cubicBezTo>
                <a:cubicBezTo>
                  <a:pt x="2651" y="865"/>
                  <a:pt x="2650" y="863"/>
                  <a:pt x="2650" y="859"/>
                </a:cubicBezTo>
                <a:cubicBezTo>
                  <a:pt x="2650" y="858"/>
                  <a:pt x="2650" y="856"/>
                  <a:pt x="2651" y="855"/>
                </a:cubicBezTo>
                <a:cubicBezTo>
                  <a:pt x="2651" y="853"/>
                  <a:pt x="2651" y="851"/>
                  <a:pt x="2651" y="849"/>
                </a:cubicBezTo>
                <a:cubicBezTo>
                  <a:pt x="2651" y="841"/>
                  <a:pt x="2648" y="839"/>
                  <a:pt x="2643" y="837"/>
                </a:cubicBezTo>
                <a:cubicBezTo>
                  <a:pt x="2643" y="837"/>
                  <a:pt x="2643" y="837"/>
                  <a:pt x="2643" y="837"/>
                </a:cubicBezTo>
                <a:cubicBezTo>
                  <a:pt x="2648" y="836"/>
                  <a:pt x="2651" y="834"/>
                  <a:pt x="2651" y="826"/>
                </a:cubicBezTo>
                <a:cubicBezTo>
                  <a:pt x="2651" y="824"/>
                  <a:pt x="2651" y="822"/>
                  <a:pt x="2651" y="820"/>
                </a:cubicBezTo>
                <a:cubicBezTo>
                  <a:pt x="2650" y="818"/>
                  <a:pt x="2650" y="816"/>
                  <a:pt x="2650" y="815"/>
                </a:cubicBezTo>
                <a:cubicBezTo>
                  <a:pt x="2650" y="812"/>
                  <a:pt x="2651" y="809"/>
                  <a:pt x="2655" y="809"/>
                </a:cubicBezTo>
                <a:cubicBezTo>
                  <a:pt x="2655" y="809"/>
                  <a:pt x="2655" y="809"/>
                  <a:pt x="2657" y="809"/>
                </a:cubicBezTo>
                <a:cubicBezTo>
                  <a:pt x="2657" y="809"/>
                  <a:pt x="2657" y="809"/>
                  <a:pt x="2657" y="800"/>
                </a:cubicBezTo>
                <a:cubicBezTo>
                  <a:pt x="2657" y="800"/>
                  <a:pt x="2657" y="800"/>
                  <a:pt x="2653" y="800"/>
                </a:cubicBezTo>
                <a:cubicBezTo>
                  <a:pt x="2644" y="800"/>
                  <a:pt x="2639" y="804"/>
                  <a:pt x="2639" y="813"/>
                </a:cubicBezTo>
                <a:cubicBezTo>
                  <a:pt x="2639" y="815"/>
                  <a:pt x="2639" y="818"/>
                  <a:pt x="2639" y="820"/>
                </a:cubicBezTo>
                <a:cubicBezTo>
                  <a:pt x="2639" y="822"/>
                  <a:pt x="2640" y="825"/>
                  <a:pt x="2640" y="827"/>
                </a:cubicBezTo>
                <a:cubicBezTo>
                  <a:pt x="2640" y="830"/>
                  <a:pt x="2639" y="833"/>
                  <a:pt x="2633" y="833"/>
                </a:cubicBezTo>
                <a:close/>
                <a:moveTo>
                  <a:pt x="2687" y="842"/>
                </a:moveTo>
                <a:cubicBezTo>
                  <a:pt x="2687" y="842"/>
                  <a:pt x="2687" y="842"/>
                  <a:pt x="2687" y="842"/>
                </a:cubicBezTo>
                <a:cubicBezTo>
                  <a:pt x="2687" y="833"/>
                  <a:pt x="2687" y="833"/>
                  <a:pt x="2687" y="833"/>
                </a:cubicBezTo>
                <a:cubicBezTo>
                  <a:pt x="2681" y="833"/>
                  <a:pt x="2681" y="830"/>
                  <a:pt x="2681" y="827"/>
                </a:cubicBezTo>
                <a:cubicBezTo>
                  <a:pt x="2681" y="825"/>
                  <a:pt x="2681" y="822"/>
                  <a:pt x="2681" y="820"/>
                </a:cubicBezTo>
                <a:cubicBezTo>
                  <a:pt x="2681" y="818"/>
                  <a:pt x="2681" y="815"/>
                  <a:pt x="2681" y="813"/>
                </a:cubicBezTo>
                <a:cubicBezTo>
                  <a:pt x="2681" y="804"/>
                  <a:pt x="2676" y="800"/>
                  <a:pt x="2667" y="800"/>
                </a:cubicBezTo>
                <a:cubicBezTo>
                  <a:pt x="2667" y="800"/>
                  <a:pt x="2667" y="800"/>
                  <a:pt x="2663" y="800"/>
                </a:cubicBezTo>
                <a:cubicBezTo>
                  <a:pt x="2663" y="800"/>
                  <a:pt x="2663" y="800"/>
                  <a:pt x="2663" y="809"/>
                </a:cubicBezTo>
                <a:cubicBezTo>
                  <a:pt x="2663" y="809"/>
                  <a:pt x="2663" y="809"/>
                  <a:pt x="2665" y="809"/>
                </a:cubicBezTo>
                <a:cubicBezTo>
                  <a:pt x="2669" y="809"/>
                  <a:pt x="2670" y="812"/>
                  <a:pt x="2670" y="815"/>
                </a:cubicBezTo>
                <a:cubicBezTo>
                  <a:pt x="2670" y="816"/>
                  <a:pt x="2670" y="818"/>
                  <a:pt x="2670" y="820"/>
                </a:cubicBezTo>
                <a:cubicBezTo>
                  <a:pt x="2669" y="822"/>
                  <a:pt x="2669" y="824"/>
                  <a:pt x="2669" y="826"/>
                </a:cubicBezTo>
                <a:cubicBezTo>
                  <a:pt x="2669" y="834"/>
                  <a:pt x="2672" y="836"/>
                  <a:pt x="2678" y="837"/>
                </a:cubicBezTo>
                <a:cubicBezTo>
                  <a:pt x="2678" y="837"/>
                  <a:pt x="2678" y="837"/>
                  <a:pt x="2678" y="837"/>
                </a:cubicBezTo>
                <a:cubicBezTo>
                  <a:pt x="2672" y="839"/>
                  <a:pt x="2669" y="841"/>
                  <a:pt x="2669" y="849"/>
                </a:cubicBezTo>
                <a:cubicBezTo>
                  <a:pt x="2669" y="851"/>
                  <a:pt x="2669" y="853"/>
                  <a:pt x="2670" y="855"/>
                </a:cubicBezTo>
                <a:cubicBezTo>
                  <a:pt x="2670" y="856"/>
                  <a:pt x="2670" y="858"/>
                  <a:pt x="2670" y="859"/>
                </a:cubicBezTo>
                <a:cubicBezTo>
                  <a:pt x="2670" y="863"/>
                  <a:pt x="2669" y="865"/>
                  <a:pt x="2665" y="865"/>
                </a:cubicBezTo>
                <a:cubicBezTo>
                  <a:pt x="2665" y="865"/>
                  <a:pt x="2665" y="865"/>
                  <a:pt x="2663" y="865"/>
                </a:cubicBezTo>
                <a:cubicBezTo>
                  <a:pt x="2663" y="865"/>
                  <a:pt x="2663" y="865"/>
                  <a:pt x="2663" y="874"/>
                </a:cubicBezTo>
                <a:cubicBezTo>
                  <a:pt x="2663" y="874"/>
                  <a:pt x="2663" y="874"/>
                  <a:pt x="2667" y="874"/>
                </a:cubicBezTo>
                <a:cubicBezTo>
                  <a:pt x="2676" y="874"/>
                  <a:pt x="2681" y="871"/>
                  <a:pt x="2681" y="862"/>
                </a:cubicBezTo>
                <a:cubicBezTo>
                  <a:pt x="2681" y="859"/>
                  <a:pt x="2681" y="857"/>
                  <a:pt x="2681" y="855"/>
                </a:cubicBezTo>
                <a:cubicBezTo>
                  <a:pt x="2681" y="852"/>
                  <a:pt x="2681" y="850"/>
                  <a:pt x="2681" y="848"/>
                </a:cubicBezTo>
                <a:cubicBezTo>
                  <a:pt x="2681" y="845"/>
                  <a:pt x="2681" y="842"/>
                  <a:pt x="2687" y="842"/>
                </a:cubicBezTo>
                <a:close/>
                <a:moveTo>
                  <a:pt x="2808" y="874"/>
                </a:moveTo>
                <a:cubicBezTo>
                  <a:pt x="2801" y="874"/>
                  <a:pt x="2794" y="872"/>
                  <a:pt x="2790" y="866"/>
                </a:cubicBezTo>
                <a:cubicBezTo>
                  <a:pt x="2786" y="859"/>
                  <a:pt x="2784" y="850"/>
                  <a:pt x="2784" y="838"/>
                </a:cubicBezTo>
                <a:cubicBezTo>
                  <a:pt x="2784" y="825"/>
                  <a:pt x="2786" y="815"/>
                  <a:pt x="2790" y="808"/>
                </a:cubicBezTo>
                <a:cubicBezTo>
                  <a:pt x="2795" y="802"/>
                  <a:pt x="2801" y="798"/>
                  <a:pt x="2810" y="798"/>
                </a:cubicBezTo>
                <a:cubicBezTo>
                  <a:pt x="2826" y="798"/>
                  <a:pt x="2834" y="811"/>
                  <a:pt x="2834" y="836"/>
                </a:cubicBezTo>
                <a:cubicBezTo>
                  <a:pt x="2834" y="849"/>
                  <a:pt x="2832" y="858"/>
                  <a:pt x="2827" y="865"/>
                </a:cubicBezTo>
                <a:cubicBezTo>
                  <a:pt x="2823" y="872"/>
                  <a:pt x="2816" y="874"/>
                  <a:pt x="2808" y="874"/>
                </a:cubicBezTo>
                <a:close/>
                <a:moveTo>
                  <a:pt x="2809" y="808"/>
                </a:moveTo>
                <a:cubicBezTo>
                  <a:pt x="2800" y="808"/>
                  <a:pt x="2796" y="818"/>
                  <a:pt x="2796" y="838"/>
                </a:cubicBezTo>
                <a:cubicBezTo>
                  <a:pt x="2796" y="856"/>
                  <a:pt x="2800" y="865"/>
                  <a:pt x="2809" y="865"/>
                </a:cubicBezTo>
                <a:cubicBezTo>
                  <a:pt x="2817" y="865"/>
                  <a:pt x="2822" y="856"/>
                  <a:pt x="2822" y="837"/>
                </a:cubicBezTo>
                <a:cubicBezTo>
                  <a:pt x="2822" y="817"/>
                  <a:pt x="2817" y="808"/>
                  <a:pt x="2809" y="808"/>
                </a:cubicBezTo>
                <a:close/>
                <a:moveTo>
                  <a:pt x="2882" y="801"/>
                </a:moveTo>
                <a:cubicBezTo>
                  <a:pt x="2882" y="801"/>
                  <a:pt x="2882" y="801"/>
                  <a:pt x="2882" y="801"/>
                </a:cubicBezTo>
                <a:cubicBezTo>
                  <a:pt x="2877" y="801"/>
                  <a:pt x="2877" y="801"/>
                  <a:pt x="2877" y="801"/>
                </a:cubicBezTo>
                <a:cubicBezTo>
                  <a:pt x="2875" y="802"/>
                  <a:pt x="2873" y="804"/>
                  <a:pt x="2871" y="805"/>
                </a:cubicBezTo>
                <a:cubicBezTo>
                  <a:pt x="2869" y="806"/>
                  <a:pt x="2867" y="807"/>
                  <a:pt x="2866" y="808"/>
                </a:cubicBezTo>
                <a:cubicBezTo>
                  <a:pt x="2864" y="808"/>
                  <a:pt x="2862" y="809"/>
                  <a:pt x="2861" y="810"/>
                </a:cubicBezTo>
                <a:cubicBezTo>
                  <a:pt x="2859" y="810"/>
                  <a:pt x="2857" y="811"/>
                  <a:pt x="2855" y="812"/>
                </a:cubicBezTo>
                <a:cubicBezTo>
                  <a:pt x="2855" y="812"/>
                  <a:pt x="2855" y="812"/>
                  <a:pt x="2855" y="822"/>
                </a:cubicBezTo>
                <a:cubicBezTo>
                  <a:pt x="2858" y="821"/>
                  <a:pt x="2861" y="820"/>
                  <a:pt x="2863" y="819"/>
                </a:cubicBezTo>
                <a:cubicBezTo>
                  <a:pt x="2866" y="818"/>
                  <a:pt x="2868" y="817"/>
                  <a:pt x="2870" y="816"/>
                </a:cubicBezTo>
                <a:cubicBezTo>
                  <a:pt x="2870" y="816"/>
                  <a:pt x="2870" y="816"/>
                  <a:pt x="2870" y="874"/>
                </a:cubicBezTo>
                <a:cubicBezTo>
                  <a:pt x="2870" y="874"/>
                  <a:pt x="2870" y="874"/>
                  <a:pt x="2882" y="874"/>
                </a:cubicBezTo>
                <a:cubicBezTo>
                  <a:pt x="2882" y="874"/>
                  <a:pt x="2882" y="874"/>
                  <a:pt x="2882" y="801"/>
                </a:cubicBezTo>
                <a:close/>
                <a:moveTo>
                  <a:pt x="2714" y="874"/>
                </a:moveTo>
                <a:cubicBezTo>
                  <a:pt x="2717" y="855"/>
                  <a:pt x="2717" y="855"/>
                  <a:pt x="2717" y="855"/>
                </a:cubicBezTo>
                <a:cubicBezTo>
                  <a:pt x="2708" y="855"/>
                  <a:pt x="2708" y="855"/>
                  <a:pt x="2708" y="855"/>
                </a:cubicBezTo>
                <a:cubicBezTo>
                  <a:pt x="2708" y="843"/>
                  <a:pt x="2708" y="843"/>
                  <a:pt x="2708" y="843"/>
                </a:cubicBezTo>
                <a:cubicBezTo>
                  <a:pt x="2719" y="843"/>
                  <a:pt x="2719" y="843"/>
                  <a:pt x="2719" y="843"/>
                </a:cubicBezTo>
                <a:cubicBezTo>
                  <a:pt x="2720" y="832"/>
                  <a:pt x="2720" y="832"/>
                  <a:pt x="2720" y="832"/>
                </a:cubicBezTo>
                <a:cubicBezTo>
                  <a:pt x="2711" y="832"/>
                  <a:pt x="2711" y="832"/>
                  <a:pt x="2711" y="832"/>
                </a:cubicBezTo>
                <a:cubicBezTo>
                  <a:pt x="2711" y="820"/>
                  <a:pt x="2711" y="820"/>
                  <a:pt x="2711" y="820"/>
                </a:cubicBezTo>
                <a:cubicBezTo>
                  <a:pt x="2722" y="820"/>
                  <a:pt x="2722" y="820"/>
                  <a:pt x="2722" y="820"/>
                </a:cubicBezTo>
                <a:cubicBezTo>
                  <a:pt x="2725" y="802"/>
                  <a:pt x="2725" y="802"/>
                  <a:pt x="2725" y="802"/>
                </a:cubicBezTo>
                <a:cubicBezTo>
                  <a:pt x="2736" y="802"/>
                  <a:pt x="2736" y="802"/>
                  <a:pt x="2736" y="802"/>
                </a:cubicBezTo>
                <a:cubicBezTo>
                  <a:pt x="2733" y="820"/>
                  <a:pt x="2733" y="820"/>
                  <a:pt x="2733" y="820"/>
                </a:cubicBezTo>
                <a:cubicBezTo>
                  <a:pt x="2743" y="820"/>
                  <a:pt x="2743" y="820"/>
                  <a:pt x="2743" y="820"/>
                </a:cubicBezTo>
                <a:cubicBezTo>
                  <a:pt x="2746" y="802"/>
                  <a:pt x="2746" y="802"/>
                  <a:pt x="2746" y="802"/>
                </a:cubicBezTo>
                <a:cubicBezTo>
                  <a:pt x="2757" y="802"/>
                  <a:pt x="2757" y="802"/>
                  <a:pt x="2757" y="802"/>
                </a:cubicBezTo>
                <a:cubicBezTo>
                  <a:pt x="2754" y="820"/>
                  <a:pt x="2754" y="820"/>
                  <a:pt x="2754" y="820"/>
                </a:cubicBezTo>
                <a:cubicBezTo>
                  <a:pt x="2763" y="820"/>
                  <a:pt x="2763" y="820"/>
                  <a:pt x="2763" y="820"/>
                </a:cubicBezTo>
                <a:cubicBezTo>
                  <a:pt x="2763" y="832"/>
                  <a:pt x="2763" y="832"/>
                  <a:pt x="2763" y="832"/>
                </a:cubicBezTo>
                <a:cubicBezTo>
                  <a:pt x="2753" y="832"/>
                  <a:pt x="2753" y="832"/>
                  <a:pt x="2753" y="832"/>
                </a:cubicBezTo>
                <a:cubicBezTo>
                  <a:pt x="2751" y="843"/>
                  <a:pt x="2751" y="843"/>
                  <a:pt x="2751" y="843"/>
                </a:cubicBezTo>
                <a:cubicBezTo>
                  <a:pt x="2760" y="843"/>
                  <a:pt x="2760" y="843"/>
                  <a:pt x="2760" y="843"/>
                </a:cubicBezTo>
                <a:cubicBezTo>
                  <a:pt x="2760" y="855"/>
                  <a:pt x="2760" y="855"/>
                  <a:pt x="2760" y="855"/>
                </a:cubicBezTo>
                <a:cubicBezTo>
                  <a:pt x="2749" y="855"/>
                  <a:pt x="2749" y="855"/>
                  <a:pt x="2749" y="855"/>
                </a:cubicBezTo>
                <a:cubicBezTo>
                  <a:pt x="2746" y="874"/>
                  <a:pt x="2746" y="874"/>
                  <a:pt x="2746" y="874"/>
                </a:cubicBezTo>
                <a:cubicBezTo>
                  <a:pt x="2735" y="874"/>
                  <a:pt x="2735" y="874"/>
                  <a:pt x="2735" y="874"/>
                </a:cubicBezTo>
                <a:cubicBezTo>
                  <a:pt x="2738" y="855"/>
                  <a:pt x="2738" y="855"/>
                  <a:pt x="2738" y="855"/>
                </a:cubicBezTo>
                <a:cubicBezTo>
                  <a:pt x="2728" y="855"/>
                  <a:pt x="2728" y="855"/>
                  <a:pt x="2728" y="855"/>
                </a:cubicBezTo>
                <a:cubicBezTo>
                  <a:pt x="2725" y="874"/>
                  <a:pt x="2725" y="874"/>
                  <a:pt x="2725" y="874"/>
                </a:cubicBezTo>
                <a:cubicBezTo>
                  <a:pt x="2714" y="874"/>
                  <a:pt x="2714" y="874"/>
                  <a:pt x="2714" y="874"/>
                </a:cubicBezTo>
                <a:cubicBezTo>
                  <a:pt x="2714" y="874"/>
                  <a:pt x="2714" y="874"/>
                  <a:pt x="2714" y="874"/>
                </a:cubicBezTo>
                <a:close/>
                <a:moveTo>
                  <a:pt x="2740" y="843"/>
                </a:moveTo>
                <a:cubicBezTo>
                  <a:pt x="2741" y="832"/>
                  <a:pt x="2741" y="832"/>
                  <a:pt x="2741" y="832"/>
                </a:cubicBezTo>
                <a:cubicBezTo>
                  <a:pt x="2731" y="832"/>
                  <a:pt x="2731" y="832"/>
                  <a:pt x="2731" y="832"/>
                </a:cubicBezTo>
                <a:cubicBezTo>
                  <a:pt x="2730" y="843"/>
                  <a:pt x="2730" y="843"/>
                  <a:pt x="2730" y="843"/>
                </a:cubicBezTo>
                <a:cubicBezTo>
                  <a:pt x="2740" y="843"/>
                  <a:pt x="2740" y="843"/>
                  <a:pt x="2740" y="843"/>
                </a:cubicBezTo>
                <a:cubicBezTo>
                  <a:pt x="2740" y="843"/>
                  <a:pt x="2740" y="843"/>
                  <a:pt x="2740" y="843"/>
                </a:cubicBezTo>
                <a:close/>
                <a:moveTo>
                  <a:pt x="2258" y="801"/>
                </a:moveTo>
                <a:cubicBezTo>
                  <a:pt x="2258" y="801"/>
                  <a:pt x="2258" y="801"/>
                  <a:pt x="2258" y="801"/>
                </a:cubicBezTo>
                <a:cubicBezTo>
                  <a:pt x="2253" y="801"/>
                  <a:pt x="2253" y="801"/>
                  <a:pt x="2253" y="801"/>
                </a:cubicBezTo>
                <a:cubicBezTo>
                  <a:pt x="2250" y="802"/>
                  <a:pt x="2249" y="804"/>
                  <a:pt x="2247" y="805"/>
                </a:cubicBezTo>
                <a:cubicBezTo>
                  <a:pt x="2245" y="806"/>
                  <a:pt x="2244" y="807"/>
                  <a:pt x="2242" y="808"/>
                </a:cubicBezTo>
                <a:cubicBezTo>
                  <a:pt x="2240" y="809"/>
                  <a:pt x="2238" y="810"/>
                  <a:pt x="2236" y="810"/>
                </a:cubicBezTo>
                <a:cubicBezTo>
                  <a:pt x="2234" y="811"/>
                  <a:pt x="2233" y="812"/>
                  <a:pt x="2230" y="812"/>
                </a:cubicBezTo>
                <a:cubicBezTo>
                  <a:pt x="2230" y="812"/>
                  <a:pt x="2230" y="812"/>
                  <a:pt x="2230" y="822"/>
                </a:cubicBezTo>
                <a:cubicBezTo>
                  <a:pt x="2233" y="821"/>
                  <a:pt x="2236" y="821"/>
                  <a:pt x="2239" y="819"/>
                </a:cubicBezTo>
                <a:cubicBezTo>
                  <a:pt x="2242" y="818"/>
                  <a:pt x="2244" y="817"/>
                  <a:pt x="2246" y="816"/>
                </a:cubicBezTo>
                <a:cubicBezTo>
                  <a:pt x="2246" y="816"/>
                  <a:pt x="2246" y="816"/>
                  <a:pt x="2246" y="874"/>
                </a:cubicBezTo>
                <a:cubicBezTo>
                  <a:pt x="2246" y="874"/>
                  <a:pt x="2246" y="874"/>
                  <a:pt x="2258" y="874"/>
                </a:cubicBezTo>
                <a:cubicBezTo>
                  <a:pt x="2258" y="874"/>
                  <a:pt x="2258" y="874"/>
                  <a:pt x="2258" y="801"/>
                </a:cubicBezTo>
                <a:close/>
                <a:moveTo>
                  <a:pt x="2305" y="801"/>
                </a:moveTo>
                <a:cubicBezTo>
                  <a:pt x="2305" y="801"/>
                  <a:pt x="2305" y="801"/>
                  <a:pt x="2305" y="801"/>
                </a:cubicBezTo>
                <a:cubicBezTo>
                  <a:pt x="2300" y="801"/>
                  <a:pt x="2300" y="801"/>
                  <a:pt x="2300" y="801"/>
                </a:cubicBezTo>
                <a:cubicBezTo>
                  <a:pt x="2298" y="802"/>
                  <a:pt x="2297" y="804"/>
                  <a:pt x="2294" y="805"/>
                </a:cubicBezTo>
                <a:cubicBezTo>
                  <a:pt x="2293" y="806"/>
                  <a:pt x="2291" y="807"/>
                  <a:pt x="2289" y="808"/>
                </a:cubicBezTo>
                <a:cubicBezTo>
                  <a:pt x="2288" y="809"/>
                  <a:pt x="2286" y="810"/>
                  <a:pt x="2284" y="810"/>
                </a:cubicBezTo>
                <a:cubicBezTo>
                  <a:pt x="2282" y="811"/>
                  <a:pt x="2281" y="812"/>
                  <a:pt x="2278" y="812"/>
                </a:cubicBezTo>
                <a:cubicBezTo>
                  <a:pt x="2278" y="812"/>
                  <a:pt x="2278" y="812"/>
                  <a:pt x="2278" y="822"/>
                </a:cubicBezTo>
                <a:cubicBezTo>
                  <a:pt x="2281" y="821"/>
                  <a:pt x="2284" y="821"/>
                  <a:pt x="2286" y="819"/>
                </a:cubicBezTo>
                <a:cubicBezTo>
                  <a:pt x="2289" y="818"/>
                  <a:pt x="2291" y="817"/>
                  <a:pt x="2294" y="816"/>
                </a:cubicBezTo>
                <a:cubicBezTo>
                  <a:pt x="2294" y="816"/>
                  <a:pt x="2294" y="816"/>
                  <a:pt x="2294" y="874"/>
                </a:cubicBezTo>
                <a:cubicBezTo>
                  <a:pt x="2294" y="874"/>
                  <a:pt x="2294" y="874"/>
                  <a:pt x="2305" y="874"/>
                </a:cubicBezTo>
                <a:cubicBezTo>
                  <a:pt x="2305" y="874"/>
                  <a:pt x="2305" y="874"/>
                  <a:pt x="2305" y="801"/>
                </a:cubicBezTo>
                <a:close/>
                <a:moveTo>
                  <a:pt x="2352" y="801"/>
                </a:moveTo>
                <a:cubicBezTo>
                  <a:pt x="2352" y="801"/>
                  <a:pt x="2352" y="801"/>
                  <a:pt x="2352" y="801"/>
                </a:cubicBezTo>
                <a:cubicBezTo>
                  <a:pt x="2348" y="801"/>
                  <a:pt x="2348" y="801"/>
                  <a:pt x="2348" y="801"/>
                </a:cubicBezTo>
                <a:cubicBezTo>
                  <a:pt x="2345" y="802"/>
                  <a:pt x="2344" y="804"/>
                  <a:pt x="2342" y="805"/>
                </a:cubicBezTo>
                <a:cubicBezTo>
                  <a:pt x="2340" y="806"/>
                  <a:pt x="2338" y="807"/>
                  <a:pt x="2337" y="808"/>
                </a:cubicBezTo>
                <a:cubicBezTo>
                  <a:pt x="2335" y="808"/>
                  <a:pt x="2333" y="809"/>
                  <a:pt x="2331" y="810"/>
                </a:cubicBezTo>
                <a:cubicBezTo>
                  <a:pt x="2330" y="810"/>
                  <a:pt x="2327" y="811"/>
                  <a:pt x="2326" y="812"/>
                </a:cubicBezTo>
                <a:cubicBezTo>
                  <a:pt x="2326" y="812"/>
                  <a:pt x="2326" y="812"/>
                  <a:pt x="2326" y="822"/>
                </a:cubicBezTo>
                <a:cubicBezTo>
                  <a:pt x="2329" y="821"/>
                  <a:pt x="2332" y="820"/>
                  <a:pt x="2334" y="819"/>
                </a:cubicBezTo>
                <a:cubicBezTo>
                  <a:pt x="2336" y="818"/>
                  <a:pt x="2339" y="817"/>
                  <a:pt x="2340" y="816"/>
                </a:cubicBezTo>
                <a:cubicBezTo>
                  <a:pt x="2340" y="816"/>
                  <a:pt x="2340" y="816"/>
                  <a:pt x="2340" y="874"/>
                </a:cubicBezTo>
                <a:cubicBezTo>
                  <a:pt x="2340" y="874"/>
                  <a:pt x="2340" y="874"/>
                  <a:pt x="2352" y="874"/>
                </a:cubicBezTo>
                <a:cubicBezTo>
                  <a:pt x="2352" y="874"/>
                  <a:pt x="2352" y="874"/>
                  <a:pt x="2352" y="801"/>
                </a:cubicBezTo>
                <a:close/>
                <a:moveTo>
                  <a:pt x="2559" y="705"/>
                </a:moveTo>
                <a:cubicBezTo>
                  <a:pt x="2559" y="705"/>
                  <a:pt x="2559" y="705"/>
                  <a:pt x="2559" y="705"/>
                </a:cubicBezTo>
                <a:cubicBezTo>
                  <a:pt x="2554" y="705"/>
                  <a:pt x="2554" y="705"/>
                  <a:pt x="2554" y="705"/>
                </a:cubicBezTo>
                <a:cubicBezTo>
                  <a:pt x="2552" y="706"/>
                  <a:pt x="2550" y="708"/>
                  <a:pt x="2548" y="709"/>
                </a:cubicBezTo>
                <a:cubicBezTo>
                  <a:pt x="2547" y="710"/>
                  <a:pt x="2544" y="711"/>
                  <a:pt x="2543" y="712"/>
                </a:cubicBezTo>
                <a:cubicBezTo>
                  <a:pt x="2541" y="712"/>
                  <a:pt x="2539" y="713"/>
                  <a:pt x="2538" y="714"/>
                </a:cubicBezTo>
                <a:cubicBezTo>
                  <a:pt x="2536" y="714"/>
                  <a:pt x="2534" y="715"/>
                  <a:pt x="2532" y="716"/>
                </a:cubicBezTo>
                <a:cubicBezTo>
                  <a:pt x="2532" y="716"/>
                  <a:pt x="2532" y="716"/>
                  <a:pt x="2532" y="726"/>
                </a:cubicBezTo>
                <a:cubicBezTo>
                  <a:pt x="2535" y="725"/>
                  <a:pt x="2538" y="724"/>
                  <a:pt x="2540" y="723"/>
                </a:cubicBezTo>
                <a:cubicBezTo>
                  <a:pt x="2543" y="722"/>
                  <a:pt x="2545" y="721"/>
                  <a:pt x="2547" y="720"/>
                </a:cubicBezTo>
                <a:cubicBezTo>
                  <a:pt x="2547" y="720"/>
                  <a:pt x="2547" y="720"/>
                  <a:pt x="2547" y="778"/>
                </a:cubicBezTo>
                <a:cubicBezTo>
                  <a:pt x="2547" y="778"/>
                  <a:pt x="2547" y="778"/>
                  <a:pt x="2559" y="778"/>
                </a:cubicBezTo>
                <a:cubicBezTo>
                  <a:pt x="2559" y="778"/>
                  <a:pt x="2559" y="778"/>
                  <a:pt x="2559" y="705"/>
                </a:cubicBezTo>
                <a:close/>
                <a:moveTo>
                  <a:pt x="2605" y="705"/>
                </a:moveTo>
                <a:cubicBezTo>
                  <a:pt x="2605" y="705"/>
                  <a:pt x="2605" y="705"/>
                  <a:pt x="2605" y="705"/>
                </a:cubicBezTo>
                <a:cubicBezTo>
                  <a:pt x="2600" y="705"/>
                  <a:pt x="2600" y="705"/>
                  <a:pt x="2600" y="705"/>
                </a:cubicBezTo>
                <a:cubicBezTo>
                  <a:pt x="2598" y="706"/>
                  <a:pt x="2597" y="708"/>
                  <a:pt x="2595" y="709"/>
                </a:cubicBezTo>
                <a:cubicBezTo>
                  <a:pt x="2593" y="710"/>
                  <a:pt x="2591" y="711"/>
                  <a:pt x="2590" y="712"/>
                </a:cubicBezTo>
                <a:cubicBezTo>
                  <a:pt x="2588" y="713"/>
                  <a:pt x="2586" y="714"/>
                  <a:pt x="2585" y="714"/>
                </a:cubicBezTo>
                <a:cubicBezTo>
                  <a:pt x="2582" y="715"/>
                  <a:pt x="2581" y="716"/>
                  <a:pt x="2579" y="716"/>
                </a:cubicBezTo>
                <a:cubicBezTo>
                  <a:pt x="2579" y="716"/>
                  <a:pt x="2579" y="716"/>
                  <a:pt x="2579" y="726"/>
                </a:cubicBezTo>
                <a:cubicBezTo>
                  <a:pt x="2582" y="725"/>
                  <a:pt x="2585" y="725"/>
                  <a:pt x="2587" y="723"/>
                </a:cubicBezTo>
                <a:cubicBezTo>
                  <a:pt x="2590" y="722"/>
                  <a:pt x="2592" y="721"/>
                  <a:pt x="2594" y="720"/>
                </a:cubicBezTo>
                <a:cubicBezTo>
                  <a:pt x="2594" y="720"/>
                  <a:pt x="2594" y="720"/>
                  <a:pt x="2594" y="778"/>
                </a:cubicBezTo>
                <a:cubicBezTo>
                  <a:pt x="2594" y="778"/>
                  <a:pt x="2594" y="778"/>
                  <a:pt x="2605" y="778"/>
                </a:cubicBezTo>
                <a:cubicBezTo>
                  <a:pt x="2605" y="778"/>
                  <a:pt x="2605" y="778"/>
                  <a:pt x="2605" y="705"/>
                </a:cubicBezTo>
                <a:close/>
                <a:moveTo>
                  <a:pt x="2651" y="705"/>
                </a:moveTo>
                <a:cubicBezTo>
                  <a:pt x="2651" y="705"/>
                  <a:pt x="2651" y="705"/>
                  <a:pt x="2651" y="705"/>
                </a:cubicBezTo>
                <a:cubicBezTo>
                  <a:pt x="2647" y="705"/>
                  <a:pt x="2647" y="705"/>
                  <a:pt x="2647" y="705"/>
                </a:cubicBezTo>
                <a:cubicBezTo>
                  <a:pt x="2645" y="706"/>
                  <a:pt x="2643" y="708"/>
                  <a:pt x="2641" y="709"/>
                </a:cubicBezTo>
                <a:cubicBezTo>
                  <a:pt x="2640" y="710"/>
                  <a:pt x="2638" y="711"/>
                  <a:pt x="2636" y="712"/>
                </a:cubicBezTo>
                <a:cubicBezTo>
                  <a:pt x="2634" y="713"/>
                  <a:pt x="2633" y="714"/>
                  <a:pt x="2630" y="714"/>
                </a:cubicBezTo>
                <a:cubicBezTo>
                  <a:pt x="2629" y="715"/>
                  <a:pt x="2627" y="716"/>
                  <a:pt x="2625" y="716"/>
                </a:cubicBezTo>
                <a:cubicBezTo>
                  <a:pt x="2625" y="716"/>
                  <a:pt x="2625" y="716"/>
                  <a:pt x="2625" y="726"/>
                </a:cubicBezTo>
                <a:cubicBezTo>
                  <a:pt x="2628" y="725"/>
                  <a:pt x="2631" y="725"/>
                  <a:pt x="2633" y="723"/>
                </a:cubicBezTo>
                <a:cubicBezTo>
                  <a:pt x="2636" y="722"/>
                  <a:pt x="2638" y="721"/>
                  <a:pt x="2640" y="720"/>
                </a:cubicBezTo>
                <a:cubicBezTo>
                  <a:pt x="2640" y="720"/>
                  <a:pt x="2640" y="720"/>
                  <a:pt x="2640" y="778"/>
                </a:cubicBezTo>
                <a:cubicBezTo>
                  <a:pt x="2640" y="778"/>
                  <a:pt x="2640" y="778"/>
                  <a:pt x="2651" y="778"/>
                </a:cubicBezTo>
                <a:cubicBezTo>
                  <a:pt x="2651" y="778"/>
                  <a:pt x="2651" y="778"/>
                  <a:pt x="2651" y="705"/>
                </a:cubicBezTo>
                <a:close/>
                <a:moveTo>
                  <a:pt x="2698" y="705"/>
                </a:moveTo>
                <a:cubicBezTo>
                  <a:pt x="2698" y="705"/>
                  <a:pt x="2698" y="705"/>
                  <a:pt x="2698" y="705"/>
                </a:cubicBezTo>
                <a:cubicBezTo>
                  <a:pt x="2693" y="705"/>
                  <a:pt x="2693" y="705"/>
                  <a:pt x="2693" y="705"/>
                </a:cubicBezTo>
                <a:cubicBezTo>
                  <a:pt x="2691" y="706"/>
                  <a:pt x="2690" y="708"/>
                  <a:pt x="2687" y="709"/>
                </a:cubicBezTo>
                <a:cubicBezTo>
                  <a:pt x="2686" y="710"/>
                  <a:pt x="2684" y="711"/>
                  <a:pt x="2682" y="712"/>
                </a:cubicBezTo>
                <a:cubicBezTo>
                  <a:pt x="2681" y="713"/>
                  <a:pt x="2678" y="714"/>
                  <a:pt x="2677" y="714"/>
                </a:cubicBezTo>
                <a:cubicBezTo>
                  <a:pt x="2675" y="715"/>
                  <a:pt x="2673" y="716"/>
                  <a:pt x="2671" y="716"/>
                </a:cubicBezTo>
                <a:cubicBezTo>
                  <a:pt x="2671" y="716"/>
                  <a:pt x="2671" y="716"/>
                  <a:pt x="2671" y="726"/>
                </a:cubicBezTo>
                <a:cubicBezTo>
                  <a:pt x="2674" y="725"/>
                  <a:pt x="2677" y="725"/>
                  <a:pt x="2679" y="723"/>
                </a:cubicBezTo>
                <a:cubicBezTo>
                  <a:pt x="2682" y="722"/>
                  <a:pt x="2684" y="721"/>
                  <a:pt x="2687" y="720"/>
                </a:cubicBezTo>
                <a:cubicBezTo>
                  <a:pt x="2687" y="720"/>
                  <a:pt x="2687" y="720"/>
                  <a:pt x="2687" y="778"/>
                </a:cubicBezTo>
                <a:cubicBezTo>
                  <a:pt x="2687" y="778"/>
                  <a:pt x="2687" y="778"/>
                  <a:pt x="2698" y="778"/>
                </a:cubicBezTo>
                <a:cubicBezTo>
                  <a:pt x="2698" y="778"/>
                  <a:pt x="2698" y="778"/>
                  <a:pt x="2698" y="705"/>
                </a:cubicBezTo>
                <a:close/>
                <a:moveTo>
                  <a:pt x="2820" y="705"/>
                </a:moveTo>
                <a:cubicBezTo>
                  <a:pt x="2820" y="705"/>
                  <a:pt x="2820" y="705"/>
                  <a:pt x="2820" y="705"/>
                </a:cubicBezTo>
                <a:cubicBezTo>
                  <a:pt x="2815" y="705"/>
                  <a:pt x="2815" y="705"/>
                  <a:pt x="2815" y="705"/>
                </a:cubicBezTo>
                <a:cubicBezTo>
                  <a:pt x="2813" y="706"/>
                  <a:pt x="2811" y="708"/>
                  <a:pt x="2809" y="709"/>
                </a:cubicBezTo>
                <a:cubicBezTo>
                  <a:pt x="2808" y="710"/>
                  <a:pt x="2806" y="711"/>
                  <a:pt x="2804" y="712"/>
                </a:cubicBezTo>
                <a:cubicBezTo>
                  <a:pt x="2802" y="713"/>
                  <a:pt x="2800" y="714"/>
                  <a:pt x="2799" y="714"/>
                </a:cubicBezTo>
                <a:cubicBezTo>
                  <a:pt x="2797" y="715"/>
                  <a:pt x="2795" y="716"/>
                  <a:pt x="2793" y="716"/>
                </a:cubicBezTo>
                <a:cubicBezTo>
                  <a:pt x="2793" y="716"/>
                  <a:pt x="2793" y="716"/>
                  <a:pt x="2793" y="726"/>
                </a:cubicBezTo>
                <a:cubicBezTo>
                  <a:pt x="2796" y="725"/>
                  <a:pt x="2799" y="725"/>
                  <a:pt x="2802" y="723"/>
                </a:cubicBezTo>
                <a:cubicBezTo>
                  <a:pt x="2804" y="722"/>
                  <a:pt x="2806" y="721"/>
                  <a:pt x="2808" y="720"/>
                </a:cubicBezTo>
                <a:cubicBezTo>
                  <a:pt x="2808" y="720"/>
                  <a:pt x="2808" y="720"/>
                  <a:pt x="2808" y="778"/>
                </a:cubicBezTo>
                <a:cubicBezTo>
                  <a:pt x="2808" y="778"/>
                  <a:pt x="2808" y="778"/>
                  <a:pt x="2820" y="778"/>
                </a:cubicBezTo>
                <a:cubicBezTo>
                  <a:pt x="2820" y="778"/>
                  <a:pt x="2820" y="778"/>
                  <a:pt x="2820" y="705"/>
                </a:cubicBezTo>
                <a:close/>
                <a:moveTo>
                  <a:pt x="2867" y="705"/>
                </a:moveTo>
                <a:cubicBezTo>
                  <a:pt x="2867" y="705"/>
                  <a:pt x="2867" y="705"/>
                  <a:pt x="2867" y="705"/>
                </a:cubicBezTo>
                <a:cubicBezTo>
                  <a:pt x="2862" y="705"/>
                  <a:pt x="2862" y="705"/>
                  <a:pt x="2862" y="705"/>
                </a:cubicBezTo>
                <a:cubicBezTo>
                  <a:pt x="2860" y="706"/>
                  <a:pt x="2858" y="708"/>
                  <a:pt x="2856" y="709"/>
                </a:cubicBezTo>
                <a:cubicBezTo>
                  <a:pt x="2855" y="710"/>
                  <a:pt x="2852" y="711"/>
                  <a:pt x="2851" y="712"/>
                </a:cubicBezTo>
                <a:cubicBezTo>
                  <a:pt x="2849" y="713"/>
                  <a:pt x="2847" y="714"/>
                  <a:pt x="2846" y="714"/>
                </a:cubicBezTo>
                <a:cubicBezTo>
                  <a:pt x="2844" y="715"/>
                  <a:pt x="2842" y="716"/>
                  <a:pt x="2840" y="716"/>
                </a:cubicBezTo>
                <a:cubicBezTo>
                  <a:pt x="2840" y="716"/>
                  <a:pt x="2840" y="716"/>
                  <a:pt x="2840" y="726"/>
                </a:cubicBezTo>
                <a:cubicBezTo>
                  <a:pt x="2843" y="725"/>
                  <a:pt x="2846" y="725"/>
                  <a:pt x="2848" y="723"/>
                </a:cubicBezTo>
                <a:cubicBezTo>
                  <a:pt x="2851" y="722"/>
                  <a:pt x="2853" y="721"/>
                  <a:pt x="2855" y="720"/>
                </a:cubicBezTo>
                <a:cubicBezTo>
                  <a:pt x="2855" y="720"/>
                  <a:pt x="2855" y="720"/>
                  <a:pt x="2855" y="778"/>
                </a:cubicBezTo>
                <a:cubicBezTo>
                  <a:pt x="2855" y="778"/>
                  <a:pt x="2855" y="778"/>
                  <a:pt x="2867" y="778"/>
                </a:cubicBezTo>
                <a:cubicBezTo>
                  <a:pt x="2867" y="778"/>
                  <a:pt x="2867" y="778"/>
                  <a:pt x="2867" y="705"/>
                </a:cubicBezTo>
                <a:close/>
                <a:moveTo>
                  <a:pt x="2718" y="737"/>
                </a:moveTo>
                <a:cubicBezTo>
                  <a:pt x="2718" y="737"/>
                  <a:pt x="2718" y="737"/>
                  <a:pt x="2718" y="737"/>
                </a:cubicBezTo>
                <a:cubicBezTo>
                  <a:pt x="2718" y="746"/>
                  <a:pt x="2718" y="746"/>
                  <a:pt x="2718" y="746"/>
                </a:cubicBezTo>
                <a:cubicBezTo>
                  <a:pt x="2724" y="746"/>
                  <a:pt x="2725" y="749"/>
                  <a:pt x="2725" y="752"/>
                </a:cubicBezTo>
                <a:cubicBezTo>
                  <a:pt x="2725" y="754"/>
                  <a:pt x="2725" y="756"/>
                  <a:pt x="2725" y="759"/>
                </a:cubicBezTo>
                <a:cubicBezTo>
                  <a:pt x="2724" y="761"/>
                  <a:pt x="2724" y="763"/>
                  <a:pt x="2724" y="766"/>
                </a:cubicBezTo>
                <a:cubicBezTo>
                  <a:pt x="2724" y="775"/>
                  <a:pt x="2730" y="778"/>
                  <a:pt x="2738" y="778"/>
                </a:cubicBezTo>
                <a:cubicBezTo>
                  <a:pt x="2738" y="778"/>
                  <a:pt x="2738" y="778"/>
                  <a:pt x="2742" y="778"/>
                </a:cubicBezTo>
                <a:cubicBezTo>
                  <a:pt x="2742" y="778"/>
                  <a:pt x="2742" y="778"/>
                  <a:pt x="2742" y="769"/>
                </a:cubicBezTo>
                <a:cubicBezTo>
                  <a:pt x="2742" y="769"/>
                  <a:pt x="2742" y="769"/>
                  <a:pt x="2741" y="769"/>
                </a:cubicBezTo>
                <a:cubicBezTo>
                  <a:pt x="2737" y="769"/>
                  <a:pt x="2736" y="767"/>
                  <a:pt x="2736" y="763"/>
                </a:cubicBezTo>
                <a:cubicBezTo>
                  <a:pt x="2736" y="762"/>
                  <a:pt x="2736" y="760"/>
                  <a:pt x="2736" y="759"/>
                </a:cubicBezTo>
                <a:cubicBezTo>
                  <a:pt x="2736" y="757"/>
                  <a:pt x="2737" y="755"/>
                  <a:pt x="2737" y="753"/>
                </a:cubicBezTo>
                <a:cubicBezTo>
                  <a:pt x="2737" y="745"/>
                  <a:pt x="2734" y="743"/>
                  <a:pt x="2728" y="741"/>
                </a:cubicBezTo>
                <a:cubicBezTo>
                  <a:pt x="2728" y="741"/>
                  <a:pt x="2728" y="741"/>
                  <a:pt x="2728" y="741"/>
                </a:cubicBezTo>
                <a:cubicBezTo>
                  <a:pt x="2734" y="740"/>
                  <a:pt x="2737" y="738"/>
                  <a:pt x="2737" y="730"/>
                </a:cubicBezTo>
                <a:cubicBezTo>
                  <a:pt x="2737" y="728"/>
                  <a:pt x="2736" y="726"/>
                  <a:pt x="2736" y="724"/>
                </a:cubicBezTo>
                <a:cubicBezTo>
                  <a:pt x="2736" y="722"/>
                  <a:pt x="2736" y="720"/>
                  <a:pt x="2736" y="719"/>
                </a:cubicBezTo>
                <a:cubicBezTo>
                  <a:pt x="2736" y="716"/>
                  <a:pt x="2737" y="713"/>
                  <a:pt x="2741" y="713"/>
                </a:cubicBezTo>
                <a:cubicBezTo>
                  <a:pt x="2741" y="713"/>
                  <a:pt x="2741" y="713"/>
                  <a:pt x="2742" y="713"/>
                </a:cubicBezTo>
                <a:cubicBezTo>
                  <a:pt x="2742" y="713"/>
                  <a:pt x="2742" y="713"/>
                  <a:pt x="2742" y="704"/>
                </a:cubicBezTo>
                <a:cubicBezTo>
                  <a:pt x="2742" y="704"/>
                  <a:pt x="2742" y="704"/>
                  <a:pt x="2738" y="704"/>
                </a:cubicBezTo>
                <a:cubicBezTo>
                  <a:pt x="2730" y="704"/>
                  <a:pt x="2724" y="708"/>
                  <a:pt x="2724" y="717"/>
                </a:cubicBezTo>
                <a:cubicBezTo>
                  <a:pt x="2724" y="719"/>
                  <a:pt x="2724" y="722"/>
                  <a:pt x="2724" y="724"/>
                </a:cubicBezTo>
                <a:cubicBezTo>
                  <a:pt x="2725" y="726"/>
                  <a:pt x="2725" y="729"/>
                  <a:pt x="2725" y="731"/>
                </a:cubicBezTo>
                <a:cubicBezTo>
                  <a:pt x="2725" y="734"/>
                  <a:pt x="2724" y="737"/>
                  <a:pt x="2718" y="737"/>
                </a:cubicBezTo>
                <a:close/>
                <a:moveTo>
                  <a:pt x="2773" y="746"/>
                </a:moveTo>
                <a:cubicBezTo>
                  <a:pt x="2773" y="746"/>
                  <a:pt x="2773" y="746"/>
                  <a:pt x="2773" y="746"/>
                </a:cubicBezTo>
                <a:cubicBezTo>
                  <a:pt x="2773" y="737"/>
                  <a:pt x="2773" y="737"/>
                  <a:pt x="2773" y="737"/>
                </a:cubicBezTo>
                <a:cubicBezTo>
                  <a:pt x="2767" y="737"/>
                  <a:pt x="2767" y="734"/>
                  <a:pt x="2767" y="731"/>
                </a:cubicBezTo>
                <a:cubicBezTo>
                  <a:pt x="2767" y="729"/>
                  <a:pt x="2767" y="726"/>
                  <a:pt x="2767" y="724"/>
                </a:cubicBezTo>
                <a:cubicBezTo>
                  <a:pt x="2767" y="722"/>
                  <a:pt x="2767" y="719"/>
                  <a:pt x="2767" y="717"/>
                </a:cubicBezTo>
                <a:cubicBezTo>
                  <a:pt x="2767" y="708"/>
                  <a:pt x="2762" y="704"/>
                  <a:pt x="2753" y="704"/>
                </a:cubicBezTo>
                <a:cubicBezTo>
                  <a:pt x="2753" y="704"/>
                  <a:pt x="2753" y="704"/>
                  <a:pt x="2749" y="704"/>
                </a:cubicBezTo>
                <a:cubicBezTo>
                  <a:pt x="2749" y="704"/>
                  <a:pt x="2749" y="704"/>
                  <a:pt x="2749" y="713"/>
                </a:cubicBezTo>
                <a:cubicBezTo>
                  <a:pt x="2749" y="713"/>
                  <a:pt x="2749" y="713"/>
                  <a:pt x="2750" y="713"/>
                </a:cubicBezTo>
                <a:cubicBezTo>
                  <a:pt x="2754" y="713"/>
                  <a:pt x="2756" y="716"/>
                  <a:pt x="2756" y="719"/>
                </a:cubicBezTo>
                <a:cubicBezTo>
                  <a:pt x="2756" y="720"/>
                  <a:pt x="2755" y="722"/>
                  <a:pt x="2755" y="724"/>
                </a:cubicBezTo>
                <a:cubicBezTo>
                  <a:pt x="2755" y="726"/>
                  <a:pt x="2755" y="728"/>
                  <a:pt x="2755" y="730"/>
                </a:cubicBezTo>
                <a:cubicBezTo>
                  <a:pt x="2755" y="738"/>
                  <a:pt x="2757" y="740"/>
                  <a:pt x="2764" y="741"/>
                </a:cubicBezTo>
                <a:cubicBezTo>
                  <a:pt x="2764" y="741"/>
                  <a:pt x="2764" y="741"/>
                  <a:pt x="2764" y="741"/>
                </a:cubicBezTo>
                <a:cubicBezTo>
                  <a:pt x="2757" y="743"/>
                  <a:pt x="2755" y="745"/>
                  <a:pt x="2755" y="753"/>
                </a:cubicBezTo>
                <a:cubicBezTo>
                  <a:pt x="2755" y="755"/>
                  <a:pt x="2755" y="757"/>
                  <a:pt x="2755" y="759"/>
                </a:cubicBezTo>
                <a:cubicBezTo>
                  <a:pt x="2755" y="760"/>
                  <a:pt x="2756" y="762"/>
                  <a:pt x="2756" y="763"/>
                </a:cubicBezTo>
                <a:cubicBezTo>
                  <a:pt x="2756" y="767"/>
                  <a:pt x="2754" y="769"/>
                  <a:pt x="2750" y="769"/>
                </a:cubicBezTo>
                <a:cubicBezTo>
                  <a:pt x="2750" y="769"/>
                  <a:pt x="2750" y="769"/>
                  <a:pt x="2749" y="769"/>
                </a:cubicBezTo>
                <a:cubicBezTo>
                  <a:pt x="2749" y="769"/>
                  <a:pt x="2749" y="769"/>
                  <a:pt x="2749" y="778"/>
                </a:cubicBezTo>
                <a:cubicBezTo>
                  <a:pt x="2749" y="778"/>
                  <a:pt x="2749" y="778"/>
                  <a:pt x="2753" y="778"/>
                </a:cubicBezTo>
                <a:cubicBezTo>
                  <a:pt x="2762" y="778"/>
                  <a:pt x="2767" y="775"/>
                  <a:pt x="2767" y="766"/>
                </a:cubicBezTo>
                <a:cubicBezTo>
                  <a:pt x="2767" y="763"/>
                  <a:pt x="2767" y="761"/>
                  <a:pt x="2767" y="759"/>
                </a:cubicBezTo>
                <a:cubicBezTo>
                  <a:pt x="2767" y="756"/>
                  <a:pt x="2767" y="754"/>
                  <a:pt x="2767" y="752"/>
                </a:cubicBezTo>
                <a:cubicBezTo>
                  <a:pt x="2767" y="749"/>
                  <a:pt x="2767" y="746"/>
                  <a:pt x="2773" y="746"/>
                </a:cubicBezTo>
                <a:close/>
                <a:moveTo>
                  <a:pt x="2159" y="778"/>
                </a:moveTo>
                <a:cubicBezTo>
                  <a:pt x="2152" y="778"/>
                  <a:pt x="2145" y="776"/>
                  <a:pt x="2141" y="770"/>
                </a:cubicBezTo>
                <a:cubicBezTo>
                  <a:pt x="2137" y="763"/>
                  <a:pt x="2135" y="754"/>
                  <a:pt x="2135" y="742"/>
                </a:cubicBezTo>
                <a:cubicBezTo>
                  <a:pt x="2135" y="729"/>
                  <a:pt x="2137" y="719"/>
                  <a:pt x="2141" y="713"/>
                </a:cubicBezTo>
                <a:cubicBezTo>
                  <a:pt x="2146" y="706"/>
                  <a:pt x="2152" y="703"/>
                  <a:pt x="2161" y="703"/>
                </a:cubicBezTo>
                <a:cubicBezTo>
                  <a:pt x="2177" y="703"/>
                  <a:pt x="2185" y="715"/>
                  <a:pt x="2185" y="741"/>
                </a:cubicBezTo>
                <a:cubicBezTo>
                  <a:pt x="2185" y="753"/>
                  <a:pt x="2183" y="762"/>
                  <a:pt x="2178" y="769"/>
                </a:cubicBezTo>
                <a:cubicBezTo>
                  <a:pt x="2174" y="776"/>
                  <a:pt x="2167" y="778"/>
                  <a:pt x="2159" y="778"/>
                </a:cubicBezTo>
                <a:close/>
                <a:moveTo>
                  <a:pt x="2160" y="712"/>
                </a:moveTo>
                <a:cubicBezTo>
                  <a:pt x="2151" y="712"/>
                  <a:pt x="2147" y="722"/>
                  <a:pt x="2147" y="742"/>
                </a:cubicBezTo>
                <a:cubicBezTo>
                  <a:pt x="2147" y="760"/>
                  <a:pt x="2151" y="769"/>
                  <a:pt x="2160" y="769"/>
                </a:cubicBezTo>
                <a:cubicBezTo>
                  <a:pt x="2168" y="769"/>
                  <a:pt x="2173" y="760"/>
                  <a:pt x="2173" y="741"/>
                </a:cubicBezTo>
                <a:cubicBezTo>
                  <a:pt x="2173" y="722"/>
                  <a:pt x="2168" y="712"/>
                  <a:pt x="2160" y="712"/>
                </a:cubicBezTo>
                <a:close/>
                <a:moveTo>
                  <a:pt x="2230" y="778"/>
                </a:moveTo>
                <a:cubicBezTo>
                  <a:pt x="2222" y="778"/>
                  <a:pt x="2216" y="776"/>
                  <a:pt x="2212" y="770"/>
                </a:cubicBezTo>
                <a:cubicBezTo>
                  <a:pt x="2208" y="763"/>
                  <a:pt x="2205" y="754"/>
                  <a:pt x="2205" y="742"/>
                </a:cubicBezTo>
                <a:cubicBezTo>
                  <a:pt x="2205" y="729"/>
                  <a:pt x="2208" y="719"/>
                  <a:pt x="2212" y="713"/>
                </a:cubicBezTo>
                <a:cubicBezTo>
                  <a:pt x="2216" y="706"/>
                  <a:pt x="2223" y="703"/>
                  <a:pt x="2232" y="703"/>
                </a:cubicBezTo>
                <a:cubicBezTo>
                  <a:pt x="2248" y="703"/>
                  <a:pt x="2256" y="715"/>
                  <a:pt x="2256" y="741"/>
                </a:cubicBezTo>
                <a:cubicBezTo>
                  <a:pt x="2256" y="753"/>
                  <a:pt x="2254" y="762"/>
                  <a:pt x="2249" y="769"/>
                </a:cubicBezTo>
                <a:cubicBezTo>
                  <a:pt x="2244" y="776"/>
                  <a:pt x="2238" y="778"/>
                  <a:pt x="2230" y="778"/>
                </a:cubicBezTo>
                <a:close/>
                <a:moveTo>
                  <a:pt x="2231" y="712"/>
                </a:moveTo>
                <a:cubicBezTo>
                  <a:pt x="2222" y="712"/>
                  <a:pt x="2217" y="722"/>
                  <a:pt x="2217" y="742"/>
                </a:cubicBezTo>
                <a:cubicBezTo>
                  <a:pt x="2217" y="760"/>
                  <a:pt x="2222" y="769"/>
                  <a:pt x="2230" y="769"/>
                </a:cubicBezTo>
                <a:cubicBezTo>
                  <a:pt x="2239" y="769"/>
                  <a:pt x="2243" y="760"/>
                  <a:pt x="2243" y="741"/>
                </a:cubicBezTo>
                <a:cubicBezTo>
                  <a:pt x="2243" y="722"/>
                  <a:pt x="2239" y="712"/>
                  <a:pt x="2231" y="712"/>
                </a:cubicBezTo>
                <a:close/>
                <a:moveTo>
                  <a:pt x="2439" y="778"/>
                </a:moveTo>
                <a:cubicBezTo>
                  <a:pt x="2432" y="778"/>
                  <a:pt x="2426" y="776"/>
                  <a:pt x="2422" y="769"/>
                </a:cubicBezTo>
                <a:cubicBezTo>
                  <a:pt x="2417" y="763"/>
                  <a:pt x="2415" y="754"/>
                  <a:pt x="2415" y="742"/>
                </a:cubicBezTo>
                <a:cubicBezTo>
                  <a:pt x="2415" y="729"/>
                  <a:pt x="2417" y="719"/>
                  <a:pt x="2422" y="712"/>
                </a:cubicBezTo>
                <a:cubicBezTo>
                  <a:pt x="2426" y="706"/>
                  <a:pt x="2433" y="703"/>
                  <a:pt x="2442" y="703"/>
                </a:cubicBezTo>
                <a:cubicBezTo>
                  <a:pt x="2458" y="703"/>
                  <a:pt x="2466" y="715"/>
                  <a:pt x="2466" y="740"/>
                </a:cubicBezTo>
                <a:cubicBezTo>
                  <a:pt x="2466" y="753"/>
                  <a:pt x="2463" y="762"/>
                  <a:pt x="2459" y="769"/>
                </a:cubicBezTo>
                <a:cubicBezTo>
                  <a:pt x="2454" y="776"/>
                  <a:pt x="2448" y="778"/>
                  <a:pt x="2439" y="778"/>
                </a:cubicBezTo>
                <a:close/>
                <a:moveTo>
                  <a:pt x="2441" y="712"/>
                </a:moveTo>
                <a:cubicBezTo>
                  <a:pt x="2432" y="712"/>
                  <a:pt x="2428" y="722"/>
                  <a:pt x="2428" y="741"/>
                </a:cubicBezTo>
                <a:cubicBezTo>
                  <a:pt x="2428" y="759"/>
                  <a:pt x="2432" y="769"/>
                  <a:pt x="2441" y="769"/>
                </a:cubicBezTo>
                <a:cubicBezTo>
                  <a:pt x="2449" y="769"/>
                  <a:pt x="2453" y="759"/>
                  <a:pt x="2453" y="741"/>
                </a:cubicBezTo>
                <a:cubicBezTo>
                  <a:pt x="2453" y="722"/>
                  <a:pt x="2450" y="712"/>
                  <a:pt x="2441" y="712"/>
                </a:cubicBezTo>
                <a:close/>
                <a:moveTo>
                  <a:pt x="2512" y="705"/>
                </a:moveTo>
                <a:cubicBezTo>
                  <a:pt x="2512" y="705"/>
                  <a:pt x="2512" y="705"/>
                  <a:pt x="2512" y="705"/>
                </a:cubicBezTo>
                <a:cubicBezTo>
                  <a:pt x="2507" y="705"/>
                  <a:pt x="2507" y="705"/>
                  <a:pt x="2507" y="705"/>
                </a:cubicBezTo>
                <a:cubicBezTo>
                  <a:pt x="2505" y="706"/>
                  <a:pt x="2504" y="708"/>
                  <a:pt x="2501" y="709"/>
                </a:cubicBezTo>
                <a:cubicBezTo>
                  <a:pt x="2500" y="710"/>
                  <a:pt x="2498" y="711"/>
                  <a:pt x="2496" y="712"/>
                </a:cubicBezTo>
                <a:cubicBezTo>
                  <a:pt x="2495" y="712"/>
                  <a:pt x="2493" y="713"/>
                  <a:pt x="2491" y="714"/>
                </a:cubicBezTo>
                <a:cubicBezTo>
                  <a:pt x="2489" y="714"/>
                  <a:pt x="2488" y="715"/>
                  <a:pt x="2486" y="716"/>
                </a:cubicBezTo>
                <a:cubicBezTo>
                  <a:pt x="2486" y="716"/>
                  <a:pt x="2486" y="716"/>
                  <a:pt x="2486" y="726"/>
                </a:cubicBezTo>
                <a:cubicBezTo>
                  <a:pt x="2489" y="725"/>
                  <a:pt x="2491" y="724"/>
                  <a:pt x="2494" y="723"/>
                </a:cubicBezTo>
                <a:cubicBezTo>
                  <a:pt x="2496" y="722"/>
                  <a:pt x="2499" y="721"/>
                  <a:pt x="2501" y="720"/>
                </a:cubicBezTo>
                <a:cubicBezTo>
                  <a:pt x="2501" y="720"/>
                  <a:pt x="2501" y="720"/>
                  <a:pt x="2501" y="778"/>
                </a:cubicBezTo>
                <a:cubicBezTo>
                  <a:pt x="2501" y="778"/>
                  <a:pt x="2501" y="778"/>
                  <a:pt x="2512" y="778"/>
                </a:cubicBezTo>
                <a:cubicBezTo>
                  <a:pt x="2512" y="778"/>
                  <a:pt x="2512" y="778"/>
                  <a:pt x="2512" y="705"/>
                </a:cubicBezTo>
                <a:close/>
                <a:moveTo>
                  <a:pt x="2303" y="705"/>
                </a:moveTo>
                <a:cubicBezTo>
                  <a:pt x="2303" y="705"/>
                  <a:pt x="2303" y="705"/>
                  <a:pt x="2303" y="705"/>
                </a:cubicBezTo>
                <a:cubicBezTo>
                  <a:pt x="2298" y="705"/>
                  <a:pt x="2298" y="705"/>
                  <a:pt x="2298" y="705"/>
                </a:cubicBezTo>
                <a:cubicBezTo>
                  <a:pt x="2295" y="706"/>
                  <a:pt x="2294" y="708"/>
                  <a:pt x="2292" y="709"/>
                </a:cubicBezTo>
                <a:cubicBezTo>
                  <a:pt x="2290" y="710"/>
                  <a:pt x="2289" y="711"/>
                  <a:pt x="2287" y="712"/>
                </a:cubicBezTo>
                <a:cubicBezTo>
                  <a:pt x="2285" y="713"/>
                  <a:pt x="2283" y="714"/>
                  <a:pt x="2281" y="714"/>
                </a:cubicBezTo>
                <a:cubicBezTo>
                  <a:pt x="2279" y="715"/>
                  <a:pt x="2278" y="716"/>
                  <a:pt x="2276" y="716"/>
                </a:cubicBezTo>
                <a:cubicBezTo>
                  <a:pt x="2276" y="716"/>
                  <a:pt x="2276" y="716"/>
                  <a:pt x="2276" y="726"/>
                </a:cubicBezTo>
                <a:cubicBezTo>
                  <a:pt x="2278" y="725"/>
                  <a:pt x="2281" y="725"/>
                  <a:pt x="2284" y="723"/>
                </a:cubicBezTo>
                <a:cubicBezTo>
                  <a:pt x="2287" y="722"/>
                  <a:pt x="2289" y="721"/>
                  <a:pt x="2291" y="720"/>
                </a:cubicBezTo>
                <a:cubicBezTo>
                  <a:pt x="2291" y="720"/>
                  <a:pt x="2291" y="720"/>
                  <a:pt x="2291" y="778"/>
                </a:cubicBezTo>
                <a:cubicBezTo>
                  <a:pt x="2291" y="778"/>
                  <a:pt x="2291" y="778"/>
                  <a:pt x="2303" y="778"/>
                </a:cubicBezTo>
                <a:cubicBezTo>
                  <a:pt x="2303" y="778"/>
                  <a:pt x="2303" y="778"/>
                  <a:pt x="2303" y="705"/>
                </a:cubicBezTo>
                <a:close/>
                <a:moveTo>
                  <a:pt x="2349" y="705"/>
                </a:moveTo>
                <a:cubicBezTo>
                  <a:pt x="2349" y="705"/>
                  <a:pt x="2349" y="705"/>
                  <a:pt x="2349" y="705"/>
                </a:cubicBezTo>
                <a:cubicBezTo>
                  <a:pt x="2344" y="705"/>
                  <a:pt x="2344" y="705"/>
                  <a:pt x="2344" y="705"/>
                </a:cubicBezTo>
                <a:cubicBezTo>
                  <a:pt x="2342" y="706"/>
                  <a:pt x="2341" y="708"/>
                  <a:pt x="2339" y="709"/>
                </a:cubicBezTo>
                <a:cubicBezTo>
                  <a:pt x="2337" y="710"/>
                  <a:pt x="2335" y="711"/>
                  <a:pt x="2333" y="712"/>
                </a:cubicBezTo>
                <a:cubicBezTo>
                  <a:pt x="2332" y="713"/>
                  <a:pt x="2330" y="714"/>
                  <a:pt x="2328" y="714"/>
                </a:cubicBezTo>
                <a:cubicBezTo>
                  <a:pt x="2326" y="715"/>
                  <a:pt x="2325" y="716"/>
                  <a:pt x="2323" y="716"/>
                </a:cubicBezTo>
                <a:cubicBezTo>
                  <a:pt x="2323" y="716"/>
                  <a:pt x="2323" y="716"/>
                  <a:pt x="2323" y="726"/>
                </a:cubicBezTo>
                <a:cubicBezTo>
                  <a:pt x="2325" y="725"/>
                  <a:pt x="2328" y="725"/>
                  <a:pt x="2331" y="723"/>
                </a:cubicBezTo>
                <a:cubicBezTo>
                  <a:pt x="2333" y="722"/>
                  <a:pt x="2336" y="721"/>
                  <a:pt x="2338" y="720"/>
                </a:cubicBezTo>
                <a:cubicBezTo>
                  <a:pt x="2338" y="720"/>
                  <a:pt x="2338" y="720"/>
                  <a:pt x="2338" y="778"/>
                </a:cubicBezTo>
                <a:cubicBezTo>
                  <a:pt x="2338" y="778"/>
                  <a:pt x="2338" y="778"/>
                  <a:pt x="2349" y="778"/>
                </a:cubicBezTo>
                <a:cubicBezTo>
                  <a:pt x="2349" y="778"/>
                  <a:pt x="2349" y="778"/>
                  <a:pt x="2349" y="705"/>
                </a:cubicBezTo>
                <a:close/>
                <a:moveTo>
                  <a:pt x="2396" y="705"/>
                </a:moveTo>
                <a:cubicBezTo>
                  <a:pt x="2396" y="705"/>
                  <a:pt x="2396" y="705"/>
                  <a:pt x="2396" y="705"/>
                </a:cubicBezTo>
                <a:cubicBezTo>
                  <a:pt x="2391" y="705"/>
                  <a:pt x="2391" y="705"/>
                  <a:pt x="2391" y="705"/>
                </a:cubicBezTo>
                <a:cubicBezTo>
                  <a:pt x="2389" y="706"/>
                  <a:pt x="2388" y="708"/>
                  <a:pt x="2385" y="709"/>
                </a:cubicBezTo>
                <a:cubicBezTo>
                  <a:pt x="2384" y="710"/>
                  <a:pt x="2382" y="711"/>
                  <a:pt x="2380" y="712"/>
                </a:cubicBezTo>
                <a:cubicBezTo>
                  <a:pt x="2378" y="712"/>
                  <a:pt x="2377" y="713"/>
                  <a:pt x="2375" y="714"/>
                </a:cubicBezTo>
                <a:cubicBezTo>
                  <a:pt x="2373" y="714"/>
                  <a:pt x="2371" y="715"/>
                  <a:pt x="2370" y="716"/>
                </a:cubicBezTo>
                <a:cubicBezTo>
                  <a:pt x="2370" y="716"/>
                  <a:pt x="2370" y="716"/>
                  <a:pt x="2370" y="726"/>
                </a:cubicBezTo>
                <a:cubicBezTo>
                  <a:pt x="2372" y="725"/>
                  <a:pt x="2375" y="724"/>
                  <a:pt x="2378" y="723"/>
                </a:cubicBezTo>
                <a:cubicBezTo>
                  <a:pt x="2380" y="722"/>
                  <a:pt x="2383" y="721"/>
                  <a:pt x="2384" y="720"/>
                </a:cubicBezTo>
                <a:cubicBezTo>
                  <a:pt x="2384" y="720"/>
                  <a:pt x="2384" y="720"/>
                  <a:pt x="2384" y="778"/>
                </a:cubicBezTo>
                <a:cubicBezTo>
                  <a:pt x="2384" y="778"/>
                  <a:pt x="2384" y="778"/>
                  <a:pt x="2396" y="778"/>
                </a:cubicBezTo>
                <a:cubicBezTo>
                  <a:pt x="2396" y="778"/>
                  <a:pt x="2396" y="778"/>
                  <a:pt x="2396" y="705"/>
                </a:cubicBezTo>
                <a:close/>
                <a:moveTo>
                  <a:pt x="1961" y="778"/>
                </a:moveTo>
                <a:cubicBezTo>
                  <a:pt x="1954" y="778"/>
                  <a:pt x="1947" y="776"/>
                  <a:pt x="1944" y="770"/>
                </a:cubicBezTo>
                <a:cubicBezTo>
                  <a:pt x="1939" y="763"/>
                  <a:pt x="1937" y="754"/>
                  <a:pt x="1937" y="742"/>
                </a:cubicBezTo>
                <a:cubicBezTo>
                  <a:pt x="1937" y="729"/>
                  <a:pt x="1939" y="719"/>
                  <a:pt x="1944" y="713"/>
                </a:cubicBezTo>
                <a:cubicBezTo>
                  <a:pt x="1948" y="706"/>
                  <a:pt x="1955" y="703"/>
                  <a:pt x="1963" y="703"/>
                </a:cubicBezTo>
                <a:cubicBezTo>
                  <a:pt x="1979" y="703"/>
                  <a:pt x="1988" y="715"/>
                  <a:pt x="1988" y="741"/>
                </a:cubicBezTo>
                <a:cubicBezTo>
                  <a:pt x="1988" y="753"/>
                  <a:pt x="1985" y="762"/>
                  <a:pt x="1981" y="769"/>
                </a:cubicBezTo>
                <a:cubicBezTo>
                  <a:pt x="1976" y="776"/>
                  <a:pt x="1970" y="778"/>
                  <a:pt x="1961" y="778"/>
                </a:cubicBezTo>
                <a:close/>
                <a:moveTo>
                  <a:pt x="1963" y="712"/>
                </a:moveTo>
                <a:cubicBezTo>
                  <a:pt x="1954" y="712"/>
                  <a:pt x="1949" y="722"/>
                  <a:pt x="1949" y="742"/>
                </a:cubicBezTo>
                <a:cubicBezTo>
                  <a:pt x="1949" y="760"/>
                  <a:pt x="1953" y="769"/>
                  <a:pt x="1962" y="769"/>
                </a:cubicBezTo>
                <a:cubicBezTo>
                  <a:pt x="1971" y="769"/>
                  <a:pt x="1975" y="760"/>
                  <a:pt x="1975" y="741"/>
                </a:cubicBezTo>
                <a:cubicBezTo>
                  <a:pt x="1975" y="722"/>
                  <a:pt x="1971" y="712"/>
                  <a:pt x="1963" y="712"/>
                </a:cubicBezTo>
                <a:close/>
                <a:moveTo>
                  <a:pt x="2022" y="705"/>
                </a:moveTo>
                <a:cubicBezTo>
                  <a:pt x="2022" y="705"/>
                  <a:pt x="2022" y="705"/>
                  <a:pt x="2022" y="705"/>
                </a:cubicBezTo>
                <a:cubicBezTo>
                  <a:pt x="2017" y="705"/>
                  <a:pt x="2017" y="705"/>
                  <a:pt x="2017" y="705"/>
                </a:cubicBezTo>
                <a:cubicBezTo>
                  <a:pt x="2015" y="706"/>
                  <a:pt x="2013" y="708"/>
                  <a:pt x="2011" y="709"/>
                </a:cubicBezTo>
                <a:cubicBezTo>
                  <a:pt x="2010" y="710"/>
                  <a:pt x="2008" y="711"/>
                  <a:pt x="2006" y="712"/>
                </a:cubicBezTo>
                <a:cubicBezTo>
                  <a:pt x="2005" y="713"/>
                  <a:pt x="2002" y="714"/>
                  <a:pt x="2001" y="714"/>
                </a:cubicBezTo>
                <a:cubicBezTo>
                  <a:pt x="1999" y="715"/>
                  <a:pt x="1997" y="716"/>
                  <a:pt x="1995" y="716"/>
                </a:cubicBezTo>
                <a:cubicBezTo>
                  <a:pt x="1995" y="716"/>
                  <a:pt x="1995" y="716"/>
                  <a:pt x="1995" y="726"/>
                </a:cubicBezTo>
                <a:cubicBezTo>
                  <a:pt x="1998" y="725"/>
                  <a:pt x="2001" y="725"/>
                  <a:pt x="2004" y="723"/>
                </a:cubicBezTo>
                <a:cubicBezTo>
                  <a:pt x="2006" y="722"/>
                  <a:pt x="2008" y="721"/>
                  <a:pt x="2010" y="720"/>
                </a:cubicBezTo>
                <a:cubicBezTo>
                  <a:pt x="2010" y="720"/>
                  <a:pt x="2010" y="720"/>
                  <a:pt x="2010" y="778"/>
                </a:cubicBezTo>
                <a:cubicBezTo>
                  <a:pt x="2010" y="778"/>
                  <a:pt x="2010" y="778"/>
                  <a:pt x="2022" y="778"/>
                </a:cubicBezTo>
                <a:cubicBezTo>
                  <a:pt x="2022" y="778"/>
                  <a:pt x="2022" y="778"/>
                  <a:pt x="2022" y="705"/>
                </a:cubicBezTo>
                <a:close/>
                <a:moveTo>
                  <a:pt x="2069" y="705"/>
                </a:moveTo>
                <a:cubicBezTo>
                  <a:pt x="2069" y="705"/>
                  <a:pt x="2069" y="705"/>
                  <a:pt x="2069" y="705"/>
                </a:cubicBezTo>
                <a:cubicBezTo>
                  <a:pt x="2064" y="705"/>
                  <a:pt x="2064" y="705"/>
                  <a:pt x="2064" y="705"/>
                </a:cubicBezTo>
                <a:cubicBezTo>
                  <a:pt x="2062" y="706"/>
                  <a:pt x="2060" y="708"/>
                  <a:pt x="2058" y="709"/>
                </a:cubicBezTo>
                <a:cubicBezTo>
                  <a:pt x="2057" y="710"/>
                  <a:pt x="2055" y="711"/>
                  <a:pt x="2053" y="712"/>
                </a:cubicBezTo>
                <a:cubicBezTo>
                  <a:pt x="2052" y="713"/>
                  <a:pt x="2050" y="714"/>
                  <a:pt x="2048" y="714"/>
                </a:cubicBezTo>
                <a:cubicBezTo>
                  <a:pt x="2046" y="715"/>
                  <a:pt x="2044" y="716"/>
                  <a:pt x="2042" y="716"/>
                </a:cubicBezTo>
                <a:cubicBezTo>
                  <a:pt x="2042" y="716"/>
                  <a:pt x="2042" y="716"/>
                  <a:pt x="2042" y="726"/>
                </a:cubicBezTo>
                <a:cubicBezTo>
                  <a:pt x="2045" y="725"/>
                  <a:pt x="2048" y="725"/>
                  <a:pt x="2050" y="723"/>
                </a:cubicBezTo>
                <a:cubicBezTo>
                  <a:pt x="2053" y="722"/>
                  <a:pt x="2055" y="721"/>
                  <a:pt x="2058" y="720"/>
                </a:cubicBezTo>
                <a:cubicBezTo>
                  <a:pt x="2058" y="720"/>
                  <a:pt x="2058" y="720"/>
                  <a:pt x="2058" y="778"/>
                </a:cubicBezTo>
                <a:cubicBezTo>
                  <a:pt x="2058" y="778"/>
                  <a:pt x="2058" y="778"/>
                  <a:pt x="2069" y="778"/>
                </a:cubicBezTo>
                <a:cubicBezTo>
                  <a:pt x="2069" y="778"/>
                  <a:pt x="2069" y="778"/>
                  <a:pt x="2069" y="705"/>
                </a:cubicBezTo>
                <a:close/>
                <a:moveTo>
                  <a:pt x="2115" y="705"/>
                </a:moveTo>
                <a:cubicBezTo>
                  <a:pt x="2115" y="705"/>
                  <a:pt x="2115" y="705"/>
                  <a:pt x="2115" y="705"/>
                </a:cubicBezTo>
                <a:cubicBezTo>
                  <a:pt x="2111" y="705"/>
                  <a:pt x="2111" y="705"/>
                  <a:pt x="2111" y="705"/>
                </a:cubicBezTo>
                <a:cubicBezTo>
                  <a:pt x="2109" y="706"/>
                  <a:pt x="2107" y="708"/>
                  <a:pt x="2105" y="709"/>
                </a:cubicBezTo>
                <a:cubicBezTo>
                  <a:pt x="2103" y="710"/>
                  <a:pt x="2101" y="711"/>
                  <a:pt x="2100" y="712"/>
                </a:cubicBezTo>
                <a:cubicBezTo>
                  <a:pt x="2098" y="712"/>
                  <a:pt x="2096" y="713"/>
                  <a:pt x="2094" y="714"/>
                </a:cubicBezTo>
                <a:cubicBezTo>
                  <a:pt x="2092" y="714"/>
                  <a:pt x="2090" y="715"/>
                  <a:pt x="2089" y="716"/>
                </a:cubicBezTo>
                <a:cubicBezTo>
                  <a:pt x="2089" y="716"/>
                  <a:pt x="2089" y="716"/>
                  <a:pt x="2089" y="726"/>
                </a:cubicBezTo>
                <a:cubicBezTo>
                  <a:pt x="2092" y="725"/>
                  <a:pt x="2095" y="724"/>
                  <a:pt x="2097" y="723"/>
                </a:cubicBezTo>
                <a:cubicBezTo>
                  <a:pt x="2099" y="722"/>
                  <a:pt x="2102" y="721"/>
                  <a:pt x="2103" y="720"/>
                </a:cubicBezTo>
                <a:cubicBezTo>
                  <a:pt x="2103" y="720"/>
                  <a:pt x="2103" y="720"/>
                  <a:pt x="2103" y="778"/>
                </a:cubicBezTo>
                <a:cubicBezTo>
                  <a:pt x="2103" y="778"/>
                  <a:pt x="2103" y="778"/>
                  <a:pt x="2115" y="778"/>
                </a:cubicBezTo>
                <a:cubicBezTo>
                  <a:pt x="2115" y="778"/>
                  <a:pt x="2115" y="778"/>
                  <a:pt x="2115" y="705"/>
                </a:cubicBezTo>
                <a:close/>
                <a:moveTo>
                  <a:pt x="1961" y="1078"/>
                </a:moveTo>
                <a:cubicBezTo>
                  <a:pt x="1954" y="1078"/>
                  <a:pt x="1947" y="1075"/>
                  <a:pt x="1944" y="1069"/>
                </a:cubicBezTo>
                <a:cubicBezTo>
                  <a:pt x="1939" y="1063"/>
                  <a:pt x="1937" y="1054"/>
                  <a:pt x="1937" y="1042"/>
                </a:cubicBezTo>
                <a:cubicBezTo>
                  <a:pt x="1937" y="1028"/>
                  <a:pt x="1939" y="1019"/>
                  <a:pt x="1944" y="1012"/>
                </a:cubicBezTo>
                <a:cubicBezTo>
                  <a:pt x="1948" y="1006"/>
                  <a:pt x="1955" y="1002"/>
                  <a:pt x="1963" y="1002"/>
                </a:cubicBezTo>
                <a:cubicBezTo>
                  <a:pt x="1979" y="1002"/>
                  <a:pt x="1988" y="1015"/>
                  <a:pt x="1988" y="1040"/>
                </a:cubicBezTo>
                <a:cubicBezTo>
                  <a:pt x="1988" y="1052"/>
                  <a:pt x="1985" y="1062"/>
                  <a:pt x="1981" y="1068"/>
                </a:cubicBezTo>
                <a:cubicBezTo>
                  <a:pt x="1976" y="1075"/>
                  <a:pt x="1970" y="1078"/>
                  <a:pt x="1961" y="1078"/>
                </a:cubicBezTo>
                <a:close/>
                <a:moveTo>
                  <a:pt x="1963" y="1012"/>
                </a:moveTo>
                <a:cubicBezTo>
                  <a:pt x="1954" y="1012"/>
                  <a:pt x="1949" y="1022"/>
                  <a:pt x="1949" y="1042"/>
                </a:cubicBezTo>
                <a:cubicBezTo>
                  <a:pt x="1949" y="1060"/>
                  <a:pt x="1953" y="1068"/>
                  <a:pt x="1962" y="1068"/>
                </a:cubicBezTo>
                <a:cubicBezTo>
                  <a:pt x="1971" y="1068"/>
                  <a:pt x="1975" y="1060"/>
                  <a:pt x="1975" y="1041"/>
                </a:cubicBezTo>
                <a:cubicBezTo>
                  <a:pt x="1975" y="1021"/>
                  <a:pt x="1971" y="1012"/>
                  <a:pt x="1963" y="1012"/>
                </a:cubicBezTo>
                <a:close/>
                <a:moveTo>
                  <a:pt x="1963" y="983"/>
                </a:moveTo>
                <a:cubicBezTo>
                  <a:pt x="1956" y="983"/>
                  <a:pt x="1949" y="980"/>
                  <a:pt x="1946" y="974"/>
                </a:cubicBezTo>
                <a:cubicBezTo>
                  <a:pt x="1941" y="968"/>
                  <a:pt x="1939" y="959"/>
                  <a:pt x="1939" y="946"/>
                </a:cubicBezTo>
                <a:cubicBezTo>
                  <a:pt x="1939" y="933"/>
                  <a:pt x="1941" y="924"/>
                  <a:pt x="1946" y="917"/>
                </a:cubicBezTo>
                <a:cubicBezTo>
                  <a:pt x="1950" y="911"/>
                  <a:pt x="1957" y="907"/>
                  <a:pt x="1965" y="907"/>
                </a:cubicBezTo>
                <a:cubicBezTo>
                  <a:pt x="1981" y="907"/>
                  <a:pt x="1989" y="919"/>
                  <a:pt x="1989" y="945"/>
                </a:cubicBezTo>
                <a:cubicBezTo>
                  <a:pt x="1989" y="957"/>
                  <a:pt x="1987" y="967"/>
                  <a:pt x="1983" y="973"/>
                </a:cubicBezTo>
                <a:cubicBezTo>
                  <a:pt x="1978" y="980"/>
                  <a:pt x="1972" y="983"/>
                  <a:pt x="1963" y="983"/>
                </a:cubicBezTo>
                <a:close/>
                <a:moveTo>
                  <a:pt x="1965" y="917"/>
                </a:moveTo>
                <a:cubicBezTo>
                  <a:pt x="1956" y="917"/>
                  <a:pt x="1951" y="927"/>
                  <a:pt x="1951" y="946"/>
                </a:cubicBezTo>
                <a:cubicBezTo>
                  <a:pt x="1951" y="965"/>
                  <a:pt x="1955" y="973"/>
                  <a:pt x="1964" y="973"/>
                </a:cubicBezTo>
                <a:cubicBezTo>
                  <a:pt x="1973" y="973"/>
                  <a:pt x="1977" y="965"/>
                  <a:pt x="1977" y="946"/>
                </a:cubicBezTo>
                <a:cubicBezTo>
                  <a:pt x="1977" y="926"/>
                  <a:pt x="1973" y="917"/>
                  <a:pt x="1965" y="917"/>
                </a:cubicBezTo>
                <a:close/>
                <a:moveTo>
                  <a:pt x="2030" y="671"/>
                </a:moveTo>
                <a:cubicBezTo>
                  <a:pt x="2023" y="671"/>
                  <a:pt x="2016" y="668"/>
                  <a:pt x="2012" y="662"/>
                </a:cubicBezTo>
                <a:cubicBezTo>
                  <a:pt x="2008" y="656"/>
                  <a:pt x="2006" y="647"/>
                  <a:pt x="2006" y="634"/>
                </a:cubicBezTo>
                <a:cubicBezTo>
                  <a:pt x="2006" y="621"/>
                  <a:pt x="2008" y="612"/>
                  <a:pt x="2012" y="605"/>
                </a:cubicBezTo>
                <a:cubicBezTo>
                  <a:pt x="2017" y="599"/>
                  <a:pt x="2023" y="595"/>
                  <a:pt x="2032" y="595"/>
                </a:cubicBezTo>
                <a:cubicBezTo>
                  <a:pt x="2048" y="595"/>
                  <a:pt x="2056" y="607"/>
                  <a:pt x="2056" y="633"/>
                </a:cubicBezTo>
                <a:cubicBezTo>
                  <a:pt x="2056" y="645"/>
                  <a:pt x="2054" y="655"/>
                  <a:pt x="2049" y="661"/>
                </a:cubicBezTo>
                <a:cubicBezTo>
                  <a:pt x="2044" y="668"/>
                  <a:pt x="2038" y="671"/>
                  <a:pt x="2030" y="671"/>
                </a:cubicBezTo>
                <a:close/>
                <a:moveTo>
                  <a:pt x="2031" y="605"/>
                </a:moveTo>
                <a:cubicBezTo>
                  <a:pt x="2022" y="605"/>
                  <a:pt x="2017" y="615"/>
                  <a:pt x="2017" y="634"/>
                </a:cubicBezTo>
                <a:cubicBezTo>
                  <a:pt x="2017" y="653"/>
                  <a:pt x="2022" y="661"/>
                  <a:pt x="2031" y="661"/>
                </a:cubicBezTo>
                <a:cubicBezTo>
                  <a:pt x="2039" y="661"/>
                  <a:pt x="2044" y="653"/>
                  <a:pt x="2044" y="634"/>
                </a:cubicBezTo>
                <a:cubicBezTo>
                  <a:pt x="2044" y="614"/>
                  <a:pt x="2039" y="605"/>
                  <a:pt x="2031" y="605"/>
                </a:cubicBezTo>
                <a:close/>
                <a:moveTo>
                  <a:pt x="2104" y="597"/>
                </a:moveTo>
                <a:cubicBezTo>
                  <a:pt x="2104" y="597"/>
                  <a:pt x="2104" y="597"/>
                  <a:pt x="2104" y="597"/>
                </a:cubicBezTo>
                <a:cubicBezTo>
                  <a:pt x="2099" y="597"/>
                  <a:pt x="2099" y="597"/>
                  <a:pt x="2099" y="597"/>
                </a:cubicBezTo>
                <a:cubicBezTo>
                  <a:pt x="2096" y="599"/>
                  <a:pt x="2095" y="600"/>
                  <a:pt x="2093" y="601"/>
                </a:cubicBezTo>
                <a:cubicBezTo>
                  <a:pt x="2091" y="603"/>
                  <a:pt x="2089" y="603"/>
                  <a:pt x="2088" y="604"/>
                </a:cubicBezTo>
                <a:cubicBezTo>
                  <a:pt x="2086" y="605"/>
                  <a:pt x="2084" y="605"/>
                  <a:pt x="2083" y="606"/>
                </a:cubicBezTo>
                <a:cubicBezTo>
                  <a:pt x="2080" y="607"/>
                  <a:pt x="2079" y="608"/>
                  <a:pt x="2077" y="608"/>
                </a:cubicBezTo>
                <a:cubicBezTo>
                  <a:pt x="2077" y="608"/>
                  <a:pt x="2077" y="608"/>
                  <a:pt x="2077" y="619"/>
                </a:cubicBezTo>
                <a:cubicBezTo>
                  <a:pt x="2080" y="618"/>
                  <a:pt x="2083" y="616"/>
                  <a:pt x="2085" y="616"/>
                </a:cubicBezTo>
                <a:cubicBezTo>
                  <a:pt x="2088" y="615"/>
                  <a:pt x="2090" y="613"/>
                  <a:pt x="2092" y="612"/>
                </a:cubicBezTo>
                <a:cubicBezTo>
                  <a:pt x="2092" y="612"/>
                  <a:pt x="2092" y="612"/>
                  <a:pt x="2092" y="671"/>
                </a:cubicBezTo>
                <a:cubicBezTo>
                  <a:pt x="2092" y="671"/>
                  <a:pt x="2092" y="671"/>
                  <a:pt x="2104" y="671"/>
                </a:cubicBezTo>
                <a:cubicBezTo>
                  <a:pt x="2104" y="671"/>
                  <a:pt x="2104" y="671"/>
                  <a:pt x="2104" y="597"/>
                </a:cubicBezTo>
                <a:close/>
                <a:moveTo>
                  <a:pt x="2151" y="597"/>
                </a:moveTo>
                <a:cubicBezTo>
                  <a:pt x="2151" y="597"/>
                  <a:pt x="2151" y="597"/>
                  <a:pt x="2151" y="597"/>
                </a:cubicBezTo>
                <a:cubicBezTo>
                  <a:pt x="2146" y="597"/>
                  <a:pt x="2146" y="597"/>
                  <a:pt x="2146" y="597"/>
                </a:cubicBezTo>
                <a:cubicBezTo>
                  <a:pt x="2144" y="599"/>
                  <a:pt x="2142" y="600"/>
                  <a:pt x="2140" y="601"/>
                </a:cubicBezTo>
                <a:cubicBezTo>
                  <a:pt x="2139" y="603"/>
                  <a:pt x="2136" y="603"/>
                  <a:pt x="2135" y="604"/>
                </a:cubicBezTo>
                <a:cubicBezTo>
                  <a:pt x="2134" y="605"/>
                  <a:pt x="2131" y="606"/>
                  <a:pt x="2130" y="607"/>
                </a:cubicBezTo>
                <a:cubicBezTo>
                  <a:pt x="2128" y="608"/>
                  <a:pt x="2126" y="608"/>
                  <a:pt x="2124" y="608"/>
                </a:cubicBezTo>
                <a:cubicBezTo>
                  <a:pt x="2124" y="608"/>
                  <a:pt x="2124" y="608"/>
                  <a:pt x="2124" y="619"/>
                </a:cubicBezTo>
                <a:cubicBezTo>
                  <a:pt x="2127" y="618"/>
                  <a:pt x="2130" y="617"/>
                  <a:pt x="2132" y="616"/>
                </a:cubicBezTo>
                <a:cubicBezTo>
                  <a:pt x="2135" y="615"/>
                  <a:pt x="2137" y="613"/>
                  <a:pt x="2139" y="612"/>
                </a:cubicBezTo>
                <a:cubicBezTo>
                  <a:pt x="2139" y="612"/>
                  <a:pt x="2139" y="612"/>
                  <a:pt x="2139" y="671"/>
                </a:cubicBezTo>
                <a:cubicBezTo>
                  <a:pt x="2139" y="671"/>
                  <a:pt x="2139" y="671"/>
                  <a:pt x="2151" y="671"/>
                </a:cubicBezTo>
                <a:cubicBezTo>
                  <a:pt x="2151" y="671"/>
                  <a:pt x="2151" y="671"/>
                  <a:pt x="2151" y="597"/>
                </a:cubicBezTo>
                <a:close/>
                <a:moveTo>
                  <a:pt x="2197" y="597"/>
                </a:moveTo>
                <a:cubicBezTo>
                  <a:pt x="2197" y="597"/>
                  <a:pt x="2197" y="597"/>
                  <a:pt x="2197" y="597"/>
                </a:cubicBezTo>
                <a:cubicBezTo>
                  <a:pt x="2193" y="597"/>
                  <a:pt x="2193" y="597"/>
                  <a:pt x="2193" y="597"/>
                </a:cubicBezTo>
                <a:cubicBezTo>
                  <a:pt x="2191" y="599"/>
                  <a:pt x="2189" y="600"/>
                  <a:pt x="2187" y="601"/>
                </a:cubicBezTo>
                <a:cubicBezTo>
                  <a:pt x="2186" y="603"/>
                  <a:pt x="2184" y="603"/>
                  <a:pt x="2182" y="604"/>
                </a:cubicBezTo>
                <a:cubicBezTo>
                  <a:pt x="2180" y="605"/>
                  <a:pt x="2179" y="606"/>
                  <a:pt x="2176" y="607"/>
                </a:cubicBezTo>
                <a:cubicBezTo>
                  <a:pt x="2175" y="608"/>
                  <a:pt x="2173" y="608"/>
                  <a:pt x="2171" y="608"/>
                </a:cubicBezTo>
                <a:cubicBezTo>
                  <a:pt x="2171" y="608"/>
                  <a:pt x="2171" y="608"/>
                  <a:pt x="2171" y="619"/>
                </a:cubicBezTo>
                <a:cubicBezTo>
                  <a:pt x="2174" y="618"/>
                  <a:pt x="2177" y="617"/>
                  <a:pt x="2179" y="616"/>
                </a:cubicBezTo>
                <a:cubicBezTo>
                  <a:pt x="2181" y="615"/>
                  <a:pt x="2184" y="613"/>
                  <a:pt x="2186" y="612"/>
                </a:cubicBezTo>
                <a:cubicBezTo>
                  <a:pt x="2186" y="612"/>
                  <a:pt x="2186" y="612"/>
                  <a:pt x="2186" y="671"/>
                </a:cubicBezTo>
                <a:cubicBezTo>
                  <a:pt x="2186" y="671"/>
                  <a:pt x="2186" y="671"/>
                  <a:pt x="2197" y="671"/>
                </a:cubicBezTo>
                <a:cubicBezTo>
                  <a:pt x="2197" y="671"/>
                  <a:pt x="2197" y="671"/>
                  <a:pt x="2197" y="597"/>
                </a:cubicBezTo>
                <a:close/>
                <a:moveTo>
                  <a:pt x="2245" y="597"/>
                </a:moveTo>
                <a:cubicBezTo>
                  <a:pt x="2245" y="597"/>
                  <a:pt x="2245" y="597"/>
                  <a:pt x="2245" y="597"/>
                </a:cubicBezTo>
                <a:cubicBezTo>
                  <a:pt x="2240" y="597"/>
                  <a:pt x="2240" y="597"/>
                  <a:pt x="2240" y="597"/>
                </a:cubicBezTo>
                <a:cubicBezTo>
                  <a:pt x="2238" y="599"/>
                  <a:pt x="2236" y="600"/>
                  <a:pt x="2234" y="601"/>
                </a:cubicBezTo>
                <a:cubicBezTo>
                  <a:pt x="2232" y="603"/>
                  <a:pt x="2231" y="603"/>
                  <a:pt x="2229" y="604"/>
                </a:cubicBezTo>
                <a:cubicBezTo>
                  <a:pt x="2227" y="605"/>
                  <a:pt x="2225" y="606"/>
                  <a:pt x="2224" y="607"/>
                </a:cubicBezTo>
                <a:cubicBezTo>
                  <a:pt x="2222" y="608"/>
                  <a:pt x="2220" y="608"/>
                  <a:pt x="2218" y="608"/>
                </a:cubicBezTo>
                <a:cubicBezTo>
                  <a:pt x="2218" y="608"/>
                  <a:pt x="2218" y="608"/>
                  <a:pt x="2218" y="619"/>
                </a:cubicBezTo>
                <a:cubicBezTo>
                  <a:pt x="2221" y="618"/>
                  <a:pt x="2224" y="617"/>
                  <a:pt x="2226" y="616"/>
                </a:cubicBezTo>
                <a:cubicBezTo>
                  <a:pt x="2229" y="615"/>
                  <a:pt x="2231" y="613"/>
                  <a:pt x="2233" y="612"/>
                </a:cubicBezTo>
                <a:cubicBezTo>
                  <a:pt x="2233" y="612"/>
                  <a:pt x="2233" y="612"/>
                  <a:pt x="2233" y="671"/>
                </a:cubicBezTo>
                <a:cubicBezTo>
                  <a:pt x="2233" y="671"/>
                  <a:pt x="2233" y="671"/>
                  <a:pt x="2245" y="671"/>
                </a:cubicBezTo>
                <a:cubicBezTo>
                  <a:pt x="2245" y="671"/>
                  <a:pt x="2245" y="671"/>
                  <a:pt x="2245" y="597"/>
                </a:cubicBezTo>
                <a:close/>
                <a:moveTo>
                  <a:pt x="2368" y="597"/>
                </a:moveTo>
                <a:cubicBezTo>
                  <a:pt x="2368" y="597"/>
                  <a:pt x="2368" y="597"/>
                  <a:pt x="2368" y="597"/>
                </a:cubicBezTo>
                <a:cubicBezTo>
                  <a:pt x="2363" y="597"/>
                  <a:pt x="2363" y="597"/>
                  <a:pt x="2363" y="597"/>
                </a:cubicBezTo>
                <a:cubicBezTo>
                  <a:pt x="2360" y="599"/>
                  <a:pt x="2359" y="600"/>
                  <a:pt x="2357" y="601"/>
                </a:cubicBezTo>
                <a:cubicBezTo>
                  <a:pt x="2355" y="603"/>
                  <a:pt x="2354" y="603"/>
                  <a:pt x="2352" y="604"/>
                </a:cubicBezTo>
                <a:cubicBezTo>
                  <a:pt x="2350" y="605"/>
                  <a:pt x="2348" y="606"/>
                  <a:pt x="2347" y="607"/>
                </a:cubicBezTo>
                <a:cubicBezTo>
                  <a:pt x="2344" y="608"/>
                  <a:pt x="2343" y="608"/>
                  <a:pt x="2341" y="608"/>
                </a:cubicBezTo>
                <a:cubicBezTo>
                  <a:pt x="2341" y="608"/>
                  <a:pt x="2341" y="608"/>
                  <a:pt x="2341" y="619"/>
                </a:cubicBezTo>
                <a:cubicBezTo>
                  <a:pt x="2344" y="618"/>
                  <a:pt x="2347" y="617"/>
                  <a:pt x="2350" y="616"/>
                </a:cubicBezTo>
                <a:cubicBezTo>
                  <a:pt x="2352" y="615"/>
                  <a:pt x="2354" y="613"/>
                  <a:pt x="2356" y="612"/>
                </a:cubicBezTo>
                <a:cubicBezTo>
                  <a:pt x="2356" y="612"/>
                  <a:pt x="2356" y="612"/>
                  <a:pt x="2356" y="671"/>
                </a:cubicBezTo>
                <a:cubicBezTo>
                  <a:pt x="2356" y="671"/>
                  <a:pt x="2356" y="671"/>
                  <a:pt x="2368" y="671"/>
                </a:cubicBezTo>
                <a:cubicBezTo>
                  <a:pt x="2368" y="671"/>
                  <a:pt x="2368" y="671"/>
                  <a:pt x="2368" y="597"/>
                </a:cubicBezTo>
                <a:close/>
                <a:moveTo>
                  <a:pt x="2415" y="597"/>
                </a:moveTo>
                <a:cubicBezTo>
                  <a:pt x="2415" y="597"/>
                  <a:pt x="2415" y="597"/>
                  <a:pt x="2415" y="597"/>
                </a:cubicBezTo>
                <a:cubicBezTo>
                  <a:pt x="2410" y="597"/>
                  <a:pt x="2410" y="597"/>
                  <a:pt x="2410" y="597"/>
                </a:cubicBezTo>
                <a:cubicBezTo>
                  <a:pt x="2408" y="599"/>
                  <a:pt x="2406" y="600"/>
                  <a:pt x="2404" y="601"/>
                </a:cubicBezTo>
                <a:cubicBezTo>
                  <a:pt x="2403" y="603"/>
                  <a:pt x="2401" y="603"/>
                  <a:pt x="2399" y="604"/>
                </a:cubicBezTo>
                <a:cubicBezTo>
                  <a:pt x="2398" y="605"/>
                  <a:pt x="2396" y="606"/>
                  <a:pt x="2394" y="607"/>
                </a:cubicBezTo>
                <a:cubicBezTo>
                  <a:pt x="2392" y="608"/>
                  <a:pt x="2391" y="608"/>
                  <a:pt x="2388" y="608"/>
                </a:cubicBezTo>
                <a:cubicBezTo>
                  <a:pt x="2388" y="608"/>
                  <a:pt x="2388" y="608"/>
                  <a:pt x="2388" y="619"/>
                </a:cubicBezTo>
                <a:cubicBezTo>
                  <a:pt x="2391" y="618"/>
                  <a:pt x="2394" y="617"/>
                  <a:pt x="2396" y="616"/>
                </a:cubicBezTo>
                <a:cubicBezTo>
                  <a:pt x="2399" y="615"/>
                  <a:pt x="2401" y="613"/>
                  <a:pt x="2404" y="612"/>
                </a:cubicBezTo>
                <a:cubicBezTo>
                  <a:pt x="2404" y="612"/>
                  <a:pt x="2404" y="612"/>
                  <a:pt x="2404" y="671"/>
                </a:cubicBezTo>
                <a:cubicBezTo>
                  <a:pt x="2404" y="671"/>
                  <a:pt x="2404" y="671"/>
                  <a:pt x="2415" y="671"/>
                </a:cubicBezTo>
                <a:cubicBezTo>
                  <a:pt x="2415" y="671"/>
                  <a:pt x="2415" y="671"/>
                  <a:pt x="2415" y="597"/>
                </a:cubicBezTo>
                <a:close/>
                <a:moveTo>
                  <a:pt x="2463" y="597"/>
                </a:moveTo>
                <a:cubicBezTo>
                  <a:pt x="2463" y="597"/>
                  <a:pt x="2463" y="597"/>
                  <a:pt x="2463" y="597"/>
                </a:cubicBezTo>
                <a:cubicBezTo>
                  <a:pt x="2458" y="597"/>
                  <a:pt x="2458" y="597"/>
                  <a:pt x="2458" y="597"/>
                </a:cubicBezTo>
                <a:cubicBezTo>
                  <a:pt x="2456" y="599"/>
                  <a:pt x="2454" y="600"/>
                  <a:pt x="2453" y="601"/>
                </a:cubicBezTo>
                <a:cubicBezTo>
                  <a:pt x="2450" y="603"/>
                  <a:pt x="2449" y="603"/>
                  <a:pt x="2447" y="604"/>
                </a:cubicBezTo>
                <a:cubicBezTo>
                  <a:pt x="2445" y="605"/>
                  <a:pt x="2443" y="606"/>
                  <a:pt x="2442" y="607"/>
                </a:cubicBezTo>
                <a:cubicBezTo>
                  <a:pt x="2439" y="608"/>
                  <a:pt x="2438" y="608"/>
                  <a:pt x="2436" y="608"/>
                </a:cubicBezTo>
                <a:cubicBezTo>
                  <a:pt x="2436" y="608"/>
                  <a:pt x="2436" y="608"/>
                  <a:pt x="2436" y="619"/>
                </a:cubicBezTo>
                <a:cubicBezTo>
                  <a:pt x="2439" y="618"/>
                  <a:pt x="2442" y="617"/>
                  <a:pt x="2445" y="616"/>
                </a:cubicBezTo>
                <a:cubicBezTo>
                  <a:pt x="2447" y="615"/>
                  <a:pt x="2449" y="613"/>
                  <a:pt x="2451" y="612"/>
                </a:cubicBezTo>
                <a:cubicBezTo>
                  <a:pt x="2451" y="612"/>
                  <a:pt x="2451" y="612"/>
                  <a:pt x="2451" y="671"/>
                </a:cubicBezTo>
                <a:cubicBezTo>
                  <a:pt x="2451" y="671"/>
                  <a:pt x="2451" y="671"/>
                  <a:pt x="2463" y="671"/>
                </a:cubicBezTo>
                <a:cubicBezTo>
                  <a:pt x="2463" y="671"/>
                  <a:pt x="2463" y="671"/>
                  <a:pt x="2463" y="597"/>
                </a:cubicBezTo>
                <a:close/>
                <a:moveTo>
                  <a:pt x="2509" y="597"/>
                </a:moveTo>
                <a:cubicBezTo>
                  <a:pt x="2509" y="597"/>
                  <a:pt x="2509" y="597"/>
                  <a:pt x="2509" y="597"/>
                </a:cubicBezTo>
                <a:cubicBezTo>
                  <a:pt x="2505" y="597"/>
                  <a:pt x="2505" y="597"/>
                  <a:pt x="2505" y="597"/>
                </a:cubicBezTo>
                <a:cubicBezTo>
                  <a:pt x="2503" y="599"/>
                  <a:pt x="2501" y="600"/>
                  <a:pt x="2499" y="601"/>
                </a:cubicBezTo>
                <a:cubicBezTo>
                  <a:pt x="2498" y="603"/>
                  <a:pt x="2496" y="603"/>
                  <a:pt x="2494" y="604"/>
                </a:cubicBezTo>
                <a:cubicBezTo>
                  <a:pt x="2492" y="605"/>
                  <a:pt x="2491" y="605"/>
                  <a:pt x="2488" y="606"/>
                </a:cubicBezTo>
                <a:cubicBezTo>
                  <a:pt x="2487" y="607"/>
                  <a:pt x="2485" y="608"/>
                  <a:pt x="2483" y="608"/>
                </a:cubicBezTo>
                <a:cubicBezTo>
                  <a:pt x="2483" y="608"/>
                  <a:pt x="2483" y="608"/>
                  <a:pt x="2483" y="619"/>
                </a:cubicBezTo>
                <a:cubicBezTo>
                  <a:pt x="2486" y="618"/>
                  <a:pt x="2489" y="616"/>
                  <a:pt x="2491" y="616"/>
                </a:cubicBezTo>
                <a:cubicBezTo>
                  <a:pt x="2493" y="615"/>
                  <a:pt x="2496" y="613"/>
                  <a:pt x="2498" y="612"/>
                </a:cubicBezTo>
                <a:cubicBezTo>
                  <a:pt x="2498" y="612"/>
                  <a:pt x="2498" y="612"/>
                  <a:pt x="2498" y="671"/>
                </a:cubicBezTo>
                <a:cubicBezTo>
                  <a:pt x="2498" y="671"/>
                  <a:pt x="2498" y="671"/>
                  <a:pt x="2509" y="671"/>
                </a:cubicBezTo>
                <a:cubicBezTo>
                  <a:pt x="2509" y="671"/>
                  <a:pt x="2509" y="671"/>
                  <a:pt x="2509" y="597"/>
                </a:cubicBezTo>
                <a:close/>
                <a:moveTo>
                  <a:pt x="2266" y="630"/>
                </a:moveTo>
                <a:cubicBezTo>
                  <a:pt x="2266" y="630"/>
                  <a:pt x="2266" y="630"/>
                  <a:pt x="2266" y="630"/>
                </a:cubicBezTo>
                <a:cubicBezTo>
                  <a:pt x="2265" y="638"/>
                  <a:pt x="2265" y="638"/>
                  <a:pt x="2265" y="638"/>
                </a:cubicBezTo>
                <a:cubicBezTo>
                  <a:pt x="2272" y="638"/>
                  <a:pt x="2272" y="641"/>
                  <a:pt x="2272" y="644"/>
                </a:cubicBezTo>
                <a:cubicBezTo>
                  <a:pt x="2272" y="646"/>
                  <a:pt x="2272" y="648"/>
                  <a:pt x="2272" y="651"/>
                </a:cubicBezTo>
                <a:cubicBezTo>
                  <a:pt x="2272" y="654"/>
                  <a:pt x="2271" y="656"/>
                  <a:pt x="2271" y="658"/>
                </a:cubicBezTo>
                <a:cubicBezTo>
                  <a:pt x="2271" y="668"/>
                  <a:pt x="2277" y="671"/>
                  <a:pt x="2286" y="671"/>
                </a:cubicBezTo>
                <a:cubicBezTo>
                  <a:pt x="2286" y="671"/>
                  <a:pt x="2286" y="671"/>
                  <a:pt x="2289" y="671"/>
                </a:cubicBezTo>
                <a:cubicBezTo>
                  <a:pt x="2289" y="671"/>
                  <a:pt x="2289" y="671"/>
                  <a:pt x="2289" y="662"/>
                </a:cubicBezTo>
                <a:cubicBezTo>
                  <a:pt x="2289" y="662"/>
                  <a:pt x="2289" y="662"/>
                  <a:pt x="2288" y="662"/>
                </a:cubicBezTo>
                <a:cubicBezTo>
                  <a:pt x="2284" y="662"/>
                  <a:pt x="2283" y="659"/>
                  <a:pt x="2283" y="656"/>
                </a:cubicBezTo>
                <a:cubicBezTo>
                  <a:pt x="2283" y="654"/>
                  <a:pt x="2283" y="653"/>
                  <a:pt x="2284" y="651"/>
                </a:cubicBezTo>
                <a:cubicBezTo>
                  <a:pt x="2284" y="650"/>
                  <a:pt x="2284" y="647"/>
                  <a:pt x="2284" y="645"/>
                </a:cubicBezTo>
                <a:cubicBezTo>
                  <a:pt x="2284" y="638"/>
                  <a:pt x="2281" y="635"/>
                  <a:pt x="2275" y="634"/>
                </a:cubicBezTo>
                <a:cubicBezTo>
                  <a:pt x="2275" y="634"/>
                  <a:pt x="2275" y="634"/>
                  <a:pt x="2275" y="634"/>
                </a:cubicBezTo>
                <a:cubicBezTo>
                  <a:pt x="2281" y="632"/>
                  <a:pt x="2284" y="630"/>
                  <a:pt x="2284" y="623"/>
                </a:cubicBezTo>
                <a:cubicBezTo>
                  <a:pt x="2284" y="620"/>
                  <a:pt x="2284" y="618"/>
                  <a:pt x="2284" y="616"/>
                </a:cubicBezTo>
                <a:cubicBezTo>
                  <a:pt x="2283" y="615"/>
                  <a:pt x="2283" y="613"/>
                  <a:pt x="2283" y="612"/>
                </a:cubicBezTo>
                <a:cubicBezTo>
                  <a:pt x="2283" y="608"/>
                  <a:pt x="2284" y="606"/>
                  <a:pt x="2288" y="606"/>
                </a:cubicBezTo>
                <a:cubicBezTo>
                  <a:pt x="2288" y="606"/>
                  <a:pt x="2288" y="606"/>
                  <a:pt x="2289" y="606"/>
                </a:cubicBezTo>
                <a:cubicBezTo>
                  <a:pt x="2289" y="606"/>
                  <a:pt x="2289" y="606"/>
                  <a:pt x="2289" y="597"/>
                </a:cubicBezTo>
                <a:cubicBezTo>
                  <a:pt x="2289" y="597"/>
                  <a:pt x="2289" y="597"/>
                  <a:pt x="2286" y="597"/>
                </a:cubicBezTo>
                <a:cubicBezTo>
                  <a:pt x="2277" y="597"/>
                  <a:pt x="2271" y="601"/>
                  <a:pt x="2271" y="609"/>
                </a:cubicBezTo>
                <a:cubicBezTo>
                  <a:pt x="2271" y="611"/>
                  <a:pt x="2272" y="614"/>
                  <a:pt x="2272" y="617"/>
                </a:cubicBezTo>
                <a:cubicBezTo>
                  <a:pt x="2272" y="619"/>
                  <a:pt x="2272" y="622"/>
                  <a:pt x="2272" y="623"/>
                </a:cubicBezTo>
                <a:cubicBezTo>
                  <a:pt x="2272" y="626"/>
                  <a:pt x="2272" y="629"/>
                  <a:pt x="2266" y="630"/>
                </a:cubicBezTo>
                <a:close/>
                <a:moveTo>
                  <a:pt x="2320" y="638"/>
                </a:moveTo>
                <a:cubicBezTo>
                  <a:pt x="2320" y="638"/>
                  <a:pt x="2320" y="638"/>
                  <a:pt x="2320" y="638"/>
                </a:cubicBezTo>
                <a:cubicBezTo>
                  <a:pt x="2320" y="630"/>
                  <a:pt x="2320" y="630"/>
                  <a:pt x="2320" y="630"/>
                </a:cubicBezTo>
                <a:cubicBezTo>
                  <a:pt x="2314" y="629"/>
                  <a:pt x="2314" y="626"/>
                  <a:pt x="2314" y="623"/>
                </a:cubicBezTo>
                <a:cubicBezTo>
                  <a:pt x="2314" y="622"/>
                  <a:pt x="2314" y="619"/>
                  <a:pt x="2314" y="617"/>
                </a:cubicBezTo>
                <a:cubicBezTo>
                  <a:pt x="2314" y="614"/>
                  <a:pt x="2314" y="611"/>
                  <a:pt x="2314" y="609"/>
                </a:cubicBezTo>
                <a:cubicBezTo>
                  <a:pt x="2314" y="601"/>
                  <a:pt x="2309" y="597"/>
                  <a:pt x="2300" y="597"/>
                </a:cubicBezTo>
                <a:cubicBezTo>
                  <a:pt x="2300" y="597"/>
                  <a:pt x="2300" y="597"/>
                  <a:pt x="2296" y="597"/>
                </a:cubicBezTo>
                <a:cubicBezTo>
                  <a:pt x="2296" y="597"/>
                  <a:pt x="2296" y="597"/>
                  <a:pt x="2296" y="606"/>
                </a:cubicBezTo>
                <a:cubicBezTo>
                  <a:pt x="2296" y="606"/>
                  <a:pt x="2296" y="606"/>
                  <a:pt x="2298" y="606"/>
                </a:cubicBezTo>
                <a:cubicBezTo>
                  <a:pt x="2301" y="606"/>
                  <a:pt x="2303" y="608"/>
                  <a:pt x="2303" y="612"/>
                </a:cubicBezTo>
                <a:cubicBezTo>
                  <a:pt x="2303" y="613"/>
                  <a:pt x="2302" y="615"/>
                  <a:pt x="2302" y="616"/>
                </a:cubicBezTo>
                <a:cubicBezTo>
                  <a:pt x="2302" y="618"/>
                  <a:pt x="2302" y="620"/>
                  <a:pt x="2302" y="623"/>
                </a:cubicBezTo>
                <a:cubicBezTo>
                  <a:pt x="2302" y="630"/>
                  <a:pt x="2305" y="632"/>
                  <a:pt x="2311" y="634"/>
                </a:cubicBezTo>
                <a:cubicBezTo>
                  <a:pt x="2311" y="634"/>
                  <a:pt x="2311" y="634"/>
                  <a:pt x="2311" y="634"/>
                </a:cubicBezTo>
                <a:cubicBezTo>
                  <a:pt x="2305" y="635"/>
                  <a:pt x="2302" y="638"/>
                  <a:pt x="2302" y="645"/>
                </a:cubicBezTo>
                <a:cubicBezTo>
                  <a:pt x="2302" y="647"/>
                  <a:pt x="2302" y="650"/>
                  <a:pt x="2302" y="651"/>
                </a:cubicBezTo>
                <a:cubicBezTo>
                  <a:pt x="2302" y="653"/>
                  <a:pt x="2303" y="654"/>
                  <a:pt x="2303" y="656"/>
                </a:cubicBezTo>
                <a:cubicBezTo>
                  <a:pt x="2303" y="659"/>
                  <a:pt x="2302" y="662"/>
                  <a:pt x="2298" y="662"/>
                </a:cubicBezTo>
                <a:cubicBezTo>
                  <a:pt x="2298" y="662"/>
                  <a:pt x="2298" y="662"/>
                  <a:pt x="2296" y="662"/>
                </a:cubicBezTo>
                <a:cubicBezTo>
                  <a:pt x="2296" y="662"/>
                  <a:pt x="2296" y="662"/>
                  <a:pt x="2296" y="671"/>
                </a:cubicBezTo>
                <a:cubicBezTo>
                  <a:pt x="2296" y="671"/>
                  <a:pt x="2296" y="671"/>
                  <a:pt x="2300" y="671"/>
                </a:cubicBezTo>
                <a:cubicBezTo>
                  <a:pt x="2309" y="671"/>
                  <a:pt x="2314" y="668"/>
                  <a:pt x="2314" y="658"/>
                </a:cubicBezTo>
                <a:cubicBezTo>
                  <a:pt x="2314" y="656"/>
                  <a:pt x="2314" y="654"/>
                  <a:pt x="2314" y="651"/>
                </a:cubicBezTo>
                <a:cubicBezTo>
                  <a:pt x="2314" y="648"/>
                  <a:pt x="2314" y="646"/>
                  <a:pt x="2314" y="644"/>
                </a:cubicBezTo>
                <a:cubicBezTo>
                  <a:pt x="2314" y="641"/>
                  <a:pt x="2314" y="638"/>
                  <a:pt x="2320" y="638"/>
                </a:cubicBezTo>
                <a:close/>
                <a:moveTo>
                  <a:pt x="2647" y="630"/>
                </a:moveTo>
                <a:cubicBezTo>
                  <a:pt x="2647" y="630"/>
                  <a:pt x="2647" y="630"/>
                  <a:pt x="2647" y="630"/>
                </a:cubicBezTo>
                <a:cubicBezTo>
                  <a:pt x="2647" y="638"/>
                  <a:pt x="2647" y="638"/>
                  <a:pt x="2647" y="638"/>
                </a:cubicBezTo>
                <a:cubicBezTo>
                  <a:pt x="2653" y="638"/>
                  <a:pt x="2654" y="641"/>
                  <a:pt x="2654" y="644"/>
                </a:cubicBezTo>
                <a:cubicBezTo>
                  <a:pt x="2654" y="646"/>
                  <a:pt x="2654" y="648"/>
                  <a:pt x="2654" y="651"/>
                </a:cubicBezTo>
                <a:cubicBezTo>
                  <a:pt x="2653" y="654"/>
                  <a:pt x="2653" y="656"/>
                  <a:pt x="2653" y="658"/>
                </a:cubicBezTo>
                <a:cubicBezTo>
                  <a:pt x="2653" y="668"/>
                  <a:pt x="2659" y="671"/>
                  <a:pt x="2667" y="671"/>
                </a:cubicBezTo>
                <a:cubicBezTo>
                  <a:pt x="2667" y="671"/>
                  <a:pt x="2667" y="671"/>
                  <a:pt x="2671" y="671"/>
                </a:cubicBezTo>
                <a:cubicBezTo>
                  <a:pt x="2671" y="671"/>
                  <a:pt x="2671" y="671"/>
                  <a:pt x="2671" y="662"/>
                </a:cubicBezTo>
                <a:cubicBezTo>
                  <a:pt x="2671" y="662"/>
                  <a:pt x="2671" y="662"/>
                  <a:pt x="2670" y="662"/>
                </a:cubicBezTo>
                <a:cubicBezTo>
                  <a:pt x="2666" y="662"/>
                  <a:pt x="2665" y="659"/>
                  <a:pt x="2665" y="656"/>
                </a:cubicBezTo>
                <a:cubicBezTo>
                  <a:pt x="2665" y="654"/>
                  <a:pt x="2665" y="653"/>
                  <a:pt x="2665" y="651"/>
                </a:cubicBezTo>
                <a:cubicBezTo>
                  <a:pt x="2665" y="650"/>
                  <a:pt x="2666" y="647"/>
                  <a:pt x="2666" y="645"/>
                </a:cubicBezTo>
                <a:cubicBezTo>
                  <a:pt x="2666" y="638"/>
                  <a:pt x="2663" y="635"/>
                  <a:pt x="2657" y="634"/>
                </a:cubicBezTo>
                <a:cubicBezTo>
                  <a:pt x="2657" y="634"/>
                  <a:pt x="2657" y="634"/>
                  <a:pt x="2657" y="634"/>
                </a:cubicBezTo>
                <a:cubicBezTo>
                  <a:pt x="2663" y="632"/>
                  <a:pt x="2666" y="630"/>
                  <a:pt x="2666" y="623"/>
                </a:cubicBezTo>
                <a:cubicBezTo>
                  <a:pt x="2666" y="620"/>
                  <a:pt x="2665" y="618"/>
                  <a:pt x="2665" y="616"/>
                </a:cubicBezTo>
                <a:cubicBezTo>
                  <a:pt x="2665" y="615"/>
                  <a:pt x="2665" y="613"/>
                  <a:pt x="2665" y="612"/>
                </a:cubicBezTo>
                <a:cubicBezTo>
                  <a:pt x="2665" y="608"/>
                  <a:pt x="2666" y="606"/>
                  <a:pt x="2670" y="606"/>
                </a:cubicBezTo>
                <a:cubicBezTo>
                  <a:pt x="2670" y="606"/>
                  <a:pt x="2670" y="606"/>
                  <a:pt x="2671" y="606"/>
                </a:cubicBezTo>
                <a:cubicBezTo>
                  <a:pt x="2671" y="606"/>
                  <a:pt x="2671" y="606"/>
                  <a:pt x="2671" y="597"/>
                </a:cubicBezTo>
                <a:cubicBezTo>
                  <a:pt x="2671" y="597"/>
                  <a:pt x="2671" y="597"/>
                  <a:pt x="2667" y="597"/>
                </a:cubicBezTo>
                <a:cubicBezTo>
                  <a:pt x="2658" y="597"/>
                  <a:pt x="2653" y="601"/>
                  <a:pt x="2653" y="609"/>
                </a:cubicBezTo>
                <a:cubicBezTo>
                  <a:pt x="2653" y="611"/>
                  <a:pt x="2653" y="614"/>
                  <a:pt x="2653" y="617"/>
                </a:cubicBezTo>
                <a:cubicBezTo>
                  <a:pt x="2654" y="619"/>
                  <a:pt x="2654" y="622"/>
                  <a:pt x="2654" y="623"/>
                </a:cubicBezTo>
                <a:cubicBezTo>
                  <a:pt x="2654" y="626"/>
                  <a:pt x="2653" y="629"/>
                  <a:pt x="2647" y="630"/>
                </a:cubicBezTo>
                <a:close/>
                <a:moveTo>
                  <a:pt x="2702" y="638"/>
                </a:moveTo>
                <a:cubicBezTo>
                  <a:pt x="2702" y="638"/>
                  <a:pt x="2702" y="638"/>
                  <a:pt x="2702" y="638"/>
                </a:cubicBezTo>
                <a:cubicBezTo>
                  <a:pt x="2702" y="630"/>
                  <a:pt x="2702" y="630"/>
                  <a:pt x="2702" y="630"/>
                </a:cubicBezTo>
                <a:cubicBezTo>
                  <a:pt x="2696" y="629"/>
                  <a:pt x="2695" y="626"/>
                  <a:pt x="2695" y="623"/>
                </a:cubicBezTo>
                <a:cubicBezTo>
                  <a:pt x="2695" y="622"/>
                  <a:pt x="2695" y="619"/>
                  <a:pt x="2696" y="617"/>
                </a:cubicBezTo>
                <a:cubicBezTo>
                  <a:pt x="2696" y="614"/>
                  <a:pt x="2696" y="611"/>
                  <a:pt x="2696" y="609"/>
                </a:cubicBezTo>
                <a:cubicBezTo>
                  <a:pt x="2696" y="601"/>
                  <a:pt x="2691" y="597"/>
                  <a:pt x="2682" y="597"/>
                </a:cubicBezTo>
                <a:cubicBezTo>
                  <a:pt x="2682" y="597"/>
                  <a:pt x="2682" y="597"/>
                  <a:pt x="2678" y="597"/>
                </a:cubicBezTo>
                <a:cubicBezTo>
                  <a:pt x="2678" y="597"/>
                  <a:pt x="2678" y="597"/>
                  <a:pt x="2678" y="606"/>
                </a:cubicBezTo>
                <a:cubicBezTo>
                  <a:pt x="2678" y="606"/>
                  <a:pt x="2678" y="606"/>
                  <a:pt x="2679" y="606"/>
                </a:cubicBezTo>
                <a:cubicBezTo>
                  <a:pt x="2683" y="606"/>
                  <a:pt x="2685" y="608"/>
                  <a:pt x="2685" y="612"/>
                </a:cubicBezTo>
                <a:cubicBezTo>
                  <a:pt x="2685" y="613"/>
                  <a:pt x="2684" y="615"/>
                  <a:pt x="2684" y="616"/>
                </a:cubicBezTo>
                <a:cubicBezTo>
                  <a:pt x="2684" y="618"/>
                  <a:pt x="2684" y="620"/>
                  <a:pt x="2684" y="623"/>
                </a:cubicBezTo>
                <a:cubicBezTo>
                  <a:pt x="2684" y="630"/>
                  <a:pt x="2686" y="632"/>
                  <a:pt x="2692" y="634"/>
                </a:cubicBezTo>
                <a:cubicBezTo>
                  <a:pt x="2692" y="634"/>
                  <a:pt x="2692" y="634"/>
                  <a:pt x="2692" y="634"/>
                </a:cubicBezTo>
                <a:cubicBezTo>
                  <a:pt x="2686" y="635"/>
                  <a:pt x="2684" y="638"/>
                  <a:pt x="2684" y="645"/>
                </a:cubicBezTo>
                <a:cubicBezTo>
                  <a:pt x="2684" y="647"/>
                  <a:pt x="2684" y="650"/>
                  <a:pt x="2684" y="651"/>
                </a:cubicBezTo>
                <a:cubicBezTo>
                  <a:pt x="2684" y="653"/>
                  <a:pt x="2685" y="654"/>
                  <a:pt x="2685" y="656"/>
                </a:cubicBezTo>
                <a:cubicBezTo>
                  <a:pt x="2685" y="659"/>
                  <a:pt x="2683" y="662"/>
                  <a:pt x="2679" y="662"/>
                </a:cubicBezTo>
                <a:cubicBezTo>
                  <a:pt x="2679" y="662"/>
                  <a:pt x="2679" y="662"/>
                  <a:pt x="2678" y="662"/>
                </a:cubicBezTo>
                <a:cubicBezTo>
                  <a:pt x="2678" y="662"/>
                  <a:pt x="2678" y="662"/>
                  <a:pt x="2678" y="671"/>
                </a:cubicBezTo>
                <a:cubicBezTo>
                  <a:pt x="2678" y="671"/>
                  <a:pt x="2678" y="671"/>
                  <a:pt x="2682" y="671"/>
                </a:cubicBezTo>
                <a:cubicBezTo>
                  <a:pt x="2691" y="671"/>
                  <a:pt x="2696" y="668"/>
                  <a:pt x="2696" y="658"/>
                </a:cubicBezTo>
                <a:cubicBezTo>
                  <a:pt x="2696" y="656"/>
                  <a:pt x="2696" y="654"/>
                  <a:pt x="2696" y="651"/>
                </a:cubicBezTo>
                <a:cubicBezTo>
                  <a:pt x="2695" y="648"/>
                  <a:pt x="2695" y="646"/>
                  <a:pt x="2695" y="644"/>
                </a:cubicBezTo>
                <a:cubicBezTo>
                  <a:pt x="2695" y="641"/>
                  <a:pt x="2696" y="638"/>
                  <a:pt x="2702" y="638"/>
                </a:cubicBezTo>
                <a:close/>
                <a:moveTo>
                  <a:pt x="2750" y="597"/>
                </a:moveTo>
                <a:cubicBezTo>
                  <a:pt x="2750" y="597"/>
                  <a:pt x="2750" y="597"/>
                  <a:pt x="2750" y="597"/>
                </a:cubicBezTo>
                <a:cubicBezTo>
                  <a:pt x="2745" y="597"/>
                  <a:pt x="2745" y="597"/>
                  <a:pt x="2745" y="597"/>
                </a:cubicBezTo>
                <a:cubicBezTo>
                  <a:pt x="2742" y="599"/>
                  <a:pt x="2741" y="600"/>
                  <a:pt x="2739" y="601"/>
                </a:cubicBezTo>
                <a:cubicBezTo>
                  <a:pt x="2737" y="603"/>
                  <a:pt x="2735" y="603"/>
                  <a:pt x="2734" y="604"/>
                </a:cubicBezTo>
                <a:cubicBezTo>
                  <a:pt x="2731" y="605"/>
                  <a:pt x="2730" y="605"/>
                  <a:pt x="2728" y="606"/>
                </a:cubicBezTo>
                <a:cubicBezTo>
                  <a:pt x="2726" y="607"/>
                  <a:pt x="2725" y="608"/>
                  <a:pt x="2722" y="608"/>
                </a:cubicBezTo>
                <a:cubicBezTo>
                  <a:pt x="2722" y="608"/>
                  <a:pt x="2722" y="608"/>
                  <a:pt x="2722" y="619"/>
                </a:cubicBezTo>
                <a:cubicBezTo>
                  <a:pt x="2725" y="618"/>
                  <a:pt x="2728" y="616"/>
                  <a:pt x="2731" y="616"/>
                </a:cubicBezTo>
                <a:cubicBezTo>
                  <a:pt x="2734" y="615"/>
                  <a:pt x="2736" y="613"/>
                  <a:pt x="2738" y="612"/>
                </a:cubicBezTo>
                <a:cubicBezTo>
                  <a:pt x="2738" y="612"/>
                  <a:pt x="2738" y="612"/>
                  <a:pt x="2738" y="671"/>
                </a:cubicBezTo>
                <a:cubicBezTo>
                  <a:pt x="2738" y="671"/>
                  <a:pt x="2738" y="671"/>
                  <a:pt x="2750" y="671"/>
                </a:cubicBezTo>
                <a:cubicBezTo>
                  <a:pt x="2750" y="671"/>
                  <a:pt x="2750" y="671"/>
                  <a:pt x="2750" y="597"/>
                </a:cubicBezTo>
                <a:close/>
                <a:moveTo>
                  <a:pt x="2796" y="597"/>
                </a:moveTo>
                <a:cubicBezTo>
                  <a:pt x="2796" y="597"/>
                  <a:pt x="2796" y="597"/>
                  <a:pt x="2796" y="597"/>
                </a:cubicBezTo>
                <a:cubicBezTo>
                  <a:pt x="2791" y="597"/>
                  <a:pt x="2791" y="597"/>
                  <a:pt x="2791" y="597"/>
                </a:cubicBezTo>
                <a:cubicBezTo>
                  <a:pt x="2789" y="599"/>
                  <a:pt x="2788" y="600"/>
                  <a:pt x="2786" y="601"/>
                </a:cubicBezTo>
                <a:cubicBezTo>
                  <a:pt x="2784" y="603"/>
                  <a:pt x="2782" y="603"/>
                  <a:pt x="2781" y="604"/>
                </a:cubicBezTo>
                <a:cubicBezTo>
                  <a:pt x="2779" y="605"/>
                  <a:pt x="2777" y="606"/>
                  <a:pt x="2776" y="607"/>
                </a:cubicBezTo>
                <a:cubicBezTo>
                  <a:pt x="2774" y="608"/>
                  <a:pt x="2772" y="608"/>
                  <a:pt x="2770" y="608"/>
                </a:cubicBezTo>
                <a:cubicBezTo>
                  <a:pt x="2770" y="608"/>
                  <a:pt x="2770" y="608"/>
                  <a:pt x="2770" y="619"/>
                </a:cubicBezTo>
                <a:cubicBezTo>
                  <a:pt x="2773" y="618"/>
                  <a:pt x="2776" y="617"/>
                  <a:pt x="2778" y="616"/>
                </a:cubicBezTo>
                <a:cubicBezTo>
                  <a:pt x="2781" y="615"/>
                  <a:pt x="2783" y="613"/>
                  <a:pt x="2785" y="612"/>
                </a:cubicBezTo>
                <a:cubicBezTo>
                  <a:pt x="2785" y="612"/>
                  <a:pt x="2785" y="612"/>
                  <a:pt x="2785" y="671"/>
                </a:cubicBezTo>
                <a:cubicBezTo>
                  <a:pt x="2785" y="671"/>
                  <a:pt x="2785" y="671"/>
                  <a:pt x="2796" y="671"/>
                </a:cubicBezTo>
                <a:cubicBezTo>
                  <a:pt x="2796" y="671"/>
                  <a:pt x="2796" y="671"/>
                  <a:pt x="2796" y="597"/>
                </a:cubicBezTo>
                <a:close/>
                <a:moveTo>
                  <a:pt x="2843" y="597"/>
                </a:moveTo>
                <a:cubicBezTo>
                  <a:pt x="2843" y="597"/>
                  <a:pt x="2843" y="597"/>
                  <a:pt x="2843" y="597"/>
                </a:cubicBezTo>
                <a:cubicBezTo>
                  <a:pt x="2839" y="597"/>
                  <a:pt x="2839" y="597"/>
                  <a:pt x="2839" y="597"/>
                </a:cubicBezTo>
                <a:cubicBezTo>
                  <a:pt x="2836" y="599"/>
                  <a:pt x="2835" y="600"/>
                  <a:pt x="2833" y="601"/>
                </a:cubicBezTo>
                <a:cubicBezTo>
                  <a:pt x="2831" y="603"/>
                  <a:pt x="2829" y="603"/>
                  <a:pt x="2828" y="604"/>
                </a:cubicBezTo>
                <a:cubicBezTo>
                  <a:pt x="2826" y="605"/>
                  <a:pt x="2824" y="606"/>
                  <a:pt x="2822" y="607"/>
                </a:cubicBezTo>
                <a:cubicBezTo>
                  <a:pt x="2821" y="608"/>
                  <a:pt x="2818" y="608"/>
                  <a:pt x="2817" y="608"/>
                </a:cubicBezTo>
                <a:cubicBezTo>
                  <a:pt x="2817" y="608"/>
                  <a:pt x="2817" y="608"/>
                  <a:pt x="2817" y="619"/>
                </a:cubicBezTo>
                <a:cubicBezTo>
                  <a:pt x="2820" y="618"/>
                  <a:pt x="2823" y="617"/>
                  <a:pt x="2825" y="616"/>
                </a:cubicBezTo>
                <a:cubicBezTo>
                  <a:pt x="2827" y="615"/>
                  <a:pt x="2830" y="613"/>
                  <a:pt x="2831" y="612"/>
                </a:cubicBezTo>
                <a:cubicBezTo>
                  <a:pt x="2831" y="612"/>
                  <a:pt x="2831" y="612"/>
                  <a:pt x="2831" y="671"/>
                </a:cubicBezTo>
                <a:cubicBezTo>
                  <a:pt x="2831" y="671"/>
                  <a:pt x="2831" y="671"/>
                  <a:pt x="2843" y="671"/>
                </a:cubicBezTo>
                <a:cubicBezTo>
                  <a:pt x="2843" y="671"/>
                  <a:pt x="2843" y="671"/>
                  <a:pt x="2843" y="597"/>
                </a:cubicBezTo>
                <a:close/>
                <a:moveTo>
                  <a:pt x="2966" y="597"/>
                </a:moveTo>
                <a:cubicBezTo>
                  <a:pt x="2966" y="597"/>
                  <a:pt x="2966" y="597"/>
                  <a:pt x="2966" y="597"/>
                </a:cubicBezTo>
                <a:cubicBezTo>
                  <a:pt x="2961" y="597"/>
                  <a:pt x="2961" y="597"/>
                  <a:pt x="2961" y="597"/>
                </a:cubicBezTo>
                <a:cubicBezTo>
                  <a:pt x="2959" y="599"/>
                  <a:pt x="2957" y="600"/>
                  <a:pt x="2955" y="601"/>
                </a:cubicBezTo>
                <a:cubicBezTo>
                  <a:pt x="2954" y="603"/>
                  <a:pt x="2952" y="603"/>
                  <a:pt x="2950" y="604"/>
                </a:cubicBezTo>
                <a:cubicBezTo>
                  <a:pt x="2949" y="605"/>
                  <a:pt x="2946" y="606"/>
                  <a:pt x="2945" y="607"/>
                </a:cubicBezTo>
                <a:cubicBezTo>
                  <a:pt x="2943" y="608"/>
                  <a:pt x="2941" y="608"/>
                  <a:pt x="2939" y="608"/>
                </a:cubicBezTo>
                <a:cubicBezTo>
                  <a:pt x="2939" y="608"/>
                  <a:pt x="2939" y="608"/>
                  <a:pt x="2939" y="619"/>
                </a:cubicBezTo>
                <a:cubicBezTo>
                  <a:pt x="2942" y="618"/>
                  <a:pt x="2945" y="617"/>
                  <a:pt x="2948" y="616"/>
                </a:cubicBezTo>
                <a:cubicBezTo>
                  <a:pt x="2950" y="615"/>
                  <a:pt x="2952" y="613"/>
                  <a:pt x="2954" y="612"/>
                </a:cubicBezTo>
                <a:cubicBezTo>
                  <a:pt x="2954" y="612"/>
                  <a:pt x="2954" y="612"/>
                  <a:pt x="2954" y="671"/>
                </a:cubicBezTo>
                <a:cubicBezTo>
                  <a:pt x="2954" y="671"/>
                  <a:pt x="2954" y="671"/>
                  <a:pt x="2966" y="671"/>
                </a:cubicBezTo>
                <a:cubicBezTo>
                  <a:pt x="2966" y="671"/>
                  <a:pt x="2966" y="671"/>
                  <a:pt x="2966" y="597"/>
                </a:cubicBezTo>
                <a:close/>
                <a:moveTo>
                  <a:pt x="3014" y="597"/>
                </a:moveTo>
                <a:cubicBezTo>
                  <a:pt x="3014" y="597"/>
                  <a:pt x="3014" y="597"/>
                  <a:pt x="3014" y="597"/>
                </a:cubicBezTo>
                <a:cubicBezTo>
                  <a:pt x="3009" y="597"/>
                  <a:pt x="3009" y="597"/>
                  <a:pt x="3009" y="597"/>
                </a:cubicBezTo>
                <a:cubicBezTo>
                  <a:pt x="3006" y="599"/>
                  <a:pt x="3005" y="600"/>
                  <a:pt x="3003" y="601"/>
                </a:cubicBezTo>
                <a:cubicBezTo>
                  <a:pt x="3001" y="603"/>
                  <a:pt x="2999" y="603"/>
                  <a:pt x="2998" y="604"/>
                </a:cubicBezTo>
                <a:cubicBezTo>
                  <a:pt x="2996" y="605"/>
                  <a:pt x="2994" y="606"/>
                  <a:pt x="2992" y="607"/>
                </a:cubicBezTo>
                <a:cubicBezTo>
                  <a:pt x="2990" y="608"/>
                  <a:pt x="2989" y="608"/>
                  <a:pt x="2986" y="608"/>
                </a:cubicBezTo>
                <a:cubicBezTo>
                  <a:pt x="2986" y="608"/>
                  <a:pt x="2986" y="608"/>
                  <a:pt x="2986" y="619"/>
                </a:cubicBezTo>
                <a:cubicBezTo>
                  <a:pt x="2989" y="618"/>
                  <a:pt x="2992" y="617"/>
                  <a:pt x="2995" y="616"/>
                </a:cubicBezTo>
                <a:cubicBezTo>
                  <a:pt x="2998" y="615"/>
                  <a:pt x="3000" y="613"/>
                  <a:pt x="3002" y="612"/>
                </a:cubicBezTo>
                <a:cubicBezTo>
                  <a:pt x="3002" y="612"/>
                  <a:pt x="3002" y="612"/>
                  <a:pt x="3002" y="671"/>
                </a:cubicBezTo>
                <a:cubicBezTo>
                  <a:pt x="3002" y="671"/>
                  <a:pt x="3002" y="671"/>
                  <a:pt x="3014" y="671"/>
                </a:cubicBezTo>
                <a:cubicBezTo>
                  <a:pt x="3014" y="671"/>
                  <a:pt x="3014" y="671"/>
                  <a:pt x="3014" y="597"/>
                </a:cubicBezTo>
                <a:close/>
                <a:moveTo>
                  <a:pt x="3060" y="597"/>
                </a:moveTo>
                <a:cubicBezTo>
                  <a:pt x="3060" y="597"/>
                  <a:pt x="3060" y="597"/>
                  <a:pt x="3060" y="597"/>
                </a:cubicBezTo>
                <a:cubicBezTo>
                  <a:pt x="3056" y="597"/>
                  <a:pt x="3056" y="597"/>
                  <a:pt x="3056" y="597"/>
                </a:cubicBezTo>
                <a:cubicBezTo>
                  <a:pt x="3053" y="599"/>
                  <a:pt x="3052" y="600"/>
                  <a:pt x="3050" y="601"/>
                </a:cubicBezTo>
                <a:cubicBezTo>
                  <a:pt x="3048" y="603"/>
                  <a:pt x="3046" y="603"/>
                  <a:pt x="3045" y="604"/>
                </a:cubicBezTo>
                <a:cubicBezTo>
                  <a:pt x="3043" y="605"/>
                  <a:pt x="3041" y="605"/>
                  <a:pt x="3039" y="606"/>
                </a:cubicBezTo>
                <a:cubicBezTo>
                  <a:pt x="3038" y="607"/>
                  <a:pt x="3035" y="608"/>
                  <a:pt x="3034" y="608"/>
                </a:cubicBezTo>
                <a:cubicBezTo>
                  <a:pt x="3034" y="608"/>
                  <a:pt x="3034" y="608"/>
                  <a:pt x="3034" y="619"/>
                </a:cubicBezTo>
                <a:cubicBezTo>
                  <a:pt x="3037" y="618"/>
                  <a:pt x="3040" y="616"/>
                  <a:pt x="3042" y="616"/>
                </a:cubicBezTo>
                <a:cubicBezTo>
                  <a:pt x="3044" y="615"/>
                  <a:pt x="3047" y="613"/>
                  <a:pt x="3048" y="612"/>
                </a:cubicBezTo>
                <a:cubicBezTo>
                  <a:pt x="3048" y="612"/>
                  <a:pt x="3048" y="612"/>
                  <a:pt x="3048" y="671"/>
                </a:cubicBezTo>
                <a:cubicBezTo>
                  <a:pt x="3048" y="671"/>
                  <a:pt x="3048" y="671"/>
                  <a:pt x="3060" y="671"/>
                </a:cubicBezTo>
                <a:cubicBezTo>
                  <a:pt x="3060" y="671"/>
                  <a:pt x="3060" y="671"/>
                  <a:pt x="3060" y="597"/>
                </a:cubicBezTo>
                <a:close/>
                <a:moveTo>
                  <a:pt x="3105" y="671"/>
                </a:moveTo>
                <a:cubicBezTo>
                  <a:pt x="3097" y="671"/>
                  <a:pt x="3091" y="668"/>
                  <a:pt x="3086" y="662"/>
                </a:cubicBezTo>
                <a:cubicBezTo>
                  <a:pt x="3083" y="656"/>
                  <a:pt x="3080" y="647"/>
                  <a:pt x="3080" y="634"/>
                </a:cubicBezTo>
                <a:cubicBezTo>
                  <a:pt x="3080" y="621"/>
                  <a:pt x="3083" y="612"/>
                  <a:pt x="3087" y="605"/>
                </a:cubicBezTo>
                <a:cubicBezTo>
                  <a:pt x="3091" y="599"/>
                  <a:pt x="3098" y="595"/>
                  <a:pt x="3107" y="595"/>
                </a:cubicBezTo>
                <a:cubicBezTo>
                  <a:pt x="3123" y="595"/>
                  <a:pt x="3131" y="607"/>
                  <a:pt x="3131" y="633"/>
                </a:cubicBezTo>
                <a:cubicBezTo>
                  <a:pt x="3131" y="645"/>
                  <a:pt x="3129" y="655"/>
                  <a:pt x="3124" y="661"/>
                </a:cubicBezTo>
                <a:cubicBezTo>
                  <a:pt x="3119" y="668"/>
                  <a:pt x="3113" y="671"/>
                  <a:pt x="3105" y="671"/>
                </a:cubicBezTo>
                <a:close/>
                <a:moveTo>
                  <a:pt x="3106" y="605"/>
                </a:moveTo>
                <a:cubicBezTo>
                  <a:pt x="3097" y="605"/>
                  <a:pt x="3092" y="615"/>
                  <a:pt x="3092" y="634"/>
                </a:cubicBezTo>
                <a:cubicBezTo>
                  <a:pt x="3092" y="653"/>
                  <a:pt x="3097" y="661"/>
                  <a:pt x="3105" y="661"/>
                </a:cubicBezTo>
                <a:cubicBezTo>
                  <a:pt x="3114" y="661"/>
                  <a:pt x="3118" y="653"/>
                  <a:pt x="3118" y="634"/>
                </a:cubicBezTo>
                <a:cubicBezTo>
                  <a:pt x="3118" y="614"/>
                  <a:pt x="3114" y="605"/>
                  <a:pt x="3106" y="605"/>
                </a:cubicBezTo>
                <a:close/>
                <a:moveTo>
                  <a:pt x="3176" y="671"/>
                </a:moveTo>
                <a:cubicBezTo>
                  <a:pt x="3168" y="671"/>
                  <a:pt x="3162" y="668"/>
                  <a:pt x="3158" y="662"/>
                </a:cubicBezTo>
                <a:cubicBezTo>
                  <a:pt x="3154" y="656"/>
                  <a:pt x="3152" y="647"/>
                  <a:pt x="3152" y="634"/>
                </a:cubicBezTo>
                <a:cubicBezTo>
                  <a:pt x="3152" y="621"/>
                  <a:pt x="3154" y="612"/>
                  <a:pt x="3158" y="605"/>
                </a:cubicBezTo>
                <a:cubicBezTo>
                  <a:pt x="3162" y="599"/>
                  <a:pt x="3169" y="595"/>
                  <a:pt x="3178" y="595"/>
                </a:cubicBezTo>
                <a:cubicBezTo>
                  <a:pt x="3194" y="595"/>
                  <a:pt x="3202" y="607"/>
                  <a:pt x="3202" y="633"/>
                </a:cubicBezTo>
                <a:cubicBezTo>
                  <a:pt x="3202" y="645"/>
                  <a:pt x="3200" y="655"/>
                  <a:pt x="3195" y="661"/>
                </a:cubicBezTo>
                <a:cubicBezTo>
                  <a:pt x="3190" y="668"/>
                  <a:pt x="3184" y="671"/>
                  <a:pt x="3176" y="671"/>
                </a:cubicBezTo>
                <a:close/>
                <a:moveTo>
                  <a:pt x="3177" y="605"/>
                </a:moveTo>
                <a:cubicBezTo>
                  <a:pt x="3168" y="605"/>
                  <a:pt x="3163" y="615"/>
                  <a:pt x="3163" y="634"/>
                </a:cubicBezTo>
                <a:cubicBezTo>
                  <a:pt x="3163" y="653"/>
                  <a:pt x="3168" y="661"/>
                  <a:pt x="3176" y="661"/>
                </a:cubicBezTo>
                <a:cubicBezTo>
                  <a:pt x="3185" y="661"/>
                  <a:pt x="3190" y="653"/>
                  <a:pt x="3190" y="634"/>
                </a:cubicBezTo>
                <a:cubicBezTo>
                  <a:pt x="3190" y="614"/>
                  <a:pt x="3185" y="605"/>
                  <a:pt x="3177" y="605"/>
                </a:cubicBezTo>
                <a:close/>
                <a:moveTo>
                  <a:pt x="2864" y="630"/>
                </a:moveTo>
                <a:cubicBezTo>
                  <a:pt x="2864" y="630"/>
                  <a:pt x="2864" y="630"/>
                  <a:pt x="2864" y="630"/>
                </a:cubicBezTo>
                <a:cubicBezTo>
                  <a:pt x="2864" y="638"/>
                  <a:pt x="2864" y="638"/>
                  <a:pt x="2864" y="638"/>
                </a:cubicBezTo>
                <a:cubicBezTo>
                  <a:pt x="2870" y="638"/>
                  <a:pt x="2871" y="641"/>
                  <a:pt x="2871" y="644"/>
                </a:cubicBezTo>
                <a:cubicBezTo>
                  <a:pt x="2871" y="646"/>
                  <a:pt x="2870" y="648"/>
                  <a:pt x="2870" y="651"/>
                </a:cubicBezTo>
                <a:cubicBezTo>
                  <a:pt x="2870" y="654"/>
                  <a:pt x="2869" y="656"/>
                  <a:pt x="2869" y="658"/>
                </a:cubicBezTo>
                <a:cubicBezTo>
                  <a:pt x="2869" y="668"/>
                  <a:pt x="2875" y="671"/>
                  <a:pt x="2884" y="671"/>
                </a:cubicBezTo>
                <a:cubicBezTo>
                  <a:pt x="2884" y="671"/>
                  <a:pt x="2884" y="671"/>
                  <a:pt x="2888" y="671"/>
                </a:cubicBezTo>
                <a:cubicBezTo>
                  <a:pt x="2888" y="671"/>
                  <a:pt x="2888" y="671"/>
                  <a:pt x="2888" y="662"/>
                </a:cubicBezTo>
                <a:cubicBezTo>
                  <a:pt x="2888" y="662"/>
                  <a:pt x="2888" y="662"/>
                  <a:pt x="2886" y="662"/>
                </a:cubicBezTo>
                <a:cubicBezTo>
                  <a:pt x="2882" y="662"/>
                  <a:pt x="2881" y="659"/>
                  <a:pt x="2881" y="656"/>
                </a:cubicBezTo>
                <a:cubicBezTo>
                  <a:pt x="2881" y="654"/>
                  <a:pt x="2881" y="653"/>
                  <a:pt x="2882" y="651"/>
                </a:cubicBezTo>
                <a:cubicBezTo>
                  <a:pt x="2882" y="650"/>
                  <a:pt x="2882" y="647"/>
                  <a:pt x="2882" y="645"/>
                </a:cubicBezTo>
                <a:cubicBezTo>
                  <a:pt x="2882" y="638"/>
                  <a:pt x="2879" y="635"/>
                  <a:pt x="2874" y="634"/>
                </a:cubicBezTo>
                <a:cubicBezTo>
                  <a:pt x="2874" y="634"/>
                  <a:pt x="2874" y="634"/>
                  <a:pt x="2874" y="634"/>
                </a:cubicBezTo>
                <a:cubicBezTo>
                  <a:pt x="2879" y="632"/>
                  <a:pt x="2882" y="630"/>
                  <a:pt x="2882" y="623"/>
                </a:cubicBezTo>
                <a:cubicBezTo>
                  <a:pt x="2882" y="620"/>
                  <a:pt x="2882" y="618"/>
                  <a:pt x="2882" y="616"/>
                </a:cubicBezTo>
                <a:cubicBezTo>
                  <a:pt x="2881" y="615"/>
                  <a:pt x="2881" y="613"/>
                  <a:pt x="2881" y="612"/>
                </a:cubicBezTo>
                <a:cubicBezTo>
                  <a:pt x="2881" y="608"/>
                  <a:pt x="2882" y="606"/>
                  <a:pt x="2886" y="606"/>
                </a:cubicBezTo>
                <a:cubicBezTo>
                  <a:pt x="2886" y="606"/>
                  <a:pt x="2886" y="606"/>
                  <a:pt x="2888" y="606"/>
                </a:cubicBezTo>
                <a:cubicBezTo>
                  <a:pt x="2888" y="606"/>
                  <a:pt x="2888" y="606"/>
                  <a:pt x="2888" y="597"/>
                </a:cubicBezTo>
                <a:cubicBezTo>
                  <a:pt x="2888" y="597"/>
                  <a:pt x="2888" y="597"/>
                  <a:pt x="2884" y="597"/>
                </a:cubicBezTo>
                <a:cubicBezTo>
                  <a:pt x="2875" y="597"/>
                  <a:pt x="2869" y="601"/>
                  <a:pt x="2869" y="609"/>
                </a:cubicBezTo>
                <a:cubicBezTo>
                  <a:pt x="2869" y="611"/>
                  <a:pt x="2870" y="614"/>
                  <a:pt x="2870" y="617"/>
                </a:cubicBezTo>
                <a:cubicBezTo>
                  <a:pt x="2870" y="619"/>
                  <a:pt x="2871" y="622"/>
                  <a:pt x="2871" y="623"/>
                </a:cubicBezTo>
                <a:cubicBezTo>
                  <a:pt x="2871" y="626"/>
                  <a:pt x="2870" y="629"/>
                  <a:pt x="2864" y="630"/>
                </a:cubicBezTo>
                <a:close/>
                <a:moveTo>
                  <a:pt x="2919" y="638"/>
                </a:moveTo>
                <a:cubicBezTo>
                  <a:pt x="2919" y="638"/>
                  <a:pt x="2919" y="638"/>
                  <a:pt x="2919" y="638"/>
                </a:cubicBezTo>
                <a:cubicBezTo>
                  <a:pt x="2919" y="630"/>
                  <a:pt x="2919" y="630"/>
                  <a:pt x="2919" y="630"/>
                </a:cubicBezTo>
                <a:cubicBezTo>
                  <a:pt x="2912" y="629"/>
                  <a:pt x="2912" y="626"/>
                  <a:pt x="2912" y="623"/>
                </a:cubicBezTo>
                <a:cubicBezTo>
                  <a:pt x="2912" y="622"/>
                  <a:pt x="2912" y="619"/>
                  <a:pt x="2912" y="617"/>
                </a:cubicBezTo>
                <a:cubicBezTo>
                  <a:pt x="2913" y="614"/>
                  <a:pt x="2913" y="611"/>
                  <a:pt x="2913" y="609"/>
                </a:cubicBezTo>
                <a:cubicBezTo>
                  <a:pt x="2913" y="601"/>
                  <a:pt x="2907" y="597"/>
                  <a:pt x="2898" y="597"/>
                </a:cubicBezTo>
                <a:cubicBezTo>
                  <a:pt x="2898" y="597"/>
                  <a:pt x="2898" y="597"/>
                  <a:pt x="2894" y="597"/>
                </a:cubicBezTo>
                <a:cubicBezTo>
                  <a:pt x="2894" y="597"/>
                  <a:pt x="2894" y="597"/>
                  <a:pt x="2894" y="606"/>
                </a:cubicBezTo>
                <a:cubicBezTo>
                  <a:pt x="2894" y="606"/>
                  <a:pt x="2894" y="606"/>
                  <a:pt x="2896" y="606"/>
                </a:cubicBezTo>
                <a:cubicBezTo>
                  <a:pt x="2900" y="606"/>
                  <a:pt x="2901" y="608"/>
                  <a:pt x="2901" y="612"/>
                </a:cubicBezTo>
                <a:cubicBezTo>
                  <a:pt x="2901" y="613"/>
                  <a:pt x="2901" y="615"/>
                  <a:pt x="2901" y="616"/>
                </a:cubicBezTo>
                <a:cubicBezTo>
                  <a:pt x="2900" y="618"/>
                  <a:pt x="2900" y="620"/>
                  <a:pt x="2900" y="623"/>
                </a:cubicBezTo>
                <a:cubicBezTo>
                  <a:pt x="2900" y="630"/>
                  <a:pt x="2903" y="632"/>
                  <a:pt x="2909" y="634"/>
                </a:cubicBezTo>
                <a:cubicBezTo>
                  <a:pt x="2909" y="634"/>
                  <a:pt x="2909" y="634"/>
                  <a:pt x="2909" y="634"/>
                </a:cubicBezTo>
                <a:cubicBezTo>
                  <a:pt x="2903" y="635"/>
                  <a:pt x="2900" y="638"/>
                  <a:pt x="2900" y="645"/>
                </a:cubicBezTo>
                <a:cubicBezTo>
                  <a:pt x="2900" y="647"/>
                  <a:pt x="2900" y="650"/>
                  <a:pt x="2901" y="651"/>
                </a:cubicBezTo>
                <a:cubicBezTo>
                  <a:pt x="2901" y="653"/>
                  <a:pt x="2901" y="654"/>
                  <a:pt x="2901" y="656"/>
                </a:cubicBezTo>
                <a:cubicBezTo>
                  <a:pt x="2901" y="659"/>
                  <a:pt x="2900" y="662"/>
                  <a:pt x="2896" y="662"/>
                </a:cubicBezTo>
                <a:cubicBezTo>
                  <a:pt x="2896" y="662"/>
                  <a:pt x="2896" y="662"/>
                  <a:pt x="2894" y="662"/>
                </a:cubicBezTo>
                <a:cubicBezTo>
                  <a:pt x="2894" y="662"/>
                  <a:pt x="2894" y="662"/>
                  <a:pt x="2894" y="671"/>
                </a:cubicBezTo>
                <a:cubicBezTo>
                  <a:pt x="2894" y="671"/>
                  <a:pt x="2894" y="671"/>
                  <a:pt x="2898" y="671"/>
                </a:cubicBezTo>
                <a:cubicBezTo>
                  <a:pt x="2907" y="671"/>
                  <a:pt x="2913" y="668"/>
                  <a:pt x="2913" y="658"/>
                </a:cubicBezTo>
                <a:cubicBezTo>
                  <a:pt x="2913" y="656"/>
                  <a:pt x="2913" y="654"/>
                  <a:pt x="2912" y="651"/>
                </a:cubicBezTo>
                <a:cubicBezTo>
                  <a:pt x="2912" y="648"/>
                  <a:pt x="2912" y="646"/>
                  <a:pt x="2912" y="644"/>
                </a:cubicBezTo>
                <a:cubicBezTo>
                  <a:pt x="2912" y="641"/>
                  <a:pt x="2912" y="638"/>
                  <a:pt x="2919" y="638"/>
                </a:cubicBezTo>
                <a:close/>
                <a:moveTo>
                  <a:pt x="3388" y="671"/>
                </a:moveTo>
                <a:cubicBezTo>
                  <a:pt x="3381" y="671"/>
                  <a:pt x="3375" y="668"/>
                  <a:pt x="3370" y="661"/>
                </a:cubicBezTo>
                <a:cubicBezTo>
                  <a:pt x="3366" y="656"/>
                  <a:pt x="3364" y="646"/>
                  <a:pt x="3364" y="634"/>
                </a:cubicBezTo>
                <a:cubicBezTo>
                  <a:pt x="3364" y="621"/>
                  <a:pt x="3366" y="612"/>
                  <a:pt x="3370" y="605"/>
                </a:cubicBezTo>
                <a:cubicBezTo>
                  <a:pt x="3375" y="598"/>
                  <a:pt x="3381" y="595"/>
                  <a:pt x="3390" y="595"/>
                </a:cubicBezTo>
                <a:cubicBezTo>
                  <a:pt x="3406" y="595"/>
                  <a:pt x="3415" y="607"/>
                  <a:pt x="3415" y="632"/>
                </a:cubicBezTo>
                <a:cubicBezTo>
                  <a:pt x="3415" y="645"/>
                  <a:pt x="3412" y="655"/>
                  <a:pt x="3408" y="661"/>
                </a:cubicBezTo>
                <a:cubicBezTo>
                  <a:pt x="3403" y="668"/>
                  <a:pt x="3397" y="671"/>
                  <a:pt x="3388" y="671"/>
                </a:cubicBezTo>
                <a:close/>
                <a:moveTo>
                  <a:pt x="3390" y="605"/>
                </a:moveTo>
                <a:cubicBezTo>
                  <a:pt x="3381" y="605"/>
                  <a:pt x="3376" y="614"/>
                  <a:pt x="3376" y="634"/>
                </a:cubicBezTo>
                <a:cubicBezTo>
                  <a:pt x="3376" y="652"/>
                  <a:pt x="3381" y="661"/>
                  <a:pt x="3390" y="661"/>
                </a:cubicBezTo>
                <a:cubicBezTo>
                  <a:pt x="3398" y="661"/>
                  <a:pt x="3402" y="652"/>
                  <a:pt x="3402" y="634"/>
                </a:cubicBezTo>
                <a:cubicBezTo>
                  <a:pt x="3402" y="614"/>
                  <a:pt x="3398" y="605"/>
                  <a:pt x="3390" y="605"/>
                </a:cubicBezTo>
                <a:close/>
                <a:moveTo>
                  <a:pt x="3506" y="671"/>
                </a:moveTo>
                <a:cubicBezTo>
                  <a:pt x="3499" y="671"/>
                  <a:pt x="3493" y="668"/>
                  <a:pt x="3488" y="661"/>
                </a:cubicBezTo>
                <a:cubicBezTo>
                  <a:pt x="3484" y="656"/>
                  <a:pt x="3482" y="646"/>
                  <a:pt x="3482" y="634"/>
                </a:cubicBezTo>
                <a:cubicBezTo>
                  <a:pt x="3482" y="621"/>
                  <a:pt x="3484" y="612"/>
                  <a:pt x="3488" y="605"/>
                </a:cubicBezTo>
                <a:cubicBezTo>
                  <a:pt x="3493" y="598"/>
                  <a:pt x="3499" y="595"/>
                  <a:pt x="3508" y="595"/>
                </a:cubicBezTo>
                <a:cubicBezTo>
                  <a:pt x="3524" y="595"/>
                  <a:pt x="3532" y="607"/>
                  <a:pt x="3532" y="632"/>
                </a:cubicBezTo>
                <a:cubicBezTo>
                  <a:pt x="3532" y="645"/>
                  <a:pt x="3530" y="655"/>
                  <a:pt x="3526" y="661"/>
                </a:cubicBezTo>
                <a:cubicBezTo>
                  <a:pt x="3520" y="668"/>
                  <a:pt x="3515" y="671"/>
                  <a:pt x="3506" y="671"/>
                </a:cubicBezTo>
                <a:close/>
                <a:moveTo>
                  <a:pt x="3507" y="605"/>
                </a:moveTo>
                <a:cubicBezTo>
                  <a:pt x="3499" y="605"/>
                  <a:pt x="3494" y="614"/>
                  <a:pt x="3494" y="634"/>
                </a:cubicBezTo>
                <a:cubicBezTo>
                  <a:pt x="3494" y="652"/>
                  <a:pt x="3499" y="661"/>
                  <a:pt x="3507" y="661"/>
                </a:cubicBezTo>
                <a:cubicBezTo>
                  <a:pt x="3515" y="661"/>
                  <a:pt x="3520" y="652"/>
                  <a:pt x="3520" y="634"/>
                </a:cubicBezTo>
                <a:cubicBezTo>
                  <a:pt x="3520" y="614"/>
                  <a:pt x="3516" y="605"/>
                  <a:pt x="3507" y="605"/>
                </a:cubicBezTo>
                <a:close/>
                <a:moveTo>
                  <a:pt x="3462" y="597"/>
                </a:moveTo>
                <a:cubicBezTo>
                  <a:pt x="3462" y="597"/>
                  <a:pt x="3462" y="597"/>
                  <a:pt x="3462" y="597"/>
                </a:cubicBezTo>
                <a:cubicBezTo>
                  <a:pt x="3457" y="597"/>
                  <a:pt x="3457" y="597"/>
                  <a:pt x="3457" y="597"/>
                </a:cubicBezTo>
                <a:cubicBezTo>
                  <a:pt x="3454" y="599"/>
                  <a:pt x="3453" y="600"/>
                  <a:pt x="3451" y="601"/>
                </a:cubicBezTo>
                <a:cubicBezTo>
                  <a:pt x="3449" y="603"/>
                  <a:pt x="3447" y="603"/>
                  <a:pt x="3446" y="604"/>
                </a:cubicBezTo>
                <a:cubicBezTo>
                  <a:pt x="3444" y="605"/>
                  <a:pt x="3442" y="605"/>
                  <a:pt x="3441" y="606"/>
                </a:cubicBezTo>
                <a:cubicBezTo>
                  <a:pt x="3438" y="607"/>
                  <a:pt x="3437" y="608"/>
                  <a:pt x="3435" y="608"/>
                </a:cubicBezTo>
                <a:cubicBezTo>
                  <a:pt x="3435" y="608"/>
                  <a:pt x="3435" y="608"/>
                  <a:pt x="3435" y="619"/>
                </a:cubicBezTo>
                <a:cubicBezTo>
                  <a:pt x="3438" y="618"/>
                  <a:pt x="3441" y="616"/>
                  <a:pt x="3443" y="616"/>
                </a:cubicBezTo>
                <a:cubicBezTo>
                  <a:pt x="3446" y="615"/>
                  <a:pt x="3448" y="613"/>
                  <a:pt x="3450" y="612"/>
                </a:cubicBezTo>
                <a:cubicBezTo>
                  <a:pt x="3450" y="612"/>
                  <a:pt x="3450" y="612"/>
                  <a:pt x="3450" y="671"/>
                </a:cubicBezTo>
                <a:cubicBezTo>
                  <a:pt x="3450" y="671"/>
                  <a:pt x="3450" y="671"/>
                  <a:pt x="3462" y="671"/>
                </a:cubicBezTo>
                <a:cubicBezTo>
                  <a:pt x="3462" y="671"/>
                  <a:pt x="3462" y="671"/>
                  <a:pt x="3462" y="597"/>
                </a:cubicBezTo>
                <a:close/>
                <a:moveTo>
                  <a:pt x="3577" y="671"/>
                </a:moveTo>
                <a:cubicBezTo>
                  <a:pt x="3570" y="671"/>
                  <a:pt x="3563" y="668"/>
                  <a:pt x="3559" y="662"/>
                </a:cubicBezTo>
                <a:cubicBezTo>
                  <a:pt x="3555" y="656"/>
                  <a:pt x="3553" y="647"/>
                  <a:pt x="3553" y="634"/>
                </a:cubicBezTo>
                <a:cubicBezTo>
                  <a:pt x="3553" y="621"/>
                  <a:pt x="3555" y="612"/>
                  <a:pt x="3559" y="605"/>
                </a:cubicBezTo>
                <a:cubicBezTo>
                  <a:pt x="3564" y="599"/>
                  <a:pt x="3570" y="595"/>
                  <a:pt x="3579" y="595"/>
                </a:cubicBezTo>
                <a:cubicBezTo>
                  <a:pt x="3595" y="595"/>
                  <a:pt x="3603" y="607"/>
                  <a:pt x="3603" y="633"/>
                </a:cubicBezTo>
                <a:cubicBezTo>
                  <a:pt x="3603" y="645"/>
                  <a:pt x="3601" y="655"/>
                  <a:pt x="3597" y="661"/>
                </a:cubicBezTo>
                <a:cubicBezTo>
                  <a:pt x="3592" y="668"/>
                  <a:pt x="3586" y="671"/>
                  <a:pt x="3577" y="671"/>
                </a:cubicBezTo>
                <a:close/>
                <a:moveTo>
                  <a:pt x="3578" y="605"/>
                </a:moveTo>
                <a:cubicBezTo>
                  <a:pt x="3570" y="605"/>
                  <a:pt x="3565" y="615"/>
                  <a:pt x="3565" y="634"/>
                </a:cubicBezTo>
                <a:cubicBezTo>
                  <a:pt x="3565" y="653"/>
                  <a:pt x="3569" y="661"/>
                  <a:pt x="3578" y="661"/>
                </a:cubicBezTo>
                <a:cubicBezTo>
                  <a:pt x="3586" y="661"/>
                  <a:pt x="3591" y="653"/>
                  <a:pt x="3591" y="634"/>
                </a:cubicBezTo>
                <a:cubicBezTo>
                  <a:pt x="3591" y="614"/>
                  <a:pt x="3586" y="605"/>
                  <a:pt x="3578" y="605"/>
                </a:cubicBezTo>
                <a:close/>
                <a:moveTo>
                  <a:pt x="3624" y="630"/>
                </a:moveTo>
                <a:cubicBezTo>
                  <a:pt x="3624" y="630"/>
                  <a:pt x="3624" y="630"/>
                  <a:pt x="3624" y="630"/>
                </a:cubicBezTo>
                <a:cubicBezTo>
                  <a:pt x="3624" y="638"/>
                  <a:pt x="3624" y="638"/>
                  <a:pt x="3624" y="638"/>
                </a:cubicBezTo>
                <a:cubicBezTo>
                  <a:pt x="3630" y="638"/>
                  <a:pt x="3631" y="641"/>
                  <a:pt x="3631" y="644"/>
                </a:cubicBezTo>
                <a:cubicBezTo>
                  <a:pt x="3631" y="646"/>
                  <a:pt x="3630" y="648"/>
                  <a:pt x="3630" y="651"/>
                </a:cubicBezTo>
                <a:cubicBezTo>
                  <a:pt x="3630" y="654"/>
                  <a:pt x="3630" y="656"/>
                  <a:pt x="3630" y="658"/>
                </a:cubicBezTo>
                <a:cubicBezTo>
                  <a:pt x="3630" y="668"/>
                  <a:pt x="3636" y="671"/>
                  <a:pt x="3644" y="671"/>
                </a:cubicBezTo>
                <a:cubicBezTo>
                  <a:pt x="3644" y="671"/>
                  <a:pt x="3644" y="671"/>
                  <a:pt x="3648" y="671"/>
                </a:cubicBezTo>
                <a:cubicBezTo>
                  <a:pt x="3648" y="671"/>
                  <a:pt x="3648" y="671"/>
                  <a:pt x="3648" y="662"/>
                </a:cubicBezTo>
                <a:cubicBezTo>
                  <a:pt x="3648" y="662"/>
                  <a:pt x="3648" y="662"/>
                  <a:pt x="3646" y="662"/>
                </a:cubicBezTo>
                <a:cubicBezTo>
                  <a:pt x="3643" y="662"/>
                  <a:pt x="3642" y="659"/>
                  <a:pt x="3642" y="656"/>
                </a:cubicBezTo>
                <a:cubicBezTo>
                  <a:pt x="3642" y="654"/>
                  <a:pt x="3642" y="653"/>
                  <a:pt x="3642" y="651"/>
                </a:cubicBezTo>
                <a:cubicBezTo>
                  <a:pt x="3642" y="650"/>
                  <a:pt x="3642" y="647"/>
                  <a:pt x="3642" y="645"/>
                </a:cubicBezTo>
                <a:cubicBezTo>
                  <a:pt x="3642" y="638"/>
                  <a:pt x="3639" y="635"/>
                  <a:pt x="3634" y="634"/>
                </a:cubicBezTo>
                <a:cubicBezTo>
                  <a:pt x="3634" y="634"/>
                  <a:pt x="3634" y="634"/>
                  <a:pt x="3634" y="634"/>
                </a:cubicBezTo>
                <a:cubicBezTo>
                  <a:pt x="3639" y="632"/>
                  <a:pt x="3642" y="630"/>
                  <a:pt x="3642" y="623"/>
                </a:cubicBezTo>
                <a:cubicBezTo>
                  <a:pt x="3642" y="620"/>
                  <a:pt x="3642" y="618"/>
                  <a:pt x="3642" y="616"/>
                </a:cubicBezTo>
                <a:cubicBezTo>
                  <a:pt x="3642" y="615"/>
                  <a:pt x="3642" y="613"/>
                  <a:pt x="3642" y="612"/>
                </a:cubicBezTo>
                <a:cubicBezTo>
                  <a:pt x="3642" y="608"/>
                  <a:pt x="3643" y="606"/>
                  <a:pt x="3646" y="606"/>
                </a:cubicBezTo>
                <a:cubicBezTo>
                  <a:pt x="3646" y="606"/>
                  <a:pt x="3646" y="606"/>
                  <a:pt x="3648" y="606"/>
                </a:cubicBezTo>
                <a:cubicBezTo>
                  <a:pt x="3648" y="606"/>
                  <a:pt x="3648" y="606"/>
                  <a:pt x="3648" y="597"/>
                </a:cubicBezTo>
                <a:cubicBezTo>
                  <a:pt x="3648" y="597"/>
                  <a:pt x="3648" y="597"/>
                  <a:pt x="3644" y="597"/>
                </a:cubicBezTo>
                <a:cubicBezTo>
                  <a:pt x="3635" y="597"/>
                  <a:pt x="3630" y="601"/>
                  <a:pt x="3630" y="609"/>
                </a:cubicBezTo>
                <a:cubicBezTo>
                  <a:pt x="3630" y="611"/>
                  <a:pt x="3630" y="614"/>
                  <a:pt x="3630" y="617"/>
                </a:cubicBezTo>
                <a:cubicBezTo>
                  <a:pt x="3630" y="619"/>
                  <a:pt x="3631" y="622"/>
                  <a:pt x="3631" y="623"/>
                </a:cubicBezTo>
                <a:cubicBezTo>
                  <a:pt x="3631" y="626"/>
                  <a:pt x="3630" y="629"/>
                  <a:pt x="3624" y="630"/>
                </a:cubicBezTo>
                <a:close/>
                <a:moveTo>
                  <a:pt x="3679" y="638"/>
                </a:moveTo>
                <a:cubicBezTo>
                  <a:pt x="3679" y="638"/>
                  <a:pt x="3679" y="638"/>
                  <a:pt x="3679" y="638"/>
                </a:cubicBezTo>
                <a:cubicBezTo>
                  <a:pt x="3679" y="630"/>
                  <a:pt x="3679" y="630"/>
                  <a:pt x="3679" y="630"/>
                </a:cubicBezTo>
                <a:cubicBezTo>
                  <a:pt x="3673" y="629"/>
                  <a:pt x="3672" y="626"/>
                  <a:pt x="3672" y="623"/>
                </a:cubicBezTo>
                <a:cubicBezTo>
                  <a:pt x="3672" y="622"/>
                  <a:pt x="3672" y="619"/>
                  <a:pt x="3673" y="617"/>
                </a:cubicBezTo>
                <a:cubicBezTo>
                  <a:pt x="3673" y="614"/>
                  <a:pt x="3673" y="611"/>
                  <a:pt x="3673" y="609"/>
                </a:cubicBezTo>
                <a:cubicBezTo>
                  <a:pt x="3673" y="601"/>
                  <a:pt x="3668" y="597"/>
                  <a:pt x="3658" y="597"/>
                </a:cubicBezTo>
                <a:cubicBezTo>
                  <a:pt x="3658" y="597"/>
                  <a:pt x="3658" y="597"/>
                  <a:pt x="3655" y="597"/>
                </a:cubicBezTo>
                <a:cubicBezTo>
                  <a:pt x="3655" y="597"/>
                  <a:pt x="3655" y="597"/>
                  <a:pt x="3655" y="606"/>
                </a:cubicBezTo>
                <a:cubicBezTo>
                  <a:pt x="3655" y="606"/>
                  <a:pt x="3655" y="606"/>
                  <a:pt x="3656" y="606"/>
                </a:cubicBezTo>
                <a:cubicBezTo>
                  <a:pt x="3660" y="606"/>
                  <a:pt x="3661" y="608"/>
                  <a:pt x="3661" y="612"/>
                </a:cubicBezTo>
                <a:cubicBezTo>
                  <a:pt x="3661" y="613"/>
                  <a:pt x="3661" y="615"/>
                  <a:pt x="3661" y="616"/>
                </a:cubicBezTo>
                <a:cubicBezTo>
                  <a:pt x="3661" y="618"/>
                  <a:pt x="3661" y="620"/>
                  <a:pt x="3661" y="623"/>
                </a:cubicBezTo>
                <a:cubicBezTo>
                  <a:pt x="3661" y="630"/>
                  <a:pt x="3663" y="632"/>
                  <a:pt x="3669" y="634"/>
                </a:cubicBezTo>
                <a:cubicBezTo>
                  <a:pt x="3669" y="634"/>
                  <a:pt x="3669" y="634"/>
                  <a:pt x="3669" y="634"/>
                </a:cubicBezTo>
                <a:cubicBezTo>
                  <a:pt x="3663" y="635"/>
                  <a:pt x="3661" y="638"/>
                  <a:pt x="3661" y="645"/>
                </a:cubicBezTo>
                <a:cubicBezTo>
                  <a:pt x="3661" y="647"/>
                  <a:pt x="3661" y="650"/>
                  <a:pt x="3661" y="651"/>
                </a:cubicBezTo>
                <a:cubicBezTo>
                  <a:pt x="3661" y="653"/>
                  <a:pt x="3661" y="654"/>
                  <a:pt x="3661" y="656"/>
                </a:cubicBezTo>
                <a:cubicBezTo>
                  <a:pt x="3661" y="659"/>
                  <a:pt x="3660" y="662"/>
                  <a:pt x="3656" y="662"/>
                </a:cubicBezTo>
                <a:cubicBezTo>
                  <a:pt x="3656" y="662"/>
                  <a:pt x="3656" y="662"/>
                  <a:pt x="3655" y="662"/>
                </a:cubicBezTo>
                <a:cubicBezTo>
                  <a:pt x="3655" y="662"/>
                  <a:pt x="3655" y="662"/>
                  <a:pt x="3655" y="671"/>
                </a:cubicBezTo>
                <a:cubicBezTo>
                  <a:pt x="3655" y="671"/>
                  <a:pt x="3655" y="671"/>
                  <a:pt x="3658" y="671"/>
                </a:cubicBezTo>
                <a:cubicBezTo>
                  <a:pt x="3667" y="671"/>
                  <a:pt x="3673" y="668"/>
                  <a:pt x="3673" y="658"/>
                </a:cubicBezTo>
                <a:cubicBezTo>
                  <a:pt x="3673" y="656"/>
                  <a:pt x="3673" y="654"/>
                  <a:pt x="3673" y="651"/>
                </a:cubicBezTo>
                <a:cubicBezTo>
                  <a:pt x="3672" y="648"/>
                  <a:pt x="3672" y="646"/>
                  <a:pt x="3672" y="644"/>
                </a:cubicBezTo>
                <a:cubicBezTo>
                  <a:pt x="3672" y="641"/>
                  <a:pt x="3673" y="638"/>
                  <a:pt x="3679" y="638"/>
                </a:cubicBezTo>
                <a:close/>
                <a:moveTo>
                  <a:pt x="3799" y="671"/>
                </a:moveTo>
                <a:cubicBezTo>
                  <a:pt x="3792" y="671"/>
                  <a:pt x="3785" y="668"/>
                  <a:pt x="3781" y="662"/>
                </a:cubicBezTo>
                <a:cubicBezTo>
                  <a:pt x="3777" y="656"/>
                  <a:pt x="3775" y="647"/>
                  <a:pt x="3775" y="634"/>
                </a:cubicBezTo>
                <a:cubicBezTo>
                  <a:pt x="3775" y="621"/>
                  <a:pt x="3777" y="612"/>
                  <a:pt x="3782" y="605"/>
                </a:cubicBezTo>
                <a:cubicBezTo>
                  <a:pt x="3786" y="599"/>
                  <a:pt x="3793" y="595"/>
                  <a:pt x="3801" y="595"/>
                </a:cubicBezTo>
                <a:cubicBezTo>
                  <a:pt x="3817" y="595"/>
                  <a:pt x="3825" y="607"/>
                  <a:pt x="3825" y="633"/>
                </a:cubicBezTo>
                <a:cubicBezTo>
                  <a:pt x="3825" y="645"/>
                  <a:pt x="3823" y="655"/>
                  <a:pt x="3818" y="661"/>
                </a:cubicBezTo>
                <a:cubicBezTo>
                  <a:pt x="3814" y="668"/>
                  <a:pt x="3807" y="671"/>
                  <a:pt x="3799" y="671"/>
                </a:cubicBezTo>
                <a:close/>
                <a:moveTo>
                  <a:pt x="3801" y="605"/>
                </a:moveTo>
                <a:cubicBezTo>
                  <a:pt x="3791" y="605"/>
                  <a:pt x="3787" y="615"/>
                  <a:pt x="3787" y="634"/>
                </a:cubicBezTo>
                <a:cubicBezTo>
                  <a:pt x="3787" y="653"/>
                  <a:pt x="3791" y="661"/>
                  <a:pt x="3800" y="661"/>
                </a:cubicBezTo>
                <a:cubicBezTo>
                  <a:pt x="3809" y="661"/>
                  <a:pt x="3813" y="653"/>
                  <a:pt x="3813" y="634"/>
                </a:cubicBezTo>
                <a:cubicBezTo>
                  <a:pt x="3813" y="614"/>
                  <a:pt x="3809" y="605"/>
                  <a:pt x="3801" y="605"/>
                </a:cubicBezTo>
                <a:close/>
                <a:moveTo>
                  <a:pt x="3869" y="597"/>
                </a:moveTo>
                <a:cubicBezTo>
                  <a:pt x="3869" y="597"/>
                  <a:pt x="3869" y="597"/>
                  <a:pt x="3869" y="597"/>
                </a:cubicBezTo>
                <a:cubicBezTo>
                  <a:pt x="3864" y="597"/>
                  <a:pt x="3864" y="597"/>
                  <a:pt x="3864" y="597"/>
                </a:cubicBezTo>
                <a:cubicBezTo>
                  <a:pt x="3861" y="599"/>
                  <a:pt x="3860" y="600"/>
                  <a:pt x="3858" y="601"/>
                </a:cubicBezTo>
                <a:cubicBezTo>
                  <a:pt x="3856" y="603"/>
                  <a:pt x="3854" y="603"/>
                  <a:pt x="3853" y="604"/>
                </a:cubicBezTo>
                <a:cubicBezTo>
                  <a:pt x="3850" y="605"/>
                  <a:pt x="3849" y="605"/>
                  <a:pt x="3848" y="606"/>
                </a:cubicBezTo>
                <a:cubicBezTo>
                  <a:pt x="3845" y="607"/>
                  <a:pt x="3844" y="608"/>
                  <a:pt x="3842" y="608"/>
                </a:cubicBezTo>
                <a:cubicBezTo>
                  <a:pt x="3842" y="608"/>
                  <a:pt x="3842" y="608"/>
                  <a:pt x="3842" y="619"/>
                </a:cubicBezTo>
                <a:cubicBezTo>
                  <a:pt x="3845" y="618"/>
                  <a:pt x="3848" y="616"/>
                  <a:pt x="3850" y="616"/>
                </a:cubicBezTo>
                <a:cubicBezTo>
                  <a:pt x="3853" y="615"/>
                  <a:pt x="3855" y="613"/>
                  <a:pt x="3857" y="612"/>
                </a:cubicBezTo>
                <a:cubicBezTo>
                  <a:pt x="3857" y="612"/>
                  <a:pt x="3857" y="612"/>
                  <a:pt x="3857" y="671"/>
                </a:cubicBezTo>
                <a:cubicBezTo>
                  <a:pt x="3857" y="671"/>
                  <a:pt x="3857" y="671"/>
                  <a:pt x="3869" y="671"/>
                </a:cubicBezTo>
                <a:cubicBezTo>
                  <a:pt x="3869" y="671"/>
                  <a:pt x="3869" y="671"/>
                  <a:pt x="3869" y="597"/>
                </a:cubicBezTo>
                <a:close/>
                <a:moveTo>
                  <a:pt x="2065" y="540"/>
                </a:moveTo>
                <a:cubicBezTo>
                  <a:pt x="2066" y="541"/>
                  <a:pt x="2066" y="542"/>
                  <a:pt x="2067" y="544"/>
                </a:cubicBezTo>
                <a:cubicBezTo>
                  <a:pt x="2067" y="546"/>
                  <a:pt x="2068" y="548"/>
                  <a:pt x="2068" y="549"/>
                </a:cubicBezTo>
                <a:cubicBezTo>
                  <a:pt x="2068" y="551"/>
                  <a:pt x="2068" y="552"/>
                  <a:pt x="2068" y="554"/>
                </a:cubicBezTo>
                <a:cubicBezTo>
                  <a:pt x="2069" y="557"/>
                  <a:pt x="2068" y="559"/>
                  <a:pt x="2065" y="559"/>
                </a:cubicBezTo>
                <a:cubicBezTo>
                  <a:pt x="2062" y="559"/>
                  <a:pt x="2059" y="558"/>
                  <a:pt x="2057" y="558"/>
                </a:cubicBezTo>
                <a:cubicBezTo>
                  <a:pt x="2056" y="558"/>
                  <a:pt x="2055" y="558"/>
                  <a:pt x="2055" y="559"/>
                </a:cubicBezTo>
                <a:cubicBezTo>
                  <a:pt x="2054" y="560"/>
                  <a:pt x="2052" y="561"/>
                  <a:pt x="2051" y="563"/>
                </a:cubicBezTo>
                <a:cubicBezTo>
                  <a:pt x="2049" y="565"/>
                  <a:pt x="2046" y="566"/>
                  <a:pt x="2043" y="564"/>
                </a:cubicBezTo>
                <a:cubicBezTo>
                  <a:pt x="2041" y="561"/>
                  <a:pt x="2040" y="559"/>
                  <a:pt x="2039" y="556"/>
                </a:cubicBezTo>
                <a:cubicBezTo>
                  <a:pt x="2038" y="555"/>
                  <a:pt x="2038" y="553"/>
                  <a:pt x="2041" y="552"/>
                </a:cubicBezTo>
                <a:cubicBezTo>
                  <a:pt x="2038" y="552"/>
                  <a:pt x="2036" y="552"/>
                  <a:pt x="2035" y="552"/>
                </a:cubicBezTo>
                <a:cubicBezTo>
                  <a:pt x="2034" y="554"/>
                  <a:pt x="2033" y="556"/>
                  <a:pt x="2032" y="557"/>
                </a:cubicBezTo>
                <a:cubicBezTo>
                  <a:pt x="2032" y="558"/>
                  <a:pt x="2032" y="559"/>
                  <a:pt x="2032" y="560"/>
                </a:cubicBezTo>
                <a:cubicBezTo>
                  <a:pt x="2032" y="563"/>
                  <a:pt x="2030" y="564"/>
                  <a:pt x="2027" y="564"/>
                </a:cubicBezTo>
                <a:cubicBezTo>
                  <a:pt x="2024" y="563"/>
                  <a:pt x="2021" y="563"/>
                  <a:pt x="2018" y="561"/>
                </a:cubicBezTo>
                <a:cubicBezTo>
                  <a:pt x="2016" y="561"/>
                  <a:pt x="2016" y="559"/>
                  <a:pt x="2016" y="557"/>
                </a:cubicBezTo>
                <a:cubicBezTo>
                  <a:pt x="2017" y="557"/>
                  <a:pt x="2017" y="556"/>
                  <a:pt x="2017" y="556"/>
                </a:cubicBezTo>
                <a:cubicBezTo>
                  <a:pt x="2015" y="555"/>
                  <a:pt x="2012" y="554"/>
                  <a:pt x="2010" y="552"/>
                </a:cubicBezTo>
                <a:cubicBezTo>
                  <a:pt x="2009" y="552"/>
                  <a:pt x="2008" y="550"/>
                  <a:pt x="2007" y="548"/>
                </a:cubicBezTo>
                <a:cubicBezTo>
                  <a:pt x="2006" y="546"/>
                  <a:pt x="2006" y="544"/>
                  <a:pt x="2008" y="543"/>
                </a:cubicBezTo>
                <a:cubicBezTo>
                  <a:pt x="2012" y="540"/>
                  <a:pt x="2012" y="538"/>
                  <a:pt x="2012" y="534"/>
                </a:cubicBezTo>
                <a:cubicBezTo>
                  <a:pt x="2012" y="532"/>
                  <a:pt x="2012" y="529"/>
                  <a:pt x="2012" y="528"/>
                </a:cubicBezTo>
                <a:cubicBezTo>
                  <a:pt x="2010" y="527"/>
                  <a:pt x="2008" y="527"/>
                  <a:pt x="2008" y="525"/>
                </a:cubicBezTo>
                <a:cubicBezTo>
                  <a:pt x="2006" y="524"/>
                  <a:pt x="2006" y="522"/>
                  <a:pt x="2006" y="520"/>
                </a:cubicBezTo>
                <a:cubicBezTo>
                  <a:pt x="2005" y="517"/>
                  <a:pt x="2009" y="514"/>
                  <a:pt x="2012" y="514"/>
                </a:cubicBezTo>
                <a:cubicBezTo>
                  <a:pt x="2012" y="514"/>
                  <a:pt x="2012" y="515"/>
                  <a:pt x="2012" y="516"/>
                </a:cubicBezTo>
                <a:cubicBezTo>
                  <a:pt x="2012" y="517"/>
                  <a:pt x="2012" y="518"/>
                  <a:pt x="2013" y="519"/>
                </a:cubicBezTo>
                <a:cubicBezTo>
                  <a:pt x="2012" y="519"/>
                  <a:pt x="2012" y="519"/>
                  <a:pt x="2011" y="519"/>
                </a:cubicBezTo>
                <a:cubicBezTo>
                  <a:pt x="2011" y="520"/>
                  <a:pt x="2010" y="521"/>
                  <a:pt x="2010" y="523"/>
                </a:cubicBezTo>
                <a:cubicBezTo>
                  <a:pt x="2011" y="523"/>
                  <a:pt x="2012" y="523"/>
                  <a:pt x="2012" y="522"/>
                </a:cubicBezTo>
                <a:cubicBezTo>
                  <a:pt x="2013" y="521"/>
                  <a:pt x="2014" y="520"/>
                  <a:pt x="2015" y="519"/>
                </a:cubicBezTo>
                <a:cubicBezTo>
                  <a:pt x="2019" y="512"/>
                  <a:pt x="2025" y="508"/>
                  <a:pt x="2033" y="507"/>
                </a:cubicBezTo>
                <a:cubicBezTo>
                  <a:pt x="2036" y="506"/>
                  <a:pt x="2039" y="505"/>
                  <a:pt x="2041" y="502"/>
                </a:cubicBezTo>
                <a:cubicBezTo>
                  <a:pt x="2041" y="502"/>
                  <a:pt x="2042" y="502"/>
                  <a:pt x="2043" y="502"/>
                </a:cubicBezTo>
                <a:cubicBezTo>
                  <a:pt x="2045" y="501"/>
                  <a:pt x="2047" y="499"/>
                  <a:pt x="2049" y="497"/>
                </a:cubicBezTo>
                <a:cubicBezTo>
                  <a:pt x="2056" y="489"/>
                  <a:pt x="2068" y="489"/>
                  <a:pt x="2076" y="496"/>
                </a:cubicBezTo>
                <a:cubicBezTo>
                  <a:pt x="2078" y="498"/>
                  <a:pt x="2081" y="500"/>
                  <a:pt x="2083" y="502"/>
                </a:cubicBezTo>
                <a:cubicBezTo>
                  <a:pt x="2085" y="503"/>
                  <a:pt x="2086" y="504"/>
                  <a:pt x="2087" y="506"/>
                </a:cubicBezTo>
                <a:cubicBezTo>
                  <a:pt x="2088" y="508"/>
                  <a:pt x="2089" y="508"/>
                  <a:pt x="2090" y="507"/>
                </a:cubicBezTo>
                <a:cubicBezTo>
                  <a:pt x="2091" y="506"/>
                  <a:pt x="2092" y="506"/>
                  <a:pt x="2092" y="505"/>
                </a:cubicBezTo>
                <a:cubicBezTo>
                  <a:pt x="2094" y="502"/>
                  <a:pt x="2097" y="502"/>
                  <a:pt x="2099" y="505"/>
                </a:cubicBezTo>
                <a:cubicBezTo>
                  <a:pt x="2100" y="508"/>
                  <a:pt x="2101" y="511"/>
                  <a:pt x="2101" y="514"/>
                </a:cubicBezTo>
                <a:cubicBezTo>
                  <a:pt x="2102" y="519"/>
                  <a:pt x="2101" y="523"/>
                  <a:pt x="2100" y="527"/>
                </a:cubicBezTo>
                <a:cubicBezTo>
                  <a:pt x="2097" y="534"/>
                  <a:pt x="2093" y="537"/>
                  <a:pt x="2086" y="537"/>
                </a:cubicBezTo>
                <a:cubicBezTo>
                  <a:pt x="2085" y="537"/>
                  <a:pt x="2085" y="537"/>
                  <a:pt x="2084" y="537"/>
                </a:cubicBezTo>
                <a:cubicBezTo>
                  <a:pt x="2082" y="537"/>
                  <a:pt x="2081" y="537"/>
                  <a:pt x="2080" y="540"/>
                </a:cubicBezTo>
                <a:cubicBezTo>
                  <a:pt x="2078" y="544"/>
                  <a:pt x="2073" y="546"/>
                  <a:pt x="2069" y="542"/>
                </a:cubicBezTo>
                <a:cubicBezTo>
                  <a:pt x="2068" y="541"/>
                  <a:pt x="2067" y="540"/>
                  <a:pt x="2066" y="539"/>
                </a:cubicBezTo>
                <a:cubicBezTo>
                  <a:pt x="2066" y="540"/>
                  <a:pt x="2066" y="540"/>
                  <a:pt x="2065" y="540"/>
                </a:cubicBezTo>
                <a:close/>
                <a:moveTo>
                  <a:pt x="2060" y="535"/>
                </a:moveTo>
                <a:cubicBezTo>
                  <a:pt x="2063" y="537"/>
                  <a:pt x="2067" y="538"/>
                  <a:pt x="2070" y="541"/>
                </a:cubicBezTo>
                <a:cubicBezTo>
                  <a:pt x="2071" y="542"/>
                  <a:pt x="2073" y="543"/>
                  <a:pt x="2075" y="542"/>
                </a:cubicBezTo>
                <a:cubicBezTo>
                  <a:pt x="2078" y="542"/>
                  <a:pt x="2079" y="540"/>
                  <a:pt x="2079" y="537"/>
                </a:cubicBezTo>
                <a:cubicBezTo>
                  <a:pt x="2079" y="537"/>
                  <a:pt x="2078" y="537"/>
                  <a:pt x="2078" y="537"/>
                </a:cubicBezTo>
                <a:cubicBezTo>
                  <a:pt x="2078" y="539"/>
                  <a:pt x="2077" y="540"/>
                  <a:pt x="2076" y="541"/>
                </a:cubicBezTo>
                <a:cubicBezTo>
                  <a:pt x="2075" y="542"/>
                  <a:pt x="2074" y="542"/>
                  <a:pt x="2073" y="541"/>
                </a:cubicBezTo>
                <a:cubicBezTo>
                  <a:pt x="2072" y="541"/>
                  <a:pt x="2072" y="540"/>
                  <a:pt x="2072" y="539"/>
                </a:cubicBezTo>
                <a:cubicBezTo>
                  <a:pt x="2072" y="537"/>
                  <a:pt x="2072" y="535"/>
                  <a:pt x="2072" y="533"/>
                </a:cubicBezTo>
                <a:cubicBezTo>
                  <a:pt x="2075" y="534"/>
                  <a:pt x="2079" y="535"/>
                  <a:pt x="2082" y="535"/>
                </a:cubicBezTo>
                <a:cubicBezTo>
                  <a:pt x="2090" y="537"/>
                  <a:pt x="2095" y="535"/>
                  <a:pt x="2099" y="526"/>
                </a:cubicBezTo>
                <a:cubicBezTo>
                  <a:pt x="2100" y="521"/>
                  <a:pt x="2100" y="517"/>
                  <a:pt x="2099" y="512"/>
                </a:cubicBezTo>
                <a:cubicBezTo>
                  <a:pt x="2099" y="510"/>
                  <a:pt x="2098" y="508"/>
                  <a:pt x="2097" y="506"/>
                </a:cubicBezTo>
                <a:cubicBezTo>
                  <a:pt x="2096" y="504"/>
                  <a:pt x="2095" y="504"/>
                  <a:pt x="2094" y="506"/>
                </a:cubicBezTo>
                <a:cubicBezTo>
                  <a:pt x="2092" y="507"/>
                  <a:pt x="2091" y="509"/>
                  <a:pt x="2089" y="510"/>
                </a:cubicBezTo>
                <a:cubicBezTo>
                  <a:pt x="2088" y="510"/>
                  <a:pt x="2087" y="511"/>
                  <a:pt x="2088" y="512"/>
                </a:cubicBezTo>
                <a:cubicBezTo>
                  <a:pt x="2088" y="515"/>
                  <a:pt x="2088" y="518"/>
                  <a:pt x="2086" y="521"/>
                </a:cubicBezTo>
                <a:cubicBezTo>
                  <a:pt x="2086" y="519"/>
                  <a:pt x="2087" y="518"/>
                  <a:pt x="2087" y="516"/>
                </a:cubicBezTo>
                <a:cubicBezTo>
                  <a:pt x="2087" y="515"/>
                  <a:pt x="2086" y="515"/>
                  <a:pt x="2086" y="514"/>
                </a:cubicBezTo>
                <a:cubicBezTo>
                  <a:pt x="2086" y="515"/>
                  <a:pt x="2085" y="515"/>
                  <a:pt x="2085" y="515"/>
                </a:cubicBezTo>
                <a:cubicBezTo>
                  <a:pt x="2084" y="516"/>
                  <a:pt x="2083" y="518"/>
                  <a:pt x="2083" y="519"/>
                </a:cubicBezTo>
                <a:cubicBezTo>
                  <a:pt x="2082" y="519"/>
                  <a:pt x="2082" y="519"/>
                  <a:pt x="2082" y="519"/>
                </a:cubicBezTo>
                <a:cubicBezTo>
                  <a:pt x="2083" y="518"/>
                  <a:pt x="2083" y="516"/>
                  <a:pt x="2083" y="514"/>
                </a:cubicBezTo>
                <a:cubicBezTo>
                  <a:pt x="2082" y="514"/>
                  <a:pt x="2082" y="515"/>
                  <a:pt x="2081" y="516"/>
                </a:cubicBezTo>
                <a:cubicBezTo>
                  <a:pt x="2081" y="516"/>
                  <a:pt x="2080" y="517"/>
                  <a:pt x="2080" y="518"/>
                </a:cubicBezTo>
                <a:cubicBezTo>
                  <a:pt x="2080" y="514"/>
                  <a:pt x="2081" y="514"/>
                  <a:pt x="2086" y="513"/>
                </a:cubicBezTo>
                <a:cubicBezTo>
                  <a:pt x="2086" y="512"/>
                  <a:pt x="2085" y="512"/>
                  <a:pt x="2085" y="512"/>
                </a:cubicBezTo>
                <a:cubicBezTo>
                  <a:pt x="2083" y="512"/>
                  <a:pt x="2082" y="511"/>
                  <a:pt x="2081" y="508"/>
                </a:cubicBezTo>
                <a:cubicBezTo>
                  <a:pt x="2083" y="508"/>
                  <a:pt x="2085" y="508"/>
                  <a:pt x="2086" y="507"/>
                </a:cubicBezTo>
                <a:cubicBezTo>
                  <a:pt x="2085" y="505"/>
                  <a:pt x="2083" y="502"/>
                  <a:pt x="2080" y="502"/>
                </a:cubicBezTo>
                <a:cubicBezTo>
                  <a:pt x="2079" y="502"/>
                  <a:pt x="2079" y="501"/>
                  <a:pt x="2079" y="501"/>
                </a:cubicBezTo>
                <a:cubicBezTo>
                  <a:pt x="2077" y="499"/>
                  <a:pt x="2074" y="497"/>
                  <a:pt x="2072" y="495"/>
                </a:cubicBezTo>
                <a:cubicBezTo>
                  <a:pt x="2069" y="493"/>
                  <a:pt x="2066" y="493"/>
                  <a:pt x="2064" y="493"/>
                </a:cubicBezTo>
                <a:cubicBezTo>
                  <a:pt x="2061" y="493"/>
                  <a:pt x="2058" y="494"/>
                  <a:pt x="2055" y="495"/>
                </a:cubicBezTo>
                <a:cubicBezTo>
                  <a:pt x="2052" y="496"/>
                  <a:pt x="2049" y="498"/>
                  <a:pt x="2048" y="501"/>
                </a:cubicBezTo>
                <a:cubicBezTo>
                  <a:pt x="2049" y="501"/>
                  <a:pt x="2050" y="501"/>
                  <a:pt x="2052" y="501"/>
                </a:cubicBezTo>
                <a:cubicBezTo>
                  <a:pt x="2051" y="501"/>
                  <a:pt x="2050" y="502"/>
                  <a:pt x="2050" y="502"/>
                </a:cubicBezTo>
                <a:cubicBezTo>
                  <a:pt x="2047" y="502"/>
                  <a:pt x="2045" y="502"/>
                  <a:pt x="2043" y="504"/>
                </a:cubicBezTo>
                <a:cubicBezTo>
                  <a:pt x="2039" y="508"/>
                  <a:pt x="2035" y="512"/>
                  <a:pt x="2032" y="516"/>
                </a:cubicBezTo>
                <a:cubicBezTo>
                  <a:pt x="2030" y="518"/>
                  <a:pt x="2029" y="520"/>
                  <a:pt x="2028" y="523"/>
                </a:cubicBezTo>
                <a:cubicBezTo>
                  <a:pt x="2028" y="523"/>
                  <a:pt x="2028" y="524"/>
                  <a:pt x="2028" y="524"/>
                </a:cubicBezTo>
                <a:cubicBezTo>
                  <a:pt x="2030" y="526"/>
                  <a:pt x="2031" y="528"/>
                  <a:pt x="2032" y="530"/>
                </a:cubicBezTo>
                <a:cubicBezTo>
                  <a:pt x="2034" y="529"/>
                  <a:pt x="2035" y="527"/>
                  <a:pt x="2036" y="526"/>
                </a:cubicBezTo>
                <a:cubicBezTo>
                  <a:pt x="2035" y="527"/>
                  <a:pt x="2035" y="528"/>
                  <a:pt x="2034" y="530"/>
                </a:cubicBezTo>
                <a:cubicBezTo>
                  <a:pt x="2034" y="531"/>
                  <a:pt x="2033" y="532"/>
                  <a:pt x="2032" y="534"/>
                </a:cubicBezTo>
                <a:cubicBezTo>
                  <a:pt x="2032" y="535"/>
                  <a:pt x="2032" y="536"/>
                  <a:pt x="2033" y="537"/>
                </a:cubicBezTo>
                <a:cubicBezTo>
                  <a:pt x="2035" y="540"/>
                  <a:pt x="2038" y="540"/>
                  <a:pt x="2042" y="538"/>
                </a:cubicBezTo>
                <a:cubicBezTo>
                  <a:pt x="2045" y="537"/>
                  <a:pt x="2047" y="535"/>
                  <a:pt x="2050" y="535"/>
                </a:cubicBezTo>
                <a:cubicBezTo>
                  <a:pt x="2052" y="534"/>
                  <a:pt x="2053" y="533"/>
                  <a:pt x="2053" y="532"/>
                </a:cubicBezTo>
                <a:cubicBezTo>
                  <a:pt x="2053" y="529"/>
                  <a:pt x="2053" y="525"/>
                  <a:pt x="2053" y="522"/>
                </a:cubicBezTo>
                <a:cubicBezTo>
                  <a:pt x="2053" y="519"/>
                  <a:pt x="2053" y="516"/>
                  <a:pt x="2053" y="513"/>
                </a:cubicBezTo>
                <a:cubicBezTo>
                  <a:pt x="2054" y="516"/>
                  <a:pt x="2054" y="518"/>
                  <a:pt x="2054" y="521"/>
                </a:cubicBezTo>
                <a:cubicBezTo>
                  <a:pt x="2055" y="525"/>
                  <a:pt x="2055" y="530"/>
                  <a:pt x="2054" y="534"/>
                </a:cubicBezTo>
                <a:cubicBezTo>
                  <a:pt x="2054" y="535"/>
                  <a:pt x="2053" y="536"/>
                  <a:pt x="2052" y="536"/>
                </a:cubicBezTo>
                <a:cubicBezTo>
                  <a:pt x="2049" y="536"/>
                  <a:pt x="2046" y="538"/>
                  <a:pt x="2043" y="540"/>
                </a:cubicBezTo>
                <a:cubicBezTo>
                  <a:pt x="2037" y="543"/>
                  <a:pt x="2034" y="541"/>
                  <a:pt x="2030" y="537"/>
                </a:cubicBezTo>
                <a:cubicBezTo>
                  <a:pt x="2030" y="537"/>
                  <a:pt x="2030" y="535"/>
                  <a:pt x="2030" y="535"/>
                </a:cubicBezTo>
                <a:cubicBezTo>
                  <a:pt x="2032" y="533"/>
                  <a:pt x="2030" y="531"/>
                  <a:pt x="2029" y="529"/>
                </a:cubicBezTo>
                <a:cubicBezTo>
                  <a:pt x="2027" y="527"/>
                  <a:pt x="2026" y="524"/>
                  <a:pt x="2027" y="521"/>
                </a:cubicBezTo>
                <a:cubicBezTo>
                  <a:pt x="2027" y="519"/>
                  <a:pt x="2028" y="518"/>
                  <a:pt x="2030" y="516"/>
                </a:cubicBezTo>
                <a:cubicBezTo>
                  <a:pt x="2031" y="514"/>
                  <a:pt x="2034" y="511"/>
                  <a:pt x="2035" y="508"/>
                </a:cubicBezTo>
                <a:cubicBezTo>
                  <a:pt x="2035" y="508"/>
                  <a:pt x="2034" y="508"/>
                  <a:pt x="2034" y="508"/>
                </a:cubicBezTo>
                <a:cubicBezTo>
                  <a:pt x="2029" y="510"/>
                  <a:pt x="2025" y="511"/>
                  <a:pt x="2021" y="514"/>
                </a:cubicBezTo>
                <a:cubicBezTo>
                  <a:pt x="2016" y="519"/>
                  <a:pt x="2014" y="524"/>
                  <a:pt x="2013" y="531"/>
                </a:cubicBezTo>
                <a:cubicBezTo>
                  <a:pt x="2013" y="537"/>
                  <a:pt x="2015" y="543"/>
                  <a:pt x="2019" y="549"/>
                </a:cubicBezTo>
                <a:cubicBezTo>
                  <a:pt x="2019" y="550"/>
                  <a:pt x="2020" y="552"/>
                  <a:pt x="2019" y="553"/>
                </a:cubicBezTo>
                <a:cubicBezTo>
                  <a:pt x="2019" y="554"/>
                  <a:pt x="2019" y="556"/>
                  <a:pt x="2018" y="557"/>
                </a:cubicBezTo>
                <a:cubicBezTo>
                  <a:pt x="2018" y="559"/>
                  <a:pt x="2018" y="560"/>
                  <a:pt x="2019" y="560"/>
                </a:cubicBezTo>
                <a:cubicBezTo>
                  <a:pt x="2023" y="561"/>
                  <a:pt x="2025" y="561"/>
                  <a:pt x="2028" y="562"/>
                </a:cubicBezTo>
                <a:cubicBezTo>
                  <a:pt x="2029" y="562"/>
                  <a:pt x="2030" y="561"/>
                  <a:pt x="2030" y="561"/>
                </a:cubicBezTo>
                <a:cubicBezTo>
                  <a:pt x="2030" y="559"/>
                  <a:pt x="2030" y="558"/>
                  <a:pt x="2031" y="557"/>
                </a:cubicBezTo>
                <a:cubicBezTo>
                  <a:pt x="2033" y="555"/>
                  <a:pt x="2033" y="552"/>
                  <a:pt x="2033" y="549"/>
                </a:cubicBezTo>
                <a:cubicBezTo>
                  <a:pt x="2033" y="549"/>
                  <a:pt x="2033" y="548"/>
                  <a:pt x="2033" y="548"/>
                </a:cubicBezTo>
                <a:cubicBezTo>
                  <a:pt x="2033" y="548"/>
                  <a:pt x="2033" y="548"/>
                  <a:pt x="2033" y="547"/>
                </a:cubicBezTo>
                <a:cubicBezTo>
                  <a:pt x="2033" y="550"/>
                  <a:pt x="2035" y="550"/>
                  <a:pt x="2037" y="550"/>
                </a:cubicBezTo>
                <a:cubicBezTo>
                  <a:pt x="2037" y="550"/>
                  <a:pt x="2039" y="550"/>
                  <a:pt x="2039" y="550"/>
                </a:cubicBezTo>
                <a:cubicBezTo>
                  <a:pt x="2042" y="550"/>
                  <a:pt x="2045" y="551"/>
                  <a:pt x="2046" y="546"/>
                </a:cubicBezTo>
                <a:cubicBezTo>
                  <a:pt x="2046" y="549"/>
                  <a:pt x="2046" y="550"/>
                  <a:pt x="2046" y="551"/>
                </a:cubicBezTo>
                <a:cubicBezTo>
                  <a:pt x="2044" y="552"/>
                  <a:pt x="2043" y="553"/>
                  <a:pt x="2042" y="553"/>
                </a:cubicBezTo>
                <a:cubicBezTo>
                  <a:pt x="2040" y="554"/>
                  <a:pt x="2040" y="556"/>
                  <a:pt x="2041" y="556"/>
                </a:cubicBezTo>
                <a:cubicBezTo>
                  <a:pt x="2042" y="559"/>
                  <a:pt x="2043" y="561"/>
                  <a:pt x="2045" y="563"/>
                </a:cubicBezTo>
                <a:cubicBezTo>
                  <a:pt x="2046" y="564"/>
                  <a:pt x="2048" y="563"/>
                  <a:pt x="2050" y="562"/>
                </a:cubicBezTo>
                <a:cubicBezTo>
                  <a:pt x="2050" y="561"/>
                  <a:pt x="2051" y="560"/>
                  <a:pt x="2052" y="560"/>
                </a:cubicBezTo>
                <a:cubicBezTo>
                  <a:pt x="2053" y="558"/>
                  <a:pt x="2055" y="557"/>
                  <a:pt x="2056" y="556"/>
                </a:cubicBezTo>
                <a:cubicBezTo>
                  <a:pt x="2061" y="552"/>
                  <a:pt x="2063" y="546"/>
                  <a:pt x="2064" y="540"/>
                </a:cubicBezTo>
                <a:cubicBezTo>
                  <a:pt x="2064" y="539"/>
                  <a:pt x="2063" y="538"/>
                  <a:pt x="2063" y="538"/>
                </a:cubicBezTo>
                <a:cubicBezTo>
                  <a:pt x="2062" y="537"/>
                  <a:pt x="2061" y="536"/>
                  <a:pt x="2060" y="535"/>
                </a:cubicBezTo>
                <a:close/>
                <a:moveTo>
                  <a:pt x="2013" y="542"/>
                </a:moveTo>
                <a:cubicBezTo>
                  <a:pt x="2012" y="542"/>
                  <a:pt x="2010" y="543"/>
                  <a:pt x="2009" y="544"/>
                </a:cubicBezTo>
                <a:cubicBezTo>
                  <a:pt x="2009" y="545"/>
                  <a:pt x="2008" y="546"/>
                  <a:pt x="2008" y="546"/>
                </a:cubicBezTo>
                <a:cubicBezTo>
                  <a:pt x="2008" y="549"/>
                  <a:pt x="2013" y="554"/>
                  <a:pt x="2016" y="553"/>
                </a:cubicBezTo>
                <a:cubicBezTo>
                  <a:pt x="2017" y="553"/>
                  <a:pt x="2018" y="552"/>
                  <a:pt x="2017" y="550"/>
                </a:cubicBezTo>
                <a:cubicBezTo>
                  <a:pt x="2016" y="547"/>
                  <a:pt x="2014" y="544"/>
                  <a:pt x="2013" y="542"/>
                </a:cubicBezTo>
                <a:close/>
                <a:moveTo>
                  <a:pt x="2065" y="544"/>
                </a:moveTo>
                <a:cubicBezTo>
                  <a:pt x="2063" y="548"/>
                  <a:pt x="2061" y="553"/>
                  <a:pt x="2058" y="557"/>
                </a:cubicBezTo>
                <a:cubicBezTo>
                  <a:pt x="2061" y="557"/>
                  <a:pt x="2063" y="557"/>
                  <a:pt x="2066" y="557"/>
                </a:cubicBezTo>
                <a:cubicBezTo>
                  <a:pt x="2066" y="557"/>
                  <a:pt x="2067" y="556"/>
                  <a:pt x="2067" y="556"/>
                </a:cubicBezTo>
                <a:cubicBezTo>
                  <a:pt x="2067" y="553"/>
                  <a:pt x="2067" y="550"/>
                  <a:pt x="2066" y="548"/>
                </a:cubicBezTo>
                <a:cubicBezTo>
                  <a:pt x="2066" y="546"/>
                  <a:pt x="2066" y="545"/>
                  <a:pt x="2065" y="544"/>
                </a:cubicBezTo>
                <a:close/>
                <a:moveTo>
                  <a:pt x="2013" y="523"/>
                </a:moveTo>
                <a:cubicBezTo>
                  <a:pt x="2012" y="524"/>
                  <a:pt x="2011" y="524"/>
                  <a:pt x="2011" y="524"/>
                </a:cubicBezTo>
                <a:cubicBezTo>
                  <a:pt x="2010" y="524"/>
                  <a:pt x="2009" y="524"/>
                  <a:pt x="2009" y="524"/>
                </a:cubicBezTo>
                <a:cubicBezTo>
                  <a:pt x="2009" y="523"/>
                  <a:pt x="2008" y="523"/>
                  <a:pt x="2008" y="522"/>
                </a:cubicBezTo>
                <a:cubicBezTo>
                  <a:pt x="2009" y="520"/>
                  <a:pt x="2010" y="518"/>
                  <a:pt x="2010" y="516"/>
                </a:cubicBezTo>
                <a:cubicBezTo>
                  <a:pt x="2010" y="516"/>
                  <a:pt x="2010" y="516"/>
                  <a:pt x="2010" y="516"/>
                </a:cubicBezTo>
                <a:cubicBezTo>
                  <a:pt x="2009" y="517"/>
                  <a:pt x="2008" y="518"/>
                  <a:pt x="2007" y="519"/>
                </a:cubicBezTo>
                <a:cubicBezTo>
                  <a:pt x="2006" y="520"/>
                  <a:pt x="2008" y="525"/>
                  <a:pt x="2009" y="526"/>
                </a:cubicBezTo>
                <a:cubicBezTo>
                  <a:pt x="2011" y="527"/>
                  <a:pt x="2013" y="525"/>
                  <a:pt x="2013" y="523"/>
                </a:cubicBezTo>
                <a:close/>
                <a:moveTo>
                  <a:pt x="2013" y="542"/>
                </a:moveTo>
                <a:cubicBezTo>
                  <a:pt x="2012" y="543"/>
                  <a:pt x="2010" y="543"/>
                  <a:pt x="2009" y="544"/>
                </a:cubicBezTo>
                <a:cubicBezTo>
                  <a:pt x="2009" y="545"/>
                  <a:pt x="2008" y="546"/>
                  <a:pt x="2008" y="546"/>
                </a:cubicBezTo>
                <a:cubicBezTo>
                  <a:pt x="2008" y="549"/>
                  <a:pt x="2013" y="553"/>
                  <a:pt x="2016" y="553"/>
                </a:cubicBezTo>
                <a:cubicBezTo>
                  <a:pt x="2017" y="553"/>
                  <a:pt x="2018" y="552"/>
                  <a:pt x="2017" y="550"/>
                </a:cubicBezTo>
                <a:cubicBezTo>
                  <a:pt x="2016" y="547"/>
                  <a:pt x="2014" y="544"/>
                  <a:pt x="2013" y="542"/>
                </a:cubicBezTo>
                <a:close/>
                <a:moveTo>
                  <a:pt x="2065" y="544"/>
                </a:moveTo>
                <a:cubicBezTo>
                  <a:pt x="2063" y="548"/>
                  <a:pt x="2060" y="553"/>
                  <a:pt x="2058" y="557"/>
                </a:cubicBezTo>
                <a:cubicBezTo>
                  <a:pt x="2061" y="557"/>
                  <a:pt x="2063" y="558"/>
                  <a:pt x="2066" y="557"/>
                </a:cubicBezTo>
                <a:cubicBezTo>
                  <a:pt x="2066" y="557"/>
                  <a:pt x="2067" y="556"/>
                  <a:pt x="2067" y="556"/>
                </a:cubicBezTo>
                <a:cubicBezTo>
                  <a:pt x="2067" y="553"/>
                  <a:pt x="2067" y="550"/>
                  <a:pt x="2066" y="548"/>
                </a:cubicBezTo>
                <a:cubicBezTo>
                  <a:pt x="2066" y="547"/>
                  <a:pt x="2066" y="545"/>
                  <a:pt x="2065" y="544"/>
                </a:cubicBezTo>
                <a:close/>
                <a:moveTo>
                  <a:pt x="2012" y="523"/>
                </a:moveTo>
                <a:cubicBezTo>
                  <a:pt x="2012" y="524"/>
                  <a:pt x="2011" y="524"/>
                  <a:pt x="2011" y="524"/>
                </a:cubicBezTo>
                <a:cubicBezTo>
                  <a:pt x="2010" y="524"/>
                  <a:pt x="2009" y="524"/>
                  <a:pt x="2009" y="524"/>
                </a:cubicBezTo>
                <a:cubicBezTo>
                  <a:pt x="2009" y="523"/>
                  <a:pt x="2008" y="523"/>
                  <a:pt x="2008" y="522"/>
                </a:cubicBezTo>
                <a:cubicBezTo>
                  <a:pt x="2009" y="520"/>
                  <a:pt x="2009" y="518"/>
                  <a:pt x="2010" y="516"/>
                </a:cubicBezTo>
                <a:cubicBezTo>
                  <a:pt x="2010" y="516"/>
                  <a:pt x="2010" y="516"/>
                  <a:pt x="2009" y="516"/>
                </a:cubicBezTo>
                <a:cubicBezTo>
                  <a:pt x="2009" y="517"/>
                  <a:pt x="2007" y="517"/>
                  <a:pt x="2007" y="519"/>
                </a:cubicBezTo>
                <a:cubicBezTo>
                  <a:pt x="2006" y="520"/>
                  <a:pt x="2007" y="525"/>
                  <a:pt x="2009" y="526"/>
                </a:cubicBezTo>
                <a:cubicBezTo>
                  <a:pt x="2011" y="526"/>
                  <a:pt x="2012" y="525"/>
                  <a:pt x="2012" y="523"/>
                </a:cubicBezTo>
                <a:close/>
                <a:moveTo>
                  <a:pt x="2065" y="515"/>
                </a:moveTo>
                <a:cubicBezTo>
                  <a:pt x="2068" y="512"/>
                  <a:pt x="2068" y="512"/>
                  <a:pt x="2072" y="511"/>
                </a:cubicBezTo>
                <a:cubicBezTo>
                  <a:pt x="2072" y="512"/>
                  <a:pt x="2073" y="514"/>
                  <a:pt x="2074" y="514"/>
                </a:cubicBezTo>
                <a:cubicBezTo>
                  <a:pt x="2072" y="515"/>
                  <a:pt x="2070" y="516"/>
                  <a:pt x="2068" y="517"/>
                </a:cubicBezTo>
                <a:cubicBezTo>
                  <a:pt x="2068" y="517"/>
                  <a:pt x="2067" y="516"/>
                  <a:pt x="2066" y="515"/>
                </a:cubicBezTo>
                <a:cubicBezTo>
                  <a:pt x="2066" y="515"/>
                  <a:pt x="2066" y="515"/>
                  <a:pt x="2065" y="515"/>
                </a:cubicBezTo>
                <a:close/>
                <a:moveTo>
                  <a:pt x="2071" y="515"/>
                </a:moveTo>
                <a:cubicBezTo>
                  <a:pt x="2070" y="514"/>
                  <a:pt x="2069" y="514"/>
                  <a:pt x="2069" y="514"/>
                </a:cubicBezTo>
                <a:cubicBezTo>
                  <a:pt x="2068" y="514"/>
                  <a:pt x="2068" y="515"/>
                  <a:pt x="2068" y="515"/>
                </a:cubicBezTo>
                <a:cubicBezTo>
                  <a:pt x="2068" y="515"/>
                  <a:pt x="2068" y="516"/>
                  <a:pt x="2068" y="516"/>
                </a:cubicBezTo>
                <a:cubicBezTo>
                  <a:pt x="2069" y="516"/>
                  <a:pt x="2069" y="515"/>
                  <a:pt x="2071" y="515"/>
                </a:cubicBezTo>
                <a:close/>
                <a:moveTo>
                  <a:pt x="2052" y="505"/>
                </a:moveTo>
                <a:cubicBezTo>
                  <a:pt x="2045" y="504"/>
                  <a:pt x="2042" y="507"/>
                  <a:pt x="2041" y="515"/>
                </a:cubicBezTo>
                <a:cubicBezTo>
                  <a:pt x="2042" y="513"/>
                  <a:pt x="2044" y="510"/>
                  <a:pt x="2045" y="508"/>
                </a:cubicBezTo>
                <a:cubicBezTo>
                  <a:pt x="2045" y="508"/>
                  <a:pt x="2045" y="508"/>
                  <a:pt x="2045" y="508"/>
                </a:cubicBezTo>
                <a:cubicBezTo>
                  <a:pt x="2045" y="509"/>
                  <a:pt x="2046" y="510"/>
                  <a:pt x="2046" y="511"/>
                </a:cubicBezTo>
                <a:cubicBezTo>
                  <a:pt x="2047" y="508"/>
                  <a:pt x="2048" y="506"/>
                  <a:pt x="2052" y="505"/>
                </a:cubicBezTo>
                <a:close/>
                <a:moveTo>
                  <a:pt x="2096" y="507"/>
                </a:moveTo>
                <a:cubicBezTo>
                  <a:pt x="2094" y="508"/>
                  <a:pt x="2092" y="510"/>
                  <a:pt x="2090" y="511"/>
                </a:cubicBezTo>
                <a:cubicBezTo>
                  <a:pt x="2092" y="511"/>
                  <a:pt x="2094" y="510"/>
                  <a:pt x="2096" y="507"/>
                </a:cubicBezTo>
                <a:close/>
                <a:moveTo>
                  <a:pt x="2062" y="509"/>
                </a:moveTo>
                <a:cubicBezTo>
                  <a:pt x="2063" y="508"/>
                  <a:pt x="2064" y="506"/>
                  <a:pt x="2066" y="505"/>
                </a:cubicBezTo>
                <a:cubicBezTo>
                  <a:pt x="2062" y="506"/>
                  <a:pt x="2061" y="507"/>
                  <a:pt x="2062" y="509"/>
                </a:cubicBezTo>
                <a:close/>
                <a:moveTo>
                  <a:pt x="2072" y="530"/>
                </a:moveTo>
                <a:cubicBezTo>
                  <a:pt x="2070" y="531"/>
                  <a:pt x="2070" y="531"/>
                  <a:pt x="2070" y="532"/>
                </a:cubicBezTo>
                <a:cubicBezTo>
                  <a:pt x="2070" y="532"/>
                  <a:pt x="2071" y="531"/>
                  <a:pt x="2072" y="530"/>
                </a:cubicBezTo>
                <a:close/>
                <a:moveTo>
                  <a:pt x="2071" y="515"/>
                </a:moveTo>
                <a:cubicBezTo>
                  <a:pt x="2070" y="514"/>
                  <a:pt x="2069" y="514"/>
                  <a:pt x="2069" y="514"/>
                </a:cubicBezTo>
                <a:cubicBezTo>
                  <a:pt x="2068" y="514"/>
                  <a:pt x="2068" y="515"/>
                  <a:pt x="2068" y="515"/>
                </a:cubicBezTo>
                <a:cubicBezTo>
                  <a:pt x="2068" y="516"/>
                  <a:pt x="2068" y="516"/>
                  <a:pt x="2068" y="516"/>
                </a:cubicBezTo>
                <a:cubicBezTo>
                  <a:pt x="2069" y="516"/>
                  <a:pt x="2069" y="516"/>
                  <a:pt x="2071" y="515"/>
                </a:cubicBezTo>
                <a:close/>
                <a:moveTo>
                  <a:pt x="3705" y="671"/>
                </a:moveTo>
                <a:cubicBezTo>
                  <a:pt x="3708" y="652"/>
                  <a:pt x="3708" y="652"/>
                  <a:pt x="3708" y="652"/>
                </a:cubicBezTo>
                <a:cubicBezTo>
                  <a:pt x="3699" y="652"/>
                  <a:pt x="3699" y="652"/>
                  <a:pt x="3699" y="652"/>
                </a:cubicBezTo>
                <a:cubicBezTo>
                  <a:pt x="3699" y="640"/>
                  <a:pt x="3699" y="640"/>
                  <a:pt x="3699" y="640"/>
                </a:cubicBezTo>
                <a:cubicBezTo>
                  <a:pt x="3710" y="640"/>
                  <a:pt x="3710" y="640"/>
                  <a:pt x="3710" y="640"/>
                </a:cubicBezTo>
                <a:cubicBezTo>
                  <a:pt x="3712" y="629"/>
                  <a:pt x="3712" y="629"/>
                  <a:pt x="3712" y="629"/>
                </a:cubicBezTo>
                <a:cubicBezTo>
                  <a:pt x="3702" y="629"/>
                  <a:pt x="3702" y="629"/>
                  <a:pt x="3702" y="629"/>
                </a:cubicBezTo>
                <a:cubicBezTo>
                  <a:pt x="3702" y="617"/>
                  <a:pt x="3702" y="617"/>
                  <a:pt x="3702" y="617"/>
                </a:cubicBezTo>
                <a:cubicBezTo>
                  <a:pt x="3713" y="617"/>
                  <a:pt x="3713" y="617"/>
                  <a:pt x="3713" y="617"/>
                </a:cubicBezTo>
                <a:cubicBezTo>
                  <a:pt x="3716" y="598"/>
                  <a:pt x="3716" y="598"/>
                  <a:pt x="3716" y="598"/>
                </a:cubicBezTo>
                <a:cubicBezTo>
                  <a:pt x="3728" y="598"/>
                  <a:pt x="3728" y="598"/>
                  <a:pt x="3728" y="598"/>
                </a:cubicBezTo>
                <a:cubicBezTo>
                  <a:pt x="3725" y="617"/>
                  <a:pt x="3725" y="617"/>
                  <a:pt x="3725" y="617"/>
                </a:cubicBezTo>
                <a:cubicBezTo>
                  <a:pt x="3734" y="617"/>
                  <a:pt x="3734" y="617"/>
                  <a:pt x="3734" y="617"/>
                </a:cubicBezTo>
                <a:cubicBezTo>
                  <a:pt x="3737" y="598"/>
                  <a:pt x="3737" y="598"/>
                  <a:pt x="3737" y="598"/>
                </a:cubicBezTo>
                <a:cubicBezTo>
                  <a:pt x="3749" y="598"/>
                  <a:pt x="3749" y="598"/>
                  <a:pt x="3749" y="598"/>
                </a:cubicBezTo>
                <a:cubicBezTo>
                  <a:pt x="3745" y="617"/>
                  <a:pt x="3745" y="617"/>
                  <a:pt x="3745" y="617"/>
                </a:cubicBezTo>
                <a:cubicBezTo>
                  <a:pt x="3754" y="617"/>
                  <a:pt x="3754" y="617"/>
                  <a:pt x="3754" y="617"/>
                </a:cubicBezTo>
                <a:cubicBezTo>
                  <a:pt x="3754" y="629"/>
                  <a:pt x="3754" y="629"/>
                  <a:pt x="3754" y="629"/>
                </a:cubicBezTo>
                <a:cubicBezTo>
                  <a:pt x="3744" y="629"/>
                  <a:pt x="3744" y="629"/>
                  <a:pt x="3744" y="629"/>
                </a:cubicBezTo>
                <a:cubicBezTo>
                  <a:pt x="3742" y="640"/>
                  <a:pt x="3742" y="640"/>
                  <a:pt x="3742" y="640"/>
                </a:cubicBezTo>
                <a:cubicBezTo>
                  <a:pt x="3751" y="640"/>
                  <a:pt x="3751" y="640"/>
                  <a:pt x="3751" y="640"/>
                </a:cubicBezTo>
                <a:cubicBezTo>
                  <a:pt x="3751" y="652"/>
                  <a:pt x="3751" y="652"/>
                  <a:pt x="3751" y="652"/>
                </a:cubicBezTo>
                <a:cubicBezTo>
                  <a:pt x="3740" y="652"/>
                  <a:pt x="3740" y="652"/>
                  <a:pt x="3740" y="652"/>
                </a:cubicBezTo>
                <a:cubicBezTo>
                  <a:pt x="3738" y="671"/>
                  <a:pt x="3738" y="671"/>
                  <a:pt x="3738" y="671"/>
                </a:cubicBezTo>
                <a:cubicBezTo>
                  <a:pt x="3726" y="671"/>
                  <a:pt x="3726" y="671"/>
                  <a:pt x="3726" y="671"/>
                </a:cubicBezTo>
                <a:cubicBezTo>
                  <a:pt x="3729" y="652"/>
                  <a:pt x="3729" y="652"/>
                  <a:pt x="3729" y="652"/>
                </a:cubicBezTo>
                <a:cubicBezTo>
                  <a:pt x="3719" y="652"/>
                  <a:pt x="3719" y="652"/>
                  <a:pt x="3719" y="652"/>
                </a:cubicBezTo>
                <a:cubicBezTo>
                  <a:pt x="3716" y="671"/>
                  <a:pt x="3716" y="671"/>
                  <a:pt x="3716" y="671"/>
                </a:cubicBezTo>
                <a:cubicBezTo>
                  <a:pt x="3705" y="671"/>
                  <a:pt x="3705" y="671"/>
                  <a:pt x="3705" y="671"/>
                </a:cubicBezTo>
                <a:cubicBezTo>
                  <a:pt x="3705" y="671"/>
                  <a:pt x="3705" y="671"/>
                  <a:pt x="3705" y="671"/>
                </a:cubicBezTo>
                <a:close/>
                <a:moveTo>
                  <a:pt x="3731" y="640"/>
                </a:moveTo>
                <a:cubicBezTo>
                  <a:pt x="3732" y="629"/>
                  <a:pt x="3732" y="629"/>
                  <a:pt x="3732" y="629"/>
                </a:cubicBezTo>
                <a:cubicBezTo>
                  <a:pt x="3723" y="629"/>
                  <a:pt x="3723" y="629"/>
                  <a:pt x="3723" y="629"/>
                </a:cubicBezTo>
                <a:cubicBezTo>
                  <a:pt x="3721" y="640"/>
                  <a:pt x="3721" y="640"/>
                  <a:pt x="3721" y="640"/>
                </a:cubicBezTo>
                <a:cubicBezTo>
                  <a:pt x="3731" y="640"/>
                  <a:pt x="3731" y="640"/>
                  <a:pt x="3731" y="640"/>
                </a:cubicBezTo>
                <a:cubicBezTo>
                  <a:pt x="3731" y="640"/>
                  <a:pt x="3731" y="640"/>
                  <a:pt x="3731" y="640"/>
                </a:cubicBezTo>
                <a:close/>
                <a:moveTo>
                  <a:pt x="2590" y="645"/>
                </a:moveTo>
                <a:cubicBezTo>
                  <a:pt x="2590" y="646"/>
                  <a:pt x="2591" y="648"/>
                  <a:pt x="2592" y="649"/>
                </a:cubicBezTo>
                <a:cubicBezTo>
                  <a:pt x="2592" y="651"/>
                  <a:pt x="2592" y="653"/>
                  <a:pt x="2593" y="654"/>
                </a:cubicBezTo>
                <a:cubicBezTo>
                  <a:pt x="2593" y="656"/>
                  <a:pt x="2593" y="657"/>
                  <a:pt x="2593" y="659"/>
                </a:cubicBezTo>
                <a:cubicBezTo>
                  <a:pt x="2594" y="662"/>
                  <a:pt x="2593" y="664"/>
                  <a:pt x="2590" y="664"/>
                </a:cubicBezTo>
                <a:cubicBezTo>
                  <a:pt x="2587" y="664"/>
                  <a:pt x="2584" y="663"/>
                  <a:pt x="2581" y="663"/>
                </a:cubicBezTo>
                <a:cubicBezTo>
                  <a:pt x="2581" y="663"/>
                  <a:pt x="2580" y="663"/>
                  <a:pt x="2580" y="664"/>
                </a:cubicBezTo>
                <a:cubicBezTo>
                  <a:pt x="2578" y="665"/>
                  <a:pt x="2577" y="667"/>
                  <a:pt x="2575" y="668"/>
                </a:cubicBezTo>
                <a:cubicBezTo>
                  <a:pt x="2573" y="671"/>
                  <a:pt x="2570" y="671"/>
                  <a:pt x="2568" y="669"/>
                </a:cubicBezTo>
                <a:cubicBezTo>
                  <a:pt x="2566" y="667"/>
                  <a:pt x="2565" y="664"/>
                  <a:pt x="2563" y="661"/>
                </a:cubicBezTo>
                <a:cubicBezTo>
                  <a:pt x="2562" y="660"/>
                  <a:pt x="2563" y="658"/>
                  <a:pt x="2565" y="657"/>
                </a:cubicBezTo>
                <a:cubicBezTo>
                  <a:pt x="2562" y="657"/>
                  <a:pt x="2561" y="657"/>
                  <a:pt x="2559" y="657"/>
                </a:cubicBezTo>
                <a:cubicBezTo>
                  <a:pt x="2559" y="659"/>
                  <a:pt x="2557" y="661"/>
                  <a:pt x="2557" y="663"/>
                </a:cubicBezTo>
                <a:cubicBezTo>
                  <a:pt x="2557" y="663"/>
                  <a:pt x="2556" y="664"/>
                  <a:pt x="2556" y="665"/>
                </a:cubicBezTo>
                <a:cubicBezTo>
                  <a:pt x="2556" y="668"/>
                  <a:pt x="2555" y="669"/>
                  <a:pt x="2552" y="669"/>
                </a:cubicBezTo>
                <a:cubicBezTo>
                  <a:pt x="2549" y="669"/>
                  <a:pt x="2546" y="668"/>
                  <a:pt x="2543" y="667"/>
                </a:cubicBezTo>
                <a:cubicBezTo>
                  <a:pt x="2541" y="666"/>
                  <a:pt x="2541" y="665"/>
                  <a:pt x="2541" y="663"/>
                </a:cubicBezTo>
                <a:cubicBezTo>
                  <a:pt x="2541" y="662"/>
                  <a:pt x="2541" y="661"/>
                  <a:pt x="2542" y="661"/>
                </a:cubicBezTo>
                <a:cubicBezTo>
                  <a:pt x="2539" y="660"/>
                  <a:pt x="2537" y="659"/>
                  <a:pt x="2535" y="657"/>
                </a:cubicBezTo>
                <a:cubicBezTo>
                  <a:pt x="2534" y="657"/>
                  <a:pt x="2533" y="655"/>
                  <a:pt x="2532" y="653"/>
                </a:cubicBezTo>
                <a:cubicBezTo>
                  <a:pt x="2531" y="651"/>
                  <a:pt x="2531" y="650"/>
                  <a:pt x="2533" y="648"/>
                </a:cubicBezTo>
                <a:cubicBezTo>
                  <a:pt x="2536" y="646"/>
                  <a:pt x="2537" y="643"/>
                  <a:pt x="2536" y="639"/>
                </a:cubicBezTo>
                <a:cubicBezTo>
                  <a:pt x="2536" y="637"/>
                  <a:pt x="2536" y="635"/>
                  <a:pt x="2536" y="633"/>
                </a:cubicBezTo>
                <a:cubicBezTo>
                  <a:pt x="2535" y="632"/>
                  <a:pt x="2533" y="632"/>
                  <a:pt x="2532" y="631"/>
                </a:cubicBezTo>
                <a:cubicBezTo>
                  <a:pt x="2531" y="629"/>
                  <a:pt x="2530" y="627"/>
                  <a:pt x="2530" y="625"/>
                </a:cubicBezTo>
                <a:cubicBezTo>
                  <a:pt x="2530" y="622"/>
                  <a:pt x="2533" y="619"/>
                  <a:pt x="2536" y="619"/>
                </a:cubicBezTo>
                <a:cubicBezTo>
                  <a:pt x="2537" y="619"/>
                  <a:pt x="2537" y="620"/>
                  <a:pt x="2537" y="621"/>
                </a:cubicBezTo>
                <a:cubicBezTo>
                  <a:pt x="2537" y="622"/>
                  <a:pt x="2537" y="623"/>
                  <a:pt x="2537" y="624"/>
                </a:cubicBezTo>
                <a:cubicBezTo>
                  <a:pt x="2537" y="624"/>
                  <a:pt x="2536" y="624"/>
                  <a:pt x="2536" y="624"/>
                </a:cubicBezTo>
                <a:cubicBezTo>
                  <a:pt x="2535" y="625"/>
                  <a:pt x="2535" y="626"/>
                  <a:pt x="2534" y="628"/>
                </a:cubicBezTo>
                <a:cubicBezTo>
                  <a:pt x="2535" y="628"/>
                  <a:pt x="2536" y="628"/>
                  <a:pt x="2537" y="627"/>
                </a:cubicBezTo>
                <a:cubicBezTo>
                  <a:pt x="2538" y="626"/>
                  <a:pt x="2539" y="625"/>
                  <a:pt x="2539" y="624"/>
                </a:cubicBezTo>
                <a:cubicBezTo>
                  <a:pt x="2544" y="617"/>
                  <a:pt x="2550" y="614"/>
                  <a:pt x="2557" y="612"/>
                </a:cubicBezTo>
                <a:cubicBezTo>
                  <a:pt x="2561" y="612"/>
                  <a:pt x="2564" y="610"/>
                  <a:pt x="2566" y="608"/>
                </a:cubicBezTo>
                <a:cubicBezTo>
                  <a:pt x="2566" y="607"/>
                  <a:pt x="2567" y="607"/>
                  <a:pt x="2567" y="607"/>
                </a:cubicBezTo>
                <a:cubicBezTo>
                  <a:pt x="2570" y="606"/>
                  <a:pt x="2572" y="604"/>
                  <a:pt x="2573" y="602"/>
                </a:cubicBezTo>
                <a:cubicBezTo>
                  <a:pt x="2581" y="595"/>
                  <a:pt x="2593" y="594"/>
                  <a:pt x="2601" y="601"/>
                </a:cubicBezTo>
                <a:cubicBezTo>
                  <a:pt x="2603" y="603"/>
                  <a:pt x="2606" y="605"/>
                  <a:pt x="2608" y="607"/>
                </a:cubicBezTo>
                <a:cubicBezTo>
                  <a:pt x="2610" y="608"/>
                  <a:pt x="2611" y="610"/>
                  <a:pt x="2612" y="612"/>
                </a:cubicBezTo>
                <a:cubicBezTo>
                  <a:pt x="2613" y="613"/>
                  <a:pt x="2613" y="613"/>
                  <a:pt x="2615" y="612"/>
                </a:cubicBezTo>
                <a:cubicBezTo>
                  <a:pt x="2615" y="612"/>
                  <a:pt x="2616" y="611"/>
                  <a:pt x="2617" y="610"/>
                </a:cubicBezTo>
                <a:cubicBezTo>
                  <a:pt x="2619" y="607"/>
                  <a:pt x="2622" y="607"/>
                  <a:pt x="2623" y="610"/>
                </a:cubicBezTo>
                <a:cubicBezTo>
                  <a:pt x="2624" y="614"/>
                  <a:pt x="2625" y="616"/>
                  <a:pt x="2626" y="619"/>
                </a:cubicBezTo>
                <a:cubicBezTo>
                  <a:pt x="2626" y="624"/>
                  <a:pt x="2626" y="628"/>
                  <a:pt x="2624" y="633"/>
                </a:cubicBezTo>
                <a:cubicBezTo>
                  <a:pt x="2622" y="639"/>
                  <a:pt x="2617" y="642"/>
                  <a:pt x="2611" y="642"/>
                </a:cubicBezTo>
                <a:cubicBezTo>
                  <a:pt x="2610" y="642"/>
                  <a:pt x="2610" y="642"/>
                  <a:pt x="2609" y="642"/>
                </a:cubicBezTo>
                <a:cubicBezTo>
                  <a:pt x="2606" y="642"/>
                  <a:pt x="2605" y="642"/>
                  <a:pt x="2604" y="645"/>
                </a:cubicBezTo>
                <a:cubicBezTo>
                  <a:pt x="2603" y="649"/>
                  <a:pt x="2597" y="651"/>
                  <a:pt x="2594" y="648"/>
                </a:cubicBezTo>
                <a:cubicBezTo>
                  <a:pt x="2593" y="646"/>
                  <a:pt x="2592" y="646"/>
                  <a:pt x="2591" y="644"/>
                </a:cubicBezTo>
                <a:cubicBezTo>
                  <a:pt x="2590" y="645"/>
                  <a:pt x="2590" y="645"/>
                  <a:pt x="2590" y="645"/>
                </a:cubicBezTo>
                <a:close/>
                <a:moveTo>
                  <a:pt x="2584" y="640"/>
                </a:moveTo>
                <a:cubicBezTo>
                  <a:pt x="2588" y="642"/>
                  <a:pt x="2592" y="643"/>
                  <a:pt x="2594" y="646"/>
                </a:cubicBezTo>
                <a:cubicBezTo>
                  <a:pt x="2596" y="648"/>
                  <a:pt x="2598" y="648"/>
                  <a:pt x="2600" y="648"/>
                </a:cubicBezTo>
                <a:cubicBezTo>
                  <a:pt x="2602" y="647"/>
                  <a:pt x="2604" y="645"/>
                  <a:pt x="2604" y="642"/>
                </a:cubicBezTo>
                <a:cubicBezTo>
                  <a:pt x="2604" y="642"/>
                  <a:pt x="2603" y="642"/>
                  <a:pt x="2603" y="642"/>
                </a:cubicBezTo>
                <a:cubicBezTo>
                  <a:pt x="2602" y="644"/>
                  <a:pt x="2601" y="645"/>
                  <a:pt x="2601" y="646"/>
                </a:cubicBezTo>
                <a:cubicBezTo>
                  <a:pt x="2599" y="647"/>
                  <a:pt x="2598" y="647"/>
                  <a:pt x="2597" y="646"/>
                </a:cubicBezTo>
                <a:cubicBezTo>
                  <a:pt x="2597" y="646"/>
                  <a:pt x="2596" y="645"/>
                  <a:pt x="2596" y="644"/>
                </a:cubicBezTo>
                <a:cubicBezTo>
                  <a:pt x="2596" y="642"/>
                  <a:pt x="2597" y="640"/>
                  <a:pt x="2597" y="638"/>
                </a:cubicBezTo>
                <a:cubicBezTo>
                  <a:pt x="2600" y="639"/>
                  <a:pt x="2603" y="640"/>
                  <a:pt x="2607" y="640"/>
                </a:cubicBezTo>
                <a:cubicBezTo>
                  <a:pt x="2614" y="642"/>
                  <a:pt x="2620" y="640"/>
                  <a:pt x="2623" y="631"/>
                </a:cubicBezTo>
                <a:cubicBezTo>
                  <a:pt x="2625" y="627"/>
                  <a:pt x="2624" y="622"/>
                  <a:pt x="2624" y="617"/>
                </a:cubicBezTo>
                <a:cubicBezTo>
                  <a:pt x="2623" y="615"/>
                  <a:pt x="2622" y="613"/>
                  <a:pt x="2622" y="611"/>
                </a:cubicBezTo>
                <a:cubicBezTo>
                  <a:pt x="2621" y="610"/>
                  <a:pt x="2620" y="609"/>
                  <a:pt x="2619" y="611"/>
                </a:cubicBezTo>
                <a:cubicBezTo>
                  <a:pt x="2617" y="612"/>
                  <a:pt x="2615" y="614"/>
                  <a:pt x="2613" y="615"/>
                </a:cubicBezTo>
                <a:cubicBezTo>
                  <a:pt x="2613" y="615"/>
                  <a:pt x="2612" y="616"/>
                  <a:pt x="2612" y="617"/>
                </a:cubicBezTo>
                <a:cubicBezTo>
                  <a:pt x="2613" y="620"/>
                  <a:pt x="2612" y="623"/>
                  <a:pt x="2611" y="627"/>
                </a:cubicBezTo>
                <a:cubicBezTo>
                  <a:pt x="2611" y="625"/>
                  <a:pt x="2612" y="623"/>
                  <a:pt x="2612" y="621"/>
                </a:cubicBezTo>
                <a:cubicBezTo>
                  <a:pt x="2612" y="620"/>
                  <a:pt x="2611" y="620"/>
                  <a:pt x="2611" y="619"/>
                </a:cubicBezTo>
                <a:cubicBezTo>
                  <a:pt x="2610" y="620"/>
                  <a:pt x="2610" y="620"/>
                  <a:pt x="2610" y="620"/>
                </a:cubicBezTo>
                <a:cubicBezTo>
                  <a:pt x="2609" y="621"/>
                  <a:pt x="2608" y="623"/>
                  <a:pt x="2607" y="624"/>
                </a:cubicBezTo>
                <a:cubicBezTo>
                  <a:pt x="2607" y="624"/>
                  <a:pt x="2607" y="624"/>
                  <a:pt x="2607" y="624"/>
                </a:cubicBezTo>
                <a:cubicBezTo>
                  <a:pt x="2607" y="623"/>
                  <a:pt x="2608" y="621"/>
                  <a:pt x="2608" y="619"/>
                </a:cubicBezTo>
                <a:cubicBezTo>
                  <a:pt x="2607" y="619"/>
                  <a:pt x="2606" y="620"/>
                  <a:pt x="2606" y="621"/>
                </a:cubicBezTo>
                <a:cubicBezTo>
                  <a:pt x="2605" y="621"/>
                  <a:pt x="2605" y="622"/>
                  <a:pt x="2604" y="623"/>
                </a:cubicBezTo>
                <a:cubicBezTo>
                  <a:pt x="2605" y="619"/>
                  <a:pt x="2605" y="619"/>
                  <a:pt x="2611" y="618"/>
                </a:cubicBezTo>
                <a:cubicBezTo>
                  <a:pt x="2611" y="617"/>
                  <a:pt x="2610" y="617"/>
                  <a:pt x="2610" y="617"/>
                </a:cubicBezTo>
                <a:cubicBezTo>
                  <a:pt x="2607" y="617"/>
                  <a:pt x="2606" y="616"/>
                  <a:pt x="2606" y="614"/>
                </a:cubicBezTo>
                <a:cubicBezTo>
                  <a:pt x="2608" y="613"/>
                  <a:pt x="2609" y="613"/>
                  <a:pt x="2611" y="612"/>
                </a:cubicBezTo>
                <a:cubicBezTo>
                  <a:pt x="2609" y="610"/>
                  <a:pt x="2608" y="607"/>
                  <a:pt x="2604" y="607"/>
                </a:cubicBezTo>
                <a:cubicBezTo>
                  <a:pt x="2604" y="607"/>
                  <a:pt x="2604" y="606"/>
                  <a:pt x="2604" y="606"/>
                </a:cubicBezTo>
                <a:cubicBezTo>
                  <a:pt x="2601" y="604"/>
                  <a:pt x="2599" y="602"/>
                  <a:pt x="2596" y="600"/>
                </a:cubicBezTo>
                <a:cubicBezTo>
                  <a:pt x="2594" y="598"/>
                  <a:pt x="2591" y="598"/>
                  <a:pt x="2589" y="598"/>
                </a:cubicBezTo>
                <a:cubicBezTo>
                  <a:pt x="2586" y="598"/>
                  <a:pt x="2582" y="599"/>
                  <a:pt x="2579" y="600"/>
                </a:cubicBezTo>
                <a:cubicBezTo>
                  <a:pt x="2577" y="601"/>
                  <a:pt x="2574" y="603"/>
                  <a:pt x="2572" y="606"/>
                </a:cubicBezTo>
                <a:cubicBezTo>
                  <a:pt x="2574" y="606"/>
                  <a:pt x="2575" y="606"/>
                  <a:pt x="2576" y="606"/>
                </a:cubicBezTo>
                <a:cubicBezTo>
                  <a:pt x="2576" y="606"/>
                  <a:pt x="2575" y="607"/>
                  <a:pt x="2574" y="607"/>
                </a:cubicBezTo>
                <a:cubicBezTo>
                  <a:pt x="2572" y="608"/>
                  <a:pt x="2569" y="607"/>
                  <a:pt x="2567" y="609"/>
                </a:cubicBezTo>
                <a:cubicBezTo>
                  <a:pt x="2564" y="613"/>
                  <a:pt x="2560" y="617"/>
                  <a:pt x="2556" y="621"/>
                </a:cubicBezTo>
                <a:cubicBezTo>
                  <a:pt x="2555" y="623"/>
                  <a:pt x="2554" y="625"/>
                  <a:pt x="2553" y="628"/>
                </a:cubicBezTo>
                <a:cubicBezTo>
                  <a:pt x="2553" y="628"/>
                  <a:pt x="2553" y="629"/>
                  <a:pt x="2553" y="629"/>
                </a:cubicBezTo>
                <a:cubicBezTo>
                  <a:pt x="2554" y="631"/>
                  <a:pt x="2555" y="633"/>
                  <a:pt x="2557" y="635"/>
                </a:cubicBezTo>
                <a:cubicBezTo>
                  <a:pt x="2558" y="634"/>
                  <a:pt x="2559" y="632"/>
                  <a:pt x="2561" y="631"/>
                </a:cubicBezTo>
                <a:cubicBezTo>
                  <a:pt x="2560" y="632"/>
                  <a:pt x="2560" y="633"/>
                  <a:pt x="2559" y="635"/>
                </a:cubicBezTo>
                <a:cubicBezTo>
                  <a:pt x="2558" y="636"/>
                  <a:pt x="2557" y="637"/>
                  <a:pt x="2557" y="639"/>
                </a:cubicBezTo>
                <a:cubicBezTo>
                  <a:pt x="2557" y="640"/>
                  <a:pt x="2557" y="641"/>
                  <a:pt x="2557" y="642"/>
                </a:cubicBezTo>
                <a:cubicBezTo>
                  <a:pt x="2560" y="645"/>
                  <a:pt x="2563" y="645"/>
                  <a:pt x="2567" y="643"/>
                </a:cubicBezTo>
                <a:cubicBezTo>
                  <a:pt x="2569" y="642"/>
                  <a:pt x="2572" y="640"/>
                  <a:pt x="2575" y="640"/>
                </a:cubicBezTo>
                <a:cubicBezTo>
                  <a:pt x="2576" y="639"/>
                  <a:pt x="2577" y="638"/>
                  <a:pt x="2577" y="637"/>
                </a:cubicBezTo>
                <a:cubicBezTo>
                  <a:pt x="2577" y="634"/>
                  <a:pt x="2577" y="630"/>
                  <a:pt x="2577" y="627"/>
                </a:cubicBezTo>
                <a:cubicBezTo>
                  <a:pt x="2577" y="624"/>
                  <a:pt x="2577" y="621"/>
                  <a:pt x="2577" y="618"/>
                </a:cubicBezTo>
                <a:cubicBezTo>
                  <a:pt x="2578" y="621"/>
                  <a:pt x="2579" y="623"/>
                  <a:pt x="2579" y="626"/>
                </a:cubicBezTo>
                <a:cubicBezTo>
                  <a:pt x="2580" y="631"/>
                  <a:pt x="2580" y="635"/>
                  <a:pt x="2579" y="639"/>
                </a:cubicBezTo>
                <a:cubicBezTo>
                  <a:pt x="2578" y="640"/>
                  <a:pt x="2577" y="641"/>
                  <a:pt x="2577" y="641"/>
                </a:cubicBezTo>
                <a:cubicBezTo>
                  <a:pt x="2573" y="641"/>
                  <a:pt x="2570" y="643"/>
                  <a:pt x="2567" y="645"/>
                </a:cubicBezTo>
                <a:cubicBezTo>
                  <a:pt x="2562" y="648"/>
                  <a:pt x="2559" y="646"/>
                  <a:pt x="2555" y="642"/>
                </a:cubicBezTo>
                <a:cubicBezTo>
                  <a:pt x="2555" y="642"/>
                  <a:pt x="2555" y="640"/>
                  <a:pt x="2555" y="640"/>
                </a:cubicBezTo>
                <a:cubicBezTo>
                  <a:pt x="2556" y="638"/>
                  <a:pt x="2555" y="636"/>
                  <a:pt x="2553" y="634"/>
                </a:cubicBezTo>
                <a:cubicBezTo>
                  <a:pt x="2552" y="632"/>
                  <a:pt x="2550" y="629"/>
                  <a:pt x="2552" y="627"/>
                </a:cubicBezTo>
                <a:cubicBezTo>
                  <a:pt x="2552" y="625"/>
                  <a:pt x="2553" y="623"/>
                  <a:pt x="2554" y="621"/>
                </a:cubicBezTo>
                <a:cubicBezTo>
                  <a:pt x="2556" y="619"/>
                  <a:pt x="2558" y="616"/>
                  <a:pt x="2560" y="614"/>
                </a:cubicBezTo>
                <a:cubicBezTo>
                  <a:pt x="2560" y="614"/>
                  <a:pt x="2559" y="614"/>
                  <a:pt x="2559" y="614"/>
                </a:cubicBezTo>
                <a:cubicBezTo>
                  <a:pt x="2554" y="615"/>
                  <a:pt x="2550" y="616"/>
                  <a:pt x="2546" y="619"/>
                </a:cubicBezTo>
                <a:cubicBezTo>
                  <a:pt x="2541" y="624"/>
                  <a:pt x="2538" y="629"/>
                  <a:pt x="2538" y="636"/>
                </a:cubicBezTo>
                <a:cubicBezTo>
                  <a:pt x="2537" y="642"/>
                  <a:pt x="2540" y="648"/>
                  <a:pt x="2543" y="654"/>
                </a:cubicBezTo>
                <a:cubicBezTo>
                  <a:pt x="2544" y="655"/>
                  <a:pt x="2544" y="657"/>
                  <a:pt x="2544" y="658"/>
                </a:cubicBezTo>
                <a:cubicBezTo>
                  <a:pt x="2544" y="659"/>
                  <a:pt x="2544" y="661"/>
                  <a:pt x="2543" y="662"/>
                </a:cubicBezTo>
                <a:cubicBezTo>
                  <a:pt x="2542" y="664"/>
                  <a:pt x="2543" y="665"/>
                  <a:pt x="2544" y="665"/>
                </a:cubicBezTo>
                <a:cubicBezTo>
                  <a:pt x="2547" y="666"/>
                  <a:pt x="2550" y="667"/>
                  <a:pt x="2553" y="667"/>
                </a:cubicBezTo>
                <a:cubicBezTo>
                  <a:pt x="2553" y="667"/>
                  <a:pt x="2554" y="666"/>
                  <a:pt x="2554" y="666"/>
                </a:cubicBezTo>
                <a:cubicBezTo>
                  <a:pt x="2555" y="665"/>
                  <a:pt x="2555" y="663"/>
                  <a:pt x="2555" y="662"/>
                </a:cubicBezTo>
                <a:cubicBezTo>
                  <a:pt x="2557" y="660"/>
                  <a:pt x="2557" y="657"/>
                  <a:pt x="2557" y="654"/>
                </a:cubicBezTo>
                <a:cubicBezTo>
                  <a:pt x="2557" y="654"/>
                  <a:pt x="2557" y="654"/>
                  <a:pt x="2557" y="653"/>
                </a:cubicBezTo>
                <a:cubicBezTo>
                  <a:pt x="2557" y="653"/>
                  <a:pt x="2557" y="653"/>
                  <a:pt x="2557" y="652"/>
                </a:cubicBezTo>
                <a:cubicBezTo>
                  <a:pt x="2558" y="655"/>
                  <a:pt x="2559" y="655"/>
                  <a:pt x="2561" y="655"/>
                </a:cubicBezTo>
                <a:cubicBezTo>
                  <a:pt x="2562" y="655"/>
                  <a:pt x="2563" y="655"/>
                  <a:pt x="2564" y="655"/>
                </a:cubicBezTo>
                <a:cubicBezTo>
                  <a:pt x="2566" y="655"/>
                  <a:pt x="2570" y="656"/>
                  <a:pt x="2570" y="652"/>
                </a:cubicBezTo>
                <a:cubicBezTo>
                  <a:pt x="2570" y="654"/>
                  <a:pt x="2570" y="655"/>
                  <a:pt x="2570" y="656"/>
                </a:cubicBezTo>
                <a:cubicBezTo>
                  <a:pt x="2569" y="657"/>
                  <a:pt x="2568" y="658"/>
                  <a:pt x="2566" y="658"/>
                </a:cubicBezTo>
                <a:cubicBezTo>
                  <a:pt x="2565" y="659"/>
                  <a:pt x="2564" y="661"/>
                  <a:pt x="2565" y="661"/>
                </a:cubicBezTo>
                <a:cubicBezTo>
                  <a:pt x="2566" y="664"/>
                  <a:pt x="2568" y="666"/>
                  <a:pt x="2569" y="668"/>
                </a:cubicBezTo>
                <a:cubicBezTo>
                  <a:pt x="2571" y="669"/>
                  <a:pt x="2573" y="669"/>
                  <a:pt x="2574" y="667"/>
                </a:cubicBezTo>
                <a:cubicBezTo>
                  <a:pt x="2575" y="666"/>
                  <a:pt x="2575" y="665"/>
                  <a:pt x="2576" y="665"/>
                </a:cubicBezTo>
                <a:cubicBezTo>
                  <a:pt x="2578" y="663"/>
                  <a:pt x="2579" y="662"/>
                  <a:pt x="2581" y="661"/>
                </a:cubicBezTo>
                <a:cubicBezTo>
                  <a:pt x="2585" y="657"/>
                  <a:pt x="2587" y="651"/>
                  <a:pt x="2589" y="645"/>
                </a:cubicBezTo>
                <a:cubicBezTo>
                  <a:pt x="2589" y="644"/>
                  <a:pt x="2588" y="644"/>
                  <a:pt x="2588" y="643"/>
                </a:cubicBezTo>
                <a:cubicBezTo>
                  <a:pt x="2587" y="642"/>
                  <a:pt x="2586" y="641"/>
                  <a:pt x="2584" y="640"/>
                </a:cubicBezTo>
                <a:close/>
                <a:moveTo>
                  <a:pt x="2537" y="647"/>
                </a:moveTo>
                <a:cubicBezTo>
                  <a:pt x="2537" y="648"/>
                  <a:pt x="2535" y="648"/>
                  <a:pt x="2534" y="650"/>
                </a:cubicBezTo>
                <a:cubicBezTo>
                  <a:pt x="2533" y="650"/>
                  <a:pt x="2533" y="651"/>
                  <a:pt x="2533" y="652"/>
                </a:cubicBezTo>
                <a:cubicBezTo>
                  <a:pt x="2533" y="654"/>
                  <a:pt x="2537" y="659"/>
                  <a:pt x="2541" y="658"/>
                </a:cubicBezTo>
                <a:cubicBezTo>
                  <a:pt x="2542" y="658"/>
                  <a:pt x="2543" y="657"/>
                  <a:pt x="2542" y="655"/>
                </a:cubicBezTo>
                <a:cubicBezTo>
                  <a:pt x="2541" y="652"/>
                  <a:pt x="2539" y="650"/>
                  <a:pt x="2537" y="647"/>
                </a:cubicBezTo>
                <a:close/>
                <a:moveTo>
                  <a:pt x="2590" y="649"/>
                </a:moveTo>
                <a:cubicBezTo>
                  <a:pt x="2588" y="654"/>
                  <a:pt x="2585" y="658"/>
                  <a:pt x="2583" y="662"/>
                </a:cubicBezTo>
                <a:cubicBezTo>
                  <a:pt x="2586" y="662"/>
                  <a:pt x="2588" y="663"/>
                  <a:pt x="2591" y="662"/>
                </a:cubicBezTo>
                <a:cubicBezTo>
                  <a:pt x="2591" y="662"/>
                  <a:pt x="2592" y="661"/>
                  <a:pt x="2592" y="661"/>
                </a:cubicBezTo>
                <a:cubicBezTo>
                  <a:pt x="2592" y="658"/>
                  <a:pt x="2592" y="655"/>
                  <a:pt x="2591" y="653"/>
                </a:cubicBezTo>
                <a:cubicBezTo>
                  <a:pt x="2591" y="652"/>
                  <a:pt x="2590" y="650"/>
                  <a:pt x="2590" y="649"/>
                </a:cubicBezTo>
                <a:close/>
                <a:moveTo>
                  <a:pt x="2537" y="629"/>
                </a:moveTo>
                <a:cubicBezTo>
                  <a:pt x="2537" y="629"/>
                  <a:pt x="2536" y="629"/>
                  <a:pt x="2535" y="629"/>
                </a:cubicBezTo>
                <a:cubicBezTo>
                  <a:pt x="2535" y="629"/>
                  <a:pt x="2534" y="629"/>
                  <a:pt x="2534" y="629"/>
                </a:cubicBezTo>
                <a:cubicBezTo>
                  <a:pt x="2533" y="629"/>
                  <a:pt x="2533" y="628"/>
                  <a:pt x="2533" y="627"/>
                </a:cubicBezTo>
                <a:cubicBezTo>
                  <a:pt x="2534" y="625"/>
                  <a:pt x="2534" y="623"/>
                  <a:pt x="2535" y="621"/>
                </a:cubicBezTo>
                <a:cubicBezTo>
                  <a:pt x="2535" y="621"/>
                  <a:pt x="2535" y="621"/>
                  <a:pt x="2534" y="621"/>
                </a:cubicBezTo>
                <a:cubicBezTo>
                  <a:pt x="2533" y="622"/>
                  <a:pt x="2532" y="623"/>
                  <a:pt x="2532" y="624"/>
                </a:cubicBezTo>
                <a:cubicBezTo>
                  <a:pt x="2531" y="625"/>
                  <a:pt x="2532" y="630"/>
                  <a:pt x="2534" y="631"/>
                </a:cubicBezTo>
                <a:cubicBezTo>
                  <a:pt x="2535" y="632"/>
                  <a:pt x="2537" y="631"/>
                  <a:pt x="2537" y="629"/>
                </a:cubicBezTo>
                <a:close/>
                <a:moveTo>
                  <a:pt x="2537" y="647"/>
                </a:moveTo>
                <a:cubicBezTo>
                  <a:pt x="2536" y="648"/>
                  <a:pt x="2535" y="649"/>
                  <a:pt x="2534" y="650"/>
                </a:cubicBezTo>
                <a:cubicBezTo>
                  <a:pt x="2533" y="650"/>
                  <a:pt x="2533" y="651"/>
                  <a:pt x="2533" y="652"/>
                </a:cubicBezTo>
                <a:cubicBezTo>
                  <a:pt x="2533" y="655"/>
                  <a:pt x="2537" y="659"/>
                  <a:pt x="2540" y="659"/>
                </a:cubicBezTo>
                <a:cubicBezTo>
                  <a:pt x="2542" y="659"/>
                  <a:pt x="2543" y="657"/>
                  <a:pt x="2542" y="656"/>
                </a:cubicBezTo>
                <a:cubicBezTo>
                  <a:pt x="2540" y="653"/>
                  <a:pt x="2539" y="650"/>
                  <a:pt x="2537" y="647"/>
                </a:cubicBezTo>
                <a:close/>
                <a:moveTo>
                  <a:pt x="2590" y="649"/>
                </a:moveTo>
                <a:cubicBezTo>
                  <a:pt x="2587" y="654"/>
                  <a:pt x="2585" y="658"/>
                  <a:pt x="2583" y="662"/>
                </a:cubicBezTo>
                <a:cubicBezTo>
                  <a:pt x="2585" y="662"/>
                  <a:pt x="2588" y="663"/>
                  <a:pt x="2591" y="662"/>
                </a:cubicBezTo>
                <a:cubicBezTo>
                  <a:pt x="2591" y="662"/>
                  <a:pt x="2591" y="661"/>
                  <a:pt x="2591" y="661"/>
                </a:cubicBezTo>
                <a:cubicBezTo>
                  <a:pt x="2591" y="658"/>
                  <a:pt x="2591" y="656"/>
                  <a:pt x="2591" y="653"/>
                </a:cubicBezTo>
                <a:cubicBezTo>
                  <a:pt x="2591" y="652"/>
                  <a:pt x="2590" y="650"/>
                  <a:pt x="2590" y="649"/>
                </a:cubicBezTo>
                <a:close/>
                <a:moveTo>
                  <a:pt x="2537" y="629"/>
                </a:moveTo>
                <a:cubicBezTo>
                  <a:pt x="2536" y="629"/>
                  <a:pt x="2536" y="630"/>
                  <a:pt x="2535" y="630"/>
                </a:cubicBezTo>
                <a:cubicBezTo>
                  <a:pt x="2535" y="630"/>
                  <a:pt x="2534" y="630"/>
                  <a:pt x="2534" y="629"/>
                </a:cubicBezTo>
                <a:cubicBezTo>
                  <a:pt x="2533" y="629"/>
                  <a:pt x="2533" y="628"/>
                  <a:pt x="2533" y="627"/>
                </a:cubicBezTo>
                <a:cubicBezTo>
                  <a:pt x="2534" y="625"/>
                  <a:pt x="2534" y="623"/>
                  <a:pt x="2535" y="621"/>
                </a:cubicBezTo>
                <a:cubicBezTo>
                  <a:pt x="2535" y="621"/>
                  <a:pt x="2535" y="621"/>
                  <a:pt x="2534" y="621"/>
                </a:cubicBezTo>
                <a:cubicBezTo>
                  <a:pt x="2533" y="622"/>
                  <a:pt x="2532" y="623"/>
                  <a:pt x="2532" y="624"/>
                </a:cubicBezTo>
                <a:cubicBezTo>
                  <a:pt x="2531" y="625"/>
                  <a:pt x="2532" y="630"/>
                  <a:pt x="2534" y="631"/>
                </a:cubicBezTo>
                <a:cubicBezTo>
                  <a:pt x="2535" y="632"/>
                  <a:pt x="2537" y="631"/>
                  <a:pt x="2537" y="629"/>
                </a:cubicBezTo>
                <a:close/>
                <a:moveTo>
                  <a:pt x="2589" y="621"/>
                </a:moveTo>
                <a:cubicBezTo>
                  <a:pt x="2593" y="617"/>
                  <a:pt x="2593" y="617"/>
                  <a:pt x="2597" y="616"/>
                </a:cubicBezTo>
                <a:cubicBezTo>
                  <a:pt x="2597" y="618"/>
                  <a:pt x="2598" y="619"/>
                  <a:pt x="2600" y="619"/>
                </a:cubicBezTo>
                <a:cubicBezTo>
                  <a:pt x="2597" y="620"/>
                  <a:pt x="2595" y="622"/>
                  <a:pt x="2593" y="623"/>
                </a:cubicBezTo>
                <a:cubicBezTo>
                  <a:pt x="2592" y="622"/>
                  <a:pt x="2592" y="621"/>
                  <a:pt x="2591" y="620"/>
                </a:cubicBezTo>
                <a:cubicBezTo>
                  <a:pt x="2591" y="620"/>
                  <a:pt x="2590" y="620"/>
                  <a:pt x="2589" y="621"/>
                </a:cubicBezTo>
                <a:close/>
                <a:moveTo>
                  <a:pt x="2596" y="620"/>
                </a:moveTo>
                <a:cubicBezTo>
                  <a:pt x="2595" y="620"/>
                  <a:pt x="2594" y="619"/>
                  <a:pt x="2593" y="619"/>
                </a:cubicBezTo>
                <a:cubicBezTo>
                  <a:pt x="2593" y="619"/>
                  <a:pt x="2592" y="620"/>
                  <a:pt x="2592" y="621"/>
                </a:cubicBezTo>
                <a:cubicBezTo>
                  <a:pt x="2592" y="621"/>
                  <a:pt x="2593" y="621"/>
                  <a:pt x="2593" y="622"/>
                </a:cubicBezTo>
                <a:cubicBezTo>
                  <a:pt x="2594" y="621"/>
                  <a:pt x="2594" y="621"/>
                  <a:pt x="2596" y="620"/>
                </a:cubicBezTo>
                <a:close/>
                <a:moveTo>
                  <a:pt x="2576" y="610"/>
                </a:moveTo>
                <a:cubicBezTo>
                  <a:pt x="2570" y="609"/>
                  <a:pt x="2567" y="612"/>
                  <a:pt x="2566" y="620"/>
                </a:cubicBezTo>
                <a:cubicBezTo>
                  <a:pt x="2567" y="618"/>
                  <a:pt x="2568" y="616"/>
                  <a:pt x="2569" y="613"/>
                </a:cubicBezTo>
                <a:cubicBezTo>
                  <a:pt x="2570" y="613"/>
                  <a:pt x="2570" y="613"/>
                  <a:pt x="2570" y="613"/>
                </a:cubicBezTo>
                <a:cubicBezTo>
                  <a:pt x="2570" y="614"/>
                  <a:pt x="2570" y="615"/>
                  <a:pt x="2570" y="616"/>
                </a:cubicBezTo>
                <a:cubicBezTo>
                  <a:pt x="2571" y="613"/>
                  <a:pt x="2573" y="611"/>
                  <a:pt x="2576" y="610"/>
                </a:cubicBezTo>
                <a:close/>
                <a:moveTo>
                  <a:pt x="2620" y="612"/>
                </a:moveTo>
                <a:cubicBezTo>
                  <a:pt x="2618" y="613"/>
                  <a:pt x="2616" y="615"/>
                  <a:pt x="2615" y="616"/>
                </a:cubicBezTo>
                <a:cubicBezTo>
                  <a:pt x="2617" y="617"/>
                  <a:pt x="2619" y="615"/>
                  <a:pt x="2620" y="612"/>
                </a:cubicBezTo>
                <a:close/>
                <a:moveTo>
                  <a:pt x="2587" y="614"/>
                </a:moveTo>
                <a:cubicBezTo>
                  <a:pt x="2588" y="613"/>
                  <a:pt x="2589" y="611"/>
                  <a:pt x="2590" y="610"/>
                </a:cubicBezTo>
                <a:cubicBezTo>
                  <a:pt x="2587" y="611"/>
                  <a:pt x="2587" y="612"/>
                  <a:pt x="2587" y="614"/>
                </a:cubicBezTo>
                <a:close/>
                <a:moveTo>
                  <a:pt x="2597" y="635"/>
                </a:moveTo>
                <a:cubicBezTo>
                  <a:pt x="2595" y="636"/>
                  <a:pt x="2594" y="637"/>
                  <a:pt x="2594" y="637"/>
                </a:cubicBezTo>
                <a:cubicBezTo>
                  <a:pt x="2595" y="637"/>
                  <a:pt x="2596" y="636"/>
                  <a:pt x="2597" y="635"/>
                </a:cubicBezTo>
                <a:close/>
                <a:moveTo>
                  <a:pt x="2596" y="620"/>
                </a:moveTo>
                <a:cubicBezTo>
                  <a:pt x="2595" y="619"/>
                  <a:pt x="2594" y="619"/>
                  <a:pt x="2594" y="619"/>
                </a:cubicBezTo>
                <a:cubicBezTo>
                  <a:pt x="2593" y="619"/>
                  <a:pt x="2592" y="620"/>
                  <a:pt x="2592" y="620"/>
                </a:cubicBezTo>
                <a:cubicBezTo>
                  <a:pt x="2592" y="621"/>
                  <a:pt x="2593" y="621"/>
                  <a:pt x="2593" y="621"/>
                </a:cubicBezTo>
                <a:cubicBezTo>
                  <a:pt x="2594" y="621"/>
                  <a:pt x="2594" y="621"/>
                  <a:pt x="2596" y="620"/>
                </a:cubicBezTo>
                <a:close/>
                <a:moveTo>
                  <a:pt x="3249" y="597"/>
                </a:moveTo>
                <a:cubicBezTo>
                  <a:pt x="3249" y="597"/>
                  <a:pt x="3249" y="597"/>
                  <a:pt x="3249" y="597"/>
                </a:cubicBezTo>
                <a:cubicBezTo>
                  <a:pt x="3244" y="597"/>
                  <a:pt x="3244" y="597"/>
                  <a:pt x="3244" y="597"/>
                </a:cubicBezTo>
                <a:cubicBezTo>
                  <a:pt x="3242" y="599"/>
                  <a:pt x="3241" y="600"/>
                  <a:pt x="3239" y="601"/>
                </a:cubicBezTo>
                <a:cubicBezTo>
                  <a:pt x="3237" y="603"/>
                  <a:pt x="3236" y="603"/>
                  <a:pt x="3233" y="604"/>
                </a:cubicBezTo>
                <a:cubicBezTo>
                  <a:pt x="3232" y="605"/>
                  <a:pt x="3230" y="606"/>
                  <a:pt x="3228" y="607"/>
                </a:cubicBezTo>
                <a:cubicBezTo>
                  <a:pt x="3226" y="608"/>
                  <a:pt x="3225" y="608"/>
                  <a:pt x="3223" y="608"/>
                </a:cubicBezTo>
                <a:cubicBezTo>
                  <a:pt x="3223" y="608"/>
                  <a:pt x="3223" y="608"/>
                  <a:pt x="3223" y="619"/>
                </a:cubicBezTo>
                <a:cubicBezTo>
                  <a:pt x="3225" y="618"/>
                  <a:pt x="3228" y="617"/>
                  <a:pt x="3231" y="616"/>
                </a:cubicBezTo>
                <a:cubicBezTo>
                  <a:pt x="3233" y="615"/>
                  <a:pt x="3236" y="613"/>
                  <a:pt x="3238" y="612"/>
                </a:cubicBezTo>
                <a:cubicBezTo>
                  <a:pt x="3238" y="612"/>
                  <a:pt x="3238" y="612"/>
                  <a:pt x="3238" y="671"/>
                </a:cubicBezTo>
                <a:cubicBezTo>
                  <a:pt x="3238" y="671"/>
                  <a:pt x="3238" y="671"/>
                  <a:pt x="3249" y="671"/>
                </a:cubicBezTo>
                <a:cubicBezTo>
                  <a:pt x="3249" y="671"/>
                  <a:pt x="3249" y="671"/>
                  <a:pt x="3249" y="597"/>
                </a:cubicBezTo>
                <a:close/>
                <a:moveTo>
                  <a:pt x="3297" y="597"/>
                </a:moveTo>
                <a:cubicBezTo>
                  <a:pt x="3297" y="597"/>
                  <a:pt x="3297" y="597"/>
                  <a:pt x="3297" y="597"/>
                </a:cubicBezTo>
                <a:cubicBezTo>
                  <a:pt x="3292" y="597"/>
                  <a:pt x="3292" y="597"/>
                  <a:pt x="3292" y="597"/>
                </a:cubicBezTo>
                <a:cubicBezTo>
                  <a:pt x="3290" y="599"/>
                  <a:pt x="3288" y="600"/>
                  <a:pt x="3286" y="601"/>
                </a:cubicBezTo>
                <a:cubicBezTo>
                  <a:pt x="3285" y="603"/>
                  <a:pt x="3282" y="603"/>
                  <a:pt x="3281" y="604"/>
                </a:cubicBezTo>
                <a:cubicBezTo>
                  <a:pt x="3280" y="605"/>
                  <a:pt x="3277" y="606"/>
                  <a:pt x="3276" y="607"/>
                </a:cubicBezTo>
                <a:cubicBezTo>
                  <a:pt x="3274" y="608"/>
                  <a:pt x="3272" y="608"/>
                  <a:pt x="3270" y="608"/>
                </a:cubicBezTo>
                <a:cubicBezTo>
                  <a:pt x="3270" y="608"/>
                  <a:pt x="3270" y="608"/>
                  <a:pt x="3270" y="619"/>
                </a:cubicBezTo>
                <a:cubicBezTo>
                  <a:pt x="3273" y="618"/>
                  <a:pt x="3276" y="617"/>
                  <a:pt x="3278" y="616"/>
                </a:cubicBezTo>
                <a:cubicBezTo>
                  <a:pt x="3281" y="615"/>
                  <a:pt x="3283" y="613"/>
                  <a:pt x="3285" y="612"/>
                </a:cubicBezTo>
                <a:cubicBezTo>
                  <a:pt x="3285" y="612"/>
                  <a:pt x="3285" y="612"/>
                  <a:pt x="3285" y="671"/>
                </a:cubicBezTo>
                <a:cubicBezTo>
                  <a:pt x="3285" y="671"/>
                  <a:pt x="3285" y="671"/>
                  <a:pt x="3297" y="671"/>
                </a:cubicBezTo>
                <a:cubicBezTo>
                  <a:pt x="3297" y="671"/>
                  <a:pt x="3297" y="671"/>
                  <a:pt x="3297" y="597"/>
                </a:cubicBezTo>
                <a:close/>
                <a:moveTo>
                  <a:pt x="3344" y="597"/>
                </a:moveTo>
                <a:cubicBezTo>
                  <a:pt x="3344" y="597"/>
                  <a:pt x="3344" y="597"/>
                  <a:pt x="3344" y="597"/>
                </a:cubicBezTo>
                <a:cubicBezTo>
                  <a:pt x="3339" y="597"/>
                  <a:pt x="3339" y="597"/>
                  <a:pt x="3339" y="597"/>
                </a:cubicBezTo>
                <a:cubicBezTo>
                  <a:pt x="3337" y="599"/>
                  <a:pt x="3336" y="600"/>
                  <a:pt x="3333" y="601"/>
                </a:cubicBezTo>
                <a:cubicBezTo>
                  <a:pt x="3332" y="603"/>
                  <a:pt x="3330" y="603"/>
                  <a:pt x="3328" y="604"/>
                </a:cubicBezTo>
                <a:cubicBezTo>
                  <a:pt x="3326" y="605"/>
                  <a:pt x="3325" y="605"/>
                  <a:pt x="3323" y="606"/>
                </a:cubicBezTo>
                <a:cubicBezTo>
                  <a:pt x="3321" y="607"/>
                  <a:pt x="3319" y="608"/>
                  <a:pt x="3318" y="608"/>
                </a:cubicBezTo>
                <a:cubicBezTo>
                  <a:pt x="3318" y="608"/>
                  <a:pt x="3318" y="608"/>
                  <a:pt x="3318" y="619"/>
                </a:cubicBezTo>
                <a:cubicBezTo>
                  <a:pt x="3320" y="618"/>
                  <a:pt x="3323" y="616"/>
                  <a:pt x="3326" y="616"/>
                </a:cubicBezTo>
                <a:cubicBezTo>
                  <a:pt x="3328" y="615"/>
                  <a:pt x="3331" y="613"/>
                  <a:pt x="3332" y="612"/>
                </a:cubicBezTo>
                <a:cubicBezTo>
                  <a:pt x="3332" y="612"/>
                  <a:pt x="3332" y="612"/>
                  <a:pt x="3332" y="671"/>
                </a:cubicBezTo>
                <a:cubicBezTo>
                  <a:pt x="3332" y="671"/>
                  <a:pt x="3332" y="671"/>
                  <a:pt x="3344" y="671"/>
                </a:cubicBezTo>
                <a:cubicBezTo>
                  <a:pt x="3344" y="671"/>
                  <a:pt x="3344" y="671"/>
                  <a:pt x="3344" y="597"/>
                </a:cubicBezTo>
                <a:close/>
                <a:moveTo>
                  <a:pt x="3554" y="492"/>
                </a:moveTo>
                <a:cubicBezTo>
                  <a:pt x="3554" y="492"/>
                  <a:pt x="3554" y="492"/>
                  <a:pt x="3554" y="492"/>
                </a:cubicBezTo>
                <a:cubicBezTo>
                  <a:pt x="3549" y="492"/>
                  <a:pt x="3549" y="492"/>
                  <a:pt x="3549" y="492"/>
                </a:cubicBezTo>
                <a:cubicBezTo>
                  <a:pt x="3547" y="494"/>
                  <a:pt x="3546" y="495"/>
                  <a:pt x="3543" y="496"/>
                </a:cubicBezTo>
                <a:cubicBezTo>
                  <a:pt x="3542" y="497"/>
                  <a:pt x="3540" y="498"/>
                  <a:pt x="3538" y="499"/>
                </a:cubicBezTo>
                <a:cubicBezTo>
                  <a:pt x="3536" y="500"/>
                  <a:pt x="3535" y="500"/>
                  <a:pt x="3533" y="501"/>
                </a:cubicBezTo>
                <a:cubicBezTo>
                  <a:pt x="3531" y="502"/>
                  <a:pt x="3530" y="503"/>
                  <a:pt x="3527" y="503"/>
                </a:cubicBezTo>
                <a:cubicBezTo>
                  <a:pt x="3527" y="503"/>
                  <a:pt x="3527" y="503"/>
                  <a:pt x="3527" y="513"/>
                </a:cubicBezTo>
                <a:cubicBezTo>
                  <a:pt x="3530" y="513"/>
                  <a:pt x="3533" y="511"/>
                  <a:pt x="3535" y="511"/>
                </a:cubicBezTo>
                <a:cubicBezTo>
                  <a:pt x="3538" y="510"/>
                  <a:pt x="3540" y="508"/>
                  <a:pt x="3543" y="507"/>
                </a:cubicBezTo>
                <a:cubicBezTo>
                  <a:pt x="3543" y="507"/>
                  <a:pt x="3543" y="507"/>
                  <a:pt x="3543" y="566"/>
                </a:cubicBezTo>
                <a:cubicBezTo>
                  <a:pt x="3543" y="566"/>
                  <a:pt x="3543" y="566"/>
                  <a:pt x="3554" y="566"/>
                </a:cubicBezTo>
                <a:cubicBezTo>
                  <a:pt x="3554" y="566"/>
                  <a:pt x="3554" y="566"/>
                  <a:pt x="3554" y="492"/>
                </a:cubicBezTo>
                <a:close/>
                <a:moveTo>
                  <a:pt x="3601" y="492"/>
                </a:moveTo>
                <a:cubicBezTo>
                  <a:pt x="3601" y="492"/>
                  <a:pt x="3601" y="492"/>
                  <a:pt x="3601" y="492"/>
                </a:cubicBezTo>
                <a:cubicBezTo>
                  <a:pt x="3596" y="492"/>
                  <a:pt x="3596" y="492"/>
                  <a:pt x="3596" y="492"/>
                </a:cubicBezTo>
                <a:cubicBezTo>
                  <a:pt x="3594" y="494"/>
                  <a:pt x="3592" y="495"/>
                  <a:pt x="3590" y="496"/>
                </a:cubicBezTo>
                <a:cubicBezTo>
                  <a:pt x="3588" y="497"/>
                  <a:pt x="3586" y="498"/>
                  <a:pt x="3585" y="499"/>
                </a:cubicBezTo>
                <a:cubicBezTo>
                  <a:pt x="3583" y="500"/>
                  <a:pt x="3581" y="501"/>
                  <a:pt x="3580" y="502"/>
                </a:cubicBezTo>
                <a:cubicBezTo>
                  <a:pt x="3578" y="503"/>
                  <a:pt x="3576" y="503"/>
                  <a:pt x="3574" y="503"/>
                </a:cubicBezTo>
                <a:cubicBezTo>
                  <a:pt x="3574" y="503"/>
                  <a:pt x="3574" y="503"/>
                  <a:pt x="3574" y="513"/>
                </a:cubicBezTo>
                <a:cubicBezTo>
                  <a:pt x="3577" y="513"/>
                  <a:pt x="3580" y="512"/>
                  <a:pt x="3582" y="511"/>
                </a:cubicBezTo>
                <a:cubicBezTo>
                  <a:pt x="3585" y="510"/>
                  <a:pt x="3587" y="508"/>
                  <a:pt x="3589" y="507"/>
                </a:cubicBezTo>
                <a:cubicBezTo>
                  <a:pt x="3589" y="507"/>
                  <a:pt x="3589" y="507"/>
                  <a:pt x="3589" y="566"/>
                </a:cubicBezTo>
                <a:cubicBezTo>
                  <a:pt x="3589" y="566"/>
                  <a:pt x="3589" y="566"/>
                  <a:pt x="3601" y="566"/>
                </a:cubicBezTo>
                <a:cubicBezTo>
                  <a:pt x="3601" y="566"/>
                  <a:pt x="3601" y="566"/>
                  <a:pt x="3601" y="492"/>
                </a:cubicBezTo>
                <a:close/>
                <a:moveTo>
                  <a:pt x="3646" y="492"/>
                </a:moveTo>
                <a:cubicBezTo>
                  <a:pt x="3646" y="492"/>
                  <a:pt x="3646" y="492"/>
                  <a:pt x="3646" y="492"/>
                </a:cubicBezTo>
                <a:cubicBezTo>
                  <a:pt x="3642" y="492"/>
                  <a:pt x="3642" y="492"/>
                  <a:pt x="3642" y="492"/>
                </a:cubicBezTo>
                <a:cubicBezTo>
                  <a:pt x="3640" y="494"/>
                  <a:pt x="3638" y="495"/>
                  <a:pt x="3636" y="496"/>
                </a:cubicBezTo>
                <a:cubicBezTo>
                  <a:pt x="3635" y="497"/>
                  <a:pt x="3633" y="498"/>
                  <a:pt x="3631" y="499"/>
                </a:cubicBezTo>
                <a:cubicBezTo>
                  <a:pt x="3629" y="500"/>
                  <a:pt x="3628" y="501"/>
                  <a:pt x="3626" y="502"/>
                </a:cubicBezTo>
                <a:cubicBezTo>
                  <a:pt x="3624" y="503"/>
                  <a:pt x="3622" y="503"/>
                  <a:pt x="3620" y="503"/>
                </a:cubicBezTo>
                <a:cubicBezTo>
                  <a:pt x="3620" y="503"/>
                  <a:pt x="3620" y="503"/>
                  <a:pt x="3620" y="513"/>
                </a:cubicBezTo>
                <a:cubicBezTo>
                  <a:pt x="3623" y="513"/>
                  <a:pt x="3626" y="512"/>
                  <a:pt x="3628" y="511"/>
                </a:cubicBezTo>
                <a:cubicBezTo>
                  <a:pt x="3631" y="510"/>
                  <a:pt x="3633" y="508"/>
                  <a:pt x="3635" y="507"/>
                </a:cubicBezTo>
                <a:cubicBezTo>
                  <a:pt x="3635" y="507"/>
                  <a:pt x="3635" y="507"/>
                  <a:pt x="3635" y="566"/>
                </a:cubicBezTo>
                <a:cubicBezTo>
                  <a:pt x="3635" y="566"/>
                  <a:pt x="3635" y="566"/>
                  <a:pt x="3646" y="566"/>
                </a:cubicBezTo>
                <a:cubicBezTo>
                  <a:pt x="3646" y="566"/>
                  <a:pt x="3646" y="566"/>
                  <a:pt x="3646" y="492"/>
                </a:cubicBezTo>
                <a:close/>
                <a:moveTo>
                  <a:pt x="3693" y="492"/>
                </a:moveTo>
                <a:cubicBezTo>
                  <a:pt x="3693" y="492"/>
                  <a:pt x="3693" y="492"/>
                  <a:pt x="3693" y="492"/>
                </a:cubicBezTo>
                <a:cubicBezTo>
                  <a:pt x="3688" y="492"/>
                  <a:pt x="3688" y="492"/>
                  <a:pt x="3688" y="492"/>
                </a:cubicBezTo>
                <a:cubicBezTo>
                  <a:pt x="3686" y="494"/>
                  <a:pt x="3685" y="495"/>
                  <a:pt x="3682" y="496"/>
                </a:cubicBezTo>
                <a:cubicBezTo>
                  <a:pt x="3681" y="497"/>
                  <a:pt x="3679" y="498"/>
                  <a:pt x="3677" y="499"/>
                </a:cubicBezTo>
                <a:cubicBezTo>
                  <a:pt x="3676" y="500"/>
                  <a:pt x="3673" y="501"/>
                  <a:pt x="3672" y="502"/>
                </a:cubicBezTo>
                <a:cubicBezTo>
                  <a:pt x="3670" y="503"/>
                  <a:pt x="3668" y="503"/>
                  <a:pt x="3666" y="503"/>
                </a:cubicBezTo>
                <a:cubicBezTo>
                  <a:pt x="3666" y="503"/>
                  <a:pt x="3666" y="503"/>
                  <a:pt x="3666" y="513"/>
                </a:cubicBezTo>
                <a:cubicBezTo>
                  <a:pt x="3669" y="513"/>
                  <a:pt x="3672" y="512"/>
                  <a:pt x="3674" y="511"/>
                </a:cubicBezTo>
                <a:cubicBezTo>
                  <a:pt x="3677" y="510"/>
                  <a:pt x="3679" y="508"/>
                  <a:pt x="3682" y="507"/>
                </a:cubicBezTo>
                <a:cubicBezTo>
                  <a:pt x="3682" y="507"/>
                  <a:pt x="3682" y="507"/>
                  <a:pt x="3682" y="566"/>
                </a:cubicBezTo>
                <a:cubicBezTo>
                  <a:pt x="3682" y="566"/>
                  <a:pt x="3682" y="566"/>
                  <a:pt x="3693" y="566"/>
                </a:cubicBezTo>
                <a:cubicBezTo>
                  <a:pt x="3693" y="566"/>
                  <a:pt x="3693" y="566"/>
                  <a:pt x="3693" y="492"/>
                </a:cubicBezTo>
                <a:close/>
                <a:moveTo>
                  <a:pt x="3815" y="492"/>
                </a:moveTo>
                <a:cubicBezTo>
                  <a:pt x="3815" y="492"/>
                  <a:pt x="3815" y="492"/>
                  <a:pt x="3815" y="492"/>
                </a:cubicBezTo>
                <a:cubicBezTo>
                  <a:pt x="3810" y="492"/>
                  <a:pt x="3810" y="492"/>
                  <a:pt x="3810" y="492"/>
                </a:cubicBezTo>
                <a:cubicBezTo>
                  <a:pt x="3808" y="494"/>
                  <a:pt x="3806" y="495"/>
                  <a:pt x="3804" y="496"/>
                </a:cubicBezTo>
                <a:cubicBezTo>
                  <a:pt x="3803" y="497"/>
                  <a:pt x="3801" y="498"/>
                  <a:pt x="3799" y="499"/>
                </a:cubicBezTo>
                <a:cubicBezTo>
                  <a:pt x="3797" y="500"/>
                  <a:pt x="3795" y="501"/>
                  <a:pt x="3794" y="502"/>
                </a:cubicBezTo>
                <a:cubicBezTo>
                  <a:pt x="3792" y="503"/>
                  <a:pt x="3790" y="503"/>
                  <a:pt x="3788" y="503"/>
                </a:cubicBezTo>
                <a:cubicBezTo>
                  <a:pt x="3788" y="503"/>
                  <a:pt x="3788" y="503"/>
                  <a:pt x="3788" y="513"/>
                </a:cubicBezTo>
                <a:cubicBezTo>
                  <a:pt x="3791" y="513"/>
                  <a:pt x="3794" y="512"/>
                  <a:pt x="3797" y="511"/>
                </a:cubicBezTo>
                <a:cubicBezTo>
                  <a:pt x="3799" y="510"/>
                  <a:pt x="3801" y="508"/>
                  <a:pt x="3803" y="507"/>
                </a:cubicBezTo>
                <a:cubicBezTo>
                  <a:pt x="3803" y="507"/>
                  <a:pt x="3803" y="507"/>
                  <a:pt x="3803" y="566"/>
                </a:cubicBezTo>
                <a:cubicBezTo>
                  <a:pt x="3803" y="566"/>
                  <a:pt x="3803" y="566"/>
                  <a:pt x="3815" y="566"/>
                </a:cubicBezTo>
                <a:cubicBezTo>
                  <a:pt x="3815" y="566"/>
                  <a:pt x="3815" y="566"/>
                  <a:pt x="3815" y="492"/>
                </a:cubicBezTo>
                <a:close/>
                <a:moveTo>
                  <a:pt x="3861" y="492"/>
                </a:moveTo>
                <a:cubicBezTo>
                  <a:pt x="3861" y="492"/>
                  <a:pt x="3861" y="492"/>
                  <a:pt x="3861" y="492"/>
                </a:cubicBezTo>
                <a:cubicBezTo>
                  <a:pt x="3856" y="492"/>
                  <a:pt x="3856" y="492"/>
                  <a:pt x="3856" y="492"/>
                </a:cubicBezTo>
                <a:cubicBezTo>
                  <a:pt x="3854" y="494"/>
                  <a:pt x="3853" y="495"/>
                  <a:pt x="3851" y="496"/>
                </a:cubicBezTo>
                <a:cubicBezTo>
                  <a:pt x="3849" y="497"/>
                  <a:pt x="3847" y="498"/>
                  <a:pt x="3845" y="499"/>
                </a:cubicBezTo>
                <a:cubicBezTo>
                  <a:pt x="3844" y="500"/>
                  <a:pt x="3842" y="501"/>
                  <a:pt x="3840" y="502"/>
                </a:cubicBezTo>
                <a:cubicBezTo>
                  <a:pt x="3838" y="503"/>
                  <a:pt x="3837" y="503"/>
                  <a:pt x="3835" y="503"/>
                </a:cubicBezTo>
                <a:cubicBezTo>
                  <a:pt x="3835" y="503"/>
                  <a:pt x="3835" y="503"/>
                  <a:pt x="3835" y="513"/>
                </a:cubicBezTo>
                <a:cubicBezTo>
                  <a:pt x="3837" y="513"/>
                  <a:pt x="3840" y="512"/>
                  <a:pt x="3843" y="511"/>
                </a:cubicBezTo>
                <a:cubicBezTo>
                  <a:pt x="3845" y="510"/>
                  <a:pt x="3848" y="508"/>
                  <a:pt x="3850" y="507"/>
                </a:cubicBezTo>
                <a:cubicBezTo>
                  <a:pt x="3850" y="507"/>
                  <a:pt x="3850" y="507"/>
                  <a:pt x="3850" y="566"/>
                </a:cubicBezTo>
                <a:cubicBezTo>
                  <a:pt x="3850" y="566"/>
                  <a:pt x="3850" y="566"/>
                  <a:pt x="3861" y="566"/>
                </a:cubicBezTo>
                <a:cubicBezTo>
                  <a:pt x="3861" y="566"/>
                  <a:pt x="3861" y="566"/>
                  <a:pt x="3861" y="492"/>
                </a:cubicBezTo>
                <a:close/>
                <a:moveTo>
                  <a:pt x="3714" y="525"/>
                </a:moveTo>
                <a:cubicBezTo>
                  <a:pt x="3714" y="525"/>
                  <a:pt x="3714" y="525"/>
                  <a:pt x="3714" y="525"/>
                </a:cubicBezTo>
                <a:cubicBezTo>
                  <a:pt x="3713" y="533"/>
                  <a:pt x="3713" y="533"/>
                  <a:pt x="3713" y="533"/>
                </a:cubicBezTo>
                <a:cubicBezTo>
                  <a:pt x="3719" y="533"/>
                  <a:pt x="3720" y="536"/>
                  <a:pt x="3720" y="539"/>
                </a:cubicBezTo>
                <a:cubicBezTo>
                  <a:pt x="3720" y="541"/>
                  <a:pt x="3720" y="543"/>
                  <a:pt x="3720" y="546"/>
                </a:cubicBezTo>
                <a:cubicBezTo>
                  <a:pt x="3719" y="549"/>
                  <a:pt x="3719" y="551"/>
                  <a:pt x="3719" y="553"/>
                </a:cubicBezTo>
                <a:cubicBezTo>
                  <a:pt x="3719" y="562"/>
                  <a:pt x="3725" y="566"/>
                  <a:pt x="3733" y="566"/>
                </a:cubicBezTo>
                <a:cubicBezTo>
                  <a:pt x="3733" y="566"/>
                  <a:pt x="3733" y="566"/>
                  <a:pt x="3737" y="566"/>
                </a:cubicBezTo>
                <a:cubicBezTo>
                  <a:pt x="3737" y="566"/>
                  <a:pt x="3737" y="566"/>
                  <a:pt x="3737" y="557"/>
                </a:cubicBezTo>
                <a:cubicBezTo>
                  <a:pt x="3737" y="557"/>
                  <a:pt x="3737" y="557"/>
                  <a:pt x="3736" y="557"/>
                </a:cubicBezTo>
                <a:cubicBezTo>
                  <a:pt x="3732" y="557"/>
                  <a:pt x="3731" y="554"/>
                  <a:pt x="3731" y="551"/>
                </a:cubicBezTo>
                <a:cubicBezTo>
                  <a:pt x="3731" y="549"/>
                  <a:pt x="3731" y="548"/>
                  <a:pt x="3731" y="546"/>
                </a:cubicBezTo>
                <a:cubicBezTo>
                  <a:pt x="3731" y="544"/>
                  <a:pt x="3732" y="542"/>
                  <a:pt x="3732" y="540"/>
                </a:cubicBezTo>
                <a:cubicBezTo>
                  <a:pt x="3732" y="533"/>
                  <a:pt x="3729" y="530"/>
                  <a:pt x="3723" y="529"/>
                </a:cubicBezTo>
                <a:cubicBezTo>
                  <a:pt x="3723" y="529"/>
                  <a:pt x="3723" y="529"/>
                  <a:pt x="3723" y="528"/>
                </a:cubicBezTo>
                <a:cubicBezTo>
                  <a:pt x="3729" y="527"/>
                  <a:pt x="3732" y="525"/>
                  <a:pt x="3732" y="518"/>
                </a:cubicBezTo>
                <a:cubicBezTo>
                  <a:pt x="3732" y="515"/>
                  <a:pt x="3731" y="513"/>
                  <a:pt x="3731" y="511"/>
                </a:cubicBezTo>
                <a:cubicBezTo>
                  <a:pt x="3731" y="510"/>
                  <a:pt x="3731" y="508"/>
                  <a:pt x="3731" y="507"/>
                </a:cubicBezTo>
                <a:cubicBezTo>
                  <a:pt x="3731" y="503"/>
                  <a:pt x="3732" y="501"/>
                  <a:pt x="3736" y="501"/>
                </a:cubicBezTo>
                <a:cubicBezTo>
                  <a:pt x="3736" y="501"/>
                  <a:pt x="3736" y="501"/>
                  <a:pt x="3737" y="501"/>
                </a:cubicBezTo>
                <a:cubicBezTo>
                  <a:pt x="3737" y="501"/>
                  <a:pt x="3737" y="501"/>
                  <a:pt x="3737" y="491"/>
                </a:cubicBezTo>
                <a:cubicBezTo>
                  <a:pt x="3737" y="491"/>
                  <a:pt x="3737" y="491"/>
                  <a:pt x="3733" y="491"/>
                </a:cubicBezTo>
                <a:cubicBezTo>
                  <a:pt x="3725" y="491"/>
                  <a:pt x="3719" y="496"/>
                  <a:pt x="3719" y="504"/>
                </a:cubicBezTo>
                <a:cubicBezTo>
                  <a:pt x="3719" y="506"/>
                  <a:pt x="3719" y="509"/>
                  <a:pt x="3719" y="512"/>
                </a:cubicBezTo>
                <a:cubicBezTo>
                  <a:pt x="3720" y="514"/>
                  <a:pt x="3720" y="516"/>
                  <a:pt x="3720" y="518"/>
                </a:cubicBezTo>
                <a:cubicBezTo>
                  <a:pt x="3720" y="521"/>
                  <a:pt x="3719" y="524"/>
                  <a:pt x="3714" y="525"/>
                </a:cubicBezTo>
                <a:close/>
                <a:moveTo>
                  <a:pt x="3768" y="533"/>
                </a:moveTo>
                <a:cubicBezTo>
                  <a:pt x="3768" y="533"/>
                  <a:pt x="3768" y="533"/>
                  <a:pt x="3768" y="533"/>
                </a:cubicBezTo>
                <a:cubicBezTo>
                  <a:pt x="3768" y="525"/>
                  <a:pt x="3768" y="525"/>
                  <a:pt x="3768" y="525"/>
                </a:cubicBezTo>
                <a:cubicBezTo>
                  <a:pt x="3762" y="524"/>
                  <a:pt x="3761" y="521"/>
                  <a:pt x="3761" y="518"/>
                </a:cubicBezTo>
                <a:cubicBezTo>
                  <a:pt x="3761" y="516"/>
                  <a:pt x="3761" y="514"/>
                  <a:pt x="3762" y="512"/>
                </a:cubicBezTo>
                <a:cubicBezTo>
                  <a:pt x="3762" y="509"/>
                  <a:pt x="3762" y="506"/>
                  <a:pt x="3762" y="504"/>
                </a:cubicBezTo>
                <a:cubicBezTo>
                  <a:pt x="3762" y="496"/>
                  <a:pt x="3757" y="491"/>
                  <a:pt x="3748" y="491"/>
                </a:cubicBezTo>
                <a:cubicBezTo>
                  <a:pt x="3748" y="491"/>
                  <a:pt x="3748" y="491"/>
                  <a:pt x="3744" y="491"/>
                </a:cubicBezTo>
                <a:cubicBezTo>
                  <a:pt x="3744" y="491"/>
                  <a:pt x="3744" y="491"/>
                  <a:pt x="3744" y="501"/>
                </a:cubicBezTo>
                <a:cubicBezTo>
                  <a:pt x="3744" y="501"/>
                  <a:pt x="3744" y="501"/>
                  <a:pt x="3745" y="501"/>
                </a:cubicBezTo>
                <a:cubicBezTo>
                  <a:pt x="3749" y="501"/>
                  <a:pt x="3750" y="503"/>
                  <a:pt x="3750" y="507"/>
                </a:cubicBezTo>
                <a:cubicBezTo>
                  <a:pt x="3750" y="508"/>
                  <a:pt x="3750" y="510"/>
                  <a:pt x="3750" y="511"/>
                </a:cubicBezTo>
                <a:cubicBezTo>
                  <a:pt x="3750" y="513"/>
                  <a:pt x="3750" y="515"/>
                  <a:pt x="3750" y="518"/>
                </a:cubicBezTo>
                <a:cubicBezTo>
                  <a:pt x="3750" y="525"/>
                  <a:pt x="3752" y="527"/>
                  <a:pt x="3758" y="528"/>
                </a:cubicBezTo>
                <a:cubicBezTo>
                  <a:pt x="3758" y="528"/>
                  <a:pt x="3758" y="528"/>
                  <a:pt x="3758" y="529"/>
                </a:cubicBezTo>
                <a:cubicBezTo>
                  <a:pt x="3752" y="530"/>
                  <a:pt x="3750" y="533"/>
                  <a:pt x="3750" y="540"/>
                </a:cubicBezTo>
                <a:cubicBezTo>
                  <a:pt x="3750" y="542"/>
                  <a:pt x="3750" y="544"/>
                  <a:pt x="3750" y="546"/>
                </a:cubicBezTo>
                <a:cubicBezTo>
                  <a:pt x="3750" y="548"/>
                  <a:pt x="3750" y="549"/>
                  <a:pt x="3750" y="551"/>
                </a:cubicBezTo>
                <a:cubicBezTo>
                  <a:pt x="3750" y="554"/>
                  <a:pt x="3749" y="557"/>
                  <a:pt x="3745" y="557"/>
                </a:cubicBezTo>
                <a:cubicBezTo>
                  <a:pt x="3745" y="557"/>
                  <a:pt x="3745" y="557"/>
                  <a:pt x="3744" y="557"/>
                </a:cubicBezTo>
                <a:cubicBezTo>
                  <a:pt x="3744" y="557"/>
                  <a:pt x="3744" y="557"/>
                  <a:pt x="3744" y="566"/>
                </a:cubicBezTo>
                <a:cubicBezTo>
                  <a:pt x="3744" y="566"/>
                  <a:pt x="3744" y="566"/>
                  <a:pt x="3748" y="566"/>
                </a:cubicBezTo>
                <a:cubicBezTo>
                  <a:pt x="3756" y="566"/>
                  <a:pt x="3762" y="562"/>
                  <a:pt x="3762" y="553"/>
                </a:cubicBezTo>
                <a:cubicBezTo>
                  <a:pt x="3762" y="551"/>
                  <a:pt x="3762" y="549"/>
                  <a:pt x="3762" y="546"/>
                </a:cubicBezTo>
                <a:cubicBezTo>
                  <a:pt x="3761" y="543"/>
                  <a:pt x="3761" y="541"/>
                  <a:pt x="3761" y="539"/>
                </a:cubicBezTo>
                <a:cubicBezTo>
                  <a:pt x="3761" y="536"/>
                  <a:pt x="3762" y="533"/>
                  <a:pt x="3768" y="533"/>
                </a:cubicBezTo>
                <a:close/>
                <a:moveTo>
                  <a:pt x="3155" y="566"/>
                </a:moveTo>
                <a:cubicBezTo>
                  <a:pt x="3148" y="566"/>
                  <a:pt x="3141" y="563"/>
                  <a:pt x="3137" y="557"/>
                </a:cubicBezTo>
                <a:cubicBezTo>
                  <a:pt x="3133" y="550"/>
                  <a:pt x="3131" y="542"/>
                  <a:pt x="3131" y="529"/>
                </a:cubicBezTo>
                <a:cubicBezTo>
                  <a:pt x="3131" y="516"/>
                  <a:pt x="3133" y="507"/>
                  <a:pt x="3137" y="500"/>
                </a:cubicBezTo>
                <a:cubicBezTo>
                  <a:pt x="3142" y="494"/>
                  <a:pt x="3148" y="490"/>
                  <a:pt x="3157" y="490"/>
                </a:cubicBezTo>
                <a:cubicBezTo>
                  <a:pt x="3173" y="490"/>
                  <a:pt x="3181" y="502"/>
                  <a:pt x="3181" y="528"/>
                </a:cubicBezTo>
                <a:cubicBezTo>
                  <a:pt x="3181" y="540"/>
                  <a:pt x="3179" y="550"/>
                  <a:pt x="3174" y="556"/>
                </a:cubicBezTo>
                <a:cubicBezTo>
                  <a:pt x="3170" y="563"/>
                  <a:pt x="3163" y="566"/>
                  <a:pt x="3155" y="566"/>
                </a:cubicBezTo>
                <a:close/>
                <a:moveTo>
                  <a:pt x="3156" y="499"/>
                </a:moveTo>
                <a:cubicBezTo>
                  <a:pt x="3147" y="499"/>
                  <a:pt x="3143" y="510"/>
                  <a:pt x="3143" y="529"/>
                </a:cubicBezTo>
                <a:cubicBezTo>
                  <a:pt x="3143" y="548"/>
                  <a:pt x="3147" y="556"/>
                  <a:pt x="3156" y="556"/>
                </a:cubicBezTo>
                <a:cubicBezTo>
                  <a:pt x="3164" y="556"/>
                  <a:pt x="3169" y="548"/>
                  <a:pt x="3169" y="529"/>
                </a:cubicBezTo>
                <a:cubicBezTo>
                  <a:pt x="3169" y="509"/>
                  <a:pt x="3164" y="499"/>
                  <a:pt x="3156" y="499"/>
                </a:cubicBezTo>
                <a:close/>
                <a:moveTo>
                  <a:pt x="3225" y="566"/>
                </a:moveTo>
                <a:cubicBezTo>
                  <a:pt x="3218" y="566"/>
                  <a:pt x="3211" y="563"/>
                  <a:pt x="3208" y="557"/>
                </a:cubicBezTo>
                <a:cubicBezTo>
                  <a:pt x="3203" y="550"/>
                  <a:pt x="3201" y="542"/>
                  <a:pt x="3201" y="529"/>
                </a:cubicBezTo>
                <a:cubicBezTo>
                  <a:pt x="3201" y="516"/>
                  <a:pt x="3203" y="507"/>
                  <a:pt x="3208" y="500"/>
                </a:cubicBezTo>
                <a:cubicBezTo>
                  <a:pt x="3212" y="494"/>
                  <a:pt x="3219" y="490"/>
                  <a:pt x="3228" y="490"/>
                </a:cubicBezTo>
                <a:cubicBezTo>
                  <a:pt x="3244" y="490"/>
                  <a:pt x="3252" y="502"/>
                  <a:pt x="3252" y="528"/>
                </a:cubicBezTo>
                <a:cubicBezTo>
                  <a:pt x="3252" y="540"/>
                  <a:pt x="3250" y="550"/>
                  <a:pt x="3245" y="556"/>
                </a:cubicBezTo>
                <a:cubicBezTo>
                  <a:pt x="3240" y="563"/>
                  <a:pt x="3234" y="566"/>
                  <a:pt x="3225" y="566"/>
                </a:cubicBezTo>
                <a:close/>
                <a:moveTo>
                  <a:pt x="3227" y="499"/>
                </a:moveTo>
                <a:cubicBezTo>
                  <a:pt x="3218" y="499"/>
                  <a:pt x="3213" y="510"/>
                  <a:pt x="3213" y="529"/>
                </a:cubicBezTo>
                <a:cubicBezTo>
                  <a:pt x="3213" y="548"/>
                  <a:pt x="3217" y="556"/>
                  <a:pt x="3226" y="556"/>
                </a:cubicBezTo>
                <a:cubicBezTo>
                  <a:pt x="3235" y="556"/>
                  <a:pt x="3239" y="548"/>
                  <a:pt x="3239" y="529"/>
                </a:cubicBezTo>
                <a:cubicBezTo>
                  <a:pt x="3239" y="509"/>
                  <a:pt x="3235" y="499"/>
                  <a:pt x="3227" y="499"/>
                </a:cubicBezTo>
                <a:close/>
                <a:moveTo>
                  <a:pt x="3435" y="576"/>
                </a:moveTo>
                <a:cubicBezTo>
                  <a:pt x="3428" y="576"/>
                  <a:pt x="3422" y="573"/>
                  <a:pt x="3417" y="566"/>
                </a:cubicBezTo>
                <a:cubicBezTo>
                  <a:pt x="3413" y="561"/>
                  <a:pt x="3411" y="551"/>
                  <a:pt x="3411" y="539"/>
                </a:cubicBezTo>
                <a:cubicBezTo>
                  <a:pt x="3411" y="526"/>
                  <a:pt x="3413" y="517"/>
                  <a:pt x="3417" y="510"/>
                </a:cubicBezTo>
                <a:cubicBezTo>
                  <a:pt x="3422" y="503"/>
                  <a:pt x="3428" y="500"/>
                  <a:pt x="3437" y="500"/>
                </a:cubicBezTo>
                <a:cubicBezTo>
                  <a:pt x="3453" y="500"/>
                  <a:pt x="3461" y="512"/>
                  <a:pt x="3461" y="537"/>
                </a:cubicBezTo>
                <a:cubicBezTo>
                  <a:pt x="3461" y="550"/>
                  <a:pt x="3459" y="560"/>
                  <a:pt x="3455" y="566"/>
                </a:cubicBezTo>
                <a:cubicBezTo>
                  <a:pt x="3449" y="573"/>
                  <a:pt x="3444" y="576"/>
                  <a:pt x="3435" y="576"/>
                </a:cubicBezTo>
                <a:close/>
                <a:moveTo>
                  <a:pt x="3436" y="510"/>
                </a:moveTo>
                <a:cubicBezTo>
                  <a:pt x="3428" y="510"/>
                  <a:pt x="3423" y="519"/>
                  <a:pt x="3423" y="539"/>
                </a:cubicBezTo>
                <a:cubicBezTo>
                  <a:pt x="3423" y="557"/>
                  <a:pt x="3428" y="566"/>
                  <a:pt x="3436" y="566"/>
                </a:cubicBezTo>
                <a:cubicBezTo>
                  <a:pt x="3444" y="566"/>
                  <a:pt x="3449" y="557"/>
                  <a:pt x="3449" y="539"/>
                </a:cubicBezTo>
                <a:cubicBezTo>
                  <a:pt x="3449" y="519"/>
                  <a:pt x="3445" y="510"/>
                  <a:pt x="3436" y="510"/>
                </a:cubicBezTo>
                <a:close/>
                <a:moveTo>
                  <a:pt x="3508" y="492"/>
                </a:moveTo>
                <a:cubicBezTo>
                  <a:pt x="3508" y="492"/>
                  <a:pt x="3508" y="492"/>
                  <a:pt x="3508" y="492"/>
                </a:cubicBezTo>
                <a:cubicBezTo>
                  <a:pt x="3503" y="492"/>
                  <a:pt x="3503" y="492"/>
                  <a:pt x="3503" y="492"/>
                </a:cubicBezTo>
                <a:cubicBezTo>
                  <a:pt x="3500" y="494"/>
                  <a:pt x="3499" y="495"/>
                  <a:pt x="3497" y="496"/>
                </a:cubicBezTo>
                <a:cubicBezTo>
                  <a:pt x="3495" y="497"/>
                  <a:pt x="3493" y="498"/>
                  <a:pt x="3492" y="499"/>
                </a:cubicBezTo>
                <a:cubicBezTo>
                  <a:pt x="3490" y="500"/>
                  <a:pt x="3488" y="500"/>
                  <a:pt x="3487" y="501"/>
                </a:cubicBezTo>
                <a:cubicBezTo>
                  <a:pt x="3484" y="502"/>
                  <a:pt x="3483" y="503"/>
                  <a:pt x="3481" y="503"/>
                </a:cubicBezTo>
                <a:cubicBezTo>
                  <a:pt x="3481" y="503"/>
                  <a:pt x="3481" y="503"/>
                  <a:pt x="3481" y="513"/>
                </a:cubicBezTo>
                <a:cubicBezTo>
                  <a:pt x="3484" y="513"/>
                  <a:pt x="3487" y="511"/>
                  <a:pt x="3489" y="511"/>
                </a:cubicBezTo>
                <a:cubicBezTo>
                  <a:pt x="3492" y="510"/>
                  <a:pt x="3494" y="508"/>
                  <a:pt x="3496" y="507"/>
                </a:cubicBezTo>
                <a:cubicBezTo>
                  <a:pt x="3496" y="507"/>
                  <a:pt x="3496" y="507"/>
                  <a:pt x="3496" y="566"/>
                </a:cubicBezTo>
                <a:cubicBezTo>
                  <a:pt x="3496" y="566"/>
                  <a:pt x="3496" y="566"/>
                  <a:pt x="3508" y="566"/>
                </a:cubicBezTo>
                <a:cubicBezTo>
                  <a:pt x="3508" y="566"/>
                  <a:pt x="3508" y="566"/>
                  <a:pt x="3508" y="492"/>
                </a:cubicBezTo>
                <a:close/>
                <a:moveTo>
                  <a:pt x="3298" y="492"/>
                </a:moveTo>
                <a:cubicBezTo>
                  <a:pt x="3298" y="492"/>
                  <a:pt x="3298" y="492"/>
                  <a:pt x="3298" y="492"/>
                </a:cubicBezTo>
                <a:cubicBezTo>
                  <a:pt x="3293" y="492"/>
                  <a:pt x="3293" y="492"/>
                  <a:pt x="3293" y="492"/>
                </a:cubicBezTo>
                <a:cubicBezTo>
                  <a:pt x="3291" y="494"/>
                  <a:pt x="3290" y="495"/>
                  <a:pt x="3288" y="496"/>
                </a:cubicBezTo>
                <a:cubicBezTo>
                  <a:pt x="3286" y="497"/>
                  <a:pt x="3285" y="498"/>
                  <a:pt x="3282" y="499"/>
                </a:cubicBezTo>
                <a:cubicBezTo>
                  <a:pt x="3281" y="500"/>
                  <a:pt x="3279" y="501"/>
                  <a:pt x="3277" y="502"/>
                </a:cubicBezTo>
                <a:cubicBezTo>
                  <a:pt x="3275" y="503"/>
                  <a:pt x="3274" y="503"/>
                  <a:pt x="3272" y="503"/>
                </a:cubicBezTo>
                <a:cubicBezTo>
                  <a:pt x="3272" y="503"/>
                  <a:pt x="3272" y="503"/>
                  <a:pt x="3272" y="513"/>
                </a:cubicBezTo>
                <a:cubicBezTo>
                  <a:pt x="3274" y="513"/>
                  <a:pt x="3277" y="512"/>
                  <a:pt x="3280" y="511"/>
                </a:cubicBezTo>
                <a:cubicBezTo>
                  <a:pt x="3282" y="510"/>
                  <a:pt x="3285" y="508"/>
                  <a:pt x="3287" y="507"/>
                </a:cubicBezTo>
                <a:cubicBezTo>
                  <a:pt x="3287" y="507"/>
                  <a:pt x="3287" y="507"/>
                  <a:pt x="3287" y="566"/>
                </a:cubicBezTo>
                <a:cubicBezTo>
                  <a:pt x="3287" y="566"/>
                  <a:pt x="3287" y="566"/>
                  <a:pt x="3298" y="566"/>
                </a:cubicBezTo>
                <a:cubicBezTo>
                  <a:pt x="3298" y="566"/>
                  <a:pt x="3298" y="566"/>
                  <a:pt x="3298" y="492"/>
                </a:cubicBezTo>
                <a:close/>
                <a:moveTo>
                  <a:pt x="3345" y="492"/>
                </a:moveTo>
                <a:cubicBezTo>
                  <a:pt x="3345" y="492"/>
                  <a:pt x="3345" y="492"/>
                  <a:pt x="3345" y="492"/>
                </a:cubicBezTo>
                <a:cubicBezTo>
                  <a:pt x="3340" y="492"/>
                  <a:pt x="3340" y="492"/>
                  <a:pt x="3340" y="492"/>
                </a:cubicBezTo>
                <a:cubicBezTo>
                  <a:pt x="3338" y="494"/>
                  <a:pt x="3337" y="495"/>
                  <a:pt x="3334" y="496"/>
                </a:cubicBezTo>
                <a:cubicBezTo>
                  <a:pt x="3333" y="497"/>
                  <a:pt x="3331" y="498"/>
                  <a:pt x="3329" y="499"/>
                </a:cubicBezTo>
                <a:cubicBezTo>
                  <a:pt x="3328" y="500"/>
                  <a:pt x="3325" y="501"/>
                  <a:pt x="3324" y="502"/>
                </a:cubicBezTo>
                <a:cubicBezTo>
                  <a:pt x="3322" y="503"/>
                  <a:pt x="3320" y="503"/>
                  <a:pt x="3318" y="503"/>
                </a:cubicBezTo>
                <a:cubicBezTo>
                  <a:pt x="3318" y="503"/>
                  <a:pt x="3318" y="503"/>
                  <a:pt x="3318" y="513"/>
                </a:cubicBezTo>
                <a:cubicBezTo>
                  <a:pt x="3321" y="513"/>
                  <a:pt x="3324" y="512"/>
                  <a:pt x="3326" y="511"/>
                </a:cubicBezTo>
                <a:cubicBezTo>
                  <a:pt x="3329" y="510"/>
                  <a:pt x="3331" y="508"/>
                  <a:pt x="3334" y="507"/>
                </a:cubicBezTo>
                <a:cubicBezTo>
                  <a:pt x="3334" y="507"/>
                  <a:pt x="3334" y="507"/>
                  <a:pt x="3334" y="566"/>
                </a:cubicBezTo>
                <a:cubicBezTo>
                  <a:pt x="3334" y="566"/>
                  <a:pt x="3334" y="566"/>
                  <a:pt x="3345" y="566"/>
                </a:cubicBezTo>
                <a:cubicBezTo>
                  <a:pt x="3345" y="566"/>
                  <a:pt x="3345" y="566"/>
                  <a:pt x="3345" y="492"/>
                </a:cubicBezTo>
                <a:close/>
                <a:moveTo>
                  <a:pt x="3391" y="492"/>
                </a:moveTo>
                <a:cubicBezTo>
                  <a:pt x="3391" y="492"/>
                  <a:pt x="3391" y="492"/>
                  <a:pt x="3391" y="492"/>
                </a:cubicBezTo>
                <a:cubicBezTo>
                  <a:pt x="3387" y="492"/>
                  <a:pt x="3387" y="492"/>
                  <a:pt x="3387" y="492"/>
                </a:cubicBezTo>
                <a:cubicBezTo>
                  <a:pt x="3385" y="494"/>
                  <a:pt x="3383" y="495"/>
                  <a:pt x="3381" y="496"/>
                </a:cubicBezTo>
                <a:cubicBezTo>
                  <a:pt x="3380" y="497"/>
                  <a:pt x="3377" y="498"/>
                  <a:pt x="3376" y="499"/>
                </a:cubicBezTo>
                <a:cubicBezTo>
                  <a:pt x="3374" y="500"/>
                  <a:pt x="3372" y="500"/>
                  <a:pt x="3370" y="501"/>
                </a:cubicBezTo>
                <a:cubicBezTo>
                  <a:pt x="3369" y="502"/>
                  <a:pt x="3367" y="503"/>
                  <a:pt x="3365" y="503"/>
                </a:cubicBezTo>
                <a:cubicBezTo>
                  <a:pt x="3365" y="503"/>
                  <a:pt x="3365" y="503"/>
                  <a:pt x="3365" y="513"/>
                </a:cubicBezTo>
                <a:cubicBezTo>
                  <a:pt x="3368" y="513"/>
                  <a:pt x="3371" y="511"/>
                  <a:pt x="3373" y="511"/>
                </a:cubicBezTo>
                <a:cubicBezTo>
                  <a:pt x="3375" y="510"/>
                  <a:pt x="3378" y="508"/>
                  <a:pt x="3380" y="507"/>
                </a:cubicBezTo>
                <a:cubicBezTo>
                  <a:pt x="3380" y="507"/>
                  <a:pt x="3380" y="507"/>
                  <a:pt x="3380" y="566"/>
                </a:cubicBezTo>
                <a:cubicBezTo>
                  <a:pt x="3380" y="566"/>
                  <a:pt x="3380" y="566"/>
                  <a:pt x="3391" y="566"/>
                </a:cubicBezTo>
                <a:cubicBezTo>
                  <a:pt x="3391" y="566"/>
                  <a:pt x="3391" y="566"/>
                  <a:pt x="3391" y="492"/>
                </a:cubicBezTo>
                <a:close/>
                <a:moveTo>
                  <a:pt x="2149" y="492"/>
                </a:moveTo>
                <a:cubicBezTo>
                  <a:pt x="2149" y="492"/>
                  <a:pt x="2149" y="492"/>
                  <a:pt x="2149" y="492"/>
                </a:cubicBezTo>
                <a:cubicBezTo>
                  <a:pt x="2144" y="492"/>
                  <a:pt x="2144" y="492"/>
                  <a:pt x="2144" y="492"/>
                </a:cubicBezTo>
                <a:cubicBezTo>
                  <a:pt x="2141" y="494"/>
                  <a:pt x="2140" y="495"/>
                  <a:pt x="2138" y="496"/>
                </a:cubicBezTo>
                <a:cubicBezTo>
                  <a:pt x="2136" y="497"/>
                  <a:pt x="2134" y="498"/>
                  <a:pt x="2133" y="499"/>
                </a:cubicBezTo>
                <a:cubicBezTo>
                  <a:pt x="2131" y="500"/>
                  <a:pt x="2129" y="501"/>
                  <a:pt x="2127" y="502"/>
                </a:cubicBezTo>
                <a:cubicBezTo>
                  <a:pt x="2125" y="503"/>
                  <a:pt x="2124" y="503"/>
                  <a:pt x="2121" y="503"/>
                </a:cubicBezTo>
                <a:cubicBezTo>
                  <a:pt x="2121" y="503"/>
                  <a:pt x="2121" y="503"/>
                  <a:pt x="2121" y="513"/>
                </a:cubicBezTo>
                <a:cubicBezTo>
                  <a:pt x="2124" y="513"/>
                  <a:pt x="2127" y="512"/>
                  <a:pt x="2130" y="511"/>
                </a:cubicBezTo>
                <a:cubicBezTo>
                  <a:pt x="2133" y="510"/>
                  <a:pt x="2135" y="508"/>
                  <a:pt x="2137" y="507"/>
                </a:cubicBezTo>
                <a:cubicBezTo>
                  <a:pt x="2137" y="507"/>
                  <a:pt x="2137" y="507"/>
                  <a:pt x="2137" y="566"/>
                </a:cubicBezTo>
                <a:cubicBezTo>
                  <a:pt x="2137" y="566"/>
                  <a:pt x="2137" y="566"/>
                  <a:pt x="2149" y="566"/>
                </a:cubicBezTo>
                <a:cubicBezTo>
                  <a:pt x="2149" y="566"/>
                  <a:pt x="2149" y="566"/>
                  <a:pt x="2149" y="492"/>
                </a:cubicBezTo>
                <a:close/>
                <a:moveTo>
                  <a:pt x="2195" y="492"/>
                </a:moveTo>
                <a:cubicBezTo>
                  <a:pt x="2195" y="492"/>
                  <a:pt x="2195" y="492"/>
                  <a:pt x="2195" y="492"/>
                </a:cubicBezTo>
                <a:cubicBezTo>
                  <a:pt x="2190" y="492"/>
                  <a:pt x="2190" y="492"/>
                  <a:pt x="2190" y="492"/>
                </a:cubicBezTo>
                <a:cubicBezTo>
                  <a:pt x="2189" y="494"/>
                  <a:pt x="2187" y="495"/>
                  <a:pt x="2185" y="496"/>
                </a:cubicBezTo>
                <a:cubicBezTo>
                  <a:pt x="2183" y="497"/>
                  <a:pt x="2182" y="498"/>
                  <a:pt x="2179" y="499"/>
                </a:cubicBezTo>
                <a:cubicBezTo>
                  <a:pt x="2178" y="500"/>
                  <a:pt x="2176" y="501"/>
                  <a:pt x="2174" y="502"/>
                </a:cubicBezTo>
                <a:cubicBezTo>
                  <a:pt x="2172" y="503"/>
                  <a:pt x="2171" y="503"/>
                  <a:pt x="2168" y="503"/>
                </a:cubicBezTo>
                <a:cubicBezTo>
                  <a:pt x="2168" y="503"/>
                  <a:pt x="2168" y="503"/>
                  <a:pt x="2168" y="513"/>
                </a:cubicBezTo>
                <a:cubicBezTo>
                  <a:pt x="2171" y="513"/>
                  <a:pt x="2174" y="512"/>
                  <a:pt x="2177" y="511"/>
                </a:cubicBezTo>
                <a:cubicBezTo>
                  <a:pt x="2179" y="510"/>
                  <a:pt x="2182" y="508"/>
                  <a:pt x="2184" y="507"/>
                </a:cubicBezTo>
                <a:cubicBezTo>
                  <a:pt x="2184" y="507"/>
                  <a:pt x="2184" y="507"/>
                  <a:pt x="2184" y="566"/>
                </a:cubicBezTo>
                <a:cubicBezTo>
                  <a:pt x="2184" y="566"/>
                  <a:pt x="2184" y="566"/>
                  <a:pt x="2195" y="566"/>
                </a:cubicBezTo>
                <a:cubicBezTo>
                  <a:pt x="2195" y="566"/>
                  <a:pt x="2195" y="566"/>
                  <a:pt x="2195" y="492"/>
                </a:cubicBezTo>
                <a:close/>
                <a:moveTo>
                  <a:pt x="2241" y="492"/>
                </a:moveTo>
                <a:cubicBezTo>
                  <a:pt x="2241" y="492"/>
                  <a:pt x="2241" y="492"/>
                  <a:pt x="2241" y="492"/>
                </a:cubicBezTo>
                <a:cubicBezTo>
                  <a:pt x="2237" y="492"/>
                  <a:pt x="2237" y="492"/>
                  <a:pt x="2237" y="492"/>
                </a:cubicBezTo>
                <a:cubicBezTo>
                  <a:pt x="2235" y="494"/>
                  <a:pt x="2233" y="495"/>
                  <a:pt x="2231" y="496"/>
                </a:cubicBezTo>
                <a:cubicBezTo>
                  <a:pt x="2230" y="497"/>
                  <a:pt x="2228" y="498"/>
                  <a:pt x="2226" y="499"/>
                </a:cubicBezTo>
                <a:cubicBezTo>
                  <a:pt x="2224" y="500"/>
                  <a:pt x="2222" y="500"/>
                  <a:pt x="2220" y="501"/>
                </a:cubicBezTo>
                <a:cubicBezTo>
                  <a:pt x="2219" y="502"/>
                  <a:pt x="2217" y="503"/>
                  <a:pt x="2215" y="503"/>
                </a:cubicBezTo>
                <a:cubicBezTo>
                  <a:pt x="2215" y="503"/>
                  <a:pt x="2215" y="503"/>
                  <a:pt x="2215" y="513"/>
                </a:cubicBezTo>
                <a:cubicBezTo>
                  <a:pt x="2218" y="513"/>
                  <a:pt x="2221" y="511"/>
                  <a:pt x="2223" y="511"/>
                </a:cubicBezTo>
                <a:cubicBezTo>
                  <a:pt x="2225" y="510"/>
                  <a:pt x="2228" y="508"/>
                  <a:pt x="2230" y="507"/>
                </a:cubicBezTo>
                <a:cubicBezTo>
                  <a:pt x="2230" y="507"/>
                  <a:pt x="2230" y="507"/>
                  <a:pt x="2230" y="566"/>
                </a:cubicBezTo>
                <a:cubicBezTo>
                  <a:pt x="2230" y="566"/>
                  <a:pt x="2230" y="566"/>
                  <a:pt x="2241" y="566"/>
                </a:cubicBezTo>
                <a:cubicBezTo>
                  <a:pt x="2241" y="566"/>
                  <a:pt x="2241" y="566"/>
                  <a:pt x="2241" y="492"/>
                </a:cubicBezTo>
                <a:close/>
                <a:moveTo>
                  <a:pt x="2378" y="525"/>
                </a:moveTo>
                <a:cubicBezTo>
                  <a:pt x="2378" y="525"/>
                  <a:pt x="2378" y="525"/>
                  <a:pt x="2378" y="525"/>
                </a:cubicBezTo>
                <a:cubicBezTo>
                  <a:pt x="2377" y="533"/>
                  <a:pt x="2377" y="533"/>
                  <a:pt x="2377" y="533"/>
                </a:cubicBezTo>
                <a:cubicBezTo>
                  <a:pt x="2384" y="533"/>
                  <a:pt x="2384" y="536"/>
                  <a:pt x="2384" y="539"/>
                </a:cubicBezTo>
                <a:cubicBezTo>
                  <a:pt x="2384" y="541"/>
                  <a:pt x="2384" y="543"/>
                  <a:pt x="2384" y="546"/>
                </a:cubicBezTo>
                <a:cubicBezTo>
                  <a:pt x="2384" y="549"/>
                  <a:pt x="2383" y="551"/>
                  <a:pt x="2383" y="553"/>
                </a:cubicBezTo>
                <a:cubicBezTo>
                  <a:pt x="2383" y="562"/>
                  <a:pt x="2389" y="566"/>
                  <a:pt x="2398" y="566"/>
                </a:cubicBezTo>
                <a:cubicBezTo>
                  <a:pt x="2398" y="566"/>
                  <a:pt x="2398" y="566"/>
                  <a:pt x="2401" y="566"/>
                </a:cubicBezTo>
                <a:cubicBezTo>
                  <a:pt x="2401" y="566"/>
                  <a:pt x="2401" y="566"/>
                  <a:pt x="2401" y="557"/>
                </a:cubicBezTo>
                <a:cubicBezTo>
                  <a:pt x="2401" y="557"/>
                  <a:pt x="2401" y="557"/>
                  <a:pt x="2400" y="557"/>
                </a:cubicBezTo>
                <a:cubicBezTo>
                  <a:pt x="2396" y="557"/>
                  <a:pt x="2395" y="554"/>
                  <a:pt x="2395" y="551"/>
                </a:cubicBezTo>
                <a:cubicBezTo>
                  <a:pt x="2395" y="549"/>
                  <a:pt x="2395" y="548"/>
                  <a:pt x="2395" y="546"/>
                </a:cubicBezTo>
                <a:cubicBezTo>
                  <a:pt x="2395" y="544"/>
                  <a:pt x="2396" y="542"/>
                  <a:pt x="2396" y="540"/>
                </a:cubicBezTo>
                <a:cubicBezTo>
                  <a:pt x="2396" y="533"/>
                  <a:pt x="2393" y="530"/>
                  <a:pt x="2387" y="529"/>
                </a:cubicBezTo>
                <a:cubicBezTo>
                  <a:pt x="2387" y="529"/>
                  <a:pt x="2387" y="529"/>
                  <a:pt x="2387" y="528"/>
                </a:cubicBezTo>
                <a:cubicBezTo>
                  <a:pt x="2393" y="527"/>
                  <a:pt x="2396" y="525"/>
                  <a:pt x="2396" y="518"/>
                </a:cubicBezTo>
                <a:cubicBezTo>
                  <a:pt x="2396" y="515"/>
                  <a:pt x="2395" y="513"/>
                  <a:pt x="2395" y="511"/>
                </a:cubicBezTo>
                <a:cubicBezTo>
                  <a:pt x="2395" y="510"/>
                  <a:pt x="2395" y="508"/>
                  <a:pt x="2395" y="507"/>
                </a:cubicBezTo>
                <a:cubicBezTo>
                  <a:pt x="2395" y="503"/>
                  <a:pt x="2396" y="501"/>
                  <a:pt x="2400" y="501"/>
                </a:cubicBezTo>
                <a:cubicBezTo>
                  <a:pt x="2400" y="501"/>
                  <a:pt x="2400" y="501"/>
                  <a:pt x="2401" y="501"/>
                </a:cubicBezTo>
                <a:cubicBezTo>
                  <a:pt x="2401" y="501"/>
                  <a:pt x="2401" y="501"/>
                  <a:pt x="2401" y="491"/>
                </a:cubicBezTo>
                <a:cubicBezTo>
                  <a:pt x="2401" y="491"/>
                  <a:pt x="2401" y="491"/>
                  <a:pt x="2398" y="491"/>
                </a:cubicBezTo>
                <a:cubicBezTo>
                  <a:pt x="2389" y="491"/>
                  <a:pt x="2383" y="496"/>
                  <a:pt x="2383" y="504"/>
                </a:cubicBezTo>
                <a:cubicBezTo>
                  <a:pt x="2383" y="506"/>
                  <a:pt x="2384" y="509"/>
                  <a:pt x="2384" y="512"/>
                </a:cubicBezTo>
                <a:cubicBezTo>
                  <a:pt x="2384" y="514"/>
                  <a:pt x="2384" y="516"/>
                  <a:pt x="2384" y="518"/>
                </a:cubicBezTo>
                <a:cubicBezTo>
                  <a:pt x="2384" y="521"/>
                  <a:pt x="2384" y="524"/>
                  <a:pt x="2378" y="525"/>
                </a:cubicBezTo>
                <a:close/>
                <a:moveTo>
                  <a:pt x="2432" y="533"/>
                </a:moveTo>
                <a:cubicBezTo>
                  <a:pt x="2432" y="533"/>
                  <a:pt x="2432" y="533"/>
                  <a:pt x="2432" y="533"/>
                </a:cubicBezTo>
                <a:cubicBezTo>
                  <a:pt x="2432" y="525"/>
                  <a:pt x="2432" y="525"/>
                  <a:pt x="2432" y="525"/>
                </a:cubicBezTo>
                <a:cubicBezTo>
                  <a:pt x="2426" y="524"/>
                  <a:pt x="2426" y="521"/>
                  <a:pt x="2426" y="518"/>
                </a:cubicBezTo>
                <a:cubicBezTo>
                  <a:pt x="2426" y="516"/>
                  <a:pt x="2426" y="514"/>
                  <a:pt x="2426" y="512"/>
                </a:cubicBezTo>
                <a:cubicBezTo>
                  <a:pt x="2427" y="509"/>
                  <a:pt x="2427" y="506"/>
                  <a:pt x="2427" y="504"/>
                </a:cubicBezTo>
                <a:cubicBezTo>
                  <a:pt x="2427" y="496"/>
                  <a:pt x="2421" y="491"/>
                  <a:pt x="2412" y="491"/>
                </a:cubicBezTo>
                <a:cubicBezTo>
                  <a:pt x="2412" y="491"/>
                  <a:pt x="2412" y="491"/>
                  <a:pt x="2408" y="491"/>
                </a:cubicBezTo>
                <a:cubicBezTo>
                  <a:pt x="2408" y="491"/>
                  <a:pt x="2408" y="491"/>
                  <a:pt x="2408" y="501"/>
                </a:cubicBezTo>
                <a:cubicBezTo>
                  <a:pt x="2408" y="501"/>
                  <a:pt x="2408" y="501"/>
                  <a:pt x="2410" y="501"/>
                </a:cubicBezTo>
                <a:cubicBezTo>
                  <a:pt x="2414" y="501"/>
                  <a:pt x="2415" y="503"/>
                  <a:pt x="2415" y="507"/>
                </a:cubicBezTo>
                <a:cubicBezTo>
                  <a:pt x="2415" y="508"/>
                  <a:pt x="2415" y="510"/>
                  <a:pt x="2415" y="511"/>
                </a:cubicBezTo>
                <a:cubicBezTo>
                  <a:pt x="2414" y="513"/>
                  <a:pt x="2414" y="515"/>
                  <a:pt x="2414" y="518"/>
                </a:cubicBezTo>
                <a:cubicBezTo>
                  <a:pt x="2414" y="525"/>
                  <a:pt x="2417" y="527"/>
                  <a:pt x="2423" y="528"/>
                </a:cubicBezTo>
                <a:cubicBezTo>
                  <a:pt x="2423" y="528"/>
                  <a:pt x="2423" y="528"/>
                  <a:pt x="2423" y="529"/>
                </a:cubicBezTo>
                <a:cubicBezTo>
                  <a:pt x="2417" y="530"/>
                  <a:pt x="2414" y="533"/>
                  <a:pt x="2414" y="540"/>
                </a:cubicBezTo>
                <a:cubicBezTo>
                  <a:pt x="2414" y="542"/>
                  <a:pt x="2414" y="544"/>
                  <a:pt x="2415" y="546"/>
                </a:cubicBezTo>
                <a:cubicBezTo>
                  <a:pt x="2415" y="548"/>
                  <a:pt x="2415" y="549"/>
                  <a:pt x="2415" y="551"/>
                </a:cubicBezTo>
                <a:cubicBezTo>
                  <a:pt x="2415" y="554"/>
                  <a:pt x="2414" y="557"/>
                  <a:pt x="2410" y="557"/>
                </a:cubicBezTo>
                <a:cubicBezTo>
                  <a:pt x="2410" y="557"/>
                  <a:pt x="2410" y="557"/>
                  <a:pt x="2408" y="557"/>
                </a:cubicBezTo>
                <a:cubicBezTo>
                  <a:pt x="2408" y="557"/>
                  <a:pt x="2408" y="557"/>
                  <a:pt x="2408" y="566"/>
                </a:cubicBezTo>
                <a:cubicBezTo>
                  <a:pt x="2408" y="566"/>
                  <a:pt x="2408" y="566"/>
                  <a:pt x="2412" y="566"/>
                </a:cubicBezTo>
                <a:cubicBezTo>
                  <a:pt x="2421" y="566"/>
                  <a:pt x="2427" y="562"/>
                  <a:pt x="2427" y="553"/>
                </a:cubicBezTo>
                <a:cubicBezTo>
                  <a:pt x="2427" y="551"/>
                  <a:pt x="2427" y="549"/>
                  <a:pt x="2426" y="546"/>
                </a:cubicBezTo>
                <a:cubicBezTo>
                  <a:pt x="2426" y="543"/>
                  <a:pt x="2426" y="541"/>
                  <a:pt x="2426" y="539"/>
                </a:cubicBezTo>
                <a:cubicBezTo>
                  <a:pt x="2426" y="536"/>
                  <a:pt x="2426" y="533"/>
                  <a:pt x="2432" y="533"/>
                </a:cubicBezTo>
                <a:close/>
                <a:moveTo>
                  <a:pt x="2479" y="492"/>
                </a:moveTo>
                <a:cubicBezTo>
                  <a:pt x="2479" y="492"/>
                  <a:pt x="2479" y="492"/>
                  <a:pt x="2479" y="492"/>
                </a:cubicBezTo>
                <a:cubicBezTo>
                  <a:pt x="2474" y="492"/>
                  <a:pt x="2474" y="492"/>
                  <a:pt x="2474" y="492"/>
                </a:cubicBezTo>
                <a:cubicBezTo>
                  <a:pt x="2472" y="494"/>
                  <a:pt x="2470" y="495"/>
                  <a:pt x="2468" y="496"/>
                </a:cubicBezTo>
                <a:cubicBezTo>
                  <a:pt x="2467" y="497"/>
                  <a:pt x="2465" y="498"/>
                  <a:pt x="2463" y="499"/>
                </a:cubicBezTo>
                <a:cubicBezTo>
                  <a:pt x="2461" y="500"/>
                  <a:pt x="2459" y="500"/>
                  <a:pt x="2458" y="501"/>
                </a:cubicBezTo>
                <a:cubicBezTo>
                  <a:pt x="2456" y="502"/>
                  <a:pt x="2454" y="503"/>
                  <a:pt x="2452" y="503"/>
                </a:cubicBezTo>
                <a:cubicBezTo>
                  <a:pt x="2452" y="503"/>
                  <a:pt x="2452" y="503"/>
                  <a:pt x="2452" y="513"/>
                </a:cubicBezTo>
                <a:cubicBezTo>
                  <a:pt x="2455" y="513"/>
                  <a:pt x="2458" y="511"/>
                  <a:pt x="2460" y="511"/>
                </a:cubicBezTo>
                <a:cubicBezTo>
                  <a:pt x="2463" y="510"/>
                  <a:pt x="2465" y="508"/>
                  <a:pt x="2467" y="507"/>
                </a:cubicBezTo>
                <a:cubicBezTo>
                  <a:pt x="2467" y="507"/>
                  <a:pt x="2467" y="507"/>
                  <a:pt x="2467" y="566"/>
                </a:cubicBezTo>
                <a:cubicBezTo>
                  <a:pt x="2467" y="566"/>
                  <a:pt x="2467" y="566"/>
                  <a:pt x="2479" y="566"/>
                </a:cubicBezTo>
                <a:cubicBezTo>
                  <a:pt x="2479" y="566"/>
                  <a:pt x="2479" y="566"/>
                  <a:pt x="2479" y="492"/>
                </a:cubicBezTo>
                <a:close/>
                <a:moveTo>
                  <a:pt x="2526" y="492"/>
                </a:moveTo>
                <a:cubicBezTo>
                  <a:pt x="2526" y="492"/>
                  <a:pt x="2526" y="492"/>
                  <a:pt x="2526" y="492"/>
                </a:cubicBezTo>
                <a:cubicBezTo>
                  <a:pt x="2521" y="492"/>
                  <a:pt x="2521" y="492"/>
                  <a:pt x="2521" y="492"/>
                </a:cubicBezTo>
                <a:cubicBezTo>
                  <a:pt x="2518" y="494"/>
                  <a:pt x="2517" y="495"/>
                  <a:pt x="2515" y="496"/>
                </a:cubicBezTo>
                <a:cubicBezTo>
                  <a:pt x="2513" y="497"/>
                  <a:pt x="2511" y="498"/>
                  <a:pt x="2510" y="499"/>
                </a:cubicBezTo>
                <a:cubicBezTo>
                  <a:pt x="2508" y="500"/>
                  <a:pt x="2506" y="501"/>
                  <a:pt x="2505" y="502"/>
                </a:cubicBezTo>
                <a:cubicBezTo>
                  <a:pt x="2502" y="503"/>
                  <a:pt x="2501" y="503"/>
                  <a:pt x="2499" y="503"/>
                </a:cubicBezTo>
                <a:cubicBezTo>
                  <a:pt x="2499" y="503"/>
                  <a:pt x="2499" y="503"/>
                  <a:pt x="2499" y="513"/>
                </a:cubicBezTo>
                <a:cubicBezTo>
                  <a:pt x="2502" y="513"/>
                  <a:pt x="2505" y="512"/>
                  <a:pt x="2507" y="511"/>
                </a:cubicBezTo>
                <a:cubicBezTo>
                  <a:pt x="2510" y="510"/>
                  <a:pt x="2512" y="508"/>
                  <a:pt x="2514" y="507"/>
                </a:cubicBezTo>
                <a:cubicBezTo>
                  <a:pt x="2514" y="507"/>
                  <a:pt x="2514" y="507"/>
                  <a:pt x="2514" y="566"/>
                </a:cubicBezTo>
                <a:cubicBezTo>
                  <a:pt x="2514" y="566"/>
                  <a:pt x="2514" y="566"/>
                  <a:pt x="2526" y="566"/>
                </a:cubicBezTo>
                <a:cubicBezTo>
                  <a:pt x="2526" y="566"/>
                  <a:pt x="2526" y="566"/>
                  <a:pt x="2526" y="492"/>
                </a:cubicBezTo>
                <a:close/>
                <a:moveTo>
                  <a:pt x="2571" y="492"/>
                </a:moveTo>
                <a:cubicBezTo>
                  <a:pt x="2571" y="492"/>
                  <a:pt x="2571" y="492"/>
                  <a:pt x="2571" y="492"/>
                </a:cubicBezTo>
                <a:cubicBezTo>
                  <a:pt x="2567" y="492"/>
                  <a:pt x="2567" y="492"/>
                  <a:pt x="2567" y="492"/>
                </a:cubicBezTo>
                <a:cubicBezTo>
                  <a:pt x="2565" y="494"/>
                  <a:pt x="2563" y="495"/>
                  <a:pt x="2561" y="496"/>
                </a:cubicBezTo>
                <a:cubicBezTo>
                  <a:pt x="2560" y="497"/>
                  <a:pt x="2558" y="498"/>
                  <a:pt x="2556" y="499"/>
                </a:cubicBezTo>
                <a:cubicBezTo>
                  <a:pt x="2554" y="500"/>
                  <a:pt x="2552" y="501"/>
                  <a:pt x="2550" y="502"/>
                </a:cubicBezTo>
                <a:cubicBezTo>
                  <a:pt x="2549" y="503"/>
                  <a:pt x="2547" y="503"/>
                  <a:pt x="2545" y="503"/>
                </a:cubicBezTo>
                <a:cubicBezTo>
                  <a:pt x="2545" y="503"/>
                  <a:pt x="2545" y="503"/>
                  <a:pt x="2545" y="513"/>
                </a:cubicBezTo>
                <a:cubicBezTo>
                  <a:pt x="2548" y="513"/>
                  <a:pt x="2551" y="512"/>
                  <a:pt x="2553" y="511"/>
                </a:cubicBezTo>
                <a:cubicBezTo>
                  <a:pt x="2555" y="510"/>
                  <a:pt x="2558" y="508"/>
                  <a:pt x="2560" y="507"/>
                </a:cubicBezTo>
                <a:cubicBezTo>
                  <a:pt x="2560" y="507"/>
                  <a:pt x="2560" y="507"/>
                  <a:pt x="2560" y="566"/>
                </a:cubicBezTo>
                <a:cubicBezTo>
                  <a:pt x="2560" y="566"/>
                  <a:pt x="2560" y="566"/>
                  <a:pt x="2571" y="566"/>
                </a:cubicBezTo>
                <a:cubicBezTo>
                  <a:pt x="2571" y="566"/>
                  <a:pt x="2571" y="566"/>
                  <a:pt x="2571" y="492"/>
                </a:cubicBezTo>
                <a:close/>
                <a:moveTo>
                  <a:pt x="2321" y="540"/>
                </a:moveTo>
                <a:cubicBezTo>
                  <a:pt x="2322" y="541"/>
                  <a:pt x="2322" y="542"/>
                  <a:pt x="2323" y="544"/>
                </a:cubicBezTo>
                <a:cubicBezTo>
                  <a:pt x="2323" y="546"/>
                  <a:pt x="2323" y="548"/>
                  <a:pt x="2324" y="549"/>
                </a:cubicBezTo>
                <a:cubicBezTo>
                  <a:pt x="2324" y="551"/>
                  <a:pt x="2324" y="552"/>
                  <a:pt x="2324" y="554"/>
                </a:cubicBezTo>
                <a:cubicBezTo>
                  <a:pt x="2325" y="557"/>
                  <a:pt x="2324" y="559"/>
                  <a:pt x="2321" y="559"/>
                </a:cubicBezTo>
                <a:cubicBezTo>
                  <a:pt x="2318" y="559"/>
                  <a:pt x="2315" y="558"/>
                  <a:pt x="2313" y="558"/>
                </a:cubicBezTo>
                <a:cubicBezTo>
                  <a:pt x="2312" y="558"/>
                  <a:pt x="2311" y="558"/>
                  <a:pt x="2311" y="559"/>
                </a:cubicBezTo>
                <a:cubicBezTo>
                  <a:pt x="2309" y="560"/>
                  <a:pt x="2308" y="561"/>
                  <a:pt x="2307" y="563"/>
                </a:cubicBezTo>
                <a:cubicBezTo>
                  <a:pt x="2305" y="565"/>
                  <a:pt x="2302" y="566"/>
                  <a:pt x="2299" y="564"/>
                </a:cubicBezTo>
                <a:cubicBezTo>
                  <a:pt x="2297" y="561"/>
                  <a:pt x="2296" y="559"/>
                  <a:pt x="2294" y="556"/>
                </a:cubicBezTo>
                <a:cubicBezTo>
                  <a:pt x="2294" y="555"/>
                  <a:pt x="2294" y="553"/>
                  <a:pt x="2296" y="552"/>
                </a:cubicBezTo>
                <a:cubicBezTo>
                  <a:pt x="2294" y="552"/>
                  <a:pt x="2292" y="552"/>
                  <a:pt x="2291" y="552"/>
                </a:cubicBezTo>
                <a:cubicBezTo>
                  <a:pt x="2290" y="554"/>
                  <a:pt x="2289" y="556"/>
                  <a:pt x="2288" y="557"/>
                </a:cubicBezTo>
                <a:cubicBezTo>
                  <a:pt x="2288" y="558"/>
                  <a:pt x="2287" y="559"/>
                  <a:pt x="2287" y="560"/>
                </a:cubicBezTo>
                <a:cubicBezTo>
                  <a:pt x="2287" y="563"/>
                  <a:pt x="2286" y="564"/>
                  <a:pt x="2283" y="564"/>
                </a:cubicBezTo>
                <a:cubicBezTo>
                  <a:pt x="2280" y="563"/>
                  <a:pt x="2277" y="563"/>
                  <a:pt x="2274" y="561"/>
                </a:cubicBezTo>
                <a:cubicBezTo>
                  <a:pt x="2272" y="561"/>
                  <a:pt x="2272" y="559"/>
                  <a:pt x="2272" y="557"/>
                </a:cubicBezTo>
                <a:cubicBezTo>
                  <a:pt x="2273" y="557"/>
                  <a:pt x="2273" y="556"/>
                  <a:pt x="2273" y="556"/>
                </a:cubicBezTo>
                <a:cubicBezTo>
                  <a:pt x="2271" y="555"/>
                  <a:pt x="2268" y="554"/>
                  <a:pt x="2266" y="552"/>
                </a:cubicBezTo>
                <a:cubicBezTo>
                  <a:pt x="2265" y="552"/>
                  <a:pt x="2264" y="550"/>
                  <a:pt x="2263" y="548"/>
                </a:cubicBezTo>
                <a:cubicBezTo>
                  <a:pt x="2262" y="546"/>
                  <a:pt x="2262" y="544"/>
                  <a:pt x="2264" y="543"/>
                </a:cubicBezTo>
                <a:cubicBezTo>
                  <a:pt x="2267" y="540"/>
                  <a:pt x="2268" y="538"/>
                  <a:pt x="2267" y="534"/>
                </a:cubicBezTo>
                <a:cubicBezTo>
                  <a:pt x="2267" y="532"/>
                  <a:pt x="2267" y="529"/>
                  <a:pt x="2267" y="528"/>
                </a:cubicBezTo>
                <a:cubicBezTo>
                  <a:pt x="2266" y="527"/>
                  <a:pt x="2264" y="527"/>
                  <a:pt x="2263" y="525"/>
                </a:cubicBezTo>
                <a:cubicBezTo>
                  <a:pt x="2262" y="524"/>
                  <a:pt x="2262" y="522"/>
                  <a:pt x="2262" y="520"/>
                </a:cubicBezTo>
                <a:cubicBezTo>
                  <a:pt x="2261" y="517"/>
                  <a:pt x="2265" y="514"/>
                  <a:pt x="2267" y="514"/>
                </a:cubicBezTo>
                <a:cubicBezTo>
                  <a:pt x="2268" y="514"/>
                  <a:pt x="2268" y="515"/>
                  <a:pt x="2268" y="516"/>
                </a:cubicBezTo>
                <a:cubicBezTo>
                  <a:pt x="2268" y="517"/>
                  <a:pt x="2268" y="518"/>
                  <a:pt x="2269" y="519"/>
                </a:cubicBezTo>
                <a:cubicBezTo>
                  <a:pt x="2268" y="519"/>
                  <a:pt x="2267" y="519"/>
                  <a:pt x="2267" y="519"/>
                </a:cubicBezTo>
                <a:cubicBezTo>
                  <a:pt x="2267" y="520"/>
                  <a:pt x="2266" y="521"/>
                  <a:pt x="2265" y="523"/>
                </a:cubicBezTo>
                <a:cubicBezTo>
                  <a:pt x="2267" y="523"/>
                  <a:pt x="2267" y="523"/>
                  <a:pt x="2268" y="522"/>
                </a:cubicBezTo>
                <a:cubicBezTo>
                  <a:pt x="2269" y="521"/>
                  <a:pt x="2270" y="520"/>
                  <a:pt x="2271" y="519"/>
                </a:cubicBezTo>
                <a:cubicBezTo>
                  <a:pt x="2275" y="512"/>
                  <a:pt x="2281" y="508"/>
                  <a:pt x="2289" y="507"/>
                </a:cubicBezTo>
                <a:cubicBezTo>
                  <a:pt x="2292" y="506"/>
                  <a:pt x="2295" y="505"/>
                  <a:pt x="2297" y="502"/>
                </a:cubicBezTo>
                <a:cubicBezTo>
                  <a:pt x="2297" y="502"/>
                  <a:pt x="2298" y="502"/>
                  <a:pt x="2298" y="502"/>
                </a:cubicBezTo>
                <a:cubicBezTo>
                  <a:pt x="2301" y="501"/>
                  <a:pt x="2303" y="499"/>
                  <a:pt x="2305" y="497"/>
                </a:cubicBezTo>
                <a:cubicBezTo>
                  <a:pt x="2312" y="489"/>
                  <a:pt x="2324" y="489"/>
                  <a:pt x="2332" y="496"/>
                </a:cubicBezTo>
                <a:cubicBezTo>
                  <a:pt x="2334" y="498"/>
                  <a:pt x="2337" y="500"/>
                  <a:pt x="2339" y="502"/>
                </a:cubicBezTo>
                <a:cubicBezTo>
                  <a:pt x="2341" y="503"/>
                  <a:pt x="2342" y="504"/>
                  <a:pt x="2343" y="506"/>
                </a:cubicBezTo>
                <a:cubicBezTo>
                  <a:pt x="2344" y="508"/>
                  <a:pt x="2345" y="508"/>
                  <a:pt x="2346" y="507"/>
                </a:cubicBezTo>
                <a:cubicBezTo>
                  <a:pt x="2347" y="506"/>
                  <a:pt x="2347" y="506"/>
                  <a:pt x="2348" y="505"/>
                </a:cubicBezTo>
                <a:cubicBezTo>
                  <a:pt x="2350" y="502"/>
                  <a:pt x="2353" y="502"/>
                  <a:pt x="2354" y="505"/>
                </a:cubicBezTo>
                <a:cubicBezTo>
                  <a:pt x="2356" y="508"/>
                  <a:pt x="2356" y="511"/>
                  <a:pt x="2357" y="514"/>
                </a:cubicBezTo>
                <a:cubicBezTo>
                  <a:pt x="2358" y="519"/>
                  <a:pt x="2357" y="523"/>
                  <a:pt x="2356" y="527"/>
                </a:cubicBezTo>
                <a:cubicBezTo>
                  <a:pt x="2353" y="534"/>
                  <a:pt x="2349" y="537"/>
                  <a:pt x="2342" y="537"/>
                </a:cubicBezTo>
                <a:cubicBezTo>
                  <a:pt x="2341" y="537"/>
                  <a:pt x="2341" y="537"/>
                  <a:pt x="2340" y="537"/>
                </a:cubicBezTo>
                <a:cubicBezTo>
                  <a:pt x="2338" y="537"/>
                  <a:pt x="2336" y="537"/>
                  <a:pt x="2336" y="540"/>
                </a:cubicBezTo>
                <a:cubicBezTo>
                  <a:pt x="2334" y="544"/>
                  <a:pt x="2329" y="546"/>
                  <a:pt x="2325" y="542"/>
                </a:cubicBezTo>
                <a:cubicBezTo>
                  <a:pt x="2324" y="541"/>
                  <a:pt x="2323" y="540"/>
                  <a:pt x="2322" y="539"/>
                </a:cubicBezTo>
                <a:cubicBezTo>
                  <a:pt x="2322" y="540"/>
                  <a:pt x="2322" y="540"/>
                  <a:pt x="2321" y="540"/>
                </a:cubicBezTo>
                <a:close/>
                <a:moveTo>
                  <a:pt x="2316" y="535"/>
                </a:moveTo>
                <a:cubicBezTo>
                  <a:pt x="2319" y="537"/>
                  <a:pt x="2323" y="538"/>
                  <a:pt x="2325" y="541"/>
                </a:cubicBezTo>
                <a:cubicBezTo>
                  <a:pt x="2327" y="542"/>
                  <a:pt x="2329" y="543"/>
                  <a:pt x="2331" y="542"/>
                </a:cubicBezTo>
                <a:cubicBezTo>
                  <a:pt x="2334" y="542"/>
                  <a:pt x="2335" y="540"/>
                  <a:pt x="2335" y="537"/>
                </a:cubicBezTo>
                <a:cubicBezTo>
                  <a:pt x="2335" y="537"/>
                  <a:pt x="2334" y="537"/>
                  <a:pt x="2334" y="537"/>
                </a:cubicBezTo>
                <a:cubicBezTo>
                  <a:pt x="2334" y="539"/>
                  <a:pt x="2333" y="540"/>
                  <a:pt x="2332" y="541"/>
                </a:cubicBezTo>
                <a:cubicBezTo>
                  <a:pt x="2331" y="542"/>
                  <a:pt x="2329" y="542"/>
                  <a:pt x="2329" y="541"/>
                </a:cubicBezTo>
                <a:cubicBezTo>
                  <a:pt x="2328" y="541"/>
                  <a:pt x="2327" y="540"/>
                  <a:pt x="2327" y="539"/>
                </a:cubicBezTo>
                <a:cubicBezTo>
                  <a:pt x="2327" y="537"/>
                  <a:pt x="2328" y="535"/>
                  <a:pt x="2328" y="533"/>
                </a:cubicBezTo>
                <a:cubicBezTo>
                  <a:pt x="2331" y="534"/>
                  <a:pt x="2334" y="535"/>
                  <a:pt x="2338" y="535"/>
                </a:cubicBezTo>
                <a:cubicBezTo>
                  <a:pt x="2345" y="537"/>
                  <a:pt x="2351" y="535"/>
                  <a:pt x="2354" y="526"/>
                </a:cubicBezTo>
                <a:cubicBezTo>
                  <a:pt x="2356" y="521"/>
                  <a:pt x="2356" y="517"/>
                  <a:pt x="2355" y="512"/>
                </a:cubicBezTo>
                <a:cubicBezTo>
                  <a:pt x="2354" y="510"/>
                  <a:pt x="2354" y="508"/>
                  <a:pt x="2353" y="506"/>
                </a:cubicBezTo>
                <a:cubicBezTo>
                  <a:pt x="2352" y="504"/>
                  <a:pt x="2351" y="504"/>
                  <a:pt x="2350" y="506"/>
                </a:cubicBezTo>
                <a:cubicBezTo>
                  <a:pt x="2348" y="507"/>
                  <a:pt x="2347" y="509"/>
                  <a:pt x="2345" y="510"/>
                </a:cubicBezTo>
                <a:cubicBezTo>
                  <a:pt x="2344" y="510"/>
                  <a:pt x="2343" y="511"/>
                  <a:pt x="2343" y="512"/>
                </a:cubicBezTo>
                <a:cubicBezTo>
                  <a:pt x="2344" y="515"/>
                  <a:pt x="2343" y="518"/>
                  <a:pt x="2342" y="521"/>
                </a:cubicBezTo>
                <a:cubicBezTo>
                  <a:pt x="2342" y="519"/>
                  <a:pt x="2343" y="518"/>
                  <a:pt x="2343" y="516"/>
                </a:cubicBezTo>
                <a:cubicBezTo>
                  <a:pt x="2343" y="515"/>
                  <a:pt x="2342" y="515"/>
                  <a:pt x="2342" y="514"/>
                </a:cubicBezTo>
                <a:cubicBezTo>
                  <a:pt x="2342" y="515"/>
                  <a:pt x="2341" y="515"/>
                  <a:pt x="2341" y="515"/>
                </a:cubicBezTo>
                <a:cubicBezTo>
                  <a:pt x="2340" y="516"/>
                  <a:pt x="2339" y="518"/>
                  <a:pt x="2338" y="519"/>
                </a:cubicBezTo>
                <a:cubicBezTo>
                  <a:pt x="2338" y="519"/>
                  <a:pt x="2338" y="519"/>
                  <a:pt x="2338" y="519"/>
                </a:cubicBezTo>
                <a:cubicBezTo>
                  <a:pt x="2338" y="518"/>
                  <a:pt x="2339" y="516"/>
                  <a:pt x="2339" y="514"/>
                </a:cubicBezTo>
                <a:cubicBezTo>
                  <a:pt x="2338" y="514"/>
                  <a:pt x="2338" y="515"/>
                  <a:pt x="2337" y="516"/>
                </a:cubicBezTo>
                <a:cubicBezTo>
                  <a:pt x="2336" y="516"/>
                  <a:pt x="2336" y="517"/>
                  <a:pt x="2336" y="518"/>
                </a:cubicBezTo>
                <a:cubicBezTo>
                  <a:pt x="2336" y="514"/>
                  <a:pt x="2336" y="514"/>
                  <a:pt x="2342" y="513"/>
                </a:cubicBezTo>
                <a:cubicBezTo>
                  <a:pt x="2342" y="512"/>
                  <a:pt x="2341" y="512"/>
                  <a:pt x="2341" y="512"/>
                </a:cubicBezTo>
                <a:cubicBezTo>
                  <a:pt x="2338" y="512"/>
                  <a:pt x="2338" y="511"/>
                  <a:pt x="2337" y="508"/>
                </a:cubicBezTo>
                <a:cubicBezTo>
                  <a:pt x="2339" y="508"/>
                  <a:pt x="2340" y="508"/>
                  <a:pt x="2342" y="507"/>
                </a:cubicBezTo>
                <a:cubicBezTo>
                  <a:pt x="2340" y="505"/>
                  <a:pt x="2339" y="502"/>
                  <a:pt x="2336" y="502"/>
                </a:cubicBezTo>
                <a:cubicBezTo>
                  <a:pt x="2335" y="502"/>
                  <a:pt x="2335" y="501"/>
                  <a:pt x="2335" y="501"/>
                </a:cubicBezTo>
                <a:cubicBezTo>
                  <a:pt x="2333" y="499"/>
                  <a:pt x="2330" y="497"/>
                  <a:pt x="2327" y="495"/>
                </a:cubicBezTo>
                <a:cubicBezTo>
                  <a:pt x="2325" y="493"/>
                  <a:pt x="2322" y="493"/>
                  <a:pt x="2320" y="493"/>
                </a:cubicBezTo>
                <a:cubicBezTo>
                  <a:pt x="2317" y="493"/>
                  <a:pt x="2314" y="494"/>
                  <a:pt x="2311" y="495"/>
                </a:cubicBezTo>
                <a:cubicBezTo>
                  <a:pt x="2308" y="496"/>
                  <a:pt x="2305" y="498"/>
                  <a:pt x="2303" y="501"/>
                </a:cubicBezTo>
                <a:cubicBezTo>
                  <a:pt x="2305" y="501"/>
                  <a:pt x="2306" y="501"/>
                  <a:pt x="2307" y="501"/>
                </a:cubicBezTo>
                <a:cubicBezTo>
                  <a:pt x="2307" y="501"/>
                  <a:pt x="2306" y="502"/>
                  <a:pt x="2305" y="502"/>
                </a:cubicBezTo>
                <a:cubicBezTo>
                  <a:pt x="2303" y="502"/>
                  <a:pt x="2300" y="502"/>
                  <a:pt x="2298" y="504"/>
                </a:cubicBezTo>
                <a:cubicBezTo>
                  <a:pt x="2295" y="508"/>
                  <a:pt x="2291" y="512"/>
                  <a:pt x="2287" y="516"/>
                </a:cubicBezTo>
                <a:cubicBezTo>
                  <a:pt x="2286" y="518"/>
                  <a:pt x="2285" y="520"/>
                  <a:pt x="2284" y="523"/>
                </a:cubicBezTo>
                <a:cubicBezTo>
                  <a:pt x="2284" y="523"/>
                  <a:pt x="2284" y="524"/>
                  <a:pt x="2284" y="524"/>
                </a:cubicBezTo>
                <a:cubicBezTo>
                  <a:pt x="2285" y="526"/>
                  <a:pt x="2287" y="528"/>
                  <a:pt x="2288" y="530"/>
                </a:cubicBezTo>
                <a:cubicBezTo>
                  <a:pt x="2289" y="529"/>
                  <a:pt x="2291" y="527"/>
                  <a:pt x="2292" y="526"/>
                </a:cubicBezTo>
                <a:cubicBezTo>
                  <a:pt x="2291" y="527"/>
                  <a:pt x="2291" y="528"/>
                  <a:pt x="2290" y="530"/>
                </a:cubicBezTo>
                <a:cubicBezTo>
                  <a:pt x="2289" y="531"/>
                  <a:pt x="2289" y="532"/>
                  <a:pt x="2288" y="534"/>
                </a:cubicBezTo>
                <a:cubicBezTo>
                  <a:pt x="2288" y="535"/>
                  <a:pt x="2288" y="536"/>
                  <a:pt x="2289" y="537"/>
                </a:cubicBezTo>
                <a:cubicBezTo>
                  <a:pt x="2291" y="540"/>
                  <a:pt x="2294" y="540"/>
                  <a:pt x="2298" y="538"/>
                </a:cubicBezTo>
                <a:cubicBezTo>
                  <a:pt x="2300" y="537"/>
                  <a:pt x="2303" y="535"/>
                  <a:pt x="2306" y="535"/>
                </a:cubicBezTo>
                <a:cubicBezTo>
                  <a:pt x="2307" y="534"/>
                  <a:pt x="2309" y="533"/>
                  <a:pt x="2309" y="532"/>
                </a:cubicBezTo>
                <a:cubicBezTo>
                  <a:pt x="2309" y="529"/>
                  <a:pt x="2309" y="525"/>
                  <a:pt x="2309" y="522"/>
                </a:cubicBezTo>
                <a:cubicBezTo>
                  <a:pt x="2309" y="519"/>
                  <a:pt x="2309" y="516"/>
                  <a:pt x="2309" y="513"/>
                </a:cubicBezTo>
                <a:cubicBezTo>
                  <a:pt x="2309" y="516"/>
                  <a:pt x="2310" y="518"/>
                  <a:pt x="2310" y="521"/>
                </a:cubicBezTo>
                <a:cubicBezTo>
                  <a:pt x="2311" y="525"/>
                  <a:pt x="2311" y="530"/>
                  <a:pt x="2310" y="534"/>
                </a:cubicBezTo>
                <a:cubicBezTo>
                  <a:pt x="2309" y="535"/>
                  <a:pt x="2309" y="536"/>
                  <a:pt x="2308" y="536"/>
                </a:cubicBezTo>
                <a:cubicBezTo>
                  <a:pt x="2305" y="536"/>
                  <a:pt x="2302" y="538"/>
                  <a:pt x="2298" y="540"/>
                </a:cubicBezTo>
                <a:cubicBezTo>
                  <a:pt x="2293" y="543"/>
                  <a:pt x="2290" y="541"/>
                  <a:pt x="2286" y="537"/>
                </a:cubicBezTo>
                <a:cubicBezTo>
                  <a:pt x="2286" y="537"/>
                  <a:pt x="2286" y="535"/>
                  <a:pt x="2286" y="535"/>
                </a:cubicBezTo>
                <a:cubicBezTo>
                  <a:pt x="2287" y="533"/>
                  <a:pt x="2286" y="531"/>
                  <a:pt x="2285" y="529"/>
                </a:cubicBezTo>
                <a:cubicBezTo>
                  <a:pt x="2283" y="527"/>
                  <a:pt x="2282" y="524"/>
                  <a:pt x="2283" y="521"/>
                </a:cubicBezTo>
                <a:cubicBezTo>
                  <a:pt x="2283" y="519"/>
                  <a:pt x="2284" y="518"/>
                  <a:pt x="2285" y="516"/>
                </a:cubicBezTo>
                <a:cubicBezTo>
                  <a:pt x="2287" y="514"/>
                  <a:pt x="2289" y="511"/>
                  <a:pt x="2291" y="508"/>
                </a:cubicBezTo>
                <a:cubicBezTo>
                  <a:pt x="2291" y="508"/>
                  <a:pt x="2290" y="508"/>
                  <a:pt x="2290" y="508"/>
                </a:cubicBezTo>
                <a:cubicBezTo>
                  <a:pt x="2285" y="510"/>
                  <a:pt x="2281" y="511"/>
                  <a:pt x="2277" y="514"/>
                </a:cubicBezTo>
                <a:cubicBezTo>
                  <a:pt x="2272" y="519"/>
                  <a:pt x="2269" y="524"/>
                  <a:pt x="2269" y="531"/>
                </a:cubicBezTo>
                <a:cubicBezTo>
                  <a:pt x="2269" y="537"/>
                  <a:pt x="2271" y="543"/>
                  <a:pt x="2274" y="549"/>
                </a:cubicBezTo>
                <a:cubicBezTo>
                  <a:pt x="2275" y="550"/>
                  <a:pt x="2276" y="552"/>
                  <a:pt x="2275" y="553"/>
                </a:cubicBezTo>
                <a:cubicBezTo>
                  <a:pt x="2275" y="554"/>
                  <a:pt x="2275" y="556"/>
                  <a:pt x="2274" y="557"/>
                </a:cubicBezTo>
                <a:cubicBezTo>
                  <a:pt x="2274" y="559"/>
                  <a:pt x="2274" y="560"/>
                  <a:pt x="2275" y="560"/>
                </a:cubicBezTo>
                <a:cubicBezTo>
                  <a:pt x="2278" y="561"/>
                  <a:pt x="2281" y="561"/>
                  <a:pt x="2284" y="562"/>
                </a:cubicBezTo>
                <a:cubicBezTo>
                  <a:pt x="2285" y="562"/>
                  <a:pt x="2285" y="561"/>
                  <a:pt x="2285" y="561"/>
                </a:cubicBezTo>
                <a:cubicBezTo>
                  <a:pt x="2286" y="559"/>
                  <a:pt x="2286" y="558"/>
                  <a:pt x="2287" y="557"/>
                </a:cubicBezTo>
                <a:cubicBezTo>
                  <a:pt x="2289" y="555"/>
                  <a:pt x="2289" y="552"/>
                  <a:pt x="2289" y="549"/>
                </a:cubicBezTo>
                <a:cubicBezTo>
                  <a:pt x="2289" y="549"/>
                  <a:pt x="2289" y="548"/>
                  <a:pt x="2289" y="548"/>
                </a:cubicBezTo>
                <a:cubicBezTo>
                  <a:pt x="2289" y="548"/>
                  <a:pt x="2289" y="548"/>
                  <a:pt x="2289" y="547"/>
                </a:cubicBezTo>
                <a:cubicBezTo>
                  <a:pt x="2289" y="550"/>
                  <a:pt x="2291" y="550"/>
                  <a:pt x="2293" y="550"/>
                </a:cubicBezTo>
                <a:cubicBezTo>
                  <a:pt x="2293" y="550"/>
                  <a:pt x="2294" y="550"/>
                  <a:pt x="2295" y="550"/>
                </a:cubicBezTo>
                <a:cubicBezTo>
                  <a:pt x="2298" y="550"/>
                  <a:pt x="2301" y="551"/>
                  <a:pt x="2302" y="546"/>
                </a:cubicBezTo>
                <a:cubicBezTo>
                  <a:pt x="2302" y="549"/>
                  <a:pt x="2302" y="550"/>
                  <a:pt x="2302" y="551"/>
                </a:cubicBezTo>
                <a:cubicBezTo>
                  <a:pt x="2300" y="552"/>
                  <a:pt x="2299" y="553"/>
                  <a:pt x="2298" y="553"/>
                </a:cubicBezTo>
                <a:cubicBezTo>
                  <a:pt x="2296" y="554"/>
                  <a:pt x="2296" y="556"/>
                  <a:pt x="2296" y="556"/>
                </a:cubicBezTo>
                <a:cubicBezTo>
                  <a:pt x="2298" y="559"/>
                  <a:pt x="2299" y="561"/>
                  <a:pt x="2300" y="563"/>
                </a:cubicBezTo>
                <a:cubicBezTo>
                  <a:pt x="2302" y="564"/>
                  <a:pt x="2304" y="563"/>
                  <a:pt x="2305" y="562"/>
                </a:cubicBezTo>
                <a:cubicBezTo>
                  <a:pt x="2306" y="561"/>
                  <a:pt x="2307" y="560"/>
                  <a:pt x="2307" y="560"/>
                </a:cubicBezTo>
                <a:cubicBezTo>
                  <a:pt x="2309" y="558"/>
                  <a:pt x="2311" y="557"/>
                  <a:pt x="2312" y="556"/>
                </a:cubicBezTo>
                <a:cubicBezTo>
                  <a:pt x="2316" y="552"/>
                  <a:pt x="2318" y="546"/>
                  <a:pt x="2320" y="540"/>
                </a:cubicBezTo>
                <a:cubicBezTo>
                  <a:pt x="2320" y="539"/>
                  <a:pt x="2319" y="538"/>
                  <a:pt x="2319" y="538"/>
                </a:cubicBezTo>
                <a:cubicBezTo>
                  <a:pt x="2318" y="537"/>
                  <a:pt x="2317" y="536"/>
                  <a:pt x="2316" y="535"/>
                </a:cubicBezTo>
                <a:close/>
                <a:moveTo>
                  <a:pt x="2269" y="542"/>
                </a:moveTo>
                <a:cubicBezTo>
                  <a:pt x="2268" y="542"/>
                  <a:pt x="2266" y="543"/>
                  <a:pt x="2265" y="544"/>
                </a:cubicBezTo>
                <a:cubicBezTo>
                  <a:pt x="2265" y="545"/>
                  <a:pt x="2264" y="546"/>
                  <a:pt x="2264" y="546"/>
                </a:cubicBezTo>
                <a:cubicBezTo>
                  <a:pt x="2264" y="549"/>
                  <a:pt x="2269" y="554"/>
                  <a:pt x="2272" y="553"/>
                </a:cubicBezTo>
                <a:cubicBezTo>
                  <a:pt x="2273" y="553"/>
                  <a:pt x="2274" y="552"/>
                  <a:pt x="2273" y="550"/>
                </a:cubicBezTo>
                <a:cubicBezTo>
                  <a:pt x="2272" y="547"/>
                  <a:pt x="2270" y="544"/>
                  <a:pt x="2269" y="542"/>
                </a:cubicBezTo>
                <a:close/>
                <a:moveTo>
                  <a:pt x="2321" y="544"/>
                </a:moveTo>
                <a:cubicBezTo>
                  <a:pt x="2319" y="548"/>
                  <a:pt x="2316" y="553"/>
                  <a:pt x="2314" y="557"/>
                </a:cubicBezTo>
                <a:cubicBezTo>
                  <a:pt x="2317" y="557"/>
                  <a:pt x="2319" y="557"/>
                  <a:pt x="2322" y="557"/>
                </a:cubicBezTo>
                <a:cubicBezTo>
                  <a:pt x="2322" y="557"/>
                  <a:pt x="2323" y="556"/>
                  <a:pt x="2323" y="556"/>
                </a:cubicBezTo>
                <a:cubicBezTo>
                  <a:pt x="2323" y="553"/>
                  <a:pt x="2323" y="550"/>
                  <a:pt x="2322" y="548"/>
                </a:cubicBezTo>
                <a:cubicBezTo>
                  <a:pt x="2322" y="546"/>
                  <a:pt x="2322" y="545"/>
                  <a:pt x="2321" y="544"/>
                </a:cubicBezTo>
                <a:close/>
                <a:moveTo>
                  <a:pt x="2269" y="523"/>
                </a:moveTo>
                <a:cubicBezTo>
                  <a:pt x="2268" y="524"/>
                  <a:pt x="2267" y="524"/>
                  <a:pt x="2267" y="524"/>
                </a:cubicBezTo>
                <a:cubicBezTo>
                  <a:pt x="2266" y="524"/>
                  <a:pt x="2265" y="524"/>
                  <a:pt x="2265" y="524"/>
                </a:cubicBezTo>
                <a:cubicBezTo>
                  <a:pt x="2265" y="523"/>
                  <a:pt x="2264" y="523"/>
                  <a:pt x="2264" y="522"/>
                </a:cubicBezTo>
                <a:cubicBezTo>
                  <a:pt x="2265" y="520"/>
                  <a:pt x="2265" y="518"/>
                  <a:pt x="2266" y="516"/>
                </a:cubicBezTo>
                <a:cubicBezTo>
                  <a:pt x="2266" y="516"/>
                  <a:pt x="2266" y="516"/>
                  <a:pt x="2265" y="516"/>
                </a:cubicBezTo>
                <a:cubicBezTo>
                  <a:pt x="2265" y="517"/>
                  <a:pt x="2263" y="518"/>
                  <a:pt x="2263" y="519"/>
                </a:cubicBezTo>
                <a:cubicBezTo>
                  <a:pt x="2262" y="520"/>
                  <a:pt x="2263" y="525"/>
                  <a:pt x="2265" y="526"/>
                </a:cubicBezTo>
                <a:cubicBezTo>
                  <a:pt x="2267" y="527"/>
                  <a:pt x="2269" y="525"/>
                  <a:pt x="2269" y="523"/>
                </a:cubicBezTo>
                <a:close/>
                <a:moveTo>
                  <a:pt x="2268" y="542"/>
                </a:moveTo>
                <a:cubicBezTo>
                  <a:pt x="2268" y="543"/>
                  <a:pt x="2266" y="543"/>
                  <a:pt x="2265" y="544"/>
                </a:cubicBezTo>
                <a:cubicBezTo>
                  <a:pt x="2264" y="545"/>
                  <a:pt x="2264" y="546"/>
                  <a:pt x="2264" y="546"/>
                </a:cubicBezTo>
                <a:cubicBezTo>
                  <a:pt x="2264" y="549"/>
                  <a:pt x="2268" y="553"/>
                  <a:pt x="2272" y="553"/>
                </a:cubicBezTo>
                <a:cubicBezTo>
                  <a:pt x="2273" y="553"/>
                  <a:pt x="2274" y="552"/>
                  <a:pt x="2273" y="550"/>
                </a:cubicBezTo>
                <a:cubicBezTo>
                  <a:pt x="2272" y="547"/>
                  <a:pt x="2270" y="544"/>
                  <a:pt x="2268" y="542"/>
                </a:cubicBezTo>
                <a:close/>
                <a:moveTo>
                  <a:pt x="2321" y="544"/>
                </a:moveTo>
                <a:cubicBezTo>
                  <a:pt x="2319" y="548"/>
                  <a:pt x="2316" y="553"/>
                  <a:pt x="2314" y="557"/>
                </a:cubicBezTo>
                <a:cubicBezTo>
                  <a:pt x="2317" y="557"/>
                  <a:pt x="2319" y="558"/>
                  <a:pt x="2322" y="557"/>
                </a:cubicBezTo>
                <a:cubicBezTo>
                  <a:pt x="2322" y="557"/>
                  <a:pt x="2323" y="556"/>
                  <a:pt x="2323" y="556"/>
                </a:cubicBezTo>
                <a:cubicBezTo>
                  <a:pt x="2323" y="553"/>
                  <a:pt x="2323" y="550"/>
                  <a:pt x="2322" y="548"/>
                </a:cubicBezTo>
                <a:cubicBezTo>
                  <a:pt x="2322" y="547"/>
                  <a:pt x="2321" y="545"/>
                  <a:pt x="2321" y="544"/>
                </a:cubicBezTo>
                <a:close/>
                <a:moveTo>
                  <a:pt x="2268" y="523"/>
                </a:moveTo>
                <a:cubicBezTo>
                  <a:pt x="2268" y="524"/>
                  <a:pt x="2267" y="524"/>
                  <a:pt x="2266" y="524"/>
                </a:cubicBezTo>
                <a:cubicBezTo>
                  <a:pt x="2266" y="524"/>
                  <a:pt x="2265" y="524"/>
                  <a:pt x="2265" y="524"/>
                </a:cubicBezTo>
                <a:cubicBezTo>
                  <a:pt x="2264" y="523"/>
                  <a:pt x="2264" y="523"/>
                  <a:pt x="2264" y="522"/>
                </a:cubicBezTo>
                <a:cubicBezTo>
                  <a:pt x="2265" y="520"/>
                  <a:pt x="2265" y="518"/>
                  <a:pt x="2266" y="516"/>
                </a:cubicBezTo>
                <a:cubicBezTo>
                  <a:pt x="2266" y="516"/>
                  <a:pt x="2266" y="516"/>
                  <a:pt x="2265" y="516"/>
                </a:cubicBezTo>
                <a:cubicBezTo>
                  <a:pt x="2264" y="517"/>
                  <a:pt x="2263" y="517"/>
                  <a:pt x="2262" y="519"/>
                </a:cubicBezTo>
                <a:cubicBezTo>
                  <a:pt x="2262" y="520"/>
                  <a:pt x="2263" y="525"/>
                  <a:pt x="2265" y="526"/>
                </a:cubicBezTo>
                <a:cubicBezTo>
                  <a:pt x="2266" y="526"/>
                  <a:pt x="2268" y="525"/>
                  <a:pt x="2268" y="523"/>
                </a:cubicBezTo>
                <a:close/>
                <a:moveTo>
                  <a:pt x="2321" y="515"/>
                </a:moveTo>
                <a:cubicBezTo>
                  <a:pt x="2324" y="512"/>
                  <a:pt x="2324" y="512"/>
                  <a:pt x="2328" y="511"/>
                </a:cubicBezTo>
                <a:cubicBezTo>
                  <a:pt x="2328" y="512"/>
                  <a:pt x="2329" y="514"/>
                  <a:pt x="2330" y="514"/>
                </a:cubicBezTo>
                <a:cubicBezTo>
                  <a:pt x="2328" y="515"/>
                  <a:pt x="2326" y="516"/>
                  <a:pt x="2324" y="517"/>
                </a:cubicBezTo>
                <a:cubicBezTo>
                  <a:pt x="2323" y="517"/>
                  <a:pt x="2323" y="516"/>
                  <a:pt x="2322" y="515"/>
                </a:cubicBezTo>
                <a:cubicBezTo>
                  <a:pt x="2322" y="515"/>
                  <a:pt x="2321" y="515"/>
                  <a:pt x="2321" y="515"/>
                </a:cubicBezTo>
                <a:close/>
                <a:moveTo>
                  <a:pt x="2326" y="515"/>
                </a:moveTo>
                <a:cubicBezTo>
                  <a:pt x="2326" y="514"/>
                  <a:pt x="2325" y="514"/>
                  <a:pt x="2324" y="514"/>
                </a:cubicBezTo>
                <a:cubicBezTo>
                  <a:pt x="2324" y="514"/>
                  <a:pt x="2323" y="515"/>
                  <a:pt x="2323" y="515"/>
                </a:cubicBezTo>
                <a:cubicBezTo>
                  <a:pt x="2323" y="515"/>
                  <a:pt x="2324" y="516"/>
                  <a:pt x="2324" y="516"/>
                </a:cubicBezTo>
                <a:cubicBezTo>
                  <a:pt x="2325" y="516"/>
                  <a:pt x="2325" y="515"/>
                  <a:pt x="2326" y="515"/>
                </a:cubicBezTo>
                <a:close/>
                <a:moveTo>
                  <a:pt x="2308" y="505"/>
                </a:moveTo>
                <a:cubicBezTo>
                  <a:pt x="2301" y="504"/>
                  <a:pt x="2298" y="507"/>
                  <a:pt x="2297" y="515"/>
                </a:cubicBezTo>
                <a:cubicBezTo>
                  <a:pt x="2298" y="513"/>
                  <a:pt x="2299" y="510"/>
                  <a:pt x="2301" y="508"/>
                </a:cubicBezTo>
                <a:cubicBezTo>
                  <a:pt x="2301" y="508"/>
                  <a:pt x="2301" y="508"/>
                  <a:pt x="2301" y="508"/>
                </a:cubicBezTo>
                <a:cubicBezTo>
                  <a:pt x="2301" y="509"/>
                  <a:pt x="2301" y="510"/>
                  <a:pt x="2301" y="511"/>
                </a:cubicBezTo>
                <a:cubicBezTo>
                  <a:pt x="2303" y="508"/>
                  <a:pt x="2304" y="506"/>
                  <a:pt x="2308" y="505"/>
                </a:cubicBezTo>
                <a:close/>
                <a:moveTo>
                  <a:pt x="2351" y="507"/>
                </a:moveTo>
                <a:cubicBezTo>
                  <a:pt x="2349" y="508"/>
                  <a:pt x="2347" y="510"/>
                  <a:pt x="2346" y="511"/>
                </a:cubicBezTo>
                <a:cubicBezTo>
                  <a:pt x="2348" y="511"/>
                  <a:pt x="2350" y="510"/>
                  <a:pt x="2351" y="507"/>
                </a:cubicBezTo>
                <a:close/>
                <a:moveTo>
                  <a:pt x="2318" y="509"/>
                </a:moveTo>
                <a:cubicBezTo>
                  <a:pt x="2319" y="508"/>
                  <a:pt x="2320" y="506"/>
                  <a:pt x="2322" y="505"/>
                </a:cubicBezTo>
                <a:cubicBezTo>
                  <a:pt x="2318" y="506"/>
                  <a:pt x="2317" y="507"/>
                  <a:pt x="2318" y="509"/>
                </a:cubicBezTo>
                <a:close/>
                <a:moveTo>
                  <a:pt x="2328" y="530"/>
                </a:moveTo>
                <a:cubicBezTo>
                  <a:pt x="2326" y="531"/>
                  <a:pt x="2325" y="531"/>
                  <a:pt x="2325" y="532"/>
                </a:cubicBezTo>
                <a:cubicBezTo>
                  <a:pt x="2326" y="532"/>
                  <a:pt x="2327" y="531"/>
                  <a:pt x="2328" y="530"/>
                </a:cubicBezTo>
                <a:close/>
                <a:moveTo>
                  <a:pt x="2326" y="515"/>
                </a:moveTo>
                <a:cubicBezTo>
                  <a:pt x="2326" y="514"/>
                  <a:pt x="2325" y="514"/>
                  <a:pt x="2325" y="514"/>
                </a:cubicBezTo>
                <a:cubicBezTo>
                  <a:pt x="2324" y="514"/>
                  <a:pt x="2324" y="515"/>
                  <a:pt x="2324" y="515"/>
                </a:cubicBezTo>
                <a:cubicBezTo>
                  <a:pt x="2324" y="516"/>
                  <a:pt x="2324" y="516"/>
                  <a:pt x="2324" y="516"/>
                </a:cubicBezTo>
                <a:cubicBezTo>
                  <a:pt x="2325" y="516"/>
                  <a:pt x="2325" y="516"/>
                  <a:pt x="2326" y="515"/>
                </a:cubicBezTo>
                <a:close/>
                <a:moveTo>
                  <a:pt x="2617" y="492"/>
                </a:moveTo>
                <a:cubicBezTo>
                  <a:pt x="2617" y="492"/>
                  <a:pt x="2617" y="492"/>
                  <a:pt x="2617" y="492"/>
                </a:cubicBezTo>
                <a:cubicBezTo>
                  <a:pt x="2613" y="492"/>
                  <a:pt x="2613" y="492"/>
                  <a:pt x="2613" y="492"/>
                </a:cubicBezTo>
                <a:cubicBezTo>
                  <a:pt x="2611" y="494"/>
                  <a:pt x="2609" y="495"/>
                  <a:pt x="2607" y="496"/>
                </a:cubicBezTo>
                <a:cubicBezTo>
                  <a:pt x="2606" y="497"/>
                  <a:pt x="2603" y="498"/>
                  <a:pt x="2602" y="499"/>
                </a:cubicBezTo>
                <a:cubicBezTo>
                  <a:pt x="2600" y="500"/>
                  <a:pt x="2598" y="501"/>
                  <a:pt x="2596" y="502"/>
                </a:cubicBezTo>
                <a:cubicBezTo>
                  <a:pt x="2595" y="503"/>
                  <a:pt x="2592" y="503"/>
                  <a:pt x="2591" y="503"/>
                </a:cubicBezTo>
                <a:cubicBezTo>
                  <a:pt x="2591" y="503"/>
                  <a:pt x="2591" y="503"/>
                  <a:pt x="2591" y="513"/>
                </a:cubicBezTo>
                <a:cubicBezTo>
                  <a:pt x="2594" y="513"/>
                  <a:pt x="2597" y="512"/>
                  <a:pt x="2599" y="511"/>
                </a:cubicBezTo>
                <a:cubicBezTo>
                  <a:pt x="2601" y="510"/>
                  <a:pt x="2604" y="508"/>
                  <a:pt x="2606" y="507"/>
                </a:cubicBezTo>
                <a:cubicBezTo>
                  <a:pt x="2606" y="507"/>
                  <a:pt x="2606" y="507"/>
                  <a:pt x="2606" y="566"/>
                </a:cubicBezTo>
                <a:cubicBezTo>
                  <a:pt x="2606" y="566"/>
                  <a:pt x="2606" y="566"/>
                  <a:pt x="2617" y="566"/>
                </a:cubicBezTo>
                <a:cubicBezTo>
                  <a:pt x="2617" y="566"/>
                  <a:pt x="2617" y="566"/>
                  <a:pt x="2617" y="492"/>
                </a:cubicBezTo>
                <a:close/>
                <a:moveTo>
                  <a:pt x="2739" y="492"/>
                </a:moveTo>
                <a:cubicBezTo>
                  <a:pt x="2739" y="492"/>
                  <a:pt x="2739" y="492"/>
                  <a:pt x="2739" y="492"/>
                </a:cubicBezTo>
                <a:cubicBezTo>
                  <a:pt x="2734" y="492"/>
                  <a:pt x="2734" y="492"/>
                  <a:pt x="2734" y="492"/>
                </a:cubicBezTo>
                <a:cubicBezTo>
                  <a:pt x="2731" y="494"/>
                  <a:pt x="2730" y="495"/>
                  <a:pt x="2728" y="496"/>
                </a:cubicBezTo>
                <a:cubicBezTo>
                  <a:pt x="2726" y="497"/>
                  <a:pt x="2725" y="498"/>
                  <a:pt x="2722" y="499"/>
                </a:cubicBezTo>
                <a:cubicBezTo>
                  <a:pt x="2721" y="500"/>
                  <a:pt x="2719" y="501"/>
                  <a:pt x="2717" y="502"/>
                </a:cubicBezTo>
                <a:cubicBezTo>
                  <a:pt x="2715" y="503"/>
                  <a:pt x="2714" y="503"/>
                  <a:pt x="2711" y="503"/>
                </a:cubicBezTo>
                <a:cubicBezTo>
                  <a:pt x="2711" y="503"/>
                  <a:pt x="2711" y="503"/>
                  <a:pt x="2711" y="513"/>
                </a:cubicBezTo>
                <a:cubicBezTo>
                  <a:pt x="2714" y="513"/>
                  <a:pt x="2717" y="512"/>
                  <a:pt x="2720" y="511"/>
                </a:cubicBezTo>
                <a:cubicBezTo>
                  <a:pt x="2722" y="510"/>
                  <a:pt x="2725" y="508"/>
                  <a:pt x="2727" y="507"/>
                </a:cubicBezTo>
                <a:cubicBezTo>
                  <a:pt x="2727" y="507"/>
                  <a:pt x="2727" y="507"/>
                  <a:pt x="2727" y="566"/>
                </a:cubicBezTo>
                <a:cubicBezTo>
                  <a:pt x="2727" y="566"/>
                  <a:pt x="2727" y="566"/>
                  <a:pt x="2739" y="566"/>
                </a:cubicBezTo>
                <a:cubicBezTo>
                  <a:pt x="2739" y="566"/>
                  <a:pt x="2739" y="566"/>
                  <a:pt x="2739" y="492"/>
                </a:cubicBezTo>
                <a:close/>
                <a:moveTo>
                  <a:pt x="2785" y="492"/>
                </a:moveTo>
                <a:cubicBezTo>
                  <a:pt x="2785" y="492"/>
                  <a:pt x="2785" y="492"/>
                  <a:pt x="2785" y="492"/>
                </a:cubicBezTo>
                <a:cubicBezTo>
                  <a:pt x="2780" y="492"/>
                  <a:pt x="2780" y="492"/>
                  <a:pt x="2780" y="492"/>
                </a:cubicBezTo>
                <a:cubicBezTo>
                  <a:pt x="2778" y="494"/>
                  <a:pt x="2777" y="495"/>
                  <a:pt x="2774" y="496"/>
                </a:cubicBezTo>
                <a:cubicBezTo>
                  <a:pt x="2773" y="497"/>
                  <a:pt x="2771" y="498"/>
                  <a:pt x="2769" y="499"/>
                </a:cubicBezTo>
                <a:cubicBezTo>
                  <a:pt x="2768" y="500"/>
                  <a:pt x="2766" y="501"/>
                  <a:pt x="2764" y="502"/>
                </a:cubicBezTo>
                <a:cubicBezTo>
                  <a:pt x="2762" y="503"/>
                  <a:pt x="2761" y="503"/>
                  <a:pt x="2758" y="503"/>
                </a:cubicBezTo>
                <a:cubicBezTo>
                  <a:pt x="2758" y="503"/>
                  <a:pt x="2758" y="503"/>
                  <a:pt x="2758" y="513"/>
                </a:cubicBezTo>
                <a:cubicBezTo>
                  <a:pt x="2761" y="513"/>
                  <a:pt x="2764" y="512"/>
                  <a:pt x="2766" y="511"/>
                </a:cubicBezTo>
                <a:cubicBezTo>
                  <a:pt x="2769" y="510"/>
                  <a:pt x="2771" y="508"/>
                  <a:pt x="2774" y="507"/>
                </a:cubicBezTo>
                <a:cubicBezTo>
                  <a:pt x="2774" y="507"/>
                  <a:pt x="2774" y="507"/>
                  <a:pt x="2774" y="566"/>
                </a:cubicBezTo>
                <a:cubicBezTo>
                  <a:pt x="2774" y="566"/>
                  <a:pt x="2774" y="566"/>
                  <a:pt x="2785" y="566"/>
                </a:cubicBezTo>
                <a:cubicBezTo>
                  <a:pt x="2785" y="566"/>
                  <a:pt x="2785" y="566"/>
                  <a:pt x="2785" y="492"/>
                </a:cubicBezTo>
                <a:close/>
                <a:moveTo>
                  <a:pt x="2831" y="492"/>
                </a:moveTo>
                <a:cubicBezTo>
                  <a:pt x="2831" y="492"/>
                  <a:pt x="2831" y="492"/>
                  <a:pt x="2831" y="492"/>
                </a:cubicBezTo>
                <a:cubicBezTo>
                  <a:pt x="2827" y="492"/>
                  <a:pt x="2827" y="492"/>
                  <a:pt x="2827" y="492"/>
                </a:cubicBezTo>
                <a:cubicBezTo>
                  <a:pt x="2825" y="494"/>
                  <a:pt x="2823" y="495"/>
                  <a:pt x="2821" y="496"/>
                </a:cubicBezTo>
                <a:cubicBezTo>
                  <a:pt x="2820" y="497"/>
                  <a:pt x="2817" y="498"/>
                  <a:pt x="2816" y="499"/>
                </a:cubicBezTo>
                <a:cubicBezTo>
                  <a:pt x="2814" y="500"/>
                  <a:pt x="2812" y="500"/>
                  <a:pt x="2810" y="501"/>
                </a:cubicBezTo>
                <a:cubicBezTo>
                  <a:pt x="2809" y="502"/>
                  <a:pt x="2806" y="503"/>
                  <a:pt x="2805" y="503"/>
                </a:cubicBezTo>
                <a:cubicBezTo>
                  <a:pt x="2805" y="503"/>
                  <a:pt x="2805" y="503"/>
                  <a:pt x="2805" y="513"/>
                </a:cubicBezTo>
                <a:cubicBezTo>
                  <a:pt x="2808" y="513"/>
                  <a:pt x="2811" y="511"/>
                  <a:pt x="2813" y="511"/>
                </a:cubicBezTo>
                <a:cubicBezTo>
                  <a:pt x="2815" y="510"/>
                  <a:pt x="2818" y="508"/>
                  <a:pt x="2820" y="507"/>
                </a:cubicBezTo>
                <a:cubicBezTo>
                  <a:pt x="2820" y="507"/>
                  <a:pt x="2820" y="507"/>
                  <a:pt x="2820" y="566"/>
                </a:cubicBezTo>
                <a:cubicBezTo>
                  <a:pt x="2820" y="566"/>
                  <a:pt x="2820" y="566"/>
                  <a:pt x="2831" y="566"/>
                </a:cubicBezTo>
                <a:cubicBezTo>
                  <a:pt x="2831" y="566"/>
                  <a:pt x="2831" y="566"/>
                  <a:pt x="2831" y="492"/>
                </a:cubicBezTo>
                <a:close/>
                <a:moveTo>
                  <a:pt x="2637" y="525"/>
                </a:moveTo>
                <a:cubicBezTo>
                  <a:pt x="2637" y="525"/>
                  <a:pt x="2637" y="525"/>
                  <a:pt x="2637" y="525"/>
                </a:cubicBezTo>
                <a:cubicBezTo>
                  <a:pt x="2637" y="533"/>
                  <a:pt x="2637" y="533"/>
                  <a:pt x="2637" y="533"/>
                </a:cubicBezTo>
                <a:cubicBezTo>
                  <a:pt x="2643" y="533"/>
                  <a:pt x="2644" y="536"/>
                  <a:pt x="2644" y="539"/>
                </a:cubicBezTo>
                <a:cubicBezTo>
                  <a:pt x="2644" y="541"/>
                  <a:pt x="2644" y="543"/>
                  <a:pt x="2644" y="546"/>
                </a:cubicBezTo>
                <a:cubicBezTo>
                  <a:pt x="2643" y="549"/>
                  <a:pt x="2643" y="551"/>
                  <a:pt x="2643" y="553"/>
                </a:cubicBezTo>
                <a:cubicBezTo>
                  <a:pt x="2643" y="562"/>
                  <a:pt x="2649" y="566"/>
                  <a:pt x="2657" y="566"/>
                </a:cubicBezTo>
                <a:cubicBezTo>
                  <a:pt x="2657" y="566"/>
                  <a:pt x="2657" y="566"/>
                  <a:pt x="2661" y="566"/>
                </a:cubicBezTo>
                <a:cubicBezTo>
                  <a:pt x="2661" y="566"/>
                  <a:pt x="2661" y="566"/>
                  <a:pt x="2661" y="557"/>
                </a:cubicBezTo>
                <a:cubicBezTo>
                  <a:pt x="2661" y="557"/>
                  <a:pt x="2661" y="557"/>
                  <a:pt x="2659" y="557"/>
                </a:cubicBezTo>
                <a:cubicBezTo>
                  <a:pt x="2656" y="557"/>
                  <a:pt x="2655" y="554"/>
                  <a:pt x="2655" y="551"/>
                </a:cubicBezTo>
                <a:cubicBezTo>
                  <a:pt x="2655" y="549"/>
                  <a:pt x="2655" y="548"/>
                  <a:pt x="2655" y="546"/>
                </a:cubicBezTo>
                <a:cubicBezTo>
                  <a:pt x="2655" y="544"/>
                  <a:pt x="2655" y="542"/>
                  <a:pt x="2655" y="540"/>
                </a:cubicBezTo>
                <a:cubicBezTo>
                  <a:pt x="2655" y="533"/>
                  <a:pt x="2652" y="530"/>
                  <a:pt x="2647" y="529"/>
                </a:cubicBezTo>
                <a:cubicBezTo>
                  <a:pt x="2647" y="529"/>
                  <a:pt x="2647" y="529"/>
                  <a:pt x="2647" y="528"/>
                </a:cubicBezTo>
                <a:cubicBezTo>
                  <a:pt x="2652" y="527"/>
                  <a:pt x="2655" y="525"/>
                  <a:pt x="2655" y="518"/>
                </a:cubicBezTo>
                <a:cubicBezTo>
                  <a:pt x="2655" y="515"/>
                  <a:pt x="2655" y="513"/>
                  <a:pt x="2655" y="511"/>
                </a:cubicBezTo>
                <a:cubicBezTo>
                  <a:pt x="2655" y="510"/>
                  <a:pt x="2655" y="508"/>
                  <a:pt x="2655" y="507"/>
                </a:cubicBezTo>
                <a:cubicBezTo>
                  <a:pt x="2655" y="503"/>
                  <a:pt x="2656" y="501"/>
                  <a:pt x="2659" y="501"/>
                </a:cubicBezTo>
                <a:cubicBezTo>
                  <a:pt x="2659" y="501"/>
                  <a:pt x="2659" y="501"/>
                  <a:pt x="2661" y="501"/>
                </a:cubicBezTo>
                <a:cubicBezTo>
                  <a:pt x="2661" y="501"/>
                  <a:pt x="2661" y="501"/>
                  <a:pt x="2661" y="491"/>
                </a:cubicBezTo>
                <a:cubicBezTo>
                  <a:pt x="2661" y="491"/>
                  <a:pt x="2661" y="491"/>
                  <a:pt x="2657" y="491"/>
                </a:cubicBezTo>
                <a:cubicBezTo>
                  <a:pt x="2648" y="491"/>
                  <a:pt x="2643" y="496"/>
                  <a:pt x="2643" y="504"/>
                </a:cubicBezTo>
                <a:cubicBezTo>
                  <a:pt x="2643" y="506"/>
                  <a:pt x="2643" y="509"/>
                  <a:pt x="2643" y="512"/>
                </a:cubicBezTo>
                <a:cubicBezTo>
                  <a:pt x="2644" y="514"/>
                  <a:pt x="2644" y="516"/>
                  <a:pt x="2644" y="518"/>
                </a:cubicBezTo>
                <a:cubicBezTo>
                  <a:pt x="2644" y="521"/>
                  <a:pt x="2643" y="524"/>
                  <a:pt x="2637" y="525"/>
                </a:cubicBezTo>
                <a:close/>
                <a:moveTo>
                  <a:pt x="2692" y="533"/>
                </a:moveTo>
                <a:cubicBezTo>
                  <a:pt x="2692" y="533"/>
                  <a:pt x="2692" y="533"/>
                  <a:pt x="2692" y="533"/>
                </a:cubicBezTo>
                <a:cubicBezTo>
                  <a:pt x="2692" y="525"/>
                  <a:pt x="2692" y="525"/>
                  <a:pt x="2692" y="525"/>
                </a:cubicBezTo>
                <a:cubicBezTo>
                  <a:pt x="2685" y="524"/>
                  <a:pt x="2685" y="521"/>
                  <a:pt x="2685" y="518"/>
                </a:cubicBezTo>
                <a:cubicBezTo>
                  <a:pt x="2685" y="516"/>
                  <a:pt x="2685" y="514"/>
                  <a:pt x="2685" y="512"/>
                </a:cubicBezTo>
                <a:cubicBezTo>
                  <a:pt x="2686" y="509"/>
                  <a:pt x="2686" y="506"/>
                  <a:pt x="2686" y="504"/>
                </a:cubicBezTo>
                <a:cubicBezTo>
                  <a:pt x="2686" y="496"/>
                  <a:pt x="2681" y="491"/>
                  <a:pt x="2671" y="491"/>
                </a:cubicBezTo>
                <a:cubicBezTo>
                  <a:pt x="2671" y="491"/>
                  <a:pt x="2671" y="491"/>
                  <a:pt x="2668" y="491"/>
                </a:cubicBezTo>
                <a:cubicBezTo>
                  <a:pt x="2668" y="491"/>
                  <a:pt x="2668" y="491"/>
                  <a:pt x="2668" y="501"/>
                </a:cubicBezTo>
                <a:cubicBezTo>
                  <a:pt x="2668" y="501"/>
                  <a:pt x="2668" y="501"/>
                  <a:pt x="2669" y="501"/>
                </a:cubicBezTo>
                <a:cubicBezTo>
                  <a:pt x="2673" y="501"/>
                  <a:pt x="2674" y="503"/>
                  <a:pt x="2674" y="507"/>
                </a:cubicBezTo>
                <a:cubicBezTo>
                  <a:pt x="2674" y="508"/>
                  <a:pt x="2674" y="510"/>
                  <a:pt x="2674" y="511"/>
                </a:cubicBezTo>
                <a:cubicBezTo>
                  <a:pt x="2674" y="513"/>
                  <a:pt x="2674" y="515"/>
                  <a:pt x="2674" y="518"/>
                </a:cubicBezTo>
                <a:cubicBezTo>
                  <a:pt x="2674" y="525"/>
                  <a:pt x="2676" y="527"/>
                  <a:pt x="2682" y="528"/>
                </a:cubicBezTo>
                <a:cubicBezTo>
                  <a:pt x="2682" y="528"/>
                  <a:pt x="2682" y="528"/>
                  <a:pt x="2682" y="529"/>
                </a:cubicBezTo>
                <a:cubicBezTo>
                  <a:pt x="2676" y="530"/>
                  <a:pt x="2674" y="533"/>
                  <a:pt x="2674" y="540"/>
                </a:cubicBezTo>
                <a:cubicBezTo>
                  <a:pt x="2674" y="542"/>
                  <a:pt x="2674" y="544"/>
                  <a:pt x="2674" y="546"/>
                </a:cubicBezTo>
                <a:cubicBezTo>
                  <a:pt x="2674" y="548"/>
                  <a:pt x="2674" y="549"/>
                  <a:pt x="2674" y="551"/>
                </a:cubicBezTo>
                <a:cubicBezTo>
                  <a:pt x="2674" y="554"/>
                  <a:pt x="2673" y="557"/>
                  <a:pt x="2669" y="557"/>
                </a:cubicBezTo>
                <a:cubicBezTo>
                  <a:pt x="2669" y="557"/>
                  <a:pt x="2669" y="557"/>
                  <a:pt x="2668" y="557"/>
                </a:cubicBezTo>
                <a:cubicBezTo>
                  <a:pt x="2668" y="557"/>
                  <a:pt x="2668" y="557"/>
                  <a:pt x="2668" y="566"/>
                </a:cubicBezTo>
                <a:cubicBezTo>
                  <a:pt x="2668" y="566"/>
                  <a:pt x="2668" y="566"/>
                  <a:pt x="2671" y="566"/>
                </a:cubicBezTo>
                <a:cubicBezTo>
                  <a:pt x="2680" y="566"/>
                  <a:pt x="2686" y="562"/>
                  <a:pt x="2686" y="553"/>
                </a:cubicBezTo>
                <a:cubicBezTo>
                  <a:pt x="2686" y="551"/>
                  <a:pt x="2686" y="549"/>
                  <a:pt x="2685" y="546"/>
                </a:cubicBezTo>
                <a:cubicBezTo>
                  <a:pt x="2685" y="543"/>
                  <a:pt x="2685" y="541"/>
                  <a:pt x="2685" y="539"/>
                </a:cubicBezTo>
                <a:cubicBezTo>
                  <a:pt x="2685" y="536"/>
                  <a:pt x="2685" y="533"/>
                  <a:pt x="2692" y="533"/>
                </a:cubicBezTo>
                <a:close/>
                <a:moveTo>
                  <a:pt x="2875" y="566"/>
                </a:moveTo>
                <a:cubicBezTo>
                  <a:pt x="2868" y="566"/>
                  <a:pt x="2861" y="563"/>
                  <a:pt x="2857" y="557"/>
                </a:cubicBezTo>
                <a:cubicBezTo>
                  <a:pt x="2853" y="550"/>
                  <a:pt x="2851" y="542"/>
                  <a:pt x="2851" y="529"/>
                </a:cubicBezTo>
                <a:cubicBezTo>
                  <a:pt x="2851" y="516"/>
                  <a:pt x="2853" y="507"/>
                  <a:pt x="2858" y="500"/>
                </a:cubicBezTo>
                <a:cubicBezTo>
                  <a:pt x="2862" y="494"/>
                  <a:pt x="2869" y="490"/>
                  <a:pt x="2877" y="490"/>
                </a:cubicBezTo>
                <a:cubicBezTo>
                  <a:pt x="2893" y="490"/>
                  <a:pt x="2901" y="502"/>
                  <a:pt x="2901" y="528"/>
                </a:cubicBezTo>
                <a:cubicBezTo>
                  <a:pt x="2901" y="540"/>
                  <a:pt x="2899" y="550"/>
                  <a:pt x="2894" y="556"/>
                </a:cubicBezTo>
                <a:cubicBezTo>
                  <a:pt x="2890" y="563"/>
                  <a:pt x="2883" y="566"/>
                  <a:pt x="2875" y="566"/>
                </a:cubicBezTo>
                <a:close/>
                <a:moveTo>
                  <a:pt x="2877" y="499"/>
                </a:moveTo>
                <a:cubicBezTo>
                  <a:pt x="2867" y="499"/>
                  <a:pt x="2863" y="510"/>
                  <a:pt x="2863" y="529"/>
                </a:cubicBezTo>
                <a:cubicBezTo>
                  <a:pt x="2863" y="548"/>
                  <a:pt x="2867" y="556"/>
                  <a:pt x="2876" y="556"/>
                </a:cubicBezTo>
                <a:cubicBezTo>
                  <a:pt x="2885" y="556"/>
                  <a:pt x="2889" y="548"/>
                  <a:pt x="2889" y="529"/>
                </a:cubicBezTo>
                <a:cubicBezTo>
                  <a:pt x="2889" y="509"/>
                  <a:pt x="2885" y="499"/>
                  <a:pt x="2877" y="499"/>
                </a:cubicBezTo>
                <a:close/>
                <a:moveTo>
                  <a:pt x="2945" y="566"/>
                </a:moveTo>
                <a:cubicBezTo>
                  <a:pt x="2938" y="566"/>
                  <a:pt x="2931" y="563"/>
                  <a:pt x="2928" y="557"/>
                </a:cubicBezTo>
                <a:cubicBezTo>
                  <a:pt x="2923" y="550"/>
                  <a:pt x="2921" y="542"/>
                  <a:pt x="2921" y="529"/>
                </a:cubicBezTo>
                <a:cubicBezTo>
                  <a:pt x="2921" y="516"/>
                  <a:pt x="2923" y="507"/>
                  <a:pt x="2928" y="500"/>
                </a:cubicBezTo>
                <a:cubicBezTo>
                  <a:pt x="2932" y="494"/>
                  <a:pt x="2939" y="490"/>
                  <a:pt x="2947" y="490"/>
                </a:cubicBezTo>
                <a:cubicBezTo>
                  <a:pt x="2963" y="490"/>
                  <a:pt x="2972" y="502"/>
                  <a:pt x="2972" y="528"/>
                </a:cubicBezTo>
                <a:cubicBezTo>
                  <a:pt x="2972" y="540"/>
                  <a:pt x="2969" y="550"/>
                  <a:pt x="2965" y="556"/>
                </a:cubicBezTo>
                <a:cubicBezTo>
                  <a:pt x="2960" y="563"/>
                  <a:pt x="2954" y="566"/>
                  <a:pt x="2945" y="566"/>
                </a:cubicBezTo>
                <a:close/>
                <a:moveTo>
                  <a:pt x="2947" y="499"/>
                </a:moveTo>
                <a:cubicBezTo>
                  <a:pt x="2938" y="499"/>
                  <a:pt x="2933" y="510"/>
                  <a:pt x="2933" y="529"/>
                </a:cubicBezTo>
                <a:cubicBezTo>
                  <a:pt x="2933" y="548"/>
                  <a:pt x="2937" y="556"/>
                  <a:pt x="2946" y="556"/>
                </a:cubicBezTo>
                <a:cubicBezTo>
                  <a:pt x="2955" y="556"/>
                  <a:pt x="2959" y="548"/>
                  <a:pt x="2959" y="529"/>
                </a:cubicBezTo>
                <a:cubicBezTo>
                  <a:pt x="2959" y="509"/>
                  <a:pt x="2955" y="499"/>
                  <a:pt x="2947" y="499"/>
                </a:cubicBezTo>
                <a:close/>
                <a:moveTo>
                  <a:pt x="3019" y="492"/>
                </a:moveTo>
                <a:cubicBezTo>
                  <a:pt x="3019" y="492"/>
                  <a:pt x="3019" y="492"/>
                  <a:pt x="3019" y="492"/>
                </a:cubicBezTo>
                <a:cubicBezTo>
                  <a:pt x="3013" y="492"/>
                  <a:pt x="3013" y="492"/>
                  <a:pt x="3013" y="492"/>
                </a:cubicBezTo>
                <a:cubicBezTo>
                  <a:pt x="3011" y="494"/>
                  <a:pt x="3010" y="495"/>
                  <a:pt x="3008" y="496"/>
                </a:cubicBezTo>
                <a:cubicBezTo>
                  <a:pt x="3006" y="497"/>
                  <a:pt x="3005" y="498"/>
                  <a:pt x="3003" y="499"/>
                </a:cubicBezTo>
                <a:cubicBezTo>
                  <a:pt x="3001" y="500"/>
                  <a:pt x="2999" y="501"/>
                  <a:pt x="2998" y="502"/>
                </a:cubicBezTo>
                <a:cubicBezTo>
                  <a:pt x="2995" y="503"/>
                  <a:pt x="2994" y="503"/>
                  <a:pt x="2992" y="503"/>
                </a:cubicBezTo>
                <a:cubicBezTo>
                  <a:pt x="2992" y="503"/>
                  <a:pt x="2992" y="503"/>
                  <a:pt x="2992" y="513"/>
                </a:cubicBezTo>
                <a:cubicBezTo>
                  <a:pt x="2995" y="513"/>
                  <a:pt x="2998" y="512"/>
                  <a:pt x="3000" y="511"/>
                </a:cubicBezTo>
                <a:cubicBezTo>
                  <a:pt x="3003" y="510"/>
                  <a:pt x="3005" y="508"/>
                  <a:pt x="3007" y="507"/>
                </a:cubicBezTo>
                <a:cubicBezTo>
                  <a:pt x="3007" y="507"/>
                  <a:pt x="3007" y="507"/>
                  <a:pt x="3007" y="566"/>
                </a:cubicBezTo>
                <a:cubicBezTo>
                  <a:pt x="3007" y="566"/>
                  <a:pt x="3007" y="566"/>
                  <a:pt x="3019" y="566"/>
                </a:cubicBezTo>
                <a:cubicBezTo>
                  <a:pt x="3019" y="566"/>
                  <a:pt x="3019" y="566"/>
                  <a:pt x="3019" y="492"/>
                </a:cubicBezTo>
                <a:close/>
                <a:moveTo>
                  <a:pt x="3065" y="492"/>
                </a:moveTo>
                <a:cubicBezTo>
                  <a:pt x="3065" y="492"/>
                  <a:pt x="3065" y="492"/>
                  <a:pt x="3065" y="492"/>
                </a:cubicBezTo>
                <a:cubicBezTo>
                  <a:pt x="3060" y="492"/>
                  <a:pt x="3060" y="492"/>
                  <a:pt x="3060" y="492"/>
                </a:cubicBezTo>
                <a:cubicBezTo>
                  <a:pt x="3058" y="494"/>
                  <a:pt x="3056" y="495"/>
                  <a:pt x="3054" y="496"/>
                </a:cubicBezTo>
                <a:cubicBezTo>
                  <a:pt x="3053" y="497"/>
                  <a:pt x="3051" y="498"/>
                  <a:pt x="3049" y="499"/>
                </a:cubicBezTo>
                <a:cubicBezTo>
                  <a:pt x="3048" y="500"/>
                  <a:pt x="3046" y="501"/>
                  <a:pt x="3044" y="502"/>
                </a:cubicBezTo>
                <a:cubicBezTo>
                  <a:pt x="3042" y="503"/>
                  <a:pt x="3040" y="503"/>
                  <a:pt x="3038" y="503"/>
                </a:cubicBezTo>
                <a:cubicBezTo>
                  <a:pt x="3038" y="503"/>
                  <a:pt x="3038" y="503"/>
                  <a:pt x="3038" y="513"/>
                </a:cubicBezTo>
                <a:cubicBezTo>
                  <a:pt x="3041" y="513"/>
                  <a:pt x="3044" y="512"/>
                  <a:pt x="3046" y="511"/>
                </a:cubicBezTo>
                <a:cubicBezTo>
                  <a:pt x="3049" y="510"/>
                  <a:pt x="3051" y="508"/>
                  <a:pt x="3054" y="507"/>
                </a:cubicBezTo>
                <a:cubicBezTo>
                  <a:pt x="3054" y="507"/>
                  <a:pt x="3054" y="507"/>
                  <a:pt x="3054" y="566"/>
                </a:cubicBezTo>
                <a:cubicBezTo>
                  <a:pt x="3054" y="566"/>
                  <a:pt x="3054" y="566"/>
                  <a:pt x="3065" y="566"/>
                </a:cubicBezTo>
                <a:cubicBezTo>
                  <a:pt x="3065" y="566"/>
                  <a:pt x="3065" y="566"/>
                  <a:pt x="3065" y="492"/>
                </a:cubicBezTo>
                <a:close/>
                <a:moveTo>
                  <a:pt x="3111" y="492"/>
                </a:moveTo>
                <a:cubicBezTo>
                  <a:pt x="3111" y="492"/>
                  <a:pt x="3111" y="492"/>
                  <a:pt x="3111" y="492"/>
                </a:cubicBezTo>
                <a:cubicBezTo>
                  <a:pt x="3107" y="492"/>
                  <a:pt x="3107" y="492"/>
                  <a:pt x="3107" y="492"/>
                </a:cubicBezTo>
                <a:cubicBezTo>
                  <a:pt x="3105" y="494"/>
                  <a:pt x="3103" y="495"/>
                  <a:pt x="3101" y="496"/>
                </a:cubicBezTo>
                <a:cubicBezTo>
                  <a:pt x="3100" y="497"/>
                  <a:pt x="3098" y="498"/>
                  <a:pt x="3096" y="499"/>
                </a:cubicBezTo>
                <a:cubicBezTo>
                  <a:pt x="3094" y="500"/>
                  <a:pt x="3092" y="500"/>
                  <a:pt x="3090" y="501"/>
                </a:cubicBezTo>
                <a:cubicBezTo>
                  <a:pt x="3089" y="502"/>
                  <a:pt x="3087" y="503"/>
                  <a:pt x="3085" y="503"/>
                </a:cubicBezTo>
                <a:cubicBezTo>
                  <a:pt x="3085" y="503"/>
                  <a:pt x="3085" y="503"/>
                  <a:pt x="3085" y="513"/>
                </a:cubicBezTo>
                <a:cubicBezTo>
                  <a:pt x="3088" y="513"/>
                  <a:pt x="3091" y="511"/>
                  <a:pt x="3093" y="511"/>
                </a:cubicBezTo>
                <a:cubicBezTo>
                  <a:pt x="3095" y="510"/>
                  <a:pt x="3098" y="508"/>
                  <a:pt x="3100" y="507"/>
                </a:cubicBezTo>
                <a:cubicBezTo>
                  <a:pt x="3100" y="507"/>
                  <a:pt x="3100" y="507"/>
                  <a:pt x="3100" y="566"/>
                </a:cubicBezTo>
                <a:cubicBezTo>
                  <a:pt x="3100" y="566"/>
                  <a:pt x="3100" y="566"/>
                  <a:pt x="3111" y="566"/>
                </a:cubicBezTo>
                <a:cubicBezTo>
                  <a:pt x="3111" y="566"/>
                  <a:pt x="3111" y="566"/>
                  <a:pt x="3111" y="492"/>
                </a:cubicBezTo>
                <a:close/>
                <a:moveTo>
                  <a:pt x="2920" y="467"/>
                </a:moveTo>
                <a:cubicBezTo>
                  <a:pt x="2913" y="467"/>
                  <a:pt x="2906" y="464"/>
                  <a:pt x="2902" y="459"/>
                </a:cubicBezTo>
                <a:cubicBezTo>
                  <a:pt x="2898" y="452"/>
                  <a:pt x="2896" y="443"/>
                  <a:pt x="2896" y="431"/>
                </a:cubicBezTo>
                <a:cubicBezTo>
                  <a:pt x="2896" y="417"/>
                  <a:pt x="2898" y="408"/>
                  <a:pt x="2903" y="401"/>
                </a:cubicBezTo>
                <a:cubicBezTo>
                  <a:pt x="2907" y="395"/>
                  <a:pt x="2914" y="391"/>
                  <a:pt x="2922" y="391"/>
                </a:cubicBezTo>
                <a:cubicBezTo>
                  <a:pt x="2939" y="391"/>
                  <a:pt x="2947" y="404"/>
                  <a:pt x="2947" y="429"/>
                </a:cubicBezTo>
                <a:cubicBezTo>
                  <a:pt x="2947" y="442"/>
                  <a:pt x="2944" y="451"/>
                  <a:pt x="2939" y="458"/>
                </a:cubicBezTo>
                <a:cubicBezTo>
                  <a:pt x="2935" y="464"/>
                  <a:pt x="2928" y="467"/>
                  <a:pt x="2920" y="467"/>
                </a:cubicBezTo>
                <a:close/>
                <a:moveTo>
                  <a:pt x="2922" y="401"/>
                </a:moveTo>
                <a:cubicBezTo>
                  <a:pt x="2912" y="401"/>
                  <a:pt x="2908" y="411"/>
                  <a:pt x="2908" y="431"/>
                </a:cubicBezTo>
                <a:cubicBezTo>
                  <a:pt x="2908" y="449"/>
                  <a:pt x="2912" y="458"/>
                  <a:pt x="2921" y="458"/>
                </a:cubicBezTo>
                <a:cubicBezTo>
                  <a:pt x="2930" y="458"/>
                  <a:pt x="2934" y="449"/>
                  <a:pt x="2934" y="430"/>
                </a:cubicBezTo>
                <a:cubicBezTo>
                  <a:pt x="2934" y="410"/>
                  <a:pt x="2930" y="401"/>
                  <a:pt x="2922" y="401"/>
                </a:cubicBezTo>
                <a:close/>
                <a:moveTo>
                  <a:pt x="2994" y="394"/>
                </a:moveTo>
                <a:cubicBezTo>
                  <a:pt x="2994" y="394"/>
                  <a:pt x="2994" y="394"/>
                  <a:pt x="2994" y="394"/>
                </a:cubicBezTo>
                <a:cubicBezTo>
                  <a:pt x="2989" y="394"/>
                  <a:pt x="2989" y="394"/>
                  <a:pt x="2989" y="394"/>
                </a:cubicBezTo>
                <a:cubicBezTo>
                  <a:pt x="2987" y="395"/>
                  <a:pt x="2985" y="397"/>
                  <a:pt x="2983" y="398"/>
                </a:cubicBezTo>
                <a:cubicBezTo>
                  <a:pt x="2982" y="399"/>
                  <a:pt x="2980" y="400"/>
                  <a:pt x="2978" y="401"/>
                </a:cubicBezTo>
                <a:cubicBezTo>
                  <a:pt x="2976" y="401"/>
                  <a:pt x="2974" y="402"/>
                  <a:pt x="2973" y="403"/>
                </a:cubicBezTo>
                <a:cubicBezTo>
                  <a:pt x="2971" y="403"/>
                  <a:pt x="2969" y="404"/>
                  <a:pt x="2967" y="405"/>
                </a:cubicBezTo>
                <a:cubicBezTo>
                  <a:pt x="2967" y="405"/>
                  <a:pt x="2967" y="405"/>
                  <a:pt x="2967" y="415"/>
                </a:cubicBezTo>
                <a:cubicBezTo>
                  <a:pt x="2970" y="414"/>
                  <a:pt x="2973" y="413"/>
                  <a:pt x="2975" y="412"/>
                </a:cubicBezTo>
                <a:cubicBezTo>
                  <a:pt x="2978" y="411"/>
                  <a:pt x="2980" y="410"/>
                  <a:pt x="2982" y="409"/>
                </a:cubicBezTo>
                <a:cubicBezTo>
                  <a:pt x="2982" y="409"/>
                  <a:pt x="2982" y="409"/>
                  <a:pt x="2982" y="467"/>
                </a:cubicBezTo>
                <a:cubicBezTo>
                  <a:pt x="2982" y="467"/>
                  <a:pt x="2982" y="467"/>
                  <a:pt x="2994" y="467"/>
                </a:cubicBezTo>
                <a:cubicBezTo>
                  <a:pt x="2994" y="467"/>
                  <a:pt x="2994" y="467"/>
                  <a:pt x="2994" y="394"/>
                </a:cubicBezTo>
                <a:close/>
                <a:moveTo>
                  <a:pt x="3041" y="394"/>
                </a:moveTo>
                <a:cubicBezTo>
                  <a:pt x="3041" y="394"/>
                  <a:pt x="3041" y="394"/>
                  <a:pt x="3041" y="394"/>
                </a:cubicBezTo>
                <a:cubicBezTo>
                  <a:pt x="3036" y="394"/>
                  <a:pt x="3036" y="394"/>
                  <a:pt x="3036" y="394"/>
                </a:cubicBezTo>
                <a:cubicBezTo>
                  <a:pt x="3034" y="395"/>
                  <a:pt x="3033" y="397"/>
                  <a:pt x="3030" y="398"/>
                </a:cubicBezTo>
                <a:cubicBezTo>
                  <a:pt x="3029" y="399"/>
                  <a:pt x="3027" y="400"/>
                  <a:pt x="3025" y="401"/>
                </a:cubicBezTo>
                <a:cubicBezTo>
                  <a:pt x="3024" y="402"/>
                  <a:pt x="3022" y="403"/>
                  <a:pt x="3020" y="403"/>
                </a:cubicBezTo>
                <a:cubicBezTo>
                  <a:pt x="3018" y="404"/>
                  <a:pt x="3017" y="405"/>
                  <a:pt x="3015" y="405"/>
                </a:cubicBezTo>
                <a:cubicBezTo>
                  <a:pt x="3015" y="405"/>
                  <a:pt x="3015" y="405"/>
                  <a:pt x="3015" y="415"/>
                </a:cubicBezTo>
                <a:cubicBezTo>
                  <a:pt x="3018" y="414"/>
                  <a:pt x="3020" y="414"/>
                  <a:pt x="3023" y="412"/>
                </a:cubicBezTo>
                <a:cubicBezTo>
                  <a:pt x="3025" y="411"/>
                  <a:pt x="3028" y="410"/>
                  <a:pt x="3030" y="409"/>
                </a:cubicBezTo>
                <a:cubicBezTo>
                  <a:pt x="3030" y="409"/>
                  <a:pt x="3030" y="409"/>
                  <a:pt x="3030" y="467"/>
                </a:cubicBezTo>
                <a:cubicBezTo>
                  <a:pt x="3030" y="467"/>
                  <a:pt x="3030" y="467"/>
                  <a:pt x="3041" y="467"/>
                </a:cubicBezTo>
                <a:cubicBezTo>
                  <a:pt x="3041" y="467"/>
                  <a:pt x="3041" y="467"/>
                  <a:pt x="3041" y="394"/>
                </a:cubicBezTo>
                <a:close/>
                <a:moveTo>
                  <a:pt x="3088" y="394"/>
                </a:moveTo>
                <a:cubicBezTo>
                  <a:pt x="3088" y="394"/>
                  <a:pt x="3088" y="394"/>
                  <a:pt x="3088" y="394"/>
                </a:cubicBezTo>
                <a:cubicBezTo>
                  <a:pt x="3083" y="394"/>
                  <a:pt x="3083" y="394"/>
                  <a:pt x="3083" y="394"/>
                </a:cubicBezTo>
                <a:cubicBezTo>
                  <a:pt x="3081" y="395"/>
                  <a:pt x="3080" y="397"/>
                  <a:pt x="3078" y="398"/>
                </a:cubicBezTo>
                <a:cubicBezTo>
                  <a:pt x="3076" y="399"/>
                  <a:pt x="3074" y="400"/>
                  <a:pt x="3073" y="401"/>
                </a:cubicBezTo>
                <a:cubicBezTo>
                  <a:pt x="3070" y="402"/>
                  <a:pt x="3069" y="403"/>
                  <a:pt x="3067" y="403"/>
                </a:cubicBezTo>
                <a:cubicBezTo>
                  <a:pt x="3065" y="404"/>
                  <a:pt x="3063" y="405"/>
                  <a:pt x="3062" y="405"/>
                </a:cubicBezTo>
                <a:cubicBezTo>
                  <a:pt x="3062" y="405"/>
                  <a:pt x="3062" y="405"/>
                  <a:pt x="3062" y="415"/>
                </a:cubicBezTo>
                <a:cubicBezTo>
                  <a:pt x="3065" y="414"/>
                  <a:pt x="3068" y="414"/>
                  <a:pt x="3070" y="412"/>
                </a:cubicBezTo>
                <a:cubicBezTo>
                  <a:pt x="3072" y="411"/>
                  <a:pt x="3075" y="410"/>
                  <a:pt x="3076" y="409"/>
                </a:cubicBezTo>
                <a:cubicBezTo>
                  <a:pt x="3076" y="409"/>
                  <a:pt x="3076" y="409"/>
                  <a:pt x="3076" y="467"/>
                </a:cubicBezTo>
                <a:cubicBezTo>
                  <a:pt x="3076" y="467"/>
                  <a:pt x="3076" y="467"/>
                  <a:pt x="3088" y="467"/>
                </a:cubicBezTo>
                <a:cubicBezTo>
                  <a:pt x="3088" y="467"/>
                  <a:pt x="3088" y="467"/>
                  <a:pt x="3088" y="394"/>
                </a:cubicBezTo>
                <a:close/>
                <a:moveTo>
                  <a:pt x="3135" y="394"/>
                </a:moveTo>
                <a:cubicBezTo>
                  <a:pt x="3135" y="394"/>
                  <a:pt x="3135" y="394"/>
                  <a:pt x="3135" y="394"/>
                </a:cubicBezTo>
                <a:cubicBezTo>
                  <a:pt x="3130" y="394"/>
                  <a:pt x="3130" y="394"/>
                  <a:pt x="3130" y="394"/>
                </a:cubicBezTo>
                <a:cubicBezTo>
                  <a:pt x="3128" y="395"/>
                  <a:pt x="3126" y="397"/>
                  <a:pt x="3124" y="398"/>
                </a:cubicBezTo>
                <a:cubicBezTo>
                  <a:pt x="3123" y="399"/>
                  <a:pt x="3121" y="400"/>
                  <a:pt x="3119" y="401"/>
                </a:cubicBezTo>
                <a:cubicBezTo>
                  <a:pt x="3118" y="402"/>
                  <a:pt x="3116" y="403"/>
                  <a:pt x="3114" y="403"/>
                </a:cubicBezTo>
                <a:cubicBezTo>
                  <a:pt x="3112" y="404"/>
                  <a:pt x="3111" y="405"/>
                  <a:pt x="3108" y="405"/>
                </a:cubicBezTo>
                <a:cubicBezTo>
                  <a:pt x="3108" y="405"/>
                  <a:pt x="3108" y="405"/>
                  <a:pt x="3108" y="415"/>
                </a:cubicBezTo>
                <a:cubicBezTo>
                  <a:pt x="3111" y="414"/>
                  <a:pt x="3114" y="414"/>
                  <a:pt x="3116" y="412"/>
                </a:cubicBezTo>
                <a:cubicBezTo>
                  <a:pt x="3119" y="411"/>
                  <a:pt x="3121" y="410"/>
                  <a:pt x="3124" y="409"/>
                </a:cubicBezTo>
                <a:cubicBezTo>
                  <a:pt x="3124" y="409"/>
                  <a:pt x="3124" y="409"/>
                  <a:pt x="3124" y="467"/>
                </a:cubicBezTo>
                <a:cubicBezTo>
                  <a:pt x="3124" y="467"/>
                  <a:pt x="3124" y="467"/>
                  <a:pt x="3135" y="467"/>
                </a:cubicBezTo>
                <a:cubicBezTo>
                  <a:pt x="3135" y="467"/>
                  <a:pt x="3135" y="467"/>
                  <a:pt x="3135" y="394"/>
                </a:cubicBezTo>
                <a:close/>
                <a:moveTo>
                  <a:pt x="3259" y="394"/>
                </a:moveTo>
                <a:cubicBezTo>
                  <a:pt x="3259" y="394"/>
                  <a:pt x="3259" y="394"/>
                  <a:pt x="3259" y="394"/>
                </a:cubicBezTo>
                <a:cubicBezTo>
                  <a:pt x="3253" y="394"/>
                  <a:pt x="3253" y="394"/>
                  <a:pt x="3253" y="394"/>
                </a:cubicBezTo>
                <a:cubicBezTo>
                  <a:pt x="3251" y="395"/>
                  <a:pt x="3250" y="397"/>
                  <a:pt x="3247" y="398"/>
                </a:cubicBezTo>
                <a:cubicBezTo>
                  <a:pt x="3246" y="399"/>
                  <a:pt x="3245" y="400"/>
                  <a:pt x="3242" y="401"/>
                </a:cubicBezTo>
                <a:cubicBezTo>
                  <a:pt x="3241" y="402"/>
                  <a:pt x="3239" y="403"/>
                  <a:pt x="3237" y="403"/>
                </a:cubicBezTo>
                <a:cubicBezTo>
                  <a:pt x="3235" y="404"/>
                  <a:pt x="3233" y="405"/>
                  <a:pt x="3231" y="405"/>
                </a:cubicBezTo>
                <a:cubicBezTo>
                  <a:pt x="3231" y="405"/>
                  <a:pt x="3231" y="405"/>
                  <a:pt x="3231" y="415"/>
                </a:cubicBezTo>
                <a:cubicBezTo>
                  <a:pt x="3234" y="414"/>
                  <a:pt x="3237" y="414"/>
                  <a:pt x="3240" y="412"/>
                </a:cubicBezTo>
                <a:cubicBezTo>
                  <a:pt x="3242" y="411"/>
                  <a:pt x="3245" y="410"/>
                  <a:pt x="3247" y="409"/>
                </a:cubicBezTo>
                <a:cubicBezTo>
                  <a:pt x="3247" y="409"/>
                  <a:pt x="3247" y="409"/>
                  <a:pt x="3247" y="467"/>
                </a:cubicBezTo>
                <a:cubicBezTo>
                  <a:pt x="3247" y="467"/>
                  <a:pt x="3247" y="467"/>
                  <a:pt x="3259" y="467"/>
                </a:cubicBezTo>
                <a:cubicBezTo>
                  <a:pt x="3259" y="467"/>
                  <a:pt x="3259" y="467"/>
                  <a:pt x="3259" y="394"/>
                </a:cubicBezTo>
                <a:close/>
                <a:moveTo>
                  <a:pt x="3306" y="394"/>
                </a:moveTo>
                <a:cubicBezTo>
                  <a:pt x="3306" y="394"/>
                  <a:pt x="3306" y="394"/>
                  <a:pt x="3306" y="394"/>
                </a:cubicBezTo>
                <a:cubicBezTo>
                  <a:pt x="3301" y="394"/>
                  <a:pt x="3301" y="394"/>
                  <a:pt x="3301" y="394"/>
                </a:cubicBezTo>
                <a:cubicBezTo>
                  <a:pt x="3299" y="395"/>
                  <a:pt x="3297" y="397"/>
                  <a:pt x="3295" y="398"/>
                </a:cubicBezTo>
                <a:cubicBezTo>
                  <a:pt x="3294" y="399"/>
                  <a:pt x="3292" y="400"/>
                  <a:pt x="3290" y="401"/>
                </a:cubicBezTo>
                <a:cubicBezTo>
                  <a:pt x="3289" y="402"/>
                  <a:pt x="3286" y="403"/>
                  <a:pt x="3285" y="403"/>
                </a:cubicBezTo>
                <a:cubicBezTo>
                  <a:pt x="3283" y="404"/>
                  <a:pt x="3281" y="405"/>
                  <a:pt x="3279" y="405"/>
                </a:cubicBezTo>
                <a:cubicBezTo>
                  <a:pt x="3279" y="405"/>
                  <a:pt x="3279" y="405"/>
                  <a:pt x="3279" y="415"/>
                </a:cubicBezTo>
                <a:cubicBezTo>
                  <a:pt x="3282" y="414"/>
                  <a:pt x="3285" y="414"/>
                  <a:pt x="3287" y="412"/>
                </a:cubicBezTo>
                <a:cubicBezTo>
                  <a:pt x="3290" y="411"/>
                  <a:pt x="3292" y="410"/>
                  <a:pt x="3294" y="409"/>
                </a:cubicBezTo>
                <a:cubicBezTo>
                  <a:pt x="3294" y="409"/>
                  <a:pt x="3294" y="409"/>
                  <a:pt x="3294" y="467"/>
                </a:cubicBezTo>
                <a:cubicBezTo>
                  <a:pt x="3294" y="467"/>
                  <a:pt x="3294" y="467"/>
                  <a:pt x="3306" y="467"/>
                </a:cubicBezTo>
                <a:cubicBezTo>
                  <a:pt x="3306" y="467"/>
                  <a:pt x="3306" y="467"/>
                  <a:pt x="3306" y="394"/>
                </a:cubicBezTo>
                <a:close/>
                <a:moveTo>
                  <a:pt x="3354" y="394"/>
                </a:moveTo>
                <a:cubicBezTo>
                  <a:pt x="3354" y="394"/>
                  <a:pt x="3354" y="394"/>
                  <a:pt x="3354" y="394"/>
                </a:cubicBezTo>
                <a:cubicBezTo>
                  <a:pt x="3349" y="394"/>
                  <a:pt x="3349" y="394"/>
                  <a:pt x="3349" y="394"/>
                </a:cubicBezTo>
                <a:cubicBezTo>
                  <a:pt x="3347" y="395"/>
                  <a:pt x="3345" y="397"/>
                  <a:pt x="3343" y="398"/>
                </a:cubicBezTo>
                <a:cubicBezTo>
                  <a:pt x="3341" y="399"/>
                  <a:pt x="3340" y="400"/>
                  <a:pt x="3338" y="401"/>
                </a:cubicBezTo>
                <a:cubicBezTo>
                  <a:pt x="3336" y="402"/>
                  <a:pt x="3334" y="403"/>
                  <a:pt x="3333" y="403"/>
                </a:cubicBezTo>
                <a:cubicBezTo>
                  <a:pt x="3330" y="404"/>
                  <a:pt x="3329" y="405"/>
                  <a:pt x="3327" y="405"/>
                </a:cubicBezTo>
                <a:cubicBezTo>
                  <a:pt x="3327" y="405"/>
                  <a:pt x="3327" y="405"/>
                  <a:pt x="3327" y="415"/>
                </a:cubicBezTo>
                <a:cubicBezTo>
                  <a:pt x="3330" y="414"/>
                  <a:pt x="3333" y="414"/>
                  <a:pt x="3335" y="412"/>
                </a:cubicBezTo>
                <a:cubicBezTo>
                  <a:pt x="3338" y="411"/>
                  <a:pt x="3340" y="410"/>
                  <a:pt x="3342" y="409"/>
                </a:cubicBezTo>
                <a:cubicBezTo>
                  <a:pt x="3342" y="409"/>
                  <a:pt x="3342" y="409"/>
                  <a:pt x="3342" y="467"/>
                </a:cubicBezTo>
                <a:cubicBezTo>
                  <a:pt x="3342" y="467"/>
                  <a:pt x="3342" y="467"/>
                  <a:pt x="3354" y="467"/>
                </a:cubicBezTo>
                <a:cubicBezTo>
                  <a:pt x="3354" y="467"/>
                  <a:pt x="3354" y="467"/>
                  <a:pt x="3354" y="394"/>
                </a:cubicBezTo>
                <a:close/>
                <a:moveTo>
                  <a:pt x="3400" y="394"/>
                </a:moveTo>
                <a:cubicBezTo>
                  <a:pt x="3400" y="394"/>
                  <a:pt x="3400" y="394"/>
                  <a:pt x="3400" y="394"/>
                </a:cubicBezTo>
                <a:cubicBezTo>
                  <a:pt x="3396" y="394"/>
                  <a:pt x="3396" y="394"/>
                  <a:pt x="3396" y="394"/>
                </a:cubicBezTo>
                <a:cubicBezTo>
                  <a:pt x="3394" y="395"/>
                  <a:pt x="3392" y="397"/>
                  <a:pt x="3390" y="398"/>
                </a:cubicBezTo>
                <a:cubicBezTo>
                  <a:pt x="3389" y="399"/>
                  <a:pt x="3386" y="400"/>
                  <a:pt x="3385" y="401"/>
                </a:cubicBezTo>
                <a:cubicBezTo>
                  <a:pt x="3383" y="401"/>
                  <a:pt x="3381" y="402"/>
                  <a:pt x="3379" y="403"/>
                </a:cubicBezTo>
                <a:cubicBezTo>
                  <a:pt x="3378" y="403"/>
                  <a:pt x="3376" y="404"/>
                  <a:pt x="3374" y="405"/>
                </a:cubicBezTo>
                <a:cubicBezTo>
                  <a:pt x="3374" y="405"/>
                  <a:pt x="3374" y="405"/>
                  <a:pt x="3374" y="415"/>
                </a:cubicBezTo>
                <a:cubicBezTo>
                  <a:pt x="3377" y="414"/>
                  <a:pt x="3380" y="413"/>
                  <a:pt x="3382" y="412"/>
                </a:cubicBezTo>
                <a:cubicBezTo>
                  <a:pt x="3384" y="411"/>
                  <a:pt x="3387" y="410"/>
                  <a:pt x="3389" y="409"/>
                </a:cubicBezTo>
                <a:cubicBezTo>
                  <a:pt x="3389" y="409"/>
                  <a:pt x="3389" y="409"/>
                  <a:pt x="3389" y="467"/>
                </a:cubicBezTo>
                <a:cubicBezTo>
                  <a:pt x="3389" y="467"/>
                  <a:pt x="3389" y="467"/>
                  <a:pt x="3400" y="467"/>
                </a:cubicBezTo>
                <a:cubicBezTo>
                  <a:pt x="3400" y="467"/>
                  <a:pt x="3400" y="467"/>
                  <a:pt x="3400" y="394"/>
                </a:cubicBezTo>
                <a:close/>
                <a:moveTo>
                  <a:pt x="3156" y="426"/>
                </a:moveTo>
                <a:cubicBezTo>
                  <a:pt x="3156" y="426"/>
                  <a:pt x="3156" y="426"/>
                  <a:pt x="3156" y="426"/>
                </a:cubicBezTo>
                <a:cubicBezTo>
                  <a:pt x="3156" y="435"/>
                  <a:pt x="3156" y="435"/>
                  <a:pt x="3156" y="435"/>
                </a:cubicBezTo>
                <a:cubicBezTo>
                  <a:pt x="3162" y="435"/>
                  <a:pt x="3163" y="438"/>
                  <a:pt x="3163" y="440"/>
                </a:cubicBezTo>
                <a:cubicBezTo>
                  <a:pt x="3163" y="443"/>
                  <a:pt x="3162" y="445"/>
                  <a:pt x="3162" y="448"/>
                </a:cubicBezTo>
                <a:cubicBezTo>
                  <a:pt x="3162" y="450"/>
                  <a:pt x="3162" y="452"/>
                  <a:pt x="3162" y="455"/>
                </a:cubicBezTo>
                <a:cubicBezTo>
                  <a:pt x="3162" y="464"/>
                  <a:pt x="3168" y="467"/>
                  <a:pt x="3176" y="467"/>
                </a:cubicBezTo>
                <a:cubicBezTo>
                  <a:pt x="3176" y="467"/>
                  <a:pt x="3176" y="467"/>
                  <a:pt x="3180" y="467"/>
                </a:cubicBezTo>
                <a:cubicBezTo>
                  <a:pt x="3180" y="467"/>
                  <a:pt x="3180" y="467"/>
                  <a:pt x="3180" y="458"/>
                </a:cubicBezTo>
                <a:cubicBezTo>
                  <a:pt x="3180" y="458"/>
                  <a:pt x="3180" y="458"/>
                  <a:pt x="3178" y="458"/>
                </a:cubicBezTo>
                <a:cubicBezTo>
                  <a:pt x="3175" y="458"/>
                  <a:pt x="3174" y="456"/>
                  <a:pt x="3174" y="452"/>
                </a:cubicBezTo>
                <a:cubicBezTo>
                  <a:pt x="3174" y="451"/>
                  <a:pt x="3174" y="449"/>
                  <a:pt x="3174" y="448"/>
                </a:cubicBezTo>
                <a:cubicBezTo>
                  <a:pt x="3174" y="446"/>
                  <a:pt x="3174" y="444"/>
                  <a:pt x="3174" y="442"/>
                </a:cubicBezTo>
                <a:cubicBezTo>
                  <a:pt x="3174" y="434"/>
                  <a:pt x="3171" y="432"/>
                  <a:pt x="3166" y="430"/>
                </a:cubicBezTo>
                <a:cubicBezTo>
                  <a:pt x="3166" y="430"/>
                  <a:pt x="3166" y="430"/>
                  <a:pt x="3166" y="430"/>
                </a:cubicBezTo>
                <a:cubicBezTo>
                  <a:pt x="3171" y="429"/>
                  <a:pt x="3174" y="427"/>
                  <a:pt x="3174" y="419"/>
                </a:cubicBezTo>
                <a:cubicBezTo>
                  <a:pt x="3174" y="417"/>
                  <a:pt x="3174" y="415"/>
                  <a:pt x="3174" y="413"/>
                </a:cubicBezTo>
                <a:cubicBezTo>
                  <a:pt x="3174" y="411"/>
                  <a:pt x="3174" y="409"/>
                  <a:pt x="3174" y="408"/>
                </a:cubicBezTo>
                <a:cubicBezTo>
                  <a:pt x="3174" y="405"/>
                  <a:pt x="3175" y="402"/>
                  <a:pt x="3178" y="402"/>
                </a:cubicBezTo>
                <a:cubicBezTo>
                  <a:pt x="3178" y="402"/>
                  <a:pt x="3178" y="402"/>
                  <a:pt x="3180" y="402"/>
                </a:cubicBezTo>
                <a:cubicBezTo>
                  <a:pt x="3180" y="402"/>
                  <a:pt x="3180" y="402"/>
                  <a:pt x="3180" y="393"/>
                </a:cubicBezTo>
                <a:cubicBezTo>
                  <a:pt x="3180" y="393"/>
                  <a:pt x="3180" y="393"/>
                  <a:pt x="3176" y="393"/>
                </a:cubicBezTo>
                <a:cubicBezTo>
                  <a:pt x="3167" y="393"/>
                  <a:pt x="3162" y="397"/>
                  <a:pt x="3162" y="406"/>
                </a:cubicBezTo>
                <a:cubicBezTo>
                  <a:pt x="3162" y="408"/>
                  <a:pt x="3162" y="411"/>
                  <a:pt x="3162" y="413"/>
                </a:cubicBezTo>
                <a:cubicBezTo>
                  <a:pt x="3162" y="415"/>
                  <a:pt x="3163" y="418"/>
                  <a:pt x="3163" y="420"/>
                </a:cubicBezTo>
                <a:cubicBezTo>
                  <a:pt x="3163" y="423"/>
                  <a:pt x="3162" y="426"/>
                  <a:pt x="3156" y="426"/>
                </a:cubicBezTo>
                <a:close/>
                <a:moveTo>
                  <a:pt x="3211" y="435"/>
                </a:moveTo>
                <a:cubicBezTo>
                  <a:pt x="3211" y="435"/>
                  <a:pt x="3211" y="435"/>
                  <a:pt x="3211" y="435"/>
                </a:cubicBezTo>
                <a:cubicBezTo>
                  <a:pt x="3211" y="426"/>
                  <a:pt x="3211" y="426"/>
                  <a:pt x="3211" y="426"/>
                </a:cubicBezTo>
                <a:cubicBezTo>
                  <a:pt x="3205" y="426"/>
                  <a:pt x="3204" y="423"/>
                  <a:pt x="3204" y="420"/>
                </a:cubicBezTo>
                <a:cubicBezTo>
                  <a:pt x="3204" y="418"/>
                  <a:pt x="3204" y="415"/>
                  <a:pt x="3205" y="413"/>
                </a:cubicBezTo>
                <a:cubicBezTo>
                  <a:pt x="3205" y="411"/>
                  <a:pt x="3205" y="408"/>
                  <a:pt x="3205" y="406"/>
                </a:cubicBezTo>
                <a:cubicBezTo>
                  <a:pt x="3205" y="397"/>
                  <a:pt x="3200" y="393"/>
                  <a:pt x="3190" y="393"/>
                </a:cubicBezTo>
                <a:cubicBezTo>
                  <a:pt x="3190" y="393"/>
                  <a:pt x="3190" y="393"/>
                  <a:pt x="3187" y="393"/>
                </a:cubicBezTo>
                <a:cubicBezTo>
                  <a:pt x="3187" y="393"/>
                  <a:pt x="3187" y="393"/>
                  <a:pt x="3187" y="402"/>
                </a:cubicBezTo>
                <a:cubicBezTo>
                  <a:pt x="3187" y="402"/>
                  <a:pt x="3187" y="402"/>
                  <a:pt x="3188" y="402"/>
                </a:cubicBezTo>
                <a:cubicBezTo>
                  <a:pt x="3192" y="402"/>
                  <a:pt x="3193" y="405"/>
                  <a:pt x="3193" y="408"/>
                </a:cubicBezTo>
                <a:cubicBezTo>
                  <a:pt x="3193" y="409"/>
                  <a:pt x="3193" y="411"/>
                  <a:pt x="3193" y="413"/>
                </a:cubicBezTo>
                <a:cubicBezTo>
                  <a:pt x="3193" y="415"/>
                  <a:pt x="3193" y="417"/>
                  <a:pt x="3193" y="419"/>
                </a:cubicBezTo>
                <a:cubicBezTo>
                  <a:pt x="3193" y="427"/>
                  <a:pt x="3195" y="429"/>
                  <a:pt x="3201" y="430"/>
                </a:cubicBezTo>
                <a:cubicBezTo>
                  <a:pt x="3201" y="430"/>
                  <a:pt x="3201" y="430"/>
                  <a:pt x="3201" y="430"/>
                </a:cubicBezTo>
                <a:cubicBezTo>
                  <a:pt x="3195" y="432"/>
                  <a:pt x="3193" y="434"/>
                  <a:pt x="3193" y="442"/>
                </a:cubicBezTo>
                <a:cubicBezTo>
                  <a:pt x="3193" y="444"/>
                  <a:pt x="3193" y="446"/>
                  <a:pt x="3193" y="448"/>
                </a:cubicBezTo>
                <a:cubicBezTo>
                  <a:pt x="3193" y="449"/>
                  <a:pt x="3193" y="451"/>
                  <a:pt x="3193" y="452"/>
                </a:cubicBezTo>
                <a:cubicBezTo>
                  <a:pt x="3193" y="456"/>
                  <a:pt x="3192" y="458"/>
                  <a:pt x="3188" y="458"/>
                </a:cubicBezTo>
                <a:cubicBezTo>
                  <a:pt x="3188" y="458"/>
                  <a:pt x="3188" y="458"/>
                  <a:pt x="3187" y="458"/>
                </a:cubicBezTo>
                <a:cubicBezTo>
                  <a:pt x="3187" y="458"/>
                  <a:pt x="3187" y="458"/>
                  <a:pt x="3187" y="467"/>
                </a:cubicBezTo>
                <a:cubicBezTo>
                  <a:pt x="3187" y="467"/>
                  <a:pt x="3187" y="467"/>
                  <a:pt x="3190" y="467"/>
                </a:cubicBezTo>
                <a:cubicBezTo>
                  <a:pt x="3199" y="467"/>
                  <a:pt x="3205" y="464"/>
                  <a:pt x="3205" y="455"/>
                </a:cubicBezTo>
                <a:cubicBezTo>
                  <a:pt x="3205" y="452"/>
                  <a:pt x="3205" y="450"/>
                  <a:pt x="3205" y="448"/>
                </a:cubicBezTo>
                <a:cubicBezTo>
                  <a:pt x="3204" y="445"/>
                  <a:pt x="3204" y="443"/>
                  <a:pt x="3204" y="440"/>
                </a:cubicBezTo>
                <a:cubicBezTo>
                  <a:pt x="3204" y="438"/>
                  <a:pt x="3205" y="435"/>
                  <a:pt x="3211" y="435"/>
                </a:cubicBezTo>
                <a:close/>
                <a:moveTo>
                  <a:pt x="3538" y="426"/>
                </a:moveTo>
                <a:cubicBezTo>
                  <a:pt x="3538" y="426"/>
                  <a:pt x="3538" y="426"/>
                  <a:pt x="3538" y="426"/>
                </a:cubicBezTo>
                <a:cubicBezTo>
                  <a:pt x="3538" y="435"/>
                  <a:pt x="3538" y="435"/>
                  <a:pt x="3538" y="435"/>
                </a:cubicBezTo>
                <a:cubicBezTo>
                  <a:pt x="3544" y="435"/>
                  <a:pt x="3545" y="438"/>
                  <a:pt x="3545" y="440"/>
                </a:cubicBezTo>
                <a:cubicBezTo>
                  <a:pt x="3545" y="443"/>
                  <a:pt x="3545" y="445"/>
                  <a:pt x="3545" y="448"/>
                </a:cubicBezTo>
                <a:cubicBezTo>
                  <a:pt x="3544" y="450"/>
                  <a:pt x="3544" y="452"/>
                  <a:pt x="3544" y="455"/>
                </a:cubicBezTo>
                <a:cubicBezTo>
                  <a:pt x="3544" y="464"/>
                  <a:pt x="3550" y="467"/>
                  <a:pt x="3558" y="467"/>
                </a:cubicBezTo>
                <a:cubicBezTo>
                  <a:pt x="3558" y="467"/>
                  <a:pt x="3558" y="467"/>
                  <a:pt x="3562" y="467"/>
                </a:cubicBezTo>
                <a:cubicBezTo>
                  <a:pt x="3562" y="467"/>
                  <a:pt x="3562" y="467"/>
                  <a:pt x="3562" y="458"/>
                </a:cubicBezTo>
                <a:cubicBezTo>
                  <a:pt x="3562" y="458"/>
                  <a:pt x="3562" y="458"/>
                  <a:pt x="3560" y="458"/>
                </a:cubicBezTo>
                <a:cubicBezTo>
                  <a:pt x="3557" y="458"/>
                  <a:pt x="3556" y="456"/>
                  <a:pt x="3556" y="452"/>
                </a:cubicBezTo>
                <a:cubicBezTo>
                  <a:pt x="3556" y="451"/>
                  <a:pt x="3556" y="449"/>
                  <a:pt x="3556" y="448"/>
                </a:cubicBezTo>
                <a:cubicBezTo>
                  <a:pt x="3556" y="446"/>
                  <a:pt x="3556" y="444"/>
                  <a:pt x="3556" y="442"/>
                </a:cubicBezTo>
                <a:cubicBezTo>
                  <a:pt x="3556" y="434"/>
                  <a:pt x="3553" y="432"/>
                  <a:pt x="3548" y="430"/>
                </a:cubicBezTo>
                <a:cubicBezTo>
                  <a:pt x="3548" y="430"/>
                  <a:pt x="3548" y="430"/>
                  <a:pt x="3548" y="430"/>
                </a:cubicBezTo>
                <a:cubicBezTo>
                  <a:pt x="3553" y="429"/>
                  <a:pt x="3556" y="427"/>
                  <a:pt x="3556" y="419"/>
                </a:cubicBezTo>
                <a:cubicBezTo>
                  <a:pt x="3556" y="417"/>
                  <a:pt x="3556" y="415"/>
                  <a:pt x="3556" y="413"/>
                </a:cubicBezTo>
                <a:cubicBezTo>
                  <a:pt x="3556" y="411"/>
                  <a:pt x="3556" y="409"/>
                  <a:pt x="3556" y="408"/>
                </a:cubicBezTo>
                <a:cubicBezTo>
                  <a:pt x="3556" y="405"/>
                  <a:pt x="3557" y="402"/>
                  <a:pt x="3560" y="402"/>
                </a:cubicBezTo>
                <a:cubicBezTo>
                  <a:pt x="3560" y="402"/>
                  <a:pt x="3560" y="402"/>
                  <a:pt x="3562" y="402"/>
                </a:cubicBezTo>
                <a:cubicBezTo>
                  <a:pt x="3562" y="402"/>
                  <a:pt x="3562" y="402"/>
                  <a:pt x="3562" y="393"/>
                </a:cubicBezTo>
                <a:cubicBezTo>
                  <a:pt x="3562" y="393"/>
                  <a:pt x="3562" y="393"/>
                  <a:pt x="3558" y="393"/>
                </a:cubicBezTo>
                <a:cubicBezTo>
                  <a:pt x="3549" y="393"/>
                  <a:pt x="3544" y="397"/>
                  <a:pt x="3544" y="406"/>
                </a:cubicBezTo>
                <a:cubicBezTo>
                  <a:pt x="3544" y="408"/>
                  <a:pt x="3544" y="411"/>
                  <a:pt x="3544" y="413"/>
                </a:cubicBezTo>
                <a:cubicBezTo>
                  <a:pt x="3545" y="415"/>
                  <a:pt x="3545" y="418"/>
                  <a:pt x="3545" y="420"/>
                </a:cubicBezTo>
                <a:cubicBezTo>
                  <a:pt x="3545" y="423"/>
                  <a:pt x="3544" y="426"/>
                  <a:pt x="3538" y="426"/>
                </a:cubicBezTo>
                <a:close/>
                <a:moveTo>
                  <a:pt x="3593" y="435"/>
                </a:moveTo>
                <a:cubicBezTo>
                  <a:pt x="3593" y="435"/>
                  <a:pt x="3593" y="435"/>
                  <a:pt x="3593" y="435"/>
                </a:cubicBezTo>
                <a:cubicBezTo>
                  <a:pt x="3593" y="426"/>
                  <a:pt x="3593" y="426"/>
                  <a:pt x="3593" y="426"/>
                </a:cubicBezTo>
                <a:cubicBezTo>
                  <a:pt x="3587" y="426"/>
                  <a:pt x="3586" y="423"/>
                  <a:pt x="3586" y="420"/>
                </a:cubicBezTo>
                <a:cubicBezTo>
                  <a:pt x="3586" y="418"/>
                  <a:pt x="3586" y="415"/>
                  <a:pt x="3587" y="413"/>
                </a:cubicBezTo>
                <a:cubicBezTo>
                  <a:pt x="3587" y="411"/>
                  <a:pt x="3587" y="408"/>
                  <a:pt x="3587" y="406"/>
                </a:cubicBezTo>
                <a:cubicBezTo>
                  <a:pt x="3587" y="397"/>
                  <a:pt x="3582" y="393"/>
                  <a:pt x="3572" y="393"/>
                </a:cubicBezTo>
                <a:cubicBezTo>
                  <a:pt x="3572" y="393"/>
                  <a:pt x="3572" y="393"/>
                  <a:pt x="3569" y="393"/>
                </a:cubicBezTo>
                <a:cubicBezTo>
                  <a:pt x="3569" y="393"/>
                  <a:pt x="3569" y="393"/>
                  <a:pt x="3569" y="402"/>
                </a:cubicBezTo>
                <a:cubicBezTo>
                  <a:pt x="3569" y="402"/>
                  <a:pt x="3569" y="402"/>
                  <a:pt x="3570" y="402"/>
                </a:cubicBezTo>
                <a:cubicBezTo>
                  <a:pt x="3574" y="402"/>
                  <a:pt x="3575" y="405"/>
                  <a:pt x="3575" y="408"/>
                </a:cubicBezTo>
                <a:cubicBezTo>
                  <a:pt x="3575" y="409"/>
                  <a:pt x="3575" y="411"/>
                  <a:pt x="3575" y="413"/>
                </a:cubicBezTo>
                <a:cubicBezTo>
                  <a:pt x="3575" y="415"/>
                  <a:pt x="3575" y="417"/>
                  <a:pt x="3575" y="419"/>
                </a:cubicBezTo>
                <a:cubicBezTo>
                  <a:pt x="3575" y="427"/>
                  <a:pt x="3577" y="429"/>
                  <a:pt x="3583" y="430"/>
                </a:cubicBezTo>
                <a:cubicBezTo>
                  <a:pt x="3583" y="430"/>
                  <a:pt x="3583" y="430"/>
                  <a:pt x="3583" y="430"/>
                </a:cubicBezTo>
                <a:cubicBezTo>
                  <a:pt x="3577" y="432"/>
                  <a:pt x="3575" y="434"/>
                  <a:pt x="3575" y="442"/>
                </a:cubicBezTo>
                <a:cubicBezTo>
                  <a:pt x="3575" y="444"/>
                  <a:pt x="3575" y="446"/>
                  <a:pt x="3575" y="448"/>
                </a:cubicBezTo>
                <a:cubicBezTo>
                  <a:pt x="3575" y="449"/>
                  <a:pt x="3575" y="451"/>
                  <a:pt x="3575" y="452"/>
                </a:cubicBezTo>
                <a:cubicBezTo>
                  <a:pt x="3575" y="456"/>
                  <a:pt x="3574" y="458"/>
                  <a:pt x="3570" y="458"/>
                </a:cubicBezTo>
                <a:cubicBezTo>
                  <a:pt x="3570" y="458"/>
                  <a:pt x="3570" y="458"/>
                  <a:pt x="3569" y="458"/>
                </a:cubicBezTo>
                <a:cubicBezTo>
                  <a:pt x="3569" y="458"/>
                  <a:pt x="3569" y="458"/>
                  <a:pt x="3569" y="467"/>
                </a:cubicBezTo>
                <a:cubicBezTo>
                  <a:pt x="3569" y="467"/>
                  <a:pt x="3569" y="467"/>
                  <a:pt x="3572" y="467"/>
                </a:cubicBezTo>
                <a:cubicBezTo>
                  <a:pt x="3581" y="467"/>
                  <a:pt x="3587" y="464"/>
                  <a:pt x="3587" y="455"/>
                </a:cubicBezTo>
                <a:cubicBezTo>
                  <a:pt x="3587" y="452"/>
                  <a:pt x="3587" y="450"/>
                  <a:pt x="3587" y="448"/>
                </a:cubicBezTo>
                <a:cubicBezTo>
                  <a:pt x="3586" y="445"/>
                  <a:pt x="3586" y="443"/>
                  <a:pt x="3586" y="440"/>
                </a:cubicBezTo>
                <a:cubicBezTo>
                  <a:pt x="3586" y="438"/>
                  <a:pt x="3587" y="435"/>
                  <a:pt x="3593" y="435"/>
                </a:cubicBezTo>
                <a:close/>
                <a:moveTo>
                  <a:pt x="3641" y="394"/>
                </a:moveTo>
                <a:cubicBezTo>
                  <a:pt x="3641" y="394"/>
                  <a:pt x="3641" y="394"/>
                  <a:pt x="3641" y="394"/>
                </a:cubicBezTo>
                <a:cubicBezTo>
                  <a:pt x="3636" y="394"/>
                  <a:pt x="3636" y="394"/>
                  <a:pt x="3636" y="394"/>
                </a:cubicBezTo>
                <a:cubicBezTo>
                  <a:pt x="3633" y="395"/>
                  <a:pt x="3632" y="397"/>
                  <a:pt x="3630" y="398"/>
                </a:cubicBezTo>
                <a:cubicBezTo>
                  <a:pt x="3628" y="399"/>
                  <a:pt x="3626" y="400"/>
                  <a:pt x="3625" y="401"/>
                </a:cubicBezTo>
                <a:cubicBezTo>
                  <a:pt x="3622" y="401"/>
                  <a:pt x="3621" y="402"/>
                  <a:pt x="3620" y="403"/>
                </a:cubicBezTo>
                <a:cubicBezTo>
                  <a:pt x="3617" y="403"/>
                  <a:pt x="3616" y="404"/>
                  <a:pt x="3614" y="405"/>
                </a:cubicBezTo>
                <a:cubicBezTo>
                  <a:pt x="3614" y="405"/>
                  <a:pt x="3614" y="405"/>
                  <a:pt x="3614" y="415"/>
                </a:cubicBezTo>
                <a:cubicBezTo>
                  <a:pt x="3617" y="414"/>
                  <a:pt x="3620" y="413"/>
                  <a:pt x="3622" y="412"/>
                </a:cubicBezTo>
                <a:cubicBezTo>
                  <a:pt x="3625" y="411"/>
                  <a:pt x="3627" y="410"/>
                  <a:pt x="3629" y="409"/>
                </a:cubicBezTo>
                <a:cubicBezTo>
                  <a:pt x="3629" y="409"/>
                  <a:pt x="3629" y="409"/>
                  <a:pt x="3629" y="467"/>
                </a:cubicBezTo>
                <a:cubicBezTo>
                  <a:pt x="3629" y="467"/>
                  <a:pt x="3629" y="467"/>
                  <a:pt x="3641" y="467"/>
                </a:cubicBezTo>
                <a:cubicBezTo>
                  <a:pt x="3641" y="467"/>
                  <a:pt x="3641" y="467"/>
                  <a:pt x="3641" y="394"/>
                </a:cubicBezTo>
                <a:close/>
                <a:moveTo>
                  <a:pt x="3688" y="394"/>
                </a:moveTo>
                <a:cubicBezTo>
                  <a:pt x="3688" y="394"/>
                  <a:pt x="3688" y="394"/>
                  <a:pt x="3688" y="394"/>
                </a:cubicBezTo>
                <a:cubicBezTo>
                  <a:pt x="3683" y="394"/>
                  <a:pt x="3683" y="394"/>
                  <a:pt x="3683" y="394"/>
                </a:cubicBezTo>
                <a:cubicBezTo>
                  <a:pt x="3681" y="395"/>
                  <a:pt x="3679" y="397"/>
                  <a:pt x="3677" y="398"/>
                </a:cubicBezTo>
                <a:cubicBezTo>
                  <a:pt x="3676" y="399"/>
                  <a:pt x="3673" y="400"/>
                  <a:pt x="3672" y="401"/>
                </a:cubicBezTo>
                <a:cubicBezTo>
                  <a:pt x="3671" y="402"/>
                  <a:pt x="3668" y="403"/>
                  <a:pt x="3667" y="403"/>
                </a:cubicBezTo>
                <a:cubicBezTo>
                  <a:pt x="3665" y="404"/>
                  <a:pt x="3663" y="405"/>
                  <a:pt x="3661" y="405"/>
                </a:cubicBezTo>
                <a:cubicBezTo>
                  <a:pt x="3661" y="405"/>
                  <a:pt x="3661" y="405"/>
                  <a:pt x="3661" y="415"/>
                </a:cubicBezTo>
                <a:cubicBezTo>
                  <a:pt x="3664" y="414"/>
                  <a:pt x="3667" y="414"/>
                  <a:pt x="3669" y="412"/>
                </a:cubicBezTo>
                <a:cubicBezTo>
                  <a:pt x="3672" y="411"/>
                  <a:pt x="3674" y="410"/>
                  <a:pt x="3676" y="409"/>
                </a:cubicBezTo>
                <a:cubicBezTo>
                  <a:pt x="3676" y="409"/>
                  <a:pt x="3676" y="409"/>
                  <a:pt x="3676" y="467"/>
                </a:cubicBezTo>
                <a:cubicBezTo>
                  <a:pt x="3676" y="467"/>
                  <a:pt x="3676" y="467"/>
                  <a:pt x="3688" y="467"/>
                </a:cubicBezTo>
                <a:cubicBezTo>
                  <a:pt x="3688" y="467"/>
                  <a:pt x="3688" y="467"/>
                  <a:pt x="3688" y="394"/>
                </a:cubicBezTo>
                <a:close/>
                <a:moveTo>
                  <a:pt x="3734" y="394"/>
                </a:moveTo>
                <a:cubicBezTo>
                  <a:pt x="3734" y="394"/>
                  <a:pt x="3734" y="394"/>
                  <a:pt x="3734" y="394"/>
                </a:cubicBezTo>
                <a:cubicBezTo>
                  <a:pt x="3730" y="394"/>
                  <a:pt x="3730" y="394"/>
                  <a:pt x="3730" y="394"/>
                </a:cubicBezTo>
                <a:cubicBezTo>
                  <a:pt x="3728" y="395"/>
                  <a:pt x="3726" y="397"/>
                  <a:pt x="3724" y="398"/>
                </a:cubicBezTo>
                <a:cubicBezTo>
                  <a:pt x="3723" y="399"/>
                  <a:pt x="3721" y="400"/>
                  <a:pt x="3719" y="401"/>
                </a:cubicBezTo>
                <a:cubicBezTo>
                  <a:pt x="3717" y="402"/>
                  <a:pt x="3716" y="403"/>
                  <a:pt x="3713" y="403"/>
                </a:cubicBezTo>
                <a:cubicBezTo>
                  <a:pt x="3712" y="404"/>
                  <a:pt x="3710" y="405"/>
                  <a:pt x="3708" y="405"/>
                </a:cubicBezTo>
                <a:cubicBezTo>
                  <a:pt x="3708" y="405"/>
                  <a:pt x="3708" y="405"/>
                  <a:pt x="3708" y="415"/>
                </a:cubicBezTo>
                <a:cubicBezTo>
                  <a:pt x="3711" y="414"/>
                  <a:pt x="3714" y="414"/>
                  <a:pt x="3716" y="412"/>
                </a:cubicBezTo>
                <a:cubicBezTo>
                  <a:pt x="3718" y="411"/>
                  <a:pt x="3721" y="410"/>
                  <a:pt x="3723" y="409"/>
                </a:cubicBezTo>
                <a:cubicBezTo>
                  <a:pt x="3723" y="409"/>
                  <a:pt x="3723" y="409"/>
                  <a:pt x="3723" y="467"/>
                </a:cubicBezTo>
                <a:cubicBezTo>
                  <a:pt x="3723" y="467"/>
                  <a:pt x="3723" y="467"/>
                  <a:pt x="3734" y="467"/>
                </a:cubicBezTo>
                <a:cubicBezTo>
                  <a:pt x="3734" y="467"/>
                  <a:pt x="3734" y="467"/>
                  <a:pt x="3734" y="394"/>
                </a:cubicBezTo>
                <a:close/>
                <a:moveTo>
                  <a:pt x="3858" y="394"/>
                </a:moveTo>
                <a:cubicBezTo>
                  <a:pt x="3858" y="394"/>
                  <a:pt x="3858" y="394"/>
                  <a:pt x="3858" y="394"/>
                </a:cubicBezTo>
                <a:cubicBezTo>
                  <a:pt x="3852" y="394"/>
                  <a:pt x="3852" y="394"/>
                  <a:pt x="3852" y="394"/>
                </a:cubicBezTo>
                <a:cubicBezTo>
                  <a:pt x="3850" y="395"/>
                  <a:pt x="3849" y="397"/>
                  <a:pt x="3847" y="398"/>
                </a:cubicBezTo>
                <a:cubicBezTo>
                  <a:pt x="3845" y="399"/>
                  <a:pt x="3844" y="400"/>
                  <a:pt x="3841" y="401"/>
                </a:cubicBezTo>
                <a:cubicBezTo>
                  <a:pt x="3840" y="402"/>
                  <a:pt x="3838" y="403"/>
                  <a:pt x="3836" y="403"/>
                </a:cubicBezTo>
                <a:cubicBezTo>
                  <a:pt x="3834" y="404"/>
                  <a:pt x="3832" y="405"/>
                  <a:pt x="3830" y="405"/>
                </a:cubicBezTo>
                <a:cubicBezTo>
                  <a:pt x="3830" y="405"/>
                  <a:pt x="3830" y="405"/>
                  <a:pt x="3830" y="415"/>
                </a:cubicBezTo>
                <a:cubicBezTo>
                  <a:pt x="3833" y="414"/>
                  <a:pt x="3836" y="414"/>
                  <a:pt x="3839" y="412"/>
                </a:cubicBezTo>
                <a:cubicBezTo>
                  <a:pt x="3841" y="411"/>
                  <a:pt x="3844" y="410"/>
                  <a:pt x="3846" y="409"/>
                </a:cubicBezTo>
                <a:cubicBezTo>
                  <a:pt x="3846" y="409"/>
                  <a:pt x="3846" y="409"/>
                  <a:pt x="3846" y="467"/>
                </a:cubicBezTo>
                <a:cubicBezTo>
                  <a:pt x="3846" y="467"/>
                  <a:pt x="3846" y="467"/>
                  <a:pt x="3858" y="467"/>
                </a:cubicBezTo>
                <a:cubicBezTo>
                  <a:pt x="3858" y="467"/>
                  <a:pt x="3858" y="467"/>
                  <a:pt x="3858" y="394"/>
                </a:cubicBezTo>
                <a:close/>
                <a:moveTo>
                  <a:pt x="3755" y="426"/>
                </a:moveTo>
                <a:cubicBezTo>
                  <a:pt x="3755" y="426"/>
                  <a:pt x="3755" y="426"/>
                  <a:pt x="3755" y="426"/>
                </a:cubicBezTo>
                <a:cubicBezTo>
                  <a:pt x="3755" y="435"/>
                  <a:pt x="3755" y="435"/>
                  <a:pt x="3755" y="435"/>
                </a:cubicBezTo>
                <a:cubicBezTo>
                  <a:pt x="3761" y="435"/>
                  <a:pt x="3762" y="438"/>
                  <a:pt x="3762" y="440"/>
                </a:cubicBezTo>
                <a:cubicBezTo>
                  <a:pt x="3762" y="443"/>
                  <a:pt x="3762" y="445"/>
                  <a:pt x="3762" y="448"/>
                </a:cubicBezTo>
                <a:cubicBezTo>
                  <a:pt x="3761" y="450"/>
                  <a:pt x="3761" y="452"/>
                  <a:pt x="3761" y="455"/>
                </a:cubicBezTo>
                <a:cubicBezTo>
                  <a:pt x="3761" y="464"/>
                  <a:pt x="3767" y="467"/>
                  <a:pt x="3775" y="467"/>
                </a:cubicBezTo>
                <a:cubicBezTo>
                  <a:pt x="3775" y="467"/>
                  <a:pt x="3775" y="467"/>
                  <a:pt x="3779" y="467"/>
                </a:cubicBezTo>
                <a:cubicBezTo>
                  <a:pt x="3779" y="467"/>
                  <a:pt x="3779" y="467"/>
                  <a:pt x="3779" y="458"/>
                </a:cubicBezTo>
                <a:cubicBezTo>
                  <a:pt x="3779" y="458"/>
                  <a:pt x="3779" y="458"/>
                  <a:pt x="3777" y="458"/>
                </a:cubicBezTo>
                <a:cubicBezTo>
                  <a:pt x="3774" y="458"/>
                  <a:pt x="3773" y="456"/>
                  <a:pt x="3773" y="452"/>
                </a:cubicBezTo>
                <a:cubicBezTo>
                  <a:pt x="3773" y="451"/>
                  <a:pt x="3773" y="449"/>
                  <a:pt x="3773" y="448"/>
                </a:cubicBezTo>
                <a:cubicBezTo>
                  <a:pt x="3773" y="446"/>
                  <a:pt x="3773" y="444"/>
                  <a:pt x="3773" y="442"/>
                </a:cubicBezTo>
                <a:cubicBezTo>
                  <a:pt x="3773" y="434"/>
                  <a:pt x="3770" y="432"/>
                  <a:pt x="3765" y="430"/>
                </a:cubicBezTo>
                <a:cubicBezTo>
                  <a:pt x="3765" y="430"/>
                  <a:pt x="3765" y="430"/>
                  <a:pt x="3765" y="430"/>
                </a:cubicBezTo>
                <a:cubicBezTo>
                  <a:pt x="3770" y="429"/>
                  <a:pt x="3773" y="427"/>
                  <a:pt x="3773" y="419"/>
                </a:cubicBezTo>
                <a:cubicBezTo>
                  <a:pt x="3773" y="417"/>
                  <a:pt x="3773" y="415"/>
                  <a:pt x="3773" y="413"/>
                </a:cubicBezTo>
                <a:cubicBezTo>
                  <a:pt x="3773" y="411"/>
                  <a:pt x="3773" y="409"/>
                  <a:pt x="3773" y="408"/>
                </a:cubicBezTo>
                <a:cubicBezTo>
                  <a:pt x="3773" y="405"/>
                  <a:pt x="3774" y="402"/>
                  <a:pt x="3777" y="402"/>
                </a:cubicBezTo>
                <a:cubicBezTo>
                  <a:pt x="3777" y="402"/>
                  <a:pt x="3777" y="402"/>
                  <a:pt x="3779" y="402"/>
                </a:cubicBezTo>
                <a:cubicBezTo>
                  <a:pt x="3779" y="402"/>
                  <a:pt x="3779" y="402"/>
                  <a:pt x="3779" y="393"/>
                </a:cubicBezTo>
                <a:cubicBezTo>
                  <a:pt x="3779" y="393"/>
                  <a:pt x="3779" y="393"/>
                  <a:pt x="3775" y="393"/>
                </a:cubicBezTo>
                <a:cubicBezTo>
                  <a:pt x="3766" y="393"/>
                  <a:pt x="3761" y="397"/>
                  <a:pt x="3761" y="406"/>
                </a:cubicBezTo>
                <a:cubicBezTo>
                  <a:pt x="3761" y="408"/>
                  <a:pt x="3761" y="411"/>
                  <a:pt x="3761" y="413"/>
                </a:cubicBezTo>
                <a:cubicBezTo>
                  <a:pt x="3762" y="415"/>
                  <a:pt x="3762" y="418"/>
                  <a:pt x="3762" y="420"/>
                </a:cubicBezTo>
                <a:cubicBezTo>
                  <a:pt x="3762" y="423"/>
                  <a:pt x="3761" y="426"/>
                  <a:pt x="3755" y="426"/>
                </a:cubicBezTo>
                <a:close/>
                <a:moveTo>
                  <a:pt x="3810" y="435"/>
                </a:moveTo>
                <a:cubicBezTo>
                  <a:pt x="3810" y="435"/>
                  <a:pt x="3810" y="435"/>
                  <a:pt x="3810" y="435"/>
                </a:cubicBezTo>
                <a:cubicBezTo>
                  <a:pt x="3810" y="426"/>
                  <a:pt x="3810" y="426"/>
                  <a:pt x="3810" y="426"/>
                </a:cubicBezTo>
                <a:cubicBezTo>
                  <a:pt x="3803" y="426"/>
                  <a:pt x="3803" y="423"/>
                  <a:pt x="3803" y="420"/>
                </a:cubicBezTo>
                <a:cubicBezTo>
                  <a:pt x="3803" y="418"/>
                  <a:pt x="3803" y="415"/>
                  <a:pt x="3803" y="413"/>
                </a:cubicBezTo>
                <a:cubicBezTo>
                  <a:pt x="3804" y="411"/>
                  <a:pt x="3804" y="408"/>
                  <a:pt x="3804" y="406"/>
                </a:cubicBezTo>
                <a:cubicBezTo>
                  <a:pt x="3804" y="397"/>
                  <a:pt x="3799" y="393"/>
                  <a:pt x="3789" y="393"/>
                </a:cubicBezTo>
                <a:cubicBezTo>
                  <a:pt x="3789" y="393"/>
                  <a:pt x="3789" y="393"/>
                  <a:pt x="3786" y="393"/>
                </a:cubicBezTo>
                <a:cubicBezTo>
                  <a:pt x="3786" y="393"/>
                  <a:pt x="3786" y="393"/>
                  <a:pt x="3786" y="402"/>
                </a:cubicBezTo>
                <a:cubicBezTo>
                  <a:pt x="3786" y="402"/>
                  <a:pt x="3786" y="402"/>
                  <a:pt x="3787" y="402"/>
                </a:cubicBezTo>
                <a:cubicBezTo>
                  <a:pt x="3791" y="402"/>
                  <a:pt x="3792" y="405"/>
                  <a:pt x="3792" y="408"/>
                </a:cubicBezTo>
                <a:cubicBezTo>
                  <a:pt x="3792" y="409"/>
                  <a:pt x="3792" y="411"/>
                  <a:pt x="3792" y="413"/>
                </a:cubicBezTo>
                <a:cubicBezTo>
                  <a:pt x="3792" y="415"/>
                  <a:pt x="3792" y="417"/>
                  <a:pt x="3792" y="419"/>
                </a:cubicBezTo>
                <a:cubicBezTo>
                  <a:pt x="3792" y="427"/>
                  <a:pt x="3794" y="429"/>
                  <a:pt x="3800" y="430"/>
                </a:cubicBezTo>
                <a:cubicBezTo>
                  <a:pt x="3800" y="430"/>
                  <a:pt x="3800" y="430"/>
                  <a:pt x="3800" y="430"/>
                </a:cubicBezTo>
                <a:cubicBezTo>
                  <a:pt x="3794" y="432"/>
                  <a:pt x="3792" y="434"/>
                  <a:pt x="3792" y="442"/>
                </a:cubicBezTo>
                <a:cubicBezTo>
                  <a:pt x="3792" y="444"/>
                  <a:pt x="3792" y="446"/>
                  <a:pt x="3792" y="448"/>
                </a:cubicBezTo>
                <a:cubicBezTo>
                  <a:pt x="3792" y="449"/>
                  <a:pt x="3792" y="451"/>
                  <a:pt x="3792" y="452"/>
                </a:cubicBezTo>
                <a:cubicBezTo>
                  <a:pt x="3792" y="456"/>
                  <a:pt x="3791" y="458"/>
                  <a:pt x="3787" y="458"/>
                </a:cubicBezTo>
                <a:cubicBezTo>
                  <a:pt x="3787" y="458"/>
                  <a:pt x="3787" y="458"/>
                  <a:pt x="3786" y="458"/>
                </a:cubicBezTo>
                <a:cubicBezTo>
                  <a:pt x="3786" y="458"/>
                  <a:pt x="3786" y="458"/>
                  <a:pt x="3786" y="467"/>
                </a:cubicBezTo>
                <a:cubicBezTo>
                  <a:pt x="3786" y="467"/>
                  <a:pt x="3786" y="467"/>
                  <a:pt x="3789" y="467"/>
                </a:cubicBezTo>
                <a:cubicBezTo>
                  <a:pt x="3798" y="467"/>
                  <a:pt x="3804" y="464"/>
                  <a:pt x="3804" y="455"/>
                </a:cubicBezTo>
                <a:cubicBezTo>
                  <a:pt x="3804" y="452"/>
                  <a:pt x="3804" y="450"/>
                  <a:pt x="3803" y="448"/>
                </a:cubicBezTo>
                <a:cubicBezTo>
                  <a:pt x="3803" y="445"/>
                  <a:pt x="3803" y="443"/>
                  <a:pt x="3803" y="440"/>
                </a:cubicBezTo>
                <a:cubicBezTo>
                  <a:pt x="3803" y="438"/>
                  <a:pt x="3803" y="435"/>
                  <a:pt x="3810" y="435"/>
                </a:cubicBezTo>
                <a:close/>
                <a:moveTo>
                  <a:pt x="2951" y="345"/>
                </a:moveTo>
                <a:cubicBezTo>
                  <a:pt x="2951" y="347"/>
                  <a:pt x="2952" y="348"/>
                  <a:pt x="2952" y="350"/>
                </a:cubicBezTo>
                <a:cubicBezTo>
                  <a:pt x="2953" y="351"/>
                  <a:pt x="2953" y="353"/>
                  <a:pt x="2954" y="355"/>
                </a:cubicBezTo>
                <a:cubicBezTo>
                  <a:pt x="2954" y="356"/>
                  <a:pt x="2954" y="358"/>
                  <a:pt x="2954" y="360"/>
                </a:cubicBezTo>
                <a:cubicBezTo>
                  <a:pt x="2955" y="363"/>
                  <a:pt x="2954" y="364"/>
                  <a:pt x="2951" y="364"/>
                </a:cubicBezTo>
                <a:cubicBezTo>
                  <a:pt x="2948" y="364"/>
                  <a:pt x="2945" y="364"/>
                  <a:pt x="2942" y="364"/>
                </a:cubicBezTo>
                <a:cubicBezTo>
                  <a:pt x="2942" y="364"/>
                  <a:pt x="2941" y="364"/>
                  <a:pt x="2941" y="364"/>
                </a:cubicBezTo>
                <a:cubicBezTo>
                  <a:pt x="2939" y="366"/>
                  <a:pt x="2938" y="367"/>
                  <a:pt x="2936" y="369"/>
                </a:cubicBezTo>
                <a:cubicBezTo>
                  <a:pt x="2934" y="371"/>
                  <a:pt x="2931" y="371"/>
                  <a:pt x="2929" y="369"/>
                </a:cubicBezTo>
                <a:cubicBezTo>
                  <a:pt x="2927" y="367"/>
                  <a:pt x="2926" y="365"/>
                  <a:pt x="2924" y="362"/>
                </a:cubicBezTo>
                <a:cubicBezTo>
                  <a:pt x="2923" y="360"/>
                  <a:pt x="2924" y="359"/>
                  <a:pt x="2926" y="357"/>
                </a:cubicBezTo>
                <a:cubicBezTo>
                  <a:pt x="2923" y="357"/>
                  <a:pt x="2922" y="357"/>
                  <a:pt x="2920" y="357"/>
                </a:cubicBezTo>
                <a:cubicBezTo>
                  <a:pt x="2920" y="359"/>
                  <a:pt x="2918" y="361"/>
                  <a:pt x="2918" y="363"/>
                </a:cubicBezTo>
                <a:cubicBezTo>
                  <a:pt x="2918" y="364"/>
                  <a:pt x="2917" y="365"/>
                  <a:pt x="2917" y="365"/>
                </a:cubicBezTo>
                <a:cubicBezTo>
                  <a:pt x="2917" y="369"/>
                  <a:pt x="2916" y="370"/>
                  <a:pt x="2913" y="369"/>
                </a:cubicBezTo>
                <a:cubicBezTo>
                  <a:pt x="2910" y="369"/>
                  <a:pt x="2907" y="368"/>
                  <a:pt x="2904" y="367"/>
                </a:cubicBezTo>
                <a:cubicBezTo>
                  <a:pt x="2902" y="367"/>
                  <a:pt x="2901" y="365"/>
                  <a:pt x="2902" y="363"/>
                </a:cubicBezTo>
                <a:cubicBezTo>
                  <a:pt x="2902" y="362"/>
                  <a:pt x="2902" y="362"/>
                  <a:pt x="2903" y="362"/>
                </a:cubicBezTo>
                <a:cubicBezTo>
                  <a:pt x="2900" y="360"/>
                  <a:pt x="2898" y="360"/>
                  <a:pt x="2896" y="358"/>
                </a:cubicBezTo>
                <a:cubicBezTo>
                  <a:pt x="2895" y="357"/>
                  <a:pt x="2894" y="355"/>
                  <a:pt x="2893" y="354"/>
                </a:cubicBezTo>
                <a:cubicBezTo>
                  <a:pt x="2892" y="352"/>
                  <a:pt x="2892" y="350"/>
                  <a:pt x="2894" y="348"/>
                </a:cubicBezTo>
                <a:cubicBezTo>
                  <a:pt x="2897" y="346"/>
                  <a:pt x="2898" y="343"/>
                  <a:pt x="2897" y="339"/>
                </a:cubicBezTo>
                <a:cubicBezTo>
                  <a:pt x="2897" y="337"/>
                  <a:pt x="2897" y="335"/>
                  <a:pt x="2897" y="333"/>
                </a:cubicBezTo>
                <a:cubicBezTo>
                  <a:pt x="2896" y="333"/>
                  <a:pt x="2894" y="332"/>
                  <a:pt x="2893" y="331"/>
                </a:cubicBezTo>
                <a:cubicBezTo>
                  <a:pt x="2892" y="329"/>
                  <a:pt x="2891" y="327"/>
                  <a:pt x="2891" y="325"/>
                </a:cubicBezTo>
                <a:cubicBezTo>
                  <a:pt x="2891" y="323"/>
                  <a:pt x="2894" y="320"/>
                  <a:pt x="2897" y="319"/>
                </a:cubicBezTo>
                <a:cubicBezTo>
                  <a:pt x="2898" y="320"/>
                  <a:pt x="2898" y="321"/>
                  <a:pt x="2898" y="322"/>
                </a:cubicBezTo>
                <a:cubicBezTo>
                  <a:pt x="2898" y="323"/>
                  <a:pt x="2898" y="323"/>
                  <a:pt x="2898" y="325"/>
                </a:cubicBezTo>
                <a:cubicBezTo>
                  <a:pt x="2898" y="324"/>
                  <a:pt x="2897" y="324"/>
                  <a:pt x="2897" y="324"/>
                </a:cubicBezTo>
                <a:cubicBezTo>
                  <a:pt x="2896" y="325"/>
                  <a:pt x="2896" y="327"/>
                  <a:pt x="2895" y="329"/>
                </a:cubicBezTo>
                <a:cubicBezTo>
                  <a:pt x="2896" y="328"/>
                  <a:pt x="2897" y="328"/>
                  <a:pt x="2898" y="328"/>
                </a:cubicBezTo>
                <a:cubicBezTo>
                  <a:pt x="2899" y="327"/>
                  <a:pt x="2900" y="326"/>
                  <a:pt x="2900" y="325"/>
                </a:cubicBezTo>
                <a:cubicBezTo>
                  <a:pt x="2905" y="318"/>
                  <a:pt x="2911" y="314"/>
                  <a:pt x="2918" y="312"/>
                </a:cubicBezTo>
                <a:cubicBezTo>
                  <a:pt x="2921" y="312"/>
                  <a:pt x="2925" y="311"/>
                  <a:pt x="2927" y="308"/>
                </a:cubicBezTo>
                <a:cubicBezTo>
                  <a:pt x="2927" y="308"/>
                  <a:pt x="2928" y="307"/>
                  <a:pt x="2928" y="307"/>
                </a:cubicBezTo>
                <a:cubicBezTo>
                  <a:pt x="2931" y="307"/>
                  <a:pt x="2932" y="304"/>
                  <a:pt x="2934" y="303"/>
                </a:cubicBezTo>
                <a:cubicBezTo>
                  <a:pt x="2942" y="295"/>
                  <a:pt x="2954" y="295"/>
                  <a:pt x="2961" y="301"/>
                </a:cubicBezTo>
                <a:cubicBezTo>
                  <a:pt x="2964" y="303"/>
                  <a:pt x="2967" y="305"/>
                  <a:pt x="2969" y="307"/>
                </a:cubicBezTo>
                <a:cubicBezTo>
                  <a:pt x="2971" y="308"/>
                  <a:pt x="2972" y="310"/>
                  <a:pt x="2973" y="312"/>
                </a:cubicBezTo>
                <a:cubicBezTo>
                  <a:pt x="2974" y="314"/>
                  <a:pt x="2974" y="314"/>
                  <a:pt x="2976" y="312"/>
                </a:cubicBezTo>
                <a:cubicBezTo>
                  <a:pt x="2976" y="312"/>
                  <a:pt x="2977" y="311"/>
                  <a:pt x="2978" y="310"/>
                </a:cubicBezTo>
                <a:cubicBezTo>
                  <a:pt x="2980" y="308"/>
                  <a:pt x="2983" y="308"/>
                  <a:pt x="2984" y="311"/>
                </a:cubicBezTo>
                <a:cubicBezTo>
                  <a:pt x="2985" y="314"/>
                  <a:pt x="2986" y="317"/>
                  <a:pt x="2987" y="320"/>
                </a:cubicBezTo>
                <a:cubicBezTo>
                  <a:pt x="2987" y="324"/>
                  <a:pt x="2987" y="329"/>
                  <a:pt x="2985" y="333"/>
                </a:cubicBezTo>
                <a:cubicBezTo>
                  <a:pt x="2983" y="339"/>
                  <a:pt x="2978" y="343"/>
                  <a:pt x="2972" y="343"/>
                </a:cubicBezTo>
                <a:cubicBezTo>
                  <a:pt x="2971" y="343"/>
                  <a:pt x="2971" y="343"/>
                  <a:pt x="2970" y="343"/>
                </a:cubicBezTo>
                <a:cubicBezTo>
                  <a:pt x="2967" y="343"/>
                  <a:pt x="2966" y="343"/>
                  <a:pt x="2965" y="345"/>
                </a:cubicBezTo>
                <a:cubicBezTo>
                  <a:pt x="2964" y="350"/>
                  <a:pt x="2958" y="351"/>
                  <a:pt x="2955" y="348"/>
                </a:cubicBezTo>
                <a:cubicBezTo>
                  <a:pt x="2954" y="347"/>
                  <a:pt x="2953" y="346"/>
                  <a:pt x="2952" y="345"/>
                </a:cubicBezTo>
                <a:cubicBezTo>
                  <a:pt x="2951" y="345"/>
                  <a:pt x="2951" y="345"/>
                  <a:pt x="2951" y="345"/>
                </a:cubicBezTo>
                <a:close/>
                <a:moveTo>
                  <a:pt x="2945" y="341"/>
                </a:moveTo>
                <a:cubicBezTo>
                  <a:pt x="2949" y="343"/>
                  <a:pt x="2952" y="344"/>
                  <a:pt x="2955" y="346"/>
                </a:cubicBezTo>
                <a:cubicBezTo>
                  <a:pt x="2957" y="348"/>
                  <a:pt x="2959" y="349"/>
                  <a:pt x="2961" y="348"/>
                </a:cubicBezTo>
                <a:cubicBezTo>
                  <a:pt x="2963" y="347"/>
                  <a:pt x="2965" y="345"/>
                  <a:pt x="2965" y="342"/>
                </a:cubicBezTo>
                <a:cubicBezTo>
                  <a:pt x="2965" y="343"/>
                  <a:pt x="2964" y="343"/>
                  <a:pt x="2964" y="343"/>
                </a:cubicBezTo>
                <a:cubicBezTo>
                  <a:pt x="2963" y="344"/>
                  <a:pt x="2962" y="345"/>
                  <a:pt x="2961" y="346"/>
                </a:cubicBezTo>
                <a:cubicBezTo>
                  <a:pt x="2960" y="348"/>
                  <a:pt x="2959" y="347"/>
                  <a:pt x="2958" y="347"/>
                </a:cubicBezTo>
                <a:cubicBezTo>
                  <a:pt x="2958" y="347"/>
                  <a:pt x="2957" y="346"/>
                  <a:pt x="2957" y="345"/>
                </a:cubicBezTo>
                <a:cubicBezTo>
                  <a:pt x="2957" y="343"/>
                  <a:pt x="2958" y="341"/>
                  <a:pt x="2958" y="339"/>
                </a:cubicBezTo>
                <a:cubicBezTo>
                  <a:pt x="2961" y="339"/>
                  <a:pt x="2964" y="341"/>
                  <a:pt x="2968" y="341"/>
                </a:cubicBezTo>
                <a:cubicBezTo>
                  <a:pt x="2975" y="342"/>
                  <a:pt x="2981" y="341"/>
                  <a:pt x="2984" y="332"/>
                </a:cubicBezTo>
                <a:cubicBezTo>
                  <a:pt x="2986" y="327"/>
                  <a:pt x="2985" y="322"/>
                  <a:pt x="2985" y="317"/>
                </a:cubicBezTo>
                <a:cubicBezTo>
                  <a:pt x="2984" y="315"/>
                  <a:pt x="2983" y="314"/>
                  <a:pt x="2983" y="312"/>
                </a:cubicBezTo>
                <a:cubicBezTo>
                  <a:pt x="2982" y="310"/>
                  <a:pt x="2981" y="310"/>
                  <a:pt x="2980" y="311"/>
                </a:cubicBezTo>
                <a:cubicBezTo>
                  <a:pt x="2978" y="313"/>
                  <a:pt x="2976" y="314"/>
                  <a:pt x="2974" y="315"/>
                </a:cubicBezTo>
                <a:cubicBezTo>
                  <a:pt x="2974" y="316"/>
                  <a:pt x="2973" y="316"/>
                  <a:pt x="2973" y="318"/>
                </a:cubicBezTo>
                <a:cubicBezTo>
                  <a:pt x="2974" y="321"/>
                  <a:pt x="2973" y="324"/>
                  <a:pt x="2972" y="327"/>
                </a:cubicBezTo>
                <a:cubicBezTo>
                  <a:pt x="2972" y="325"/>
                  <a:pt x="2972" y="323"/>
                  <a:pt x="2972" y="322"/>
                </a:cubicBezTo>
                <a:cubicBezTo>
                  <a:pt x="2972" y="321"/>
                  <a:pt x="2972" y="320"/>
                  <a:pt x="2972" y="320"/>
                </a:cubicBezTo>
                <a:cubicBezTo>
                  <a:pt x="2971" y="320"/>
                  <a:pt x="2971" y="320"/>
                  <a:pt x="2971" y="321"/>
                </a:cubicBezTo>
                <a:cubicBezTo>
                  <a:pt x="2970" y="322"/>
                  <a:pt x="2969" y="323"/>
                  <a:pt x="2968" y="325"/>
                </a:cubicBezTo>
                <a:cubicBezTo>
                  <a:pt x="2968" y="325"/>
                  <a:pt x="2968" y="325"/>
                  <a:pt x="2968" y="325"/>
                </a:cubicBezTo>
                <a:cubicBezTo>
                  <a:pt x="2968" y="323"/>
                  <a:pt x="2969" y="322"/>
                  <a:pt x="2969" y="319"/>
                </a:cubicBezTo>
                <a:cubicBezTo>
                  <a:pt x="2968" y="320"/>
                  <a:pt x="2967" y="320"/>
                  <a:pt x="2967" y="321"/>
                </a:cubicBezTo>
                <a:cubicBezTo>
                  <a:pt x="2966" y="322"/>
                  <a:pt x="2966" y="322"/>
                  <a:pt x="2965" y="323"/>
                </a:cubicBezTo>
                <a:cubicBezTo>
                  <a:pt x="2966" y="320"/>
                  <a:pt x="2966" y="320"/>
                  <a:pt x="2972" y="318"/>
                </a:cubicBezTo>
                <a:cubicBezTo>
                  <a:pt x="2972" y="318"/>
                  <a:pt x="2971" y="317"/>
                  <a:pt x="2971" y="317"/>
                </a:cubicBezTo>
                <a:cubicBezTo>
                  <a:pt x="2968" y="318"/>
                  <a:pt x="2967" y="316"/>
                  <a:pt x="2967" y="314"/>
                </a:cubicBezTo>
                <a:cubicBezTo>
                  <a:pt x="2969" y="314"/>
                  <a:pt x="2970" y="313"/>
                  <a:pt x="2972" y="313"/>
                </a:cubicBezTo>
                <a:cubicBezTo>
                  <a:pt x="2970" y="310"/>
                  <a:pt x="2969" y="308"/>
                  <a:pt x="2965" y="307"/>
                </a:cubicBezTo>
                <a:cubicBezTo>
                  <a:pt x="2965" y="307"/>
                  <a:pt x="2965" y="307"/>
                  <a:pt x="2965" y="306"/>
                </a:cubicBezTo>
                <a:cubicBezTo>
                  <a:pt x="2962" y="304"/>
                  <a:pt x="2960" y="302"/>
                  <a:pt x="2957" y="300"/>
                </a:cubicBezTo>
                <a:cubicBezTo>
                  <a:pt x="2955" y="299"/>
                  <a:pt x="2952" y="298"/>
                  <a:pt x="2950" y="298"/>
                </a:cubicBezTo>
                <a:cubicBezTo>
                  <a:pt x="2947" y="299"/>
                  <a:pt x="2943" y="300"/>
                  <a:pt x="2940" y="301"/>
                </a:cubicBezTo>
                <a:cubicBezTo>
                  <a:pt x="2938" y="302"/>
                  <a:pt x="2935" y="303"/>
                  <a:pt x="2933" y="306"/>
                </a:cubicBezTo>
                <a:cubicBezTo>
                  <a:pt x="2935" y="306"/>
                  <a:pt x="2936" y="306"/>
                  <a:pt x="2937" y="306"/>
                </a:cubicBezTo>
                <a:cubicBezTo>
                  <a:pt x="2937" y="307"/>
                  <a:pt x="2936" y="307"/>
                  <a:pt x="2935" y="307"/>
                </a:cubicBezTo>
                <a:cubicBezTo>
                  <a:pt x="2933" y="308"/>
                  <a:pt x="2930" y="307"/>
                  <a:pt x="2928" y="310"/>
                </a:cubicBezTo>
                <a:cubicBezTo>
                  <a:pt x="2925" y="314"/>
                  <a:pt x="2921" y="317"/>
                  <a:pt x="2917" y="322"/>
                </a:cubicBezTo>
                <a:cubicBezTo>
                  <a:pt x="2916" y="323"/>
                  <a:pt x="2915" y="326"/>
                  <a:pt x="2914" y="328"/>
                </a:cubicBezTo>
                <a:cubicBezTo>
                  <a:pt x="2914" y="329"/>
                  <a:pt x="2914" y="329"/>
                  <a:pt x="2914" y="330"/>
                </a:cubicBezTo>
                <a:cubicBezTo>
                  <a:pt x="2915" y="332"/>
                  <a:pt x="2916" y="334"/>
                  <a:pt x="2918" y="336"/>
                </a:cubicBezTo>
                <a:cubicBezTo>
                  <a:pt x="2919" y="334"/>
                  <a:pt x="2920" y="333"/>
                  <a:pt x="2921" y="331"/>
                </a:cubicBezTo>
                <a:cubicBezTo>
                  <a:pt x="2921" y="333"/>
                  <a:pt x="2921" y="334"/>
                  <a:pt x="2920" y="335"/>
                </a:cubicBezTo>
                <a:cubicBezTo>
                  <a:pt x="2919" y="337"/>
                  <a:pt x="2918" y="338"/>
                  <a:pt x="2918" y="339"/>
                </a:cubicBezTo>
                <a:cubicBezTo>
                  <a:pt x="2918" y="340"/>
                  <a:pt x="2918" y="341"/>
                  <a:pt x="2918" y="342"/>
                </a:cubicBezTo>
                <a:cubicBezTo>
                  <a:pt x="2921" y="346"/>
                  <a:pt x="2924" y="346"/>
                  <a:pt x="2928" y="344"/>
                </a:cubicBezTo>
                <a:cubicBezTo>
                  <a:pt x="2930" y="342"/>
                  <a:pt x="2933" y="341"/>
                  <a:pt x="2936" y="340"/>
                </a:cubicBezTo>
                <a:cubicBezTo>
                  <a:pt x="2937" y="340"/>
                  <a:pt x="2938" y="339"/>
                  <a:pt x="2938" y="337"/>
                </a:cubicBezTo>
                <a:cubicBezTo>
                  <a:pt x="2938" y="334"/>
                  <a:pt x="2938" y="331"/>
                  <a:pt x="2938" y="327"/>
                </a:cubicBezTo>
                <a:cubicBezTo>
                  <a:pt x="2938" y="324"/>
                  <a:pt x="2938" y="322"/>
                  <a:pt x="2938" y="318"/>
                </a:cubicBezTo>
                <a:cubicBezTo>
                  <a:pt x="2939" y="321"/>
                  <a:pt x="2940" y="324"/>
                  <a:pt x="2940" y="326"/>
                </a:cubicBezTo>
                <a:cubicBezTo>
                  <a:pt x="2941" y="331"/>
                  <a:pt x="2941" y="335"/>
                  <a:pt x="2940" y="340"/>
                </a:cubicBezTo>
                <a:cubicBezTo>
                  <a:pt x="2939" y="341"/>
                  <a:pt x="2938" y="341"/>
                  <a:pt x="2938" y="341"/>
                </a:cubicBezTo>
                <a:cubicBezTo>
                  <a:pt x="2934" y="342"/>
                  <a:pt x="2931" y="344"/>
                  <a:pt x="2928" y="345"/>
                </a:cubicBezTo>
                <a:cubicBezTo>
                  <a:pt x="2923" y="348"/>
                  <a:pt x="2920" y="346"/>
                  <a:pt x="2916" y="343"/>
                </a:cubicBezTo>
                <a:cubicBezTo>
                  <a:pt x="2916" y="342"/>
                  <a:pt x="2916" y="341"/>
                  <a:pt x="2916" y="341"/>
                </a:cubicBezTo>
                <a:cubicBezTo>
                  <a:pt x="2917" y="338"/>
                  <a:pt x="2916" y="336"/>
                  <a:pt x="2914" y="334"/>
                </a:cubicBezTo>
                <a:cubicBezTo>
                  <a:pt x="2913" y="332"/>
                  <a:pt x="2911" y="330"/>
                  <a:pt x="2912" y="327"/>
                </a:cubicBezTo>
                <a:cubicBezTo>
                  <a:pt x="2913" y="325"/>
                  <a:pt x="2914" y="323"/>
                  <a:pt x="2915" y="322"/>
                </a:cubicBezTo>
                <a:cubicBezTo>
                  <a:pt x="2917" y="319"/>
                  <a:pt x="2919" y="317"/>
                  <a:pt x="2921" y="314"/>
                </a:cubicBezTo>
                <a:cubicBezTo>
                  <a:pt x="2921" y="314"/>
                  <a:pt x="2920" y="314"/>
                  <a:pt x="2920" y="314"/>
                </a:cubicBezTo>
                <a:cubicBezTo>
                  <a:pt x="2915" y="315"/>
                  <a:pt x="2911" y="317"/>
                  <a:pt x="2907" y="320"/>
                </a:cubicBezTo>
                <a:cubicBezTo>
                  <a:pt x="2902" y="324"/>
                  <a:pt x="2899" y="329"/>
                  <a:pt x="2899" y="336"/>
                </a:cubicBezTo>
                <a:cubicBezTo>
                  <a:pt x="2898" y="343"/>
                  <a:pt x="2901" y="349"/>
                  <a:pt x="2904" y="355"/>
                </a:cubicBezTo>
                <a:cubicBezTo>
                  <a:pt x="2905" y="356"/>
                  <a:pt x="2905" y="357"/>
                  <a:pt x="2905" y="358"/>
                </a:cubicBezTo>
                <a:cubicBezTo>
                  <a:pt x="2905" y="360"/>
                  <a:pt x="2905" y="362"/>
                  <a:pt x="2904" y="363"/>
                </a:cubicBezTo>
                <a:cubicBezTo>
                  <a:pt x="2903" y="365"/>
                  <a:pt x="2904" y="365"/>
                  <a:pt x="2905" y="366"/>
                </a:cubicBezTo>
                <a:cubicBezTo>
                  <a:pt x="2908" y="367"/>
                  <a:pt x="2911" y="367"/>
                  <a:pt x="2914" y="367"/>
                </a:cubicBezTo>
                <a:cubicBezTo>
                  <a:pt x="2914" y="367"/>
                  <a:pt x="2915" y="367"/>
                  <a:pt x="2915" y="366"/>
                </a:cubicBezTo>
                <a:cubicBezTo>
                  <a:pt x="2916" y="365"/>
                  <a:pt x="2916" y="363"/>
                  <a:pt x="2916" y="363"/>
                </a:cubicBezTo>
                <a:cubicBezTo>
                  <a:pt x="2918" y="360"/>
                  <a:pt x="2918" y="358"/>
                  <a:pt x="2918" y="355"/>
                </a:cubicBezTo>
                <a:cubicBezTo>
                  <a:pt x="2918" y="354"/>
                  <a:pt x="2918" y="354"/>
                  <a:pt x="2918" y="354"/>
                </a:cubicBezTo>
                <a:cubicBezTo>
                  <a:pt x="2918" y="353"/>
                  <a:pt x="2918" y="353"/>
                  <a:pt x="2918" y="353"/>
                </a:cubicBezTo>
                <a:cubicBezTo>
                  <a:pt x="2919" y="356"/>
                  <a:pt x="2920" y="356"/>
                  <a:pt x="2922" y="356"/>
                </a:cubicBezTo>
                <a:cubicBezTo>
                  <a:pt x="2923" y="356"/>
                  <a:pt x="2924" y="356"/>
                  <a:pt x="2925" y="356"/>
                </a:cubicBezTo>
                <a:cubicBezTo>
                  <a:pt x="2927" y="356"/>
                  <a:pt x="2931" y="356"/>
                  <a:pt x="2931" y="352"/>
                </a:cubicBezTo>
                <a:cubicBezTo>
                  <a:pt x="2931" y="354"/>
                  <a:pt x="2931" y="356"/>
                  <a:pt x="2931" y="357"/>
                </a:cubicBezTo>
                <a:cubicBezTo>
                  <a:pt x="2930" y="358"/>
                  <a:pt x="2929" y="358"/>
                  <a:pt x="2927" y="359"/>
                </a:cubicBezTo>
                <a:cubicBezTo>
                  <a:pt x="2926" y="360"/>
                  <a:pt x="2925" y="361"/>
                  <a:pt x="2926" y="362"/>
                </a:cubicBezTo>
                <a:cubicBezTo>
                  <a:pt x="2927" y="364"/>
                  <a:pt x="2929" y="366"/>
                  <a:pt x="2930" y="368"/>
                </a:cubicBezTo>
                <a:cubicBezTo>
                  <a:pt x="2932" y="369"/>
                  <a:pt x="2934" y="369"/>
                  <a:pt x="2935" y="367"/>
                </a:cubicBezTo>
                <a:cubicBezTo>
                  <a:pt x="2936" y="367"/>
                  <a:pt x="2936" y="366"/>
                  <a:pt x="2937" y="365"/>
                </a:cubicBezTo>
                <a:cubicBezTo>
                  <a:pt x="2939" y="364"/>
                  <a:pt x="2940" y="363"/>
                  <a:pt x="2942" y="362"/>
                </a:cubicBezTo>
                <a:cubicBezTo>
                  <a:pt x="2946" y="357"/>
                  <a:pt x="2948" y="351"/>
                  <a:pt x="2950" y="345"/>
                </a:cubicBezTo>
                <a:cubicBezTo>
                  <a:pt x="2950" y="345"/>
                  <a:pt x="2949" y="344"/>
                  <a:pt x="2949" y="344"/>
                </a:cubicBezTo>
                <a:cubicBezTo>
                  <a:pt x="2948" y="343"/>
                  <a:pt x="2947" y="342"/>
                  <a:pt x="2945" y="341"/>
                </a:cubicBezTo>
                <a:close/>
                <a:moveTo>
                  <a:pt x="2898" y="347"/>
                </a:moveTo>
                <a:cubicBezTo>
                  <a:pt x="2898" y="348"/>
                  <a:pt x="2896" y="349"/>
                  <a:pt x="2895" y="350"/>
                </a:cubicBezTo>
                <a:cubicBezTo>
                  <a:pt x="2894" y="350"/>
                  <a:pt x="2894" y="351"/>
                  <a:pt x="2894" y="352"/>
                </a:cubicBezTo>
                <a:cubicBezTo>
                  <a:pt x="2894" y="355"/>
                  <a:pt x="2898" y="359"/>
                  <a:pt x="2901" y="359"/>
                </a:cubicBezTo>
                <a:cubicBezTo>
                  <a:pt x="2903" y="359"/>
                  <a:pt x="2904" y="358"/>
                  <a:pt x="2903" y="356"/>
                </a:cubicBezTo>
                <a:cubicBezTo>
                  <a:pt x="2901" y="353"/>
                  <a:pt x="2900" y="350"/>
                  <a:pt x="2898" y="347"/>
                </a:cubicBezTo>
                <a:close/>
                <a:moveTo>
                  <a:pt x="2951" y="349"/>
                </a:moveTo>
                <a:cubicBezTo>
                  <a:pt x="2949" y="354"/>
                  <a:pt x="2946" y="358"/>
                  <a:pt x="2944" y="363"/>
                </a:cubicBezTo>
                <a:cubicBezTo>
                  <a:pt x="2947" y="363"/>
                  <a:pt x="2949" y="363"/>
                  <a:pt x="2952" y="363"/>
                </a:cubicBezTo>
                <a:cubicBezTo>
                  <a:pt x="2952" y="363"/>
                  <a:pt x="2952" y="362"/>
                  <a:pt x="2952" y="361"/>
                </a:cubicBezTo>
                <a:cubicBezTo>
                  <a:pt x="2952" y="358"/>
                  <a:pt x="2952" y="356"/>
                  <a:pt x="2952" y="354"/>
                </a:cubicBezTo>
                <a:cubicBezTo>
                  <a:pt x="2952" y="352"/>
                  <a:pt x="2951" y="351"/>
                  <a:pt x="2951" y="349"/>
                </a:cubicBezTo>
                <a:close/>
                <a:moveTo>
                  <a:pt x="2898" y="329"/>
                </a:moveTo>
                <a:cubicBezTo>
                  <a:pt x="2898" y="329"/>
                  <a:pt x="2897" y="330"/>
                  <a:pt x="2896" y="330"/>
                </a:cubicBezTo>
                <a:cubicBezTo>
                  <a:pt x="2896" y="330"/>
                  <a:pt x="2895" y="330"/>
                  <a:pt x="2895" y="329"/>
                </a:cubicBezTo>
                <a:cubicBezTo>
                  <a:pt x="2894" y="329"/>
                  <a:pt x="2894" y="328"/>
                  <a:pt x="2894" y="327"/>
                </a:cubicBezTo>
                <a:cubicBezTo>
                  <a:pt x="2895" y="325"/>
                  <a:pt x="2895" y="323"/>
                  <a:pt x="2896" y="322"/>
                </a:cubicBezTo>
                <a:cubicBezTo>
                  <a:pt x="2896" y="322"/>
                  <a:pt x="2896" y="322"/>
                  <a:pt x="2895" y="322"/>
                </a:cubicBezTo>
                <a:cubicBezTo>
                  <a:pt x="2894" y="322"/>
                  <a:pt x="2893" y="323"/>
                  <a:pt x="2892" y="324"/>
                </a:cubicBezTo>
                <a:cubicBezTo>
                  <a:pt x="2892" y="325"/>
                  <a:pt x="2893" y="331"/>
                  <a:pt x="2895" y="331"/>
                </a:cubicBezTo>
                <a:cubicBezTo>
                  <a:pt x="2896" y="332"/>
                  <a:pt x="2898" y="331"/>
                  <a:pt x="2898" y="329"/>
                </a:cubicBezTo>
                <a:close/>
                <a:moveTo>
                  <a:pt x="2898" y="347"/>
                </a:moveTo>
                <a:cubicBezTo>
                  <a:pt x="2897" y="348"/>
                  <a:pt x="2896" y="349"/>
                  <a:pt x="2895" y="350"/>
                </a:cubicBezTo>
                <a:cubicBezTo>
                  <a:pt x="2894" y="350"/>
                  <a:pt x="2894" y="351"/>
                  <a:pt x="2894" y="352"/>
                </a:cubicBezTo>
                <a:cubicBezTo>
                  <a:pt x="2894" y="355"/>
                  <a:pt x="2898" y="359"/>
                  <a:pt x="2901" y="359"/>
                </a:cubicBezTo>
                <a:cubicBezTo>
                  <a:pt x="2903" y="359"/>
                  <a:pt x="2904" y="357"/>
                  <a:pt x="2903" y="356"/>
                </a:cubicBezTo>
                <a:cubicBezTo>
                  <a:pt x="2901" y="353"/>
                  <a:pt x="2900" y="350"/>
                  <a:pt x="2898" y="347"/>
                </a:cubicBezTo>
                <a:close/>
                <a:moveTo>
                  <a:pt x="2951" y="349"/>
                </a:moveTo>
                <a:cubicBezTo>
                  <a:pt x="2948" y="354"/>
                  <a:pt x="2946" y="358"/>
                  <a:pt x="2944" y="362"/>
                </a:cubicBezTo>
                <a:cubicBezTo>
                  <a:pt x="2946" y="362"/>
                  <a:pt x="2949" y="363"/>
                  <a:pt x="2952" y="362"/>
                </a:cubicBezTo>
                <a:cubicBezTo>
                  <a:pt x="2952" y="362"/>
                  <a:pt x="2952" y="361"/>
                  <a:pt x="2952" y="361"/>
                </a:cubicBezTo>
                <a:cubicBezTo>
                  <a:pt x="2952" y="358"/>
                  <a:pt x="2952" y="356"/>
                  <a:pt x="2952" y="353"/>
                </a:cubicBezTo>
                <a:cubicBezTo>
                  <a:pt x="2952" y="352"/>
                  <a:pt x="2951" y="350"/>
                  <a:pt x="2951" y="349"/>
                </a:cubicBezTo>
                <a:close/>
                <a:moveTo>
                  <a:pt x="2898" y="329"/>
                </a:moveTo>
                <a:cubicBezTo>
                  <a:pt x="2897" y="329"/>
                  <a:pt x="2897" y="330"/>
                  <a:pt x="2896" y="330"/>
                </a:cubicBezTo>
                <a:cubicBezTo>
                  <a:pt x="2896" y="330"/>
                  <a:pt x="2895" y="330"/>
                  <a:pt x="2895" y="329"/>
                </a:cubicBezTo>
                <a:cubicBezTo>
                  <a:pt x="2894" y="329"/>
                  <a:pt x="2894" y="328"/>
                  <a:pt x="2894" y="327"/>
                </a:cubicBezTo>
                <a:cubicBezTo>
                  <a:pt x="2895" y="325"/>
                  <a:pt x="2895" y="323"/>
                  <a:pt x="2896" y="321"/>
                </a:cubicBezTo>
                <a:cubicBezTo>
                  <a:pt x="2896" y="321"/>
                  <a:pt x="2896" y="321"/>
                  <a:pt x="2895" y="321"/>
                </a:cubicBezTo>
                <a:cubicBezTo>
                  <a:pt x="2894" y="322"/>
                  <a:pt x="2893" y="323"/>
                  <a:pt x="2893" y="324"/>
                </a:cubicBezTo>
                <a:cubicBezTo>
                  <a:pt x="2892" y="325"/>
                  <a:pt x="2893" y="330"/>
                  <a:pt x="2895" y="331"/>
                </a:cubicBezTo>
                <a:cubicBezTo>
                  <a:pt x="2896" y="332"/>
                  <a:pt x="2898" y="331"/>
                  <a:pt x="2898" y="329"/>
                </a:cubicBezTo>
                <a:close/>
                <a:moveTo>
                  <a:pt x="2950" y="321"/>
                </a:moveTo>
                <a:cubicBezTo>
                  <a:pt x="2954" y="317"/>
                  <a:pt x="2954" y="317"/>
                  <a:pt x="2958" y="316"/>
                </a:cubicBezTo>
                <a:cubicBezTo>
                  <a:pt x="2958" y="318"/>
                  <a:pt x="2959" y="319"/>
                  <a:pt x="2960" y="319"/>
                </a:cubicBezTo>
                <a:cubicBezTo>
                  <a:pt x="2958" y="320"/>
                  <a:pt x="2956" y="322"/>
                  <a:pt x="2954" y="323"/>
                </a:cubicBezTo>
                <a:cubicBezTo>
                  <a:pt x="2953" y="322"/>
                  <a:pt x="2953" y="321"/>
                  <a:pt x="2952" y="320"/>
                </a:cubicBezTo>
                <a:cubicBezTo>
                  <a:pt x="2952" y="320"/>
                  <a:pt x="2951" y="320"/>
                  <a:pt x="2950" y="321"/>
                </a:cubicBezTo>
                <a:close/>
                <a:moveTo>
                  <a:pt x="2956" y="320"/>
                </a:moveTo>
                <a:cubicBezTo>
                  <a:pt x="2956" y="320"/>
                  <a:pt x="2955" y="319"/>
                  <a:pt x="2954" y="319"/>
                </a:cubicBezTo>
                <a:cubicBezTo>
                  <a:pt x="2954" y="319"/>
                  <a:pt x="2953" y="320"/>
                  <a:pt x="2953" y="321"/>
                </a:cubicBezTo>
                <a:cubicBezTo>
                  <a:pt x="2953" y="321"/>
                  <a:pt x="2954" y="321"/>
                  <a:pt x="2954" y="322"/>
                </a:cubicBezTo>
                <a:cubicBezTo>
                  <a:pt x="2955" y="321"/>
                  <a:pt x="2955" y="321"/>
                  <a:pt x="2956" y="320"/>
                </a:cubicBezTo>
                <a:close/>
                <a:moveTo>
                  <a:pt x="2937" y="311"/>
                </a:moveTo>
                <a:cubicBezTo>
                  <a:pt x="2931" y="310"/>
                  <a:pt x="2928" y="312"/>
                  <a:pt x="2927" y="320"/>
                </a:cubicBezTo>
                <a:cubicBezTo>
                  <a:pt x="2928" y="318"/>
                  <a:pt x="2929" y="316"/>
                  <a:pt x="2930" y="313"/>
                </a:cubicBezTo>
                <a:cubicBezTo>
                  <a:pt x="2931" y="313"/>
                  <a:pt x="2931" y="313"/>
                  <a:pt x="2931" y="313"/>
                </a:cubicBezTo>
                <a:cubicBezTo>
                  <a:pt x="2931" y="315"/>
                  <a:pt x="2931" y="315"/>
                  <a:pt x="2931" y="316"/>
                </a:cubicBezTo>
                <a:cubicBezTo>
                  <a:pt x="2932" y="313"/>
                  <a:pt x="2934" y="311"/>
                  <a:pt x="2937" y="311"/>
                </a:cubicBezTo>
                <a:close/>
                <a:moveTo>
                  <a:pt x="2981" y="312"/>
                </a:moveTo>
                <a:cubicBezTo>
                  <a:pt x="2979" y="314"/>
                  <a:pt x="2977" y="315"/>
                  <a:pt x="2976" y="316"/>
                </a:cubicBezTo>
                <a:cubicBezTo>
                  <a:pt x="2978" y="317"/>
                  <a:pt x="2980" y="315"/>
                  <a:pt x="2981" y="312"/>
                </a:cubicBezTo>
                <a:close/>
                <a:moveTo>
                  <a:pt x="2948" y="314"/>
                </a:moveTo>
                <a:cubicBezTo>
                  <a:pt x="2949" y="313"/>
                  <a:pt x="2950" y="312"/>
                  <a:pt x="2951" y="310"/>
                </a:cubicBezTo>
                <a:cubicBezTo>
                  <a:pt x="2948" y="312"/>
                  <a:pt x="2948" y="312"/>
                  <a:pt x="2948" y="314"/>
                </a:cubicBezTo>
                <a:close/>
                <a:moveTo>
                  <a:pt x="2958" y="335"/>
                </a:moveTo>
                <a:cubicBezTo>
                  <a:pt x="2956" y="336"/>
                  <a:pt x="2955" y="337"/>
                  <a:pt x="2955" y="338"/>
                </a:cubicBezTo>
                <a:cubicBezTo>
                  <a:pt x="2956" y="337"/>
                  <a:pt x="2957" y="336"/>
                  <a:pt x="2958" y="335"/>
                </a:cubicBezTo>
                <a:close/>
                <a:moveTo>
                  <a:pt x="2957" y="320"/>
                </a:moveTo>
                <a:cubicBezTo>
                  <a:pt x="2956" y="320"/>
                  <a:pt x="2955" y="320"/>
                  <a:pt x="2955" y="320"/>
                </a:cubicBezTo>
                <a:cubicBezTo>
                  <a:pt x="2954" y="320"/>
                  <a:pt x="2953" y="320"/>
                  <a:pt x="2953" y="321"/>
                </a:cubicBezTo>
                <a:cubicBezTo>
                  <a:pt x="2953" y="321"/>
                  <a:pt x="2954" y="322"/>
                  <a:pt x="2954" y="322"/>
                </a:cubicBezTo>
                <a:cubicBezTo>
                  <a:pt x="2955" y="322"/>
                  <a:pt x="2955" y="321"/>
                  <a:pt x="2957" y="320"/>
                </a:cubicBezTo>
                <a:close/>
                <a:moveTo>
                  <a:pt x="3481" y="441"/>
                </a:moveTo>
                <a:cubicBezTo>
                  <a:pt x="3481" y="443"/>
                  <a:pt x="3482" y="444"/>
                  <a:pt x="3482" y="446"/>
                </a:cubicBezTo>
                <a:cubicBezTo>
                  <a:pt x="3483" y="447"/>
                  <a:pt x="3483" y="449"/>
                  <a:pt x="3484" y="451"/>
                </a:cubicBezTo>
                <a:cubicBezTo>
                  <a:pt x="3484" y="452"/>
                  <a:pt x="3484" y="454"/>
                  <a:pt x="3484" y="456"/>
                </a:cubicBezTo>
                <a:cubicBezTo>
                  <a:pt x="3485" y="459"/>
                  <a:pt x="3484" y="460"/>
                  <a:pt x="3480" y="460"/>
                </a:cubicBezTo>
                <a:cubicBezTo>
                  <a:pt x="3478" y="460"/>
                  <a:pt x="3475" y="460"/>
                  <a:pt x="3472" y="460"/>
                </a:cubicBezTo>
                <a:cubicBezTo>
                  <a:pt x="3472" y="460"/>
                  <a:pt x="3471" y="460"/>
                  <a:pt x="3471" y="460"/>
                </a:cubicBezTo>
                <a:cubicBezTo>
                  <a:pt x="3469" y="462"/>
                  <a:pt x="3467" y="463"/>
                  <a:pt x="3466" y="465"/>
                </a:cubicBezTo>
                <a:cubicBezTo>
                  <a:pt x="3464" y="467"/>
                  <a:pt x="3461" y="467"/>
                  <a:pt x="3459" y="465"/>
                </a:cubicBezTo>
                <a:cubicBezTo>
                  <a:pt x="3457" y="463"/>
                  <a:pt x="3456" y="461"/>
                  <a:pt x="3454" y="458"/>
                </a:cubicBezTo>
                <a:cubicBezTo>
                  <a:pt x="3453" y="456"/>
                  <a:pt x="3454" y="455"/>
                  <a:pt x="3456" y="453"/>
                </a:cubicBezTo>
                <a:cubicBezTo>
                  <a:pt x="3453" y="453"/>
                  <a:pt x="3452" y="453"/>
                  <a:pt x="3450" y="453"/>
                </a:cubicBezTo>
                <a:cubicBezTo>
                  <a:pt x="3449" y="455"/>
                  <a:pt x="3448" y="457"/>
                  <a:pt x="3447" y="459"/>
                </a:cubicBezTo>
                <a:cubicBezTo>
                  <a:pt x="3447" y="460"/>
                  <a:pt x="3447" y="461"/>
                  <a:pt x="3447" y="461"/>
                </a:cubicBezTo>
                <a:cubicBezTo>
                  <a:pt x="3447" y="465"/>
                  <a:pt x="3446" y="466"/>
                  <a:pt x="3443" y="465"/>
                </a:cubicBezTo>
                <a:cubicBezTo>
                  <a:pt x="3440" y="465"/>
                  <a:pt x="3437" y="464"/>
                  <a:pt x="3434" y="463"/>
                </a:cubicBezTo>
                <a:cubicBezTo>
                  <a:pt x="3432" y="463"/>
                  <a:pt x="3431" y="461"/>
                  <a:pt x="3432" y="459"/>
                </a:cubicBezTo>
                <a:cubicBezTo>
                  <a:pt x="3432" y="458"/>
                  <a:pt x="3432" y="458"/>
                  <a:pt x="3433" y="458"/>
                </a:cubicBezTo>
                <a:cubicBezTo>
                  <a:pt x="3430" y="456"/>
                  <a:pt x="3428" y="456"/>
                  <a:pt x="3426" y="454"/>
                </a:cubicBezTo>
                <a:cubicBezTo>
                  <a:pt x="3425" y="453"/>
                  <a:pt x="3424" y="451"/>
                  <a:pt x="3423" y="450"/>
                </a:cubicBezTo>
                <a:cubicBezTo>
                  <a:pt x="3422" y="448"/>
                  <a:pt x="3422" y="446"/>
                  <a:pt x="3424" y="444"/>
                </a:cubicBezTo>
                <a:cubicBezTo>
                  <a:pt x="3427" y="442"/>
                  <a:pt x="3428" y="439"/>
                  <a:pt x="3427" y="435"/>
                </a:cubicBezTo>
                <a:cubicBezTo>
                  <a:pt x="3427" y="433"/>
                  <a:pt x="3427" y="431"/>
                  <a:pt x="3427" y="429"/>
                </a:cubicBezTo>
                <a:cubicBezTo>
                  <a:pt x="3426" y="429"/>
                  <a:pt x="3424" y="428"/>
                  <a:pt x="3423" y="427"/>
                </a:cubicBezTo>
                <a:cubicBezTo>
                  <a:pt x="3422" y="425"/>
                  <a:pt x="3421" y="423"/>
                  <a:pt x="3421" y="421"/>
                </a:cubicBezTo>
                <a:cubicBezTo>
                  <a:pt x="3421" y="419"/>
                  <a:pt x="3424" y="416"/>
                  <a:pt x="3427" y="415"/>
                </a:cubicBezTo>
                <a:cubicBezTo>
                  <a:pt x="3427" y="416"/>
                  <a:pt x="3427" y="417"/>
                  <a:pt x="3428" y="418"/>
                </a:cubicBezTo>
                <a:cubicBezTo>
                  <a:pt x="3428" y="419"/>
                  <a:pt x="3428" y="419"/>
                  <a:pt x="3428" y="421"/>
                </a:cubicBezTo>
                <a:cubicBezTo>
                  <a:pt x="3427" y="420"/>
                  <a:pt x="3427" y="420"/>
                  <a:pt x="3427" y="420"/>
                </a:cubicBezTo>
                <a:cubicBezTo>
                  <a:pt x="3426" y="421"/>
                  <a:pt x="3426" y="423"/>
                  <a:pt x="3425" y="425"/>
                </a:cubicBezTo>
                <a:cubicBezTo>
                  <a:pt x="3426" y="424"/>
                  <a:pt x="3427" y="424"/>
                  <a:pt x="3427" y="424"/>
                </a:cubicBezTo>
                <a:cubicBezTo>
                  <a:pt x="3429" y="423"/>
                  <a:pt x="3429" y="422"/>
                  <a:pt x="3430" y="421"/>
                </a:cubicBezTo>
                <a:cubicBezTo>
                  <a:pt x="3435" y="414"/>
                  <a:pt x="3440" y="410"/>
                  <a:pt x="3448" y="408"/>
                </a:cubicBezTo>
                <a:cubicBezTo>
                  <a:pt x="3451" y="408"/>
                  <a:pt x="3455" y="407"/>
                  <a:pt x="3457" y="404"/>
                </a:cubicBezTo>
                <a:cubicBezTo>
                  <a:pt x="3457" y="404"/>
                  <a:pt x="3458" y="403"/>
                  <a:pt x="3458" y="403"/>
                </a:cubicBezTo>
                <a:cubicBezTo>
                  <a:pt x="3461" y="403"/>
                  <a:pt x="3462" y="400"/>
                  <a:pt x="3464" y="399"/>
                </a:cubicBezTo>
                <a:cubicBezTo>
                  <a:pt x="3472" y="391"/>
                  <a:pt x="3484" y="391"/>
                  <a:pt x="3491" y="397"/>
                </a:cubicBezTo>
                <a:cubicBezTo>
                  <a:pt x="3494" y="399"/>
                  <a:pt x="3497" y="401"/>
                  <a:pt x="3499" y="403"/>
                </a:cubicBezTo>
                <a:cubicBezTo>
                  <a:pt x="3500" y="404"/>
                  <a:pt x="3502" y="406"/>
                  <a:pt x="3503" y="408"/>
                </a:cubicBezTo>
                <a:cubicBezTo>
                  <a:pt x="3504" y="410"/>
                  <a:pt x="3504" y="410"/>
                  <a:pt x="3506" y="408"/>
                </a:cubicBezTo>
                <a:cubicBezTo>
                  <a:pt x="3506" y="408"/>
                  <a:pt x="3507" y="407"/>
                  <a:pt x="3508" y="406"/>
                </a:cubicBezTo>
                <a:cubicBezTo>
                  <a:pt x="3510" y="404"/>
                  <a:pt x="3513" y="404"/>
                  <a:pt x="3514" y="407"/>
                </a:cubicBezTo>
                <a:cubicBezTo>
                  <a:pt x="3515" y="410"/>
                  <a:pt x="3516" y="413"/>
                  <a:pt x="3517" y="416"/>
                </a:cubicBezTo>
                <a:cubicBezTo>
                  <a:pt x="3517" y="420"/>
                  <a:pt x="3517" y="425"/>
                  <a:pt x="3515" y="429"/>
                </a:cubicBezTo>
                <a:cubicBezTo>
                  <a:pt x="3513" y="435"/>
                  <a:pt x="3508" y="439"/>
                  <a:pt x="3502" y="439"/>
                </a:cubicBezTo>
                <a:cubicBezTo>
                  <a:pt x="3501" y="439"/>
                  <a:pt x="3500" y="439"/>
                  <a:pt x="3500" y="439"/>
                </a:cubicBezTo>
                <a:cubicBezTo>
                  <a:pt x="3497" y="439"/>
                  <a:pt x="3496" y="439"/>
                  <a:pt x="3495" y="441"/>
                </a:cubicBezTo>
                <a:cubicBezTo>
                  <a:pt x="3494" y="446"/>
                  <a:pt x="3488" y="447"/>
                  <a:pt x="3485" y="444"/>
                </a:cubicBezTo>
                <a:cubicBezTo>
                  <a:pt x="3484" y="443"/>
                  <a:pt x="3483" y="442"/>
                  <a:pt x="3482" y="441"/>
                </a:cubicBezTo>
                <a:cubicBezTo>
                  <a:pt x="3481" y="441"/>
                  <a:pt x="3481" y="441"/>
                  <a:pt x="3481" y="441"/>
                </a:cubicBezTo>
                <a:close/>
                <a:moveTo>
                  <a:pt x="3475" y="437"/>
                </a:moveTo>
                <a:cubicBezTo>
                  <a:pt x="3479" y="439"/>
                  <a:pt x="3482" y="440"/>
                  <a:pt x="3485" y="442"/>
                </a:cubicBezTo>
                <a:cubicBezTo>
                  <a:pt x="3487" y="444"/>
                  <a:pt x="3489" y="445"/>
                  <a:pt x="3491" y="444"/>
                </a:cubicBezTo>
                <a:cubicBezTo>
                  <a:pt x="3493" y="443"/>
                  <a:pt x="3495" y="441"/>
                  <a:pt x="3495" y="438"/>
                </a:cubicBezTo>
                <a:cubicBezTo>
                  <a:pt x="3495" y="439"/>
                  <a:pt x="3494" y="439"/>
                  <a:pt x="3494" y="439"/>
                </a:cubicBezTo>
                <a:cubicBezTo>
                  <a:pt x="3493" y="440"/>
                  <a:pt x="3492" y="441"/>
                  <a:pt x="3491" y="442"/>
                </a:cubicBezTo>
                <a:cubicBezTo>
                  <a:pt x="3490" y="444"/>
                  <a:pt x="3489" y="443"/>
                  <a:pt x="3488" y="443"/>
                </a:cubicBezTo>
                <a:cubicBezTo>
                  <a:pt x="3487" y="443"/>
                  <a:pt x="3487" y="442"/>
                  <a:pt x="3487" y="441"/>
                </a:cubicBezTo>
                <a:cubicBezTo>
                  <a:pt x="3487" y="439"/>
                  <a:pt x="3487" y="437"/>
                  <a:pt x="3488" y="435"/>
                </a:cubicBezTo>
                <a:cubicBezTo>
                  <a:pt x="3491" y="435"/>
                  <a:pt x="3494" y="437"/>
                  <a:pt x="3498" y="437"/>
                </a:cubicBezTo>
                <a:cubicBezTo>
                  <a:pt x="3505" y="438"/>
                  <a:pt x="3511" y="437"/>
                  <a:pt x="3514" y="428"/>
                </a:cubicBezTo>
                <a:cubicBezTo>
                  <a:pt x="3516" y="423"/>
                  <a:pt x="3515" y="418"/>
                  <a:pt x="3515" y="413"/>
                </a:cubicBezTo>
                <a:cubicBezTo>
                  <a:pt x="3514" y="411"/>
                  <a:pt x="3513" y="410"/>
                  <a:pt x="3513" y="408"/>
                </a:cubicBezTo>
                <a:cubicBezTo>
                  <a:pt x="3512" y="406"/>
                  <a:pt x="3511" y="406"/>
                  <a:pt x="3509" y="407"/>
                </a:cubicBezTo>
                <a:cubicBezTo>
                  <a:pt x="3508" y="409"/>
                  <a:pt x="3506" y="410"/>
                  <a:pt x="3504" y="411"/>
                </a:cubicBezTo>
                <a:cubicBezTo>
                  <a:pt x="3504" y="412"/>
                  <a:pt x="3503" y="412"/>
                  <a:pt x="3503" y="414"/>
                </a:cubicBezTo>
                <a:cubicBezTo>
                  <a:pt x="3504" y="417"/>
                  <a:pt x="3503" y="420"/>
                  <a:pt x="3502" y="423"/>
                </a:cubicBezTo>
                <a:cubicBezTo>
                  <a:pt x="3502" y="421"/>
                  <a:pt x="3502" y="419"/>
                  <a:pt x="3502" y="418"/>
                </a:cubicBezTo>
                <a:cubicBezTo>
                  <a:pt x="3502" y="417"/>
                  <a:pt x="3502" y="416"/>
                  <a:pt x="3502" y="416"/>
                </a:cubicBezTo>
                <a:cubicBezTo>
                  <a:pt x="3501" y="416"/>
                  <a:pt x="3500" y="416"/>
                  <a:pt x="3500" y="417"/>
                </a:cubicBezTo>
                <a:cubicBezTo>
                  <a:pt x="3500" y="418"/>
                  <a:pt x="3499" y="419"/>
                  <a:pt x="3498" y="421"/>
                </a:cubicBezTo>
                <a:cubicBezTo>
                  <a:pt x="3498" y="421"/>
                  <a:pt x="3498" y="421"/>
                  <a:pt x="3498" y="421"/>
                </a:cubicBezTo>
                <a:cubicBezTo>
                  <a:pt x="3498" y="419"/>
                  <a:pt x="3498" y="418"/>
                  <a:pt x="3499" y="415"/>
                </a:cubicBezTo>
                <a:cubicBezTo>
                  <a:pt x="3498" y="416"/>
                  <a:pt x="3497" y="416"/>
                  <a:pt x="3497" y="417"/>
                </a:cubicBezTo>
                <a:cubicBezTo>
                  <a:pt x="3496" y="418"/>
                  <a:pt x="3496" y="418"/>
                  <a:pt x="3495" y="419"/>
                </a:cubicBezTo>
                <a:cubicBezTo>
                  <a:pt x="3496" y="416"/>
                  <a:pt x="3496" y="416"/>
                  <a:pt x="3502" y="414"/>
                </a:cubicBezTo>
                <a:cubicBezTo>
                  <a:pt x="3502" y="414"/>
                  <a:pt x="3501" y="413"/>
                  <a:pt x="3501" y="413"/>
                </a:cubicBezTo>
                <a:cubicBezTo>
                  <a:pt x="3498" y="414"/>
                  <a:pt x="3497" y="412"/>
                  <a:pt x="3497" y="410"/>
                </a:cubicBezTo>
                <a:cubicBezTo>
                  <a:pt x="3498" y="410"/>
                  <a:pt x="3500" y="409"/>
                  <a:pt x="3502" y="409"/>
                </a:cubicBezTo>
                <a:cubicBezTo>
                  <a:pt x="3500" y="406"/>
                  <a:pt x="3498" y="404"/>
                  <a:pt x="3495" y="403"/>
                </a:cubicBezTo>
                <a:cubicBezTo>
                  <a:pt x="3495" y="403"/>
                  <a:pt x="3495" y="403"/>
                  <a:pt x="3495" y="402"/>
                </a:cubicBezTo>
                <a:cubicBezTo>
                  <a:pt x="3492" y="400"/>
                  <a:pt x="3490" y="398"/>
                  <a:pt x="3487" y="396"/>
                </a:cubicBezTo>
                <a:cubicBezTo>
                  <a:pt x="3485" y="395"/>
                  <a:pt x="3482" y="394"/>
                  <a:pt x="3480" y="394"/>
                </a:cubicBezTo>
                <a:cubicBezTo>
                  <a:pt x="3477" y="395"/>
                  <a:pt x="3473" y="396"/>
                  <a:pt x="3470" y="397"/>
                </a:cubicBezTo>
                <a:cubicBezTo>
                  <a:pt x="3467" y="398"/>
                  <a:pt x="3465" y="399"/>
                  <a:pt x="3463" y="402"/>
                </a:cubicBezTo>
                <a:cubicBezTo>
                  <a:pt x="3465" y="402"/>
                  <a:pt x="3466" y="402"/>
                  <a:pt x="3467" y="402"/>
                </a:cubicBezTo>
                <a:cubicBezTo>
                  <a:pt x="3467" y="403"/>
                  <a:pt x="3466" y="403"/>
                  <a:pt x="3465" y="403"/>
                </a:cubicBezTo>
                <a:cubicBezTo>
                  <a:pt x="3463" y="404"/>
                  <a:pt x="3460" y="403"/>
                  <a:pt x="3458" y="406"/>
                </a:cubicBezTo>
                <a:cubicBezTo>
                  <a:pt x="3455" y="410"/>
                  <a:pt x="3451" y="413"/>
                  <a:pt x="3447" y="418"/>
                </a:cubicBezTo>
                <a:cubicBezTo>
                  <a:pt x="3446" y="419"/>
                  <a:pt x="3445" y="422"/>
                  <a:pt x="3444" y="424"/>
                </a:cubicBezTo>
                <a:cubicBezTo>
                  <a:pt x="3444" y="425"/>
                  <a:pt x="3444" y="425"/>
                  <a:pt x="3444" y="426"/>
                </a:cubicBezTo>
                <a:cubicBezTo>
                  <a:pt x="3445" y="428"/>
                  <a:pt x="3446" y="430"/>
                  <a:pt x="3448" y="432"/>
                </a:cubicBezTo>
                <a:cubicBezTo>
                  <a:pt x="3449" y="430"/>
                  <a:pt x="3450" y="429"/>
                  <a:pt x="3451" y="427"/>
                </a:cubicBezTo>
                <a:cubicBezTo>
                  <a:pt x="3451" y="429"/>
                  <a:pt x="3451" y="430"/>
                  <a:pt x="3450" y="431"/>
                </a:cubicBezTo>
                <a:cubicBezTo>
                  <a:pt x="3449" y="433"/>
                  <a:pt x="3448" y="434"/>
                  <a:pt x="3448" y="435"/>
                </a:cubicBezTo>
                <a:cubicBezTo>
                  <a:pt x="3447" y="436"/>
                  <a:pt x="3448" y="437"/>
                  <a:pt x="3448" y="438"/>
                </a:cubicBezTo>
                <a:cubicBezTo>
                  <a:pt x="3451" y="442"/>
                  <a:pt x="3454" y="442"/>
                  <a:pt x="3458" y="440"/>
                </a:cubicBezTo>
                <a:cubicBezTo>
                  <a:pt x="3460" y="438"/>
                  <a:pt x="3463" y="437"/>
                  <a:pt x="3466" y="436"/>
                </a:cubicBezTo>
                <a:cubicBezTo>
                  <a:pt x="3467" y="436"/>
                  <a:pt x="3468" y="435"/>
                  <a:pt x="3468" y="433"/>
                </a:cubicBezTo>
                <a:cubicBezTo>
                  <a:pt x="3468" y="430"/>
                  <a:pt x="3468" y="427"/>
                  <a:pt x="3468" y="423"/>
                </a:cubicBezTo>
                <a:cubicBezTo>
                  <a:pt x="3468" y="420"/>
                  <a:pt x="3468" y="418"/>
                  <a:pt x="3468" y="414"/>
                </a:cubicBezTo>
                <a:cubicBezTo>
                  <a:pt x="3469" y="417"/>
                  <a:pt x="3469" y="420"/>
                  <a:pt x="3470" y="422"/>
                </a:cubicBezTo>
                <a:cubicBezTo>
                  <a:pt x="3471" y="427"/>
                  <a:pt x="3471" y="431"/>
                  <a:pt x="3469" y="436"/>
                </a:cubicBezTo>
                <a:cubicBezTo>
                  <a:pt x="3469" y="437"/>
                  <a:pt x="3468" y="437"/>
                  <a:pt x="3468" y="437"/>
                </a:cubicBezTo>
                <a:cubicBezTo>
                  <a:pt x="3464" y="438"/>
                  <a:pt x="3461" y="440"/>
                  <a:pt x="3458" y="441"/>
                </a:cubicBezTo>
                <a:cubicBezTo>
                  <a:pt x="3453" y="444"/>
                  <a:pt x="3449" y="442"/>
                  <a:pt x="3446" y="439"/>
                </a:cubicBezTo>
                <a:cubicBezTo>
                  <a:pt x="3446" y="438"/>
                  <a:pt x="3446" y="437"/>
                  <a:pt x="3446" y="437"/>
                </a:cubicBezTo>
                <a:cubicBezTo>
                  <a:pt x="3447" y="434"/>
                  <a:pt x="3446" y="432"/>
                  <a:pt x="3444" y="430"/>
                </a:cubicBezTo>
                <a:cubicBezTo>
                  <a:pt x="3443" y="428"/>
                  <a:pt x="3441" y="426"/>
                  <a:pt x="3442" y="423"/>
                </a:cubicBezTo>
                <a:cubicBezTo>
                  <a:pt x="3443" y="421"/>
                  <a:pt x="3444" y="419"/>
                  <a:pt x="3445" y="418"/>
                </a:cubicBezTo>
                <a:cubicBezTo>
                  <a:pt x="3447" y="415"/>
                  <a:pt x="3449" y="413"/>
                  <a:pt x="3451" y="410"/>
                </a:cubicBezTo>
                <a:cubicBezTo>
                  <a:pt x="3451" y="410"/>
                  <a:pt x="3450" y="410"/>
                  <a:pt x="3450" y="410"/>
                </a:cubicBezTo>
                <a:cubicBezTo>
                  <a:pt x="3445" y="411"/>
                  <a:pt x="3440" y="413"/>
                  <a:pt x="3437" y="416"/>
                </a:cubicBezTo>
                <a:cubicBezTo>
                  <a:pt x="3432" y="420"/>
                  <a:pt x="3429" y="425"/>
                  <a:pt x="3429" y="432"/>
                </a:cubicBezTo>
                <a:cubicBezTo>
                  <a:pt x="3428" y="439"/>
                  <a:pt x="3431" y="445"/>
                  <a:pt x="3434" y="451"/>
                </a:cubicBezTo>
                <a:cubicBezTo>
                  <a:pt x="3435" y="452"/>
                  <a:pt x="3435" y="453"/>
                  <a:pt x="3435" y="454"/>
                </a:cubicBezTo>
                <a:cubicBezTo>
                  <a:pt x="3435" y="456"/>
                  <a:pt x="3435" y="458"/>
                  <a:pt x="3434" y="459"/>
                </a:cubicBezTo>
                <a:cubicBezTo>
                  <a:pt x="3433" y="461"/>
                  <a:pt x="3434" y="461"/>
                  <a:pt x="3435" y="462"/>
                </a:cubicBezTo>
                <a:cubicBezTo>
                  <a:pt x="3438" y="463"/>
                  <a:pt x="3441" y="463"/>
                  <a:pt x="3444" y="463"/>
                </a:cubicBezTo>
                <a:cubicBezTo>
                  <a:pt x="3444" y="463"/>
                  <a:pt x="3445" y="463"/>
                  <a:pt x="3445" y="462"/>
                </a:cubicBezTo>
                <a:cubicBezTo>
                  <a:pt x="3446" y="461"/>
                  <a:pt x="3446" y="459"/>
                  <a:pt x="3446" y="459"/>
                </a:cubicBezTo>
                <a:cubicBezTo>
                  <a:pt x="3448" y="456"/>
                  <a:pt x="3448" y="454"/>
                  <a:pt x="3448" y="451"/>
                </a:cubicBezTo>
                <a:cubicBezTo>
                  <a:pt x="3448" y="450"/>
                  <a:pt x="3448" y="450"/>
                  <a:pt x="3448" y="450"/>
                </a:cubicBezTo>
                <a:cubicBezTo>
                  <a:pt x="3448" y="449"/>
                  <a:pt x="3448" y="449"/>
                  <a:pt x="3448" y="449"/>
                </a:cubicBezTo>
                <a:cubicBezTo>
                  <a:pt x="3449" y="452"/>
                  <a:pt x="3450" y="452"/>
                  <a:pt x="3452" y="452"/>
                </a:cubicBezTo>
                <a:cubicBezTo>
                  <a:pt x="3453" y="452"/>
                  <a:pt x="3454" y="452"/>
                  <a:pt x="3455" y="452"/>
                </a:cubicBezTo>
                <a:cubicBezTo>
                  <a:pt x="3457" y="452"/>
                  <a:pt x="3460" y="452"/>
                  <a:pt x="3461" y="448"/>
                </a:cubicBezTo>
                <a:cubicBezTo>
                  <a:pt x="3461" y="450"/>
                  <a:pt x="3461" y="452"/>
                  <a:pt x="3461" y="453"/>
                </a:cubicBezTo>
                <a:cubicBezTo>
                  <a:pt x="3460" y="454"/>
                  <a:pt x="3458" y="454"/>
                  <a:pt x="3457" y="455"/>
                </a:cubicBezTo>
                <a:cubicBezTo>
                  <a:pt x="3456" y="456"/>
                  <a:pt x="3455" y="457"/>
                  <a:pt x="3456" y="458"/>
                </a:cubicBezTo>
                <a:cubicBezTo>
                  <a:pt x="3457" y="460"/>
                  <a:pt x="3458" y="462"/>
                  <a:pt x="3460" y="464"/>
                </a:cubicBezTo>
                <a:cubicBezTo>
                  <a:pt x="3462" y="465"/>
                  <a:pt x="3464" y="465"/>
                  <a:pt x="3465" y="463"/>
                </a:cubicBezTo>
                <a:cubicBezTo>
                  <a:pt x="3466" y="463"/>
                  <a:pt x="3466" y="462"/>
                  <a:pt x="3467" y="461"/>
                </a:cubicBezTo>
                <a:cubicBezTo>
                  <a:pt x="3469" y="460"/>
                  <a:pt x="3470" y="459"/>
                  <a:pt x="3472" y="458"/>
                </a:cubicBezTo>
                <a:cubicBezTo>
                  <a:pt x="3476" y="453"/>
                  <a:pt x="3478" y="447"/>
                  <a:pt x="3480" y="441"/>
                </a:cubicBezTo>
                <a:cubicBezTo>
                  <a:pt x="3480" y="441"/>
                  <a:pt x="3479" y="440"/>
                  <a:pt x="3478" y="440"/>
                </a:cubicBezTo>
                <a:cubicBezTo>
                  <a:pt x="3478" y="439"/>
                  <a:pt x="3477" y="438"/>
                  <a:pt x="3475" y="437"/>
                </a:cubicBezTo>
                <a:close/>
                <a:moveTo>
                  <a:pt x="3428" y="443"/>
                </a:moveTo>
                <a:cubicBezTo>
                  <a:pt x="3427" y="444"/>
                  <a:pt x="3426" y="445"/>
                  <a:pt x="3425" y="446"/>
                </a:cubicBezTo>
                <a:cubicBezTo>
                  <a:pt x="3424" y="446"/>
                  <a:pt x="3424" y="447"/>
                  <a:pt x="3424" y="448"/>
                </a:cubicBezTo>
                <a:cubicBezTo>
                  <a:pt x="3424" y="451"/>
                  <a:pt x="3428" y="455"/>
                  <a:pt x="3431" y="455"/>
                </a:cubicBezTo>
                <a:cubicBezTo>
                  <a:pt x="3433" y="455"/>
                  <a:pt x="3434" y="454"/>
                  <a:pt x="3433" y="452"/>
                </a:cubicBezTo>
                <a:cubicBezTo>
                  <a:pt x="3431" y="449"/>
                  <a:pt x="3430" y="446"/>
                  <a:pt x="3428" y="443"/>
                </a:cubicBezTo>
                <a:close/>
                <a:moveTo>
                  <a:pt x="3481" y="445"/>
                </a:moveTo>
                <a:cubicBezTo>
                  <a:pt x="3478" y="450"/>
                  <a:pt x="3476" y="454"/>
                  <a:pt x="3474" y="459"/>
                </a:cubicBezTo>
                <a:cubicBezTo>
                  <a:pt x="3477" y="459"/>
                  <a:pt x="3479" y="459"/>
                  <a:pt x="3482" y="459"/>
                </a:cubicBezTo>
                <a:cubicBezTo>
                  <a:pt x="3482" y="459"/>
                  <a:pt x="3482" y="458"/>
                  <a:pt x="3482" y="457"/>
                </a:cubicBezTo>
                <a:cubicBezTo>
                  <a:pt x="3482" y="454"/>
                  <a:pt x="3482" y="452"/>
                  <a:pt x="3482" y="450"/>
                </a:cubicBezTo>
                <a:cubicBezTo>
                  <a:pt x="3482" y="448"/>
                  <a:pt x="3481" y="447"/>
                  <a:pt x="3481" y="445"/>
                </a:cubicBezTo>
                <a:close/>
                <a:moveTo>
                  <a:pt x="3428" y="425"/>
                </a:moveTo>
                <a:cubicBezTo>
                  <a:pt x="3427" y="425"/>
                  <a:pt x="3427" y="426"/>
                  <a:pt x="3426" y="426"/>
                </a:cubicBezTo>
                <a:cubicBezTo>
                  <a:pt x="3426" y="426"/>
                  <a:pt x="3425" y="426"/>
                  <a:pt x="3425" y="425"/>
                </a:cubicBezTo>
                <a:cubicBezTo>
                  <a:pt x="3424" y="425"/>
                  <a:pt x="3424" y="424"/>
                  <a:pt x="3424" y="423"/>
                </a:cubicBezTo>
                <a:cubicBezTo>
                  <a:pt x="3425" y="421"/>
                  <a:pt x="3425" y="419"/>
                  <a:pt x="3426" y="418"/>
                </a:cubicBezTo>
                <a:cubicBezTo>
                  <a:pt x="3426" y="418"/>
                  <a:pt x="3426" y="418"/>
                  <a:pt x="3425" y="418"/>
                </a:cubicBezTo>
                <a:cubicBezTo>
                  <a:pt x="3424" y="418"/>
                  <a:pt x="3423" y="419"/>
                  <a:pt x="3422" y="420"/>
                </a:cubicBezTo>
                <a:cubicBezTo>
                  <a:pt x="3422" y="421"/>
                  <a:pt x="3423" y="427"/>
                  <a:pt x="3425" y="427"/>
                </a:cubicBezTo>
                <a:cubicBezTo>
                  <a:pt x="3426" y="428"/>
                  <a:pt x="3428" y="427"/>
                  <a:pt x="3428" y="425"/>
                </a:cubicBezTo>
                <a:close/>
                <a:moveTo>
                  <a:pt x="3428" y="443"/>
                </a:moveTo>
                <a:cubicBezTo>
                  <a:pt x="3427" y="444"/>
                  <a:pt x="3426" y="445"/>
                  <a:pt x="3424" y="446"/>
                </a:cubicBezTo>
                <a:cubicBezTo>
                  <a:pt x="3424" y="446"/>
                  <a:pt x="3424" y="447"/>
                  <a:pt x="3424" y="448"/>
                </a:cubicBezTo>
                <a:cubicBezTo>
                  <a:pt x="3424" y="451"/>
                  <a:pt x="3428" y="455"/>
                  <a:pt x="3431" y="455"/>
                </a:cubicBezTo>
                <a:cubicBezTo>
                  <a:pt x="3433" y="455"/>
                  <a:pt x="3434" y="453"/>
                  <a:pt x="3433" y="452"/>
                </a:cubicBezTo>
                <a:cubicBezTo>
                  <a:pt x="3431" y="449"/>
                  <a:pt x="3430" y="446"/>
                  <a:pt x="3428" y="443"/>
                </a:cubicBezTo>
                <a:close/>
                <a:moveTo>
                  <a:pt x="3481" y="445"/>
                </a:moveTo>
                <a:cubicBezTo>
                  <a:pt x="3478" y="450"/>
                  <a:pt x="3476" y="454"/>
                  <a:pt x="3474" y="458"/>
                </a:cubicBezTo>
                <a:cubicBezTo>
                  <a:pt x="3476" y="458"/>
                  <a:pt x="3479" y="459"/>
                  <a:pt x="3481" y="458"/>
                </a:cubicBezTo>
                <a:cubicBezTo>
                  <a:pt x="3482" y="458"/>
                  <a:pt x="3482" y="457"/>
                  <a:pt x="3482" y="457"/>
                </a:cubicBezTo>
                <a:cubicBezTo>
                  <a:pt x="3482" y="454"/>
                  <a:pt x="3482" y="452"/>
                  <a:pt x="3482" y="449"/>
                </a:cubicBezTo>
                <a:cubicBezTo>
                  <a:pt x="3481" y="448"/>
                  <a:pt x="3481" y="446"/>
                  <a:pt x="3481" y="445"/>
                </a:cubicBezTo>
                <a:close/>
                <a:moveTo>
                  <a:pt x="3428" y="425"/>
                </a:moveTo>
                <a:cubicBezTo>
                  <a:pt x="3427" y="425"/>
                  <a:pt x="3427" y="426"/>
                  <a:pt x="3426" y="426"/>
                </a:cubicBezTo>
                <a:cubicBezTo>
                  <a:pt x="3425" y="426"/>
                  <a:pt x="3425" y="426"/>
                  <a:pt x="3425" y="425"/>
                </a:cubicBezTo>
                <a:cubicBezTo>
                  <a:pt x="3424" y="425"/>
                  <a:pt x="3424" y="424"/>
                  <a:pt x="3424" y="423"/>
                </a:cubicBezTo>
                <a:cubicBezTo>
                  <a:pt x="3425" y="421"/>
                  <a:pt x="3425" y="419"/>
                  <a:pt x="3426" y="417"/>
                </a:cubicBezTo>
                <a:cubicBezTo>
                  <a:pt x="3425" y="417"/>
                  <a:pt x="3425" y="417"/>
                  <a:pt x="3425" y="417"/>
                </a:cubicBezTo>
                <a:cubicBezTo>
                  <a:pt x="3424" y="418"/>
                  <a:pt x="3423" y="419"/>
                  <a:pt x="3423" y="420"/>
                </a:cubicBezTo>
                <a:cubicBezTo>
                  <a:pt x="3422" y="421"/>
                  <a:pt x="3423" y="426"/>
                  <a:pt x="3425" y="427"/>
                </a:cubicBezTo>
                <a:cubicBezTo>
                  <a:pt x="3426" y="428"/>
                  <a:pt x="3428" y="427"/>
                  <a:pt x="3428" y="425"/>
                </a:cubicBezTo>
                <a:close/>
                <a:moveTo>
                  <a:pt x="3480" y="417"/>
                </a:moveTo>
                <a:cubicBezTo>
                  <a:pt x="3484" y="413"/>
                  <a:pt x="3484" y="413"/>
                  <a:pt x="3488" y="412"/>
                </a:cubicBezTo>
                <a:cubicBezTo>
                  <a:pt x="3488" y="414"/>
                  <a:pt x="3489" y="415"/>
                  <a:pt x="3490" y="415"/>
                </a:cubicBezTo>
                <a:cubicBezTo>
                  <a:pt x="3488" y="416"/>
                  <a:pt x="3486" y="418"/>
                  <a:pt x="3484" y="419"/>
                </a:cubicBezTo>
                <a:cubicBezTo>
                  <a:pt x="3483" y="418"/>
                  <a:pt x="3483" y="417"/>
                  <a:pt x="3482" y="416"/>
                </a:cubicBezTo>
                <a:cubicBezTo>
                  <a:pt x="3482" y="416"/>
                  <a:pt x="3481" y="416"/>
                  <a:pt x="3480" y="417"/>
                </a:cubicBezTo>
                <a:close/>
                <a:moveTo>
                  <a:pt x="3486" y="416"/>
                </a:moveTo>
                <a:cubicBezTo>
                  <a:pt x="3486" y="416"/>
                  <a:pt x="3485" y="415"/>
                  <a:pt x="3484" y="415"/>
                </a:cubicBezTo>
                <a:cubicBezTo>
                  <a:pt x="3484" y="415"/>
                  <a:pt x="3483" y="416"/>
                  <a:pt x="3483" y="417"/>
                </a:cubicBezTo>
                <a:cubicBezTo>
                  <a:pt x="3483" y="417"/>
                  <a:pt x="3484" y="417"/>
                  <a:pt x="3484" y="418"/>
                </a:cubicBezTo>
                <a:cubicBezTo>
                  <a:pt x="3485" y="417"/>
                  <a:pt x="3485" y="417"/>
                  <a:pt x="3486" y="416"/>
                </a:cubicBezTo>
                <a:close/>
                <a:moveTo>
                  <a:pt x="3467" y="407"/>
                </a:moveTo>
                <a:cubicBezTo>
                  <a:pt x="3461" y="406"/>
                  <a:pt x="3458" y="408"/>
                  <a:pt x="3457" y="416"/>
                </a:cubicBezTo>
                <a:cubicBezTo>
                  <a:pt x="3458" y="414"/>
                  <a:pt x="3459" y="412"/>
                  <a:pt x="3460" y="409"/>
                </a:cubicBezTo>
                <a:cubicBezTo>
                  <a:pt x="3461" y="409"/>
                  <a:pt x="3461" y="409"/>
                  <a:pt x="3461" y="409"/>
                </a:cubicBezTo>
                <a:cubicBezTo>
                  <a:pt x="3461" y="411"/>
                  <a:pt x="3461" y="411"/>
                  <a:pt x="3461" y="412"/>
                </a:cubicBezTo>
                <a:cubicBezTo>
                  <a:pt x="3462" y="409"/>
                  <a:pt x="3464" y="407"/>
                  <a:pt x="3467" y="407"/>
                </a:cubicBezTo>
                <a:close/>
                <a:moveTo>
                  <a:pt x="3511" y="408"/>
                </a:moveTo>
                <a:cubicBezTo>
                  <a:pt x="3509" y="410"/>
                  <a:pt x="3507" y="411"/>
                  <a:pt x="3506" y="412"/>
                </a:cubicBezTo>
                <a:cubicBezTo>
                  <a:pt x="3508" y="413"/>
                  <a:pt x="3510" y="411"/>
                  <a:pt x="3511" y="408"/>
                </a:cubicBezTo>
                <a:close/>
                <a:moveTo>
                  <a:pt x="3478" y="410"/>
                </a:moveTo>
                <a:cubicBezTo>
                  <a:pt x="3479" y="409"/>
                  <a:pt x="3480" y="408"/>
                  <a:pt x="3481" y="406"/>
                </a:cubicBezTo>
                <a:cubicBezTo>
                  <a:pt x="3478" y="408"/>
                  <a:pt x="3477" y="408"/>
                  <a:pt x="3478" y="410"/>
                </a:cubicBezTo>
                <a:close/>
                <a:moveTo>
                  <a:pt x="3488" y="431"/>
                </a:moveTo>
                <a:cubicBezTo>
                  <a:pt x="3486" y="432"/>
                  <a:pt x="3485" y="433"/>
                  <a:pt x="3485" y="433"/>
                </a:cubicBezTo>
                <a:cubicBezTo>
                  <a:pt x="3486" y="433"/>
                  <a:pt x="3487" y="432"/>
                  <a:pt x="3488" y="431"/>
                </a:cubicBezTo>
                <a:close/>
                <a:moveTo>
                  <a:pt x="3487" y="416"/>
                </a:moveTo>
                <a:cubicBezTo>
                  <a:pt x="3486" y="416"/>
                  <a:pt x="3485" y="415"/>
                  <a:pt x="3484" y="415"/>
                </a:cubicBezTo>
                <a:cubicBezTo>
                  <a:pt x="3484" y="415"/>
                  <a:pt x="3483" y="416"/>
                  <a:pt x="3483" y="417"/>
                </a:cubicBezTo>
                <a:cubicBezTo>
                  <a:pt x="3483" y="417"/>
                  <a:pt x="3484" y="417"/>
                  <a:pt x="3484" y="418"/>
                </a:cubicBezTo>
                <a:cubicBezTo>
                  <a:pt x="3485" y="417"/>
                  <a:pt x="3485" y="417"/>
                  <a:pt x="3487" y="416"/>
                </a:cubicBezTo>
                <a:close/>
                <a:moveTo>
                  <a:pt x="3034" y="298"/>
                </a:moveTo>
                <a:cubicBezTo>
                  <a:pt x="3034" y="298"/>
                  <a:pt x="3034" y="298"/>
                  <a:pt x="3034" y="298"/>
                </a:cubicBezTo>
                <a:cubicBezTo>
                  <a:pt x="3029" y="298"/>
                  <a:pt x="3029" y="298"/>
                  <a:pt x="3029" y="298"/>
                </a:cubicBezTo>
                <a:cubicBezTo>
                  <a:pt x="3027" y="299"/>
                  <a:pt x="3026" y="301"/>
                  <a:pt x="3024" y="302"/>
                </a:cubicBezTo>
                <a:cubicBezTo>
                  <a:pt x="3022" y="303"/>
                  <a:pt x="3020" y="304"/>
                  <a:pt x="3018" y="305"/>
                </a:cubicBezTo>
                <a:cubicBezTo>
                  <a:pt x="3017" y="306"/>
                  <a:pt x="3015" y="307"/>
                  <a:pt x="3013" y="307"/>
                </a:cubicBezTo>
                <a:cubicBezTo>
                  <a:pt x="3011" y="308"/>
                  <a:pt x="3010" y="309"/>
                  <a:pt x="3008" y="309"/>
                </a:cubicBezTo>
                <a:cubicBezTo>
                  <a:pt x="3008" y="309"/>
                  <a:pt x="3008" y="309"/>
                  <a:pt x="3008" y="319"/>
                </a:cubicBezTo>
                <a:cubicBezTo>
                  <a:pt x="3010" y="318"/>
                  <a:pt x="3013" y="318"/>
                  <a:pt x="3016" y="316"/>
                </a:cubicBezTo>
                <a:cubicBezTo>
                  <a:pt x="3018" y="315"/>
                  <a:pt x="3021" y="314"/>
                  <a:pt x="3023" y="313"/>
                </a:cubicBezTo>
                <a:cubicBezTo>
                  <a:pt x="3023" y="313"/>
                  <a:pt x="3023" y="313"/>
                  <a:pt x="3023" y="371"/>
                </a:cubicBezTo>
                <a:cubicBezTo>
                  <a:pt x="3023" y="371"/>
                  <a:pt x="3023" y="371"/>
                  <a:pt x="3034" y="371"/>
                </a:cubicBezTo>
                <a:cubicBezTo>
                  <a:pt x="3034" y="371"/>
                  <a:pt x="3034" y="371"/>
                  <a:pt x="3034" y="298"/>
                </a:cubicBezTo>
                <a:close/>
                <a:moveTo>
                  <a:pt x="3081" y="298"/>
                </a:moveTo>
                <a:cubicBezTo>
                  <a:pt x="3081" y="298"/>
                  <a:pt x="3081" y="298"/>
                  <a:pt x="3081" y="298"/>
                </a:cubicBezTo>
                <a:cubicBezTo>
                  <a:pt x="3076" y="298"/>
                  <a:pt x="3076" y="298"/>
                  <a:pt x="3076" y="298"/>
                </a:cubicBezTo>
                <a:cubicBezTo>
                  <a:pt x="3075" y="299"/>
                  <a:pt x="3073" y="301"/>
                  <a:pt x="3071" y="302"/>
                </a:cubicBezTo>
                <a:cubicBezTo>
                  <a:pt x="3069" y="303"/>
                  <a:pt x="3067" y="304"/>
                  <a:pt x="3065" y="305"/>
                </a:cubicBezTo>
                <a:cubicBezTo>
                  <a:pt x="3064" y="306"/>
                  <a:pt x="3061" y="307"/>
                  <a:pt x="3060" y="307"/>
                </a:cubicBezTo>
                <a:cubicBezTo>
                  <a:pt x="3058" y="308"/>
                  <a:pt x="3056" y="309"/>
                  <a:pt x="3054" y="309"/>
                </a:cubicBezTo>
                <a:cubicBezTo>
                  <a:pt x="3054" y="309"/>
                  <a:pt x="3054" y="309"/>
                  <a:pt x="3054" y="319"/>
                </a:cubicBezTo>
                <a:cubicBezTo>
                  <a:pt x="3057" y="318"/>
                  <a:pt x="3060" y="318"/>
                  <a:pt x="3063" y="316"/>
                </a:cubicBezTo>
                <a:cubicBezTo>
                  <a:pt x="3065" y="315"/>
                  <a:pt x="3067" y="314"/>
                  <a:pt x="3070" y="313"/>
                </a:cubicBezTo>
                <a:cubicBezTo>
                  <a:pt x="3070" y="313"/>
                  <a:pt x="3070" y="313"/>
                  <a:pt x="3070" y="371"/>
                </a:cubicBezTo>
                <a:cubicBezTo>
                  <a:pt x="3070" y="371"/>
                  <a:pt x="3070" y="371"/>
                  <a:pt x="3081" y="371"/>
                </a:cubicBezTo>
                <a:cubicBezTo>
                  <a:pt x="3081" y="371"/>
                  <a:pt x="3081" y="371"/>
                  <a:pt x="3081" y="298"/>
                </a:cubicBezTo>
                <a:close/>
                <a:moveTo>
                  <a:pt x="3127" y="298"/>
                </a:moveTo>
                <a:cubicBezTo>
                  <a:pt x="3127" y="298"/>
                  <a:pt x="3127" y="298"/>
                  <a:pt x="3127" y="298"/>
                </a:cubicBezTo>
                <a:cubicBezTo>
                  <a:pt x="3123" y="298"/>
                  <a:pt x="3123" y="298"/>
                  <a:pt x="3123" y="298"/>
                </a:cubicBezTo>
                <a:cubicBezTo>
                  <a:pt x="3121" y="299"/>
                  <a:pt x="3119" y="301"/>
                  <a:pt x="3117" y="302"/>
                </a:cubicBezTo>
                <a:cubicBezTo>
                  <a:pt x="3116" y="303"/>
                  <a:pt x="3113" y="304"/>
                  <a:pt x="3112" y="305"/>
                </a:cubicBezTo>
                <a:cubicBezTo>
                  <a:pt x="3110" y="305"/>
                  <a:pt x="3108" y="306"/>
                  <a:pt x="3106" y="307"/>
                </a:cubicBezTo>
                <a:cubicBezTo>
                  <a:pt x="3105" y="307"/>
                  <a:pt x="3103" y="308"/>
                  <a:pt x="3101" y="309"/>
                </a:cubicBezTo>
                <a:cubicBezTo>
                  <a:pt x="3101" y="309"/>
                  <a:pt x="3101" y="309"/>
                  <a:pt x="3101" y="319"/>
                </a:cubicBezTo>
                <a:cubicBezTo>
                  <a:pt x="3104" y="318"/>
                  <a:pt x="3107" y="317"/>
                  <a:pt x="3109" y="316"/>
                </a:cubicBezTo>
                <a:cubicBezTo>
                  <a:pt x="3111" y="315"/>
                  <a:pt x="3114" y="314"/>
                  <a:pt x="3116" y="313"/>
                </a:cubicBezTo>
                <a:cubicBezTo>
                  <a:pt x="3116" y="313"/>
                  <a:pt x="3116" y="313"/>
                  <a:pt x="3116" y="371"/>
                </a:cubicBezTo>
                <a:cubicBezTo>
                  <a:pt x="3116" y="371"/>
                  <a:pt x="3116" y="371"/>
                  <a:pt x="3127" y="371"/>
                </a:cubicBezTo>
                <a:cubicBezTo>
                  <a:pt x="3127" y="371"/>
                  <a:pt x="3127" y="371"/>
                  <a:pt x="3127" y="298"/>
                </a:cubicBezTo>
                <a:close/>
                <a:moveTo>
                  <a:pt x="3264" y="330"/>
                </a:moveTo>
                <a:cubicBezTo>
                  <a:pt x="3264" y="330"/>
                  <a:pt x="3264" y="330"/>
                  <a:pt x="3264" y="330"/>
                </a:cubicBezTo>
                <a:cubicBezTo>
                  <a:pt x="3263" y="339"/>
                  <a:pt x="3263" y="339"/>
                  <a:pt x="3263" y="339"/>
                </a:cubicBezTo>
                <a:cubicBezTo>
                  <a:pt x="3270" y="339"/>
                  <a:pt x="3271" y="342"/>
                  <a:pt x="3271" y="344"/>
                </a:cubicBezTo>
                <a:cubicBezTo>
                  <a:pt x="3271" y="347"/>
                  <a:pt x="3270" y="349"/>
                  <a:pt x="3270" y="352"/>
                </a:cubicBezTo>
                <a:cubicBezTo>
                  <a:pt x="3270" y="354"/>
                  <a:pt x="3269" y="356"/>
                  <a:pt x="3269" y="359"/>
                </a:cubicBezTo>
                <a:cubicBezTo>
                  <a:pt x="3269" y="368"/>
                  <a:pt x="3275" y="371"/>
                  <a:pt x="3284" y="371"/>
                </a:cubicBezTo>
                <a:cubicBezTo>
                  <a:pt x="3284" y="371"/>
                  <a:pt x="3284" y="371"/>
                  <a:pt x="3288" y="371"/>
                </a:cubicBezTo>
                <a:cubicBezTo>
                  <a:pt x="3288" y="371"/>
                  <a:pt x="3288" y="371"/>
                  <a:pt x="3288" y="362"/>
                </a:cubicBezTo>
                <a:cubicBezTo>
                  <a:pt x="3288" y="362"/>
                  <a:pt x="3288" y="362"/>
                  <a:pt x="3286" y="362"/>
                </a:cubicBezTo>
                <a:cubicBezTo>
                  <a:pt x="3283" y="362"/>
                  <a:pt x="3281" y="360"/>
                  <a:pt x="3281" y="356"/>
                </a:cubicBezTo>
                <a:cubicBezTo>
                  <a:pt x="3281" y="355"/>
                  <a:pt x="3281" y="353"/>
                  <a:pt x="3282" y="352"/>
                </a:cubicBezTo>
                <a:cubicBezTo>
                  <a:pt x="3282" y="350"/>
                  <a:pt x="3282" y="348"/>
                  <a:pt x="3282" y="346"/>
                </a:cubicBezTo>
                <a:cubicBezTo>
                  <a:pt x="3282" y="338"/>
                  <a:pt x="3279" y="336"/>
                  <a:pt x="3274" y="334"/>
                </a:cubicBezTo>
                <a:cubicBezTo>
                  <a:pt x="3274" y="334"/>
                  <a:pt x="3274" y="334"/>
                  <a:pt x="3274" y="334"/>
                </a:cubicBezTo>
                <a:cubicBezTo>
                  <a:pt x="3279" y="333"/>
                  <a:pt x="3282" y="331"/>
                  <a:pt x="3282" y="323"/>
                </a:cubicBezTo>
                <a:cubicBezTo>
                  <a:pt x="3282" y="321"/>
                  <a:pt x="3282" y="319"/>
                  <a:pt x="3282" y="317"/>
                </a:cubicBezTo>
                <a:cubicBezTo>
                  <a:pt x="3281" y="315"/>
                  <a:pt x="3281" y="313"/>
                  <a:pt x="3281" y="312"/>
                </a:cubicBezTo>
                <a:cubicBezTo>
                  <a:pt x="3281" y="309"/>
                  <a:pt x="3283" y="306"/>
                  <a:pt x="3286" y="306"/>
                </a:cubicBezTo>
                <a:cubicBezTo>
                  <a:pt x="3286" y="306"/>
                  <a:pt x="3286" y="306"/>
                  <a:pt x="3288" y="306"/>
                </a:cubicBezTo>
                <a:cubicBezTo>
                  <a:pt x="3288" y="306"/>
                  <a:pt x="3288" y="306"/>
                  <a:pt x="3288" y="297"/>
                </a:cubicBezTo>
                <a:cubicBezTo>
                  <a:pt x="3288" y="297"/>
                  <a:pt x="3288" y="297"/>
                  <a:pt x="3284" y="297"/>
                </a:cubicBezTo>
                <a:cubicBezTo>
                  <a:pt x="3275" y="297"/>
                  <a:pt x="3269" y="301"/>
                  <a:pt x="3269" y="310"/>
                </a:cubicBezTo>
                <a:cubicBezTo>
                  <a:pt x="3269" y="312"/>
                  <a:pt x="3270" y="315"/>
                  <a:pt x="3270" y="317"/>
                </a:cubicBezTo>
                <a:cubicBezTo>
                  <a:pt x="3270" y="319"/>
                  <a:pt x="3271" y="322"/>
                  <a:pt x="3271" y="324"/>
                </a:cubicBezTo>
                <a:cubicBezTo>
                  <a:pt x="3271" y="327"/>
                  <a:pt x="3270" y="330"/>
                  <a:pt x="3264" y="330"/>
                </a:cubicBezTo>
                <a:close/>
                <a:moveTo>
                  <a:pt x="3319" y="339"/>
                </a:moveTo>
                <a:cubicBezTo>
                  <a:pt x="3319" y="339"/>
                  <a:pt x="3319" y="339"/>
                  <a:pt x="3319" y="339"/>
                </a:cubicBezTo>
                <a:cubicBezTo>
                  <a:pt x="3319" y="330"/>
                  <a:pt x="3319" y="330"/>
                  <a:pt x="3319" y="330"/>
                </a:cubicBezTo>
                <a:cubicBezTo>
                  <a:pt x="3312" y="330"/>
                  <a:pt x="3312" y="327"/>
                  <a:pt x="3312" y="324"/>
                </a:cubicBezTo>
                <a:cubicBezTo>
                  <a:pt x="3312" y="322"/>
                  <a:pt x="3312" y="319"/>
                  <a:pt x="3312" y="317"/>
                </a:cubicBezTo>
                <a:cubicBezTo>
                  <a:pt x="3313" y="315"/>
                  <a:pt x="3313" y="312"/>
                  <a:pt x="3313" y="310"/>
                </a:cubicBezTo>
                <a:cubicBezTo>
                  <a:pt x="3313" y="301"/>
                  <a:pt x="3307" y="297"/>
                  <a:pt x="3298" y="297"/>
                </a:cubicBezTo>
                <a:cubicBezTo>
                  <a:pt x="3298" y="297"/>
                  <a:pt x="3298" y="297"/>
                  <a:pt x="3295" y="297"/>
                </a:cubicBezTo>
                <a:cubicBezTo>
                  <a:pt x="3295" y="297"/>
                  <a:pt x="3295" y="297"/>
                  <a:pt x="3295" y="306"/>
                </a:cubicBezTo>
                <a:cubicBezTo>
                  <a:pt x="3295" y="306"/>
                  <a:pt x="3295" y="306"/>
                  <a:pt x="3296" y="306"/>
                </a:cubicBezTo>
                <a:cubicBezTo>
                  <a:pt x="3300" y="306"/>
                  <a:pt x="3301" y="309"/>
                  <a:pt x="3301" y="312"/>
                </a:cubicBezTo>
                <a:cubicBezTo>
                  <a:pt x="3301" y="313"/>
                  <a:pt x="3301" y="315"/>
                  <a:pt x="3301" y="317"/>
                </a:cubicBezTo>
                <a:cubicBezTo>
                  <a:pt x="3300" y="319"/>
                  <a:pt x="3300" y="321"/>
                  <a:pt x="3300" y="323"/>
                </a:cubicBezTo>
                <a:cubicBezTo>
                  <a:pt x="3300" y="331"/>
                  <a:pt x="3303" y="333"/>
                  <a:pt x="3309" y="334"/>
                </a:cubicBezTo>
                <a:cubicBezTo>
                  <a:pt x="3309" y="334"/>
                  <a:pt x="3309" y="334"/>
                  <a:pt x="3309" y="334"/>
                </a:cubicBezTo>
                <a:cubicBezTo>
                  <a:pt x="3303" y="336"/>
                  <a:pt x="3300" y="338"/>
                  <a:pt x="3300" y="346"/>
                </a:cubicBezTo>
                <a:cubicBezTo>
                  <a:pt x="3300" y="348"/>
                  <a:pt x="3300" y="350"/>
                  <a:pt x="3301" y="352"/>
                </a:cubicBezTo>
                <a:cubicBezTo>
                  <a:pt x="3301" y="353"/>
                  <a:pt x="3301" y="355"/>
                  <a:pt x="3301" y="356"/>
                </a:cubicBezTo>
                <a:cubicBezTo>
                  <a:pt x="3301" y="360"/>
                  <a:pt x="3300" y="362"/>
                  <a:pt x="3296" y="362"/>
                </a:cubicBezTo>
                <a:cubicBezTo>
                  <a:pt x="3296" y="362"/>
                  <a:pt x="3296" y="362"/>
                  <a:pt x="3295" y="362"/>
                </a:cubicBezTo>
                <a:cubicBezTo>
                  <a:pt x="3295" y="362"/>
                  <a:pt x="3295" y="362"/>
                  <a:pt x="3295" y="371"/>
                </a:cubicBezTo>
                <a:cubicBezTo>
                  <a:pt x="3295" y="371"/>
                  <a:pt x="3295" y="371"/>
                  <a:pt x="3298" y="371"/>
                </a:cubicBezTo>
                <a:cubicBezTo>
                  <a:pt x="3307" y="371"/>
                  <a:pt x="3313" y="368"/>
                  <a:pt x="3313" y="359"/>
                </a:cubicBezTo>
                <a:cubicBezTo>
                  <a:pt x="3313" y="356"/>
                  <a:pt x="3313" y="354"/>
                  <a:pt x="3312" y="352"/>
                </a:cubicBezTo>
                <a:cubicBezTo>
                  <a:pt x="3312" y="349"/>
                  <a:pt x="3312" y="347"/>
                  <a:pt x="3312" y="344"/>
                </a:cubicBezTo>
                <a:cubicBezTo>
                  <a:pt x="3312" y="342"/>
                  <a:pt x="3312" y="339"/>
                  <a:pt x="3319" y="339"/>
                </a:cubicBezTo>
                <a:close/>
                <a:moveTo>
                  <a:pt x="3366" y="298"/>
                </a:moveTo>
                <a:cubicBezTo>
                  <a:pt x="3366" y="298"/>
                  <a:pt x="3366" y="298"/>
                  <a:pt x="3366" y="298"/>
                </a:cubicBezTo>
                <a:cubicBezTo>
                  <a:pt x="3360" y="298"/>
                  <a:pt x="3360" y="298"/>
                  <a:pt x="3360" y="298"/>
                </a:cubicBezTo>
                <a:cubicBezTo>
                  <a:pt x="3358" y="299"/>
                  <a:pt x="3357" y="301"/>
                  <a:pt x="3355" y="302"/>
                </a:cubicBezTo>
                <a:cubicBezTo>
                  <a:pt x="3353" y="303"/>
                  <a:pt x="3351" y="304"/>
                  <a:pt x="3349" y="305"/>
                </a:cubicBezTo>
                <a:cubicBezTo>
                  <a:pt x="3347" y="305"/>
                  <a:pt x="3346" y="306"/>
                  <a:pt x="3344" y="307"/>
                </a:cubicBezTo>
                <a:cubicBezTo>
                  <a:pt x="3342" y="307"/>
                  <a:pt x="3340" y="308"/>
                  <a:pt x="3338" y="309"/>
                </a:cubicBezTo>
                <a:cubicBezTo>
                  <a:pt x="3338" y="309"/>
                  <a:pt x="3338" y="309"/>
                  <a:pt x="3338" y="319"/>
                </a:cubicBezTo>
                <a:cubicBezTo>
                  <a:pt x="3341" y="318"/>
                  <a:pt x="3344" y="317"/>
                  <a:pt x="3346" y="316"/>
                </a:cubicBezTo>
                <a:cubicBezTo>
                  <a:pt x="3349" y="315"/>
                  <a:pt x="3352" y="314"/>
                  <a:pt x="3354" y="313"/>
                </a:cubicBezTo>
                <a:cubicBezTo>
                  <a:pt x="3354" y="313"/>
                  <a:pt x="3354" y="313"/>
                  <a:pt x="3354" y="371"/>
                </a:cubicBezTo>
                <a:cubicBezTo>
                  <a:pt x="3354" y="371"/>
                  <a:pt x="3354" y="371"/>
                  <a:pt x="3366" y="371"/>
                </a:cubicBezTo>
                <a:cubicBezTo>
                  <a:pt x="3366" y="371"/>
                  <a:pt x="3366" y="371"/>
                  <a:pt x="3366" y="298"/>
                </a:cubicBezTo>
                <a:close/>
                <a:moveTo>
                  <a:pt x="3412" y="298"/>
                </a:moveTo>
                <a:cubicBezTo>
                  <a:pt x="3412" y="298"/>
                  <a:pt x="3412" y="298"/>
                  <a:pt x="3412" y="298"/>
                </a:cubicBezTo>
                <a:cubicBezTo>
                  <a:pt x="3407" y="298"/>
                  <a:pt x="3407" y="298"/>
                  <a:pt x="3407" y="298"/>
                </a:cubicBezTo>
                <a:cubicBezTo>
                  <a:pt x="3405" y="299"/>
                  <a:pt x="3403" y="301"/>
                  <a:pt x="3401" y="302"/>
                </a:cubicBezTo>
                <a:cubicBezTo>
                  <a:pt x="3400" y="303"/>
                  <a:pt x="3397" y="304"/>
                  <a:pt x="3396" y="305"/>
                </a:cubicBezTo>
                <a:cubicBezTo>
                  <a:pt x="3395" y="306"/>
                  <a:pt x="3392" y="307"/>
                  <a:pt x="3391" y="307"/>
                </a:cubicBezTo>
                <a:cubicBezTo>
                  <a:pt x="3389" y="308"/>
                  <a:pt x="3387" y="309"/>
                  <a:pt x="3385" y="309"/>
                </a:cubicBezTo>
                <a:cubicBezTo>
                  <a:pt x="3385" y="309"/>
                  <a:pt x="3385" y="309"/>
                  <a:pt x="3385" y="319"/>
                </a:cubicBezTo>
                <a:cubicBezTo>
                  <a:pt x="3388" y="318"/>
                  <a:pt x="3391" y="318"/>
                  <a:pt x="3393" y="316"/>
                </a:cubicBezTo>
                <a:cubicBezTo>
                  <a:pt x="3396" y="315"/>
                  <a:pt x="3398" y="314"/>
                  <a:pt x="3400" y="313"/>
                </a:cubicBezTo>
                <a:cubicBezTo>
                  <a:pt x="3400" y="313"/>
                  <a:pt x="3400" y="313"/>
                  <a:pt x="3400" y="371"/>
                </a:cubicBezTo>
                <a:cubicBezTo>
                  <a:pt x="3400" y="371"/>
                  <a:pt x="3400" y="371"/>
                  <a:pt x="3412" y="371"/>
                </a:cubicBezTo>
                <a:cubicBezTo>
                  <a:pt x="3412" y="371"/>
                  <a:pt x="3412" y="371"/>
                  <a:pt x="3412" y="298"/>
                </a:cubicBezTo>
                <a:close/>
                <a:moveTo>
                  <a:pt x="3458" y="298"/>
                </a:moveTo>
                <a:cubicBezTo>
                  <a:pt x="3458" y="298"/>
                  <a:pt x="3458" y="298"/>
                  <a:pt x="3458" y="298"/>
                </a:cubicBezTo>
                <a:cubicBezTo>
                  <a:pt x="3453" y="298"/>
                  <a:pt x="3453" y="298"/>
                  <a:pt x="3453" y="298"/>
                </a:cubicBezTo>
                <a:cubicBezTo>
                  <a:pt x="3451" y="299"/>
                  <a:pt x="3450" y="301"/>
                  <a:pt x="3448" y="302"/>
                </a:cubicBezTo>
                <a:cubicBezTo>
                  <a:pt x="3446" y="303"/>
                  <a:pt x="3444" y="304"/>
                  <a:pt x="3443" y="305"/>
                </a:cubicBezTo>
                <a:cubicBezTo>
                  <a:pt x="3440" y="306"/>
                  <a:pt x="3439" y="307"/>
                  <a:pt x="3437" y="307"/>
                </a:cubicBezTo>
                <a:cubicBezTo>
                  <a:pt x="3435" y="308"/>
                  <a:pt x="3433" y="309"/>
                  <a:pt x="3432" y="309"/>
                </a:cubicBezTo>
                <a:cubicBezTo>
                  <a:pt x="3432" y="309"/>
                  <a:pt x="3432" y="309"/>
                  <a:pt x="3432" y="319"/>
                </a:cubicBezTo>
                <a:cubicBezTo>
                  <a:pt x="3435" y="318"/>
                  <a:pt x="3438" y="318"/>
                  <a:pt x="3440" y="316"/>
                </a:cubicBezTo>
                <a:cubicBezTo>
                  <a:pt x="3442" y="315"/>
                  <a:pt x="3445" y="314"/>
                  <a:pt x="3446" y="313"/>
                </a:cubicBezTo>
                <a:cubicBezTo>
                  <a:pt x="3446" y="313"/>
                  <a:pt x="3446" y="313"/>
                  <a:pt x="3446" y="371"/>
                </a:cubicBezTo>
                <a:cubicBezTo>
                  <a:pt x="3446" y="371"/>
                  <a:pt x="3446" y="371"/>
                  <a:pt x="3458" y="371"/>
                </a:cubicBezTo>
                <a:cubicBezTo>
                  <a:pt x="3458" y="371"/>
                  <a:pt x="3458" y="371"/>
                  <a:pt x="3458" y="298"/>
                </a:cubicBezTo>
                <a:close/>
                <a:moveTo>
                  <a:pt x="3207" y="345"/>
                </a:moveTo>
                <a:cubicBezTo>
                  <a:pt x="3208" y="347"/>
                  <a:pt x="3208" y="348"/>
                  <a:pt x="3209" y="350"/>
                </a:cubicBezTo>
                <a:cubicBezTo>
                  <a:pt x="3209" y="351"/>
                  <a:pt x="3210" y="353"/>
                  <a:pt x="3210" y="355"/>
                </a:cubicBezTo>
                <a:cubicBezTo>
                  <a:pt x="3210" y="356"/>
                  <a:pt x="3210" y="358"/>
                  <a:pt x="3210" y="360"/>
                </a:cubicBezTo>
                <a:cubicBezTo>
                  <a:pt x="3211" y="363"/>
                  <a:pt x="3210" y="364"/>
                  <a:pt x="3207" y="364"/>
                </a:cubicBezTo>
                <a:cubicBezTo>
                  <a:pt x="3204" y="364"/>
                  <a:pt x="3201" y="364"/>
                  <a:pt x="3199" y="364"/>
                </a:cubicBezTo>
                <a:cubicBezTo>
                  <a:pt x="3198" y="364"/>
                  <a:pt x="3197" y="364"/>
                  <a:pt x="3197" y="364"/>
                </a:cubicBezTo>
                <a:cubicBezTo>
                  <a:pt x="3195" y="366"/>
                  <a:pt x="3194" y="367"/>
                  <a:pt x="3193" y="369"/>
                </a:cubicBezTo>
                <a:cubicBezTo>
                  <a:pt x="3191" y="371"/>
                  <a:pt x="3188" y="371"/>
                  <a:pt x="3185" y="369"/>
                </a:cubicBezTo>
                <a:cubicBezTo>
                  <a:pt x="3183" y="367"/>
                  <a:pt x="3182" y="365"/>
                  <a:pt x="3181" y="362"/>
                </a:cubicBezTo>
                <a:cubicBezTo>
                  <a:pt x="3180" y="360"/>
                  <a:pt x="3180" y="359"/>
                  <a:pt x="3183" y="357"/>
                </a:cubicBezTo>
                <a:cubicBezTo>
                  <a:pt x="3180" y="357"/>
                  <a:pt x="3178" y="357"/>
                  <a:pt x="3177" y="357"/>
                </a:cubicBezTo>
                <a:cubicBezTo>
                  <a:pt x="3176" y="359"/>
                  <a:pt x="3175" y="361"/>
                  <a:pt x="3174" y="363"/>
                </a:cubicBezTo>
                <a:cubicBezTo>
                  <a:pt x="3174" y="364"/>
                  <a:pt x="3173" y="365"/>
                  <a:pt x="3173" y="365"/>
                </a:cubicBezTo>
                <a:cubicBezTo>
                  <a:pt x="3173" y="369"/>
                  <a:pt x="3172" y="370"/>
                  <a:pt x="3169" y="369"/>
                </a:cubicBezTo>
                <a:cubicBezTo>
                  <a:pt x="3166" y="369"/>
                  <a:pt x="3163" y="368"/>
                  <a:pt x="3160" y="367"/>
                </a:cubicBezTo>
                <a:cubicBezTo>
                  <a:pt x="3158" y="367"/>
                  <a:pt x="3158" y="365"/>
                  <a:pt x="3158" y="363"/>
                </a:cubicBezTo>
                <a:cubicBezTo>
                  <a:pt x="3159" y="362"/>
                  <a:pt x="3159" y="362"/>
                  <a:pt x="3159" y="362"/>
                </a:cubicBezTo>
                <a:cubicBezTo>
                  <a:pt x="3157" y="360"/>
                  <a:pt x="3154" y="360"/>
                  <a:pt x="3152" y="358"/>
                </a:cubicBezTo>
                <a:cubicBezTo>
                  <a:pt x="3151" y="357"/>
                  <a:pt x="3150" y="355"/>
                  <a:pt x="3149" y="354"/>
                </a:cubicBezTo>
                <a:cubicBezTo>
                  <a:pt x="3148" y="352"/>
                  <a:pt x="3148" y="350"/>
                  <a:pt x="3150" y="348"/>
                </a:cubicBezTo>
                <a:cubicBezTo>
                  <a:pt x="3153" y="346"/>
                  <a:pt x="3154" y="343"/>
                  <a:pt x="3153" y="339"/>
                </a:cubicBezTo>
                <a:cubicBezTo>
                  <a:pt x="3153" y="337"/>
                  <a:pt x="3153" y="335"/>
                  <a:pt x="3153" y="333"/>
                </a:cubicBezTo>
                <a:cubicBezTo>
                  <a:pt x="3152" y="333"/>
                  <a:pt x="3150" y="332"/>
                  <a:pt x="3150" y="331"/>
                </a:cubicBezTo>
                <a:cubicBezTo>
                  <a:pt x="3148" y="329"/>
                  <a:pt x="3148" y="327"/>
                  <a:pt x="3148" y="325"/>
                </a:cubicBezTo>
                <a:cubicBezTo>
                  <a:pt x="3147" y="323"/>
                  <a:pt x="3151" y="320"/>
                  <a:pt x="3153" y="319"/>
                </a:cubicBezTo>
                <a:cubicBezTo>
                  <a:pt x="3154" y="320"/>
                  <a:pt x="3154" y="321"/>
                  <a:pt x="3154" y="322"/>
                </a:cubicBezTo>
                <a:cubicBezTo>
                  <a:pt x="3154" y="323"/>
                  <a:pt x="3154" y="323"/>
                  <a:pt x="3155" y="325"/>
                </a:cubicBezTo>
                <a:cubicBezTo>
                  <a:pt x="3154" y="324"/>
                  <a:pt x="3153" y="324"/>
                  <a:pt x="3153" y="324"/>
                </a:cubicBezTo>
                <a:cubicBezTo>
                  <a:pt x="3153" y="325"/>
                  <a:pt x="3152" y="327"/>
                  <a:pt x="3152" y="329"/>
                </a:cubicBezTo>
                <a:cubicBezTo>
                  <a:pt x="3153" y="328"/>
                  <a:pt x="3153" y="328"/>
                  <a:pt x="3154" y="328"/>
                </a:cubicBezTo>
                <a:cubicBezTo>
                  <a:pt x="3155" y="327"/>
                  <a:pt x="3156" y="326"/>
                  <a:pt x="3157" y="325"/>
                </a:cubicBezTo>
                <a:cubicBezTo>
                  <a:pt x="3161" y="318"/>
                  <a:pt x="3167" y="314"/>
                  <a:pt x="3175" y="312"/>
                </a:cubicBezTo>
                <a:cubicBezTo>
                  <a:pt x="3178" y="312"/>
                  <a:pt x="3181" y="311"/>
                  <a:pt x="3183" y="308"/>
                </a:cubicBezTo>
                <a:cubicBezTo>
                  <a:pt x="3183" y="308"/>
                  <a:pt x="3184" y="307"/>
                  <a:pt x="3184" y="307"/>
                </a:cubicBezTo>
                <a:cubicBezTo>
                  <a:pt x="3187" y="307"/>
                  <a:pt x="3189" y="304"/>
                  <a:pt x="3191" y="303"/>
                </a:cubicBezTo>
                <a:cubicBezTo>
                  <a:pt x="3198" y="295"/>
                  <a:pt x="3210" y="295"/>
                  <a:pt x="3218" y="301"/>
                </a:cubicBezTo>
                <a:cubicBezTo>
                  <a:pt x="3220" y="303"/>
                  <a:pt x="3223" y="305"/>
                  <a:pt x="3225" y="307"/>
                </a:cubicBezTo>
                <a:cubicBezTo>
                  <a:pt x="3227" y="308"/>
                  <a:pt x="3228" y="310"/>
                  <a:pt x="3229" y="312"/>
                </a:cubicBezTo>
                <a:cubicBezTo>
                  <a:pt x="3230" y="314"/>
                  <a:pt x="3231" y="314"/>
                  <a:pt x="3232" y="312"/>
                </a:cubicBezTo>
                <a:cubicBezTo>
                  <a:pt x="3233" y="312"/>
                  <a:pt x="3233" y="311"/>
                  <a:pt x="3234" y="310"/>
                </a:cubicBezTo>
                <a:cubicBezTo>
                  <a:pt x="3236" y="308"/>
                  <a:pt x="3239" y="308"/>
                  <a:pt x="3241" y="311"/>
                </a:cubicBezTo>
                <a:cubicBezTo>
                  <a:pt x="3242" y="314"/>
                  <a:pt x="3243" y="317"/>
                  <a:pt x="3243" y="320"/>
                </a:cubicBezTo>
                <a:cubicBezTo>
                  <a:pt x="3244" y="324"/>
                  <a:pt x="3243" y="329"/>
                  <a:pt x="3242" y="333"/>
                </a:cubicBezTo>
                <a:cubicBezTo>
                  <a:pt x="3239" y="339"/>
                  <a:pt x="3235" y="343"/>
                  <a:pt x="3228" y="343"/>
                </a:cubicBezTo>
                <a:cubicBezTo>
                  <a:pt x="3227" y="343"/>
                  <a:pt x="3227" y="343"/>
                  <a:pt x="3226" y="343"/>
                </a:cubicBezTo>
                <a:cubicBezTo>
                  <a:pt x="3224" y="343"/>
                  <a:pt x="3223" y="343"/>
                  <a:pt x="3222" y="345"/>
                </a:cubicBezTo>
                <a:cubicBezTo>
                  <a:pt x="3220" y="350"/>
                  <a:pt x="3215" y="351"/>
                  <a:pt x="3211" y="348"/>
                </a:cubicBezTo>
                <a:cubicBezTo>
                  <a:pt x="3210" y="347"/>
                  <a:pt x="3209" y="346"/>
                  <a:pt x="3208" y="345"/>
                </a:cubicBezTo>
                <a:cubicBezTo>
                  <a:pt x="3208" y="345"/>
                  <a:pt x="3208" y="345"/>
                  <a:pt x="3207" y="345"/>
                </a:cubicBezTo>
                <a:close/>
                <a:moveTo>
                  <a:pt x="3202" y="341"/>
                </a:moveTo>
                <a:cubicBezTo>
                  <a:pt x="3205" y="343"/>
                  <a:pt x="3209" y="344"/>
                  <a:pt x="3212" y="346"/>
                </a:cubicBezTo>
                <a:cubicBezTo>
                  <a:pt x="3213" y="348"/>
                  <a:pt x="3215" y="349"/>
                  <a:pt x="3217" y="348"/>
                </a:cubicBezTo>
                <a:cubicBezTo>
                  <a:pt x="3220" y="347"/>
                  <a:pt x="3221" y="345"/>
                  <a:pt x="3221" y="342"/>
                </a:cubicBezTo>
                <a:cubicBezTo>
                  <a:pt x="3221" y="343"/>
                  <a:pt x="3220" y="343"/>
                  <a:pt x="3220" y="343"/>
                </a:cubicBezTo>
                <a:cubicBezTo>
                  <a:pt x="3220" y="344"/>
                  <a:pt x="3219" y="345"/>
                  <a:pt x="3218" y="346"/>
                </a:cubicBezTo>
                <a:cubicBezTo>
                  <a:pt x="3217" y="348"/>
                  <a:pt x="3215" y="347"/>
                  <a:pt x="3215" y="347"/>
                </a:cubicBezTo>
                <a:cubicBezTo>
                  <a:pt x="3214" y="347"/>
                  <a:pt x="3213" y="346"/>
                  <a:pt x="3213" y="345"/>
                </a:cubicBezTo>
                <a:cubicBezTo>
                  <a:pt x="3213" y="343"/>
                  <a:pt x="3214" y="341"/>
                  <a:pt x="3214" y="339"/>
                </a:cubicBezTo>
                <a:cubicBezTo>
                  <a:pt x="3217" y="339"/>
                  <a:pt x="3221" y="341"/>
                  <a:pt x="3224" y="341"/>
                </a:cubicBezTo>
                <a:cubicBezTo>
                  <a:pt x="3232" y="342"/>
                  <a:pt x="3237" y="341"/>
                  <a:pt x="3241" y="332"/>
                </a:cubicBezTo>
                <a:cubicBezTo>
                  <a:pt x="3242" y="327"/>
                  <a:pt x="3242" y="322"/>
                  <a:pt x="3241" y="317"/>
                </a:cubicBezTo>
                <a:cubicBezTo>
                  <a:pt x="3241" y="315"/>
                  <a:pt x="3240" y="314"/>
                  <a:pt x="3239" y="312"/>
                </a:cubicBezTo>
                <a:cubicBezTo>
                  <a:pt x="3238" y="310"/>
                  <a:pt x="3237" y="310"/>
                  <a:pt x="3236" y="311"/>
                </a:cubicBezTo>
                <a:cubicBezTo>
                  <a:pt x="3234" y="313"/>
                  <a:pt x="3233" y="314"/>
                  <a:pt x="3231" y="315"/>
                </a:cubicBezTo>
                <a:cubicBezTo>
                  <a:pt x="3230" y="316"/>
                  <a:pt x="3229" y="316"/>
                  <a:pt x="3230" y="318"/>
                </a:cubicBezTo>
                <a:cubicBezTo>
                  <a:pt x="3230" y="321"/>
                  <a:pt x="3230" y="324"/>
                  <a:pt x="3228" y="327"/>
                </a:cubicBezTo>
                <a:cubicBezTo>
                  <a:pt x="3228" y="325"/>
                  <a:pt x="3229" y="323"/>
                  <a:pt x="3229" y="322"/>
                </a:cubicBezTo>
                <a:cubicBezTo>
                  <a:pt x="3229" y="321"/>
                  <a:pt x="3228" y="320"/>
                  <a:pt x="3228" y="320"/>
                </a:cubicBezTo>
                <a:cubicBezTo>
                  <a:pt x="3228" y="320"/>
                  <a:pt x="3227" y="320"/>
                  <a:pt x="3227" y="321"/>
                </a:cubicBezTo>
                <a:cubicBezTo>
                  <a:pt x="3226" y="322"/>
                  <a:pt x="3225" y="323"/>
                  <a:pt x="3224" y="325"/>
                </a:cubicBezTo>
                <a:cubicBezTo>
                  <a:pt x="3224" y="325"/>
                  <a:pt x="3224" y="325"/>
                  <a:pt x="3224" y="325"/>
                </a:cubicBezTo>
                <a:cubicBezTo>
                  <a:pt x="3224" y="323"/>
                  <a:pt x="3225" y="322"/>
                  <a:pt x="3225" y="319"/>
                </a:cubicBezTo>
                <a:cubicBezTo>
                  <a:pt x="3224" y="320"/>
                  <a:pt x="3224" y="320"/>
                  <a:pt x="3223" y="321"/>
                </a:cubicBezTo>
                <a:cubicBezTo>
                  <a:pt x="3223" y="322"/>
                  <a:pt x="3222" y="322"/>
                  <a:pt x="3222" y="323"/>
                </a:cubicBezTo>
                <a:cubicBezTo>
                  <a:pt x="3222" y="320"/>
                  <a:pt x="3223" y="320"/>
                  <a:pt x="3228" y="318"/>
                </a:cubicBezTo>
                <a:cubicBezTo>
                  <a:pt x="3228" y="318"/>
                  <a:pt x="3227" y="317"/>
                  <a:pt x="3227" y="317"/>
                </a:cubicBezTo>
                <a:cubicBezTo>
                  <a:pt x="3224" y="318"/>
                  <a:pt x="3224" y="316"/>
                  <a:pt x="3223" y="314"/>
                </a:cubicBezTo>
                <a:cubicBezTo>
                  <a:pt x="3225" y="314"/>
                  <a:pt x="3226" y="313"/>
                  <a:pt x="3228" y="313"/>
                </a:cubicBezTo>
                <a:cubicBezTo>
                  <a:pt x="3226" y="310"/>
                  <a:pt x="3225" y="308"/>
                  <a:pt x="3222" y="307"/>
                </a:cubicBezTo>
                <a:cubicBezTo>
                  <a:pt x="3221" y="307"/>
                  <a:pt x="3221" y="307"/>
                  <a:pt x="3221" y="306"/>
                </a:cubicBezTo>
                <a:cubicBezTo>
                  <a:pt x="3219" y="304"/>
                  <a:pt x="3216" y="302"/>
                  <a:pt x="3213" y="300"/>
                </a:cubicBezTo>
                <a:cubicBezTo>
                  <a:pt x="3211" y="299"/>
                  <a:pt x="3208" y="298"/>
                  <a:pt x="3206" y="298"/>
                </a:cubicBezTo>
                <a:cubicBezTo>
                  <a:pt x="3203" y="299"/>
                  <a:pt x="3200" y="300"/>
                  <a:pt x="3197" y="301"/>
                </a:cubicBezTo>
                <a:cubicBezTo>
                  <a:pt x="3194" y="302"/>
                  <a:pt x="3191" y="303"/>
                  <a:pt x="3190" y="306"/>
                </a:cubicBezTo>
                <a:cubicBezTo>
                  <a:pt x="3191" y="306"/>
                  <a:pt x="3192" y="306"/>
                  <a:pt x="3193" y="306"/>
                </a:cubicBezTo>
                <a:cubicBezTo>
                  <a:pt x="3193" y="307"/>
                  <a:pt x="3192" y="307"/>
                  <a:pt x="3192" y="307"/>
                </a:cubicBezTo>
                <a:cubicBezTo>
                  <a:pt x="3189" y="308"/>
                  <a:pt x="3186" y="307"/>
                  <a:pt x="3184" y="310"/>
                </a:cubicBezTo>
                <a:cubicBezTo>
                  <a:pt x="3181" y="314"/>
                  <a:pt x="3177" y="317"/>
                  <a:pt x="3173" y="322"/>
                </a:cubicBezTo>
                <a:cubicBezTo>
                  <a:pt x="3172" y="323"/>
                  <a:pt x="3171" y="326"/>
                  <a:pt x="3170" y="328"/>
                </a:cubicBezTo>
                <a:cubicBezTo>
                  <a:pt x="3170" y="329"/>
                  <a:pt x="3170" y="329"/>
                  <a:pt x="3170" y="330"/>
                </a:cubicBezTo>
                <a:cubicBezTo>
                  <a:pt x="3172" y="332"/>
                  <a:pt x="3173" y="334"/>
                  <a:pt x="3174" y="336"/>
                </a:cubicBezTo>
                <a:cubicBezTo>
                  <a:pt x="3175" y="334"/>
                  <a:pt x="3177" y="333"/>
                  <a:pt x="3178" y="331"/>
                </a:cubicBezTo>
                <a:cubicBezTo>
                  <a:pt x="3177" y="333"/>
                  <a:pt x="3177" y="334"/>
                  <a:pt x="3176" y="335"/>
                </a:cubicBezTo>
                <a:cubicBezTo>
                  <a:pt x="3175" y="337"/>
                  <a:pt x="3175" y="338"/>
                  <a:pt x="3174" y="339"/>
                </a:cubicBezTo>
                <a:cubicBezTo>
                  <a:pt x="3174" y="340"/>
                  <a:pt x="3174" y="341"/>
                  <a:pt x="3175" y="342"/>
                </a:cubicBezTo>
                <a:cubicBezTo>
                  <a:pt x="3177" y="346"/>
                  <a:pt x="3180" y="346"/>
                  <a:pt x="3184" y="344"/>
                </a:cubicBezTo>
                <a:cubicBezTo>
                  <a:pt x="3186" y="342"/>
                  <a:pt x="3189" y="341"/>
                  <a:pt x="3192" y="340"/>
                </a:cubicBezTo>
                <a:cubicBezTo>
                  <a:pt x="3193" y="340"/>
                  <a:pt x="3195" y="339"/>
                  <a:pt x="3195" y="337"/>
                </a:cubicBezTo>
                <a:cubicBezTo>
                  <a:pt x="3195" y="334"/>
                  <a:pt x="3195" y="331"/>
                  <a:pt x="3195" y="327"/>
                </a:cubicBezTo>
                <a:cubicBezTo>
                  <a:pt x="3195" y="324"/>
                  <a:pt x="3195" y="322"/>
                  <a:pt x="3195" y="318"/>
                </a:cubicBezTo>
                <a:cubicBezTo>
                  <a:pt x="3195" y="321"/>
                  <a:pt x="3196" y="324"/>
                  <a:pt x="3196" y="326"/>
                </a:cubicBezTo>
                <a:cubicBezTo>
                  <a:pt x="3197" y="331"/>
                  <a:pt x="3197" y="335"/>
                  <a:pt x="3196" y="340"/>
                </a:cubicBezTo>
                <a:cubicBezTo>
                  <a:pt x="3195" y="341"/>
                  <a:pt x="3195" y="341"/>
                  <a:pt x="3194" y="341"/>
                </a:cubicBezTo>
                <a:cubicBezTo>
                  <a:pt x="3191" y="342"/>
                  <a:pt x="3188" y="344"/>
                  <a:pt x="3184" y="345"/>
                </a:cubicBezTo>
                <a:cubicBezTo>
                  <a:pt x="3179" y="348"/>
                  <a:pt x="3176" y="346"/>
                  <a:pt x="3172" y="343"/>
                </a:cubicBezTo>
                <a:cubicBezTo>
                  <a:pt x="3172" y="342"/>
                  <a:pt x="3172" y="341"/>
                  <a:pt x="3172" y="341"/>
                </a:cubicBezTo>
                <a:cubicBezTo>
                  <a:pt x="3173" y="338"/>
                  <a:pt x="3172" y="336"/>
                  <a:pt x="3171" y="334"/>
                </a:cubicBezTo>
                <a:cubicBezTo>
                  <a:pt x="3169" y="332"/>
                  <a:pt x="3168" y="330"/>
                  <a:pt x="3169" y="327"/>
                </a:cubicBezTo>
                <a:cubicBezTo>
                  <a:pt x="3169" y="325"/>
                  <a:pt x="3170" y="323"/>
                  <a:pt x="3172" y="322"/>
                </a:cubicBezTo>
                <a:cubicBezTo>
                  <a:pt x="3173" y="319"/>
                  <a:pt x="3175" y="317"/>
                  <a:pt x="3177" y="314"/>
                </a:cubicBezTo>
                <a:cubicBezTo>
                  <a:pt x="3177" y="314"/>
                  <a:pt x="3176" y="314"/>
                  <a:pt x="3176" y="314"/>
                </a:cubicBezTo>
                <a:cubicBezTo>
                  <a:pt x="3171" y="315"/>
                  <a:pt x="3167" y="317"/>
                  <a:pt x="3163" y="320"/>
                </a:cubicBezTo>
                <a:cubicBezTo>
                  <a:pt x="3158" y="324"/>
                  <a:pt x="3155" y="329"/>
                  <a:pt x="3155" y="336"/>
                </a:cubicBezTo>
                <a:cubicBezTo>
                  <a:pt x="3155" y="343"/>
                  <a:pt x="3157" y="349"/>
                  <a:pt x="3161" y="355"/>
                </a:cubicBezTo>
                <a:cubicBezTo>
                  <a:pt x="3161" y="356"/>
                  <a:pt x="3162" y="357"/>
                  <a:pt x="3161" y="358"/>
                </a:cubicBezTo>
                <a:cubicBezTo>
                  <a:pt x="3161" y="360"/>
                  <a:pt x="3161" y="362"/>
                  <a:pt x="3160" y="363"/>
                </a:cubicBezTo>
                <a:cubicBezTo>
                  <a:pt x="3160" y="365"/>
                  <a:pt x="3160" y="365"/>
                  <a:pt x="3161" y="366"/>
                </a:cubicBezTo>
                <a:cubicBezTo>
                  <a:pt x="3164" y="367"/>
                  <a:pt x="3167" y="367"/>
                  <a:pt x="3170" y="367"/>
                </a:cubicBezTo>
                <a:cubicBezTo>
                  <a:pt x="3171" y="367"/>
                  <a:pt x="3172" y="367"/>
                  <a:pt x="3172" y="366"/>
                </a:cubicBezTo>
                <a:cubicBezTo>
                  <a:pt x="3172" y="365"/>
                  <a:pt x="3172" y="363"/>
                  <a:pt x="3173" y="363"/>
                </a:cubicBezTo>
                <a:cubicBezTo>
                  <a:pt x="3175" y="360"/>
                  <a:pt x="3175" y="358"/>
                  <a:pt x="3175" y="355"/>
                </a:cubicBezTo>
                <a:cubicBezTo>
                  <a:pt x="3175" y="354"/>
                  <a:pt x="3175" y="354"/>
                  <a:pt x="3175" y="354"/>
                </a:cubicBezTo>
                <a:cubicBezTo>
                  <a:pt x="3175" y="353"/>
                  <a:pt x="3175" y="353"/>
                  <a:pt x="3175" y="353"/>
                </a:cubicBezTo>
                <a:cubicBezTo>
                  <a:pt x="3175" y="356"/>
                  <a:pt x="3177" y="356"/>
                  <a:pt x="3179" y="356"/>
                </a:cubicBezTo>
                <a:cubicBezTo>
                  <a:pt x="3179" y="356"/>
                  <a:pt x="3181" y="356"/>
                  <a:pt x="3181" y="356"/>
                </a:cubicBezTo>
                <a:cubicBezTo>
                  <a:pt x="3184" y="356"/>
                  <a:pt x="3187" y="356"/>
                  <a:pt x="3188" y="352"/>
                </a:cubicBezTo>
                <a:cubicBezTo>
                  <a:pt x="3188" y="354"/>
                  <a:pt x="3188" y="356"/>
                  <a:pt x="3188" y="357"/>
                </a:cubicBezTo>
                <a:cubicBezTo>
                  <a:pt x="3186" y="358"/>
                  <a:pt x="3185" y="358"/>
                  <a:pt x="3184" y="359"/>
                </a:cubicBezTo>
                <a:cubicBezTo>
                  <a:pt x="3182" y="360"/>
                  <a:pt x="3182" y="361"/>
                  <a:pt x="3183" y="362"/>
                </a:cubicBezTo>
                <a:cubicBezTo>
                  <a:pt x="3184" y="364"/>
                  <a:pt x="3185" y="366"/>
                  <a:pt x="3186" y="368"/>
                </a:cubicBezTo>
                <a:cubicBezTo>
                  <a:pt x="3188" y="369"/>
                  <a:pt x="3190" y="369"/>
                  <a:pt x="3192" y="367"/>
                </a:cubicBezTo>
                <a:cubicBezTo>
                  <a:pt x="3192" y="367"/>
                  <a:pt x="3193" y="366"/>
                  <a:pt x="3193" y="365"/>
                </a:cubicBezTo>
                <a:cubicBezTo>
                  <a:pt x="3195" y="364"/>
                  <a:pt x="3197" y="363"/>
                  <a:pt x="3198" y="362"/>
                </a:cubicBezTo>
                <a:cubicBezTo>
                  <a:pt x="3203" y="357"/>
                  <a:pt x="3204" y="351"/>
                  <a:pt x="3206" y="345"/>
                </a:cubicBezTo>
                <a:cubicBezTo>
                  <a:pt x="3206" y="345"/>
                  <a:pt x="3205" y="344"/>
                  <a:pt x="3205" y="344"/>
                </a:cubicBezTo>
                <a:cubicBezTo>
                  <a:pt x="3204" y="343"/>
                  <a:pt x="3203" y="342"/>
                  <a:pt x="3202" y="341"/>
                </a:cubicBezTo>
                <a:close/>
                <a:moveTo>
                  <a:pt x="3155" y="347"/>
                </a:moveTo>
                <a:cubicBezTo>
                  <a:pt x="3154" y="348"/>
                  <a:pt x="3152" y="349"/>
                  <a:pt x="3151" y="350"/>
                </a:cubicBezTo>
                <a:cubicBezTo>
                  <a:pt x="3151" y="350"/>
                  <a:pt x="3150" y="351"/>
                  <a:pt x="3150" y="352"/>
                </a:cubicBezTo>
                <a:cubicBezTo>
                  <a:pt x="3150" y="355"/>
                  <a:pt x="3155" y="359"/>
                  <a:pt x="3158" y="359"/>
                </a:cubicBezTo>
                <a:cubicBezTo>
                  <a:pt x="3159" y="359"/>
                  <a:pt x="3160" y="358"/>
                  <a:pt x="3159" y="356"/>
                </a:cubicBezTo>
                <a:cubicBezTo>
                  <a:pt x="3158" y="353"/>
                  <a:pt x="3156" y="350"/>
                  <a:pt x="3155" y="347"/>
                </a:cubicBezTo>
                <a:close/>
                <a:moveTo>
                  <a:pt x="3207" y="349"/>
                </a:moveTo>
                <a:cubicBezTo>
                  <a:pt x="3205" y="354"/>
                  <a:pt x="3203" y="358"/>
                  <a:pt x="3200" y="363"/>
                </a:cubicBezTo>
                <a:cubicBezTo>
                  <a:pt x="3203" y="363"/>
                  <a:pt x="3205" y="363"/>
                  <a:pt x="3208" y="363"/>
                </a:cubicBezTo>
                <a:cubicBezTo>
                  <a:pt x="3208" y="363"/>
                  <a:pt x="3209" y="362"/>
                  <a:pt x="3209" y="361"/>
                </a:cubicBezTo>
                <a:cubicBezTo>
                  <a:pt x="3209" y="358"/>
                  <a:pt x="3209" y="356"/>
                  <a:pt x="3208" y="354"/>
                </a:cubicBezTo>
                <a:cubicBezTo>
                  <a:pt x="3208" y="352"/>
                  <a:pt x="3208" y="351"/>
                  <a:pt x="3207" y="349"/>
                </a:cubicBezTo>
                <a:close/>
                <a:moveTo>
                  <a:pt x="3155" y="329"/>
                </a:moveTo>
                <a:cubicBezTo>
                  <a:pt x="3154" y="329"/>
                  <a:pt x="3153" y="330"/>
                  <a:pt x="3153" y="330"/>
                </a:cubicBezTo>
                <a:cubicBezTo>
                  <a:pt x="3152" y="330"/>
                  <a:pt x="3151" y="330"/>
                  <a:pt x="3151" y="329"/>
                </a:cubicBezTo>
                <a:cubicBezTo>
                  <a:pt x="3151" y="329"/>
                  <a:pt x="3150" y="328"/>
                  <a:pt x="3150" y="327"/>
                </a:cubicBezTo>
                <a:cubicBezTo>
                  <a:pt x="3151" y="325"/>
                  <a:pt x="3152" y="323"/>
                  <a:pt x="3152" y="322"/>
                </a:cubicBezTo>
                <a:cubicBezTo>
                  <a:pt x="3152" y="322"/>
                  <a:pt x="3152" y="322"/>
                  <a:pt x="3152" y="322"/>
                </a:cubicBezTo>
                <a:cubicBezTo>
                  <a:pt x="3151" y="322"/>
                  <a:pt x="3150" y="323"/>
                  <a:pt x="3149" y="324"/>
                </a:cubicBezTo>
                <a:cubicBezTo>
                  <a:pt x="3148" y="325"/>
                  <a:pt x="3150" y="331"/>
                  <a:pt x="3151" y="331"/>
                </a:cubicBezTo>
                <a:cubicBezTo>
                  <a:pt x="3153" y="332"/>
                  <a:pt x="3155" y="331"/>
                  <a:pt x="3155" y="329"/>
                </a:cubicBezTo>
                <a:close/>
                <a:moveTo>
                  <a:pt x="3155" y="347"/>
                </a:moveTo>
                <a:cubicBezTo>
                  <a:pt x="3154" y="348"/>
                  <a:pt x="3152" y="349"/>
                  <a:pt x="3151" y="350"/>
                </a:cubicBezTo>
                <a:cubicBezTo>
                  <a:pt x="3150" y="350"/>
                  <a:pt x="3150" y="351"/>
                  <a:pt x="3150" y="352"/>
                </a:cubicBezTo>
                <a:cubicBezTo>
                  <a:pt x="3150" y="355"/>
                  <a:pt x="3155" y="359"/>
                  <a:pt x="3158" y="359"/>
                </a:cubicBezTo>
                <a:cubicBezTo>
                  <a:pt x="3159" y="359"/>
                  <a:pt x="3160" y="357"/>
                  <a:pt x="3159" y="356"/>
                </a:cubicBezTo>
                <a:cubicBezTo>
                  <a:pt x="3158" y="353"/>
                  <a:pt x="3156" y="350"/>
                  <a:pt x="3155" y="347"/>
                </a:cubicBezTo>
                <a:close/>
                <a:moveTo>
                  <a:pt x="3207" y="349"/>
                </a:moveTo>
                <a:cubicBezTo>
                  <a:pt x="3205" y="354"/>
                  <a:pt x="3202" y="358"/>
                  <a:pt x="3200" y="362"/>
                </a:cubicBezTo>
                <a:cubicBezTo>
                  <a:pt x="3203" y="362"/>
                  <a:pt x="3205" y="363"/>
                  <a:pt x="3208" y="362"/>
                </a:cubicBezTo>
                <a:cubicBezTo>
                  <a:pt x="3208" y="362"/>
                  <a:pt x="3209" y="361"/>
                  <a:pt x="3209" y="361"/>
                </a:cubicBezTo>
                <a:cubicBezTo>
                  <a:pt x="3209" y="358"/>
                  <a:pt x="3209" y="356"/>
                  <a:pt x="3208" y="353"/>
                </a:cubicBezTo>
                <a:cubicBezTo>
                  <a:pt x="3208" y="352"/>
                  <a:pt x="3207" y="350"/>
                  <a:pt x="3207" y="349"/>
                </a:cubicBezTo>
                <a:close/>
                <a:moveTo>
                  <a:pt x="3154" y="329"/>
                </a:moveTo>
                <a:cubicBezTo>
                  <a:pt x="3154" y="329"/>
                  <a:pt x="3153" y="330"/>
                  <a:pt x="3152" y="330"/>
                </a:cubicBezTo>
                <a:cubicBezTo>
                  <a:pt x="3152" y="330"/>
                  <a:pt x="3151" y="330"/>
                  <a:pt x="3151" y="329"/>
                </a:cubicBezTo>
                <a:cubicBezTo>
                  <a:pt x="3150" y="329"/>
                  <a:pt x="3150" y="328"/>
                  <a:pt x="3150" y="327"/>
                </a:cubicBezTo>
                <a:cubicBezTo>
                  <a:pt x="3151" y="325"/>
                  <a:pt x="3151" y="323"/>
                  <a:pt x="3152" y="321"/>
                </a:cubicBezTo>
                <a:cubicBezTo>
                  <a:pt x="3152" y="321"/>
                  <a:pt x="3152" y="321"/>
                  <a:pt x="3151" y="321"/>
                </a:cubicBezTo>
                <a:cubicBezTo>
                  <a:pt x="3150" y="322"/>
                  <a:pt x="3149" y="323"/>
                  <a:pt x="3148" y="324"/>
                </a:cubicBezTo>
                <a:cubicBezTo>
                  <a:pt x="3148" y="325"/>
                  <a:pt x="3149" y="330"/>
                  <a:pt x="3151" y="331"/>
                </a:cubicBezTo>
                <a:cubicBezTo>
                  <a:pt x="3152" y="332"/>
                  <a:pt x="3154" y="331"/>
                  <a:pt x="3154" y="329"/>
                </a:cubicBezTo>
                <a:close/>
                <a:moveTo>
                  <a:pt x="3207" y="321"/>
                </a:moveTo>
                <a:cubicBezTo>
                  <a:pt x="3210" y="317"/>
                  <a:pt x="3210" y="317"/>
                  <a:pt x="3214" y="316"/>
                </a:cubicBezTo>
                <a:cubicBezTo>
                  <a:pt x="3214" y="318"/>
                  <a:pt x="3215" y="319"/>
                  <a:pt x="3216" y="319"/>
                </a:cubicBezTo>
                <a:cubicBezTo>
                  <a:pt x="3214" y="320"/>
                  <a:pt x="3212" y="322"/>
                  <a:pt x="3210" y="323"/>
                </a:cubicBezTo>
                <a:cubicBezTo>
                  <a:pt x="3209" y="322"/>
                  <a:pt x="3209" y="321"/>
                  <a:pt x="3208" y="320"/>
                </a:cubicBezTo>
                <a:cubicBezTo>
                  <a:pt x="3208" y="320"/>
                  <a:pt x="3208" y="320"/>
                  <a:pt x="3207" y="321"/>
                </a:cubicBezTo>
                <a:close/>
                <a:moveTo>
                  <a:pt x="3212" y="320"/>
                </a:moveTo>
                <a:cubicBezTo>
                  <a:pt x="3212" y="320"/>
                  <a:pt x="3211" y="319"/>
                  <a:pt x="3211" y="319"/>
                </a:cubicBezTo>
                <a:cubicBezTo>
                  <a:pt x="3210" y="319"/>
                  <a:pt x="3209" y="320"/>
                  <a:pt x="3209" y="321"/>
                </a:cubicBezTo>
                <a:cubicBezTo>
                  <a:pt x="3209" y="321"/>
                  <a:pt x="3210" y="321"/>
                  <a:pt x="3210" y="322"/>
                </a:cubicBezTo>
                <a:cubicBezTo>
                  <a:pt x="3211" y="321"/>
                  <a:pt x="3211" y="321"/>
                  <a:pt x="3212" y="320"/>
                </a:cubicBezTo>
                <a:close/>
                <a:moveTo>
                  <a:pt x="3194" y="311"/>
                </a:moveTo>
                <a:cubicBezTo>
                  <a:pt x="3187" y="310"/>
                  <a:pt x="3184" y="312"/>
                  <a:pt x="3183" y="320"/>
                </a:cubicBezTo>
                <a:cubicBezTo>
                  <a:pt x="3184" y="318"/>
                  <a:pt x="3186" y="316"/>
                  <a:pt x="3187" y="313"/>
                </a:cubicBezTo>
                <a:cubicBezTo>
                  <a:pt x="3187" y="313"/>
                  <a:pt x="3187" y="313"/>
                  <a:pt x="3187" y="313"/>
                </a:cubicBezTo>
                <a:cubicBezTo>
                  <a:pt x="3187" y="315"/>
                  <a:pt x="3188" y="315"/>
                  <a:pt x="3188" y="316"/>
                </a:cubicBezTo>
                <a:cubicBezTo>
                  <a:pt x="3189" y="313"/>
                  <a:pt x="3190" y="311"/>
                  <a:pt x="3194" y="311"/>
                </a:cubicBezTo>
                <a:close/>
                <a:moveTo>
                  <a:pt x="3237" y="312"/>
                </a:moveTo>
                <a:cubicBezTo>
                  <a:pt x="3236" y="314"/>
                  <a:pt x="3234" y="315"/>
                  <a:pt x="3232" y="316"/>
                </a:cubicBezTo>
                <a:cubicBezTo>
                  <a:pt x="3234" y="317"/>
                  <a:pt x="3236" y="315"/>
                  <a:pt x="3237" y="312"/>
                </a:cubicBezTo>
                <a:close/>
                <a:moveTo>
                  <a:pt x="3204" y="314"/>
                </a:moveTo>
                <a:cubicBezTo>
                  <a:pt x="3205" y="313"/>
                  <a:pt x="3206" y="312"/>
                  <a:pt x="3208" y="310"/>
                </a:cubicBezTo>
                <a:cubicBezTo>
                  <a:pt x="3204" y="312"/>
                  <a:pt x="3203" y="312"/>
                  <a:pt x="3204" y="314"/>
                </a:cubicBezTo>
                <a:close/>
                <a:moveTo>
                  <a:pt x="3214" y="335"/>
                </a:moveTo>
                <a:cubicBezTo>
                  <a:pt x="3212" y="336"/>
                  <a:pt x="3212" y="337"/>
                  <a:pt x="3212" y="338"/>
                </a:cubicBezTo>
                <a:cubicBezTo>
                  <a:pt x="3212" y="337"/>
                  <a:pt x="3213" y="336"/>
                  <a:pt x="3214" y="335"/>
                </a:cubicBezTo>
                <a:close/>
                <a:moveTo>
                  <a:pt x="3212" y="320"/>
                </a:moveTo>
                <a:cubicBezTo>
                  <a:pt x="3212" y="320"/>
                  <a:pt x="3211" y="320"/>
                  <a:pt x="3211" y="320"/>
                </a:cubicBezTo>
                <a:cubicBezTo>
                  <a:pt x="3210" y="320"/>
                  <a:pt x="3210" y="320"/>
                  <a:pt x="3210" y="321"/>
                </a:cubicBezTo>
                <a:cubicBezTo>
                  <a:pt x="3210" y="321"/>
                  <a:pt x="3210" y="322"/>
                  <a:pt x="3210" y="322"/>
                </a:cubicBezTo>
                <a:cubicBezTo>
                  <a:pt x="3211" y="322"/>
                  <a:pt x="3211" y="321"/>
                  <a:pt x="3212" y="320"/>
                </a:cubicBezTo>
                <a:close/>
                <a:moveTo>
                  <a:pt x="3504" y="298"/>
                </a:moveTo>
                <a:cubicBezTo>
                  <a:pt x="3504" y="298"/>
                  <a:pt x="3504" y="298"/>
                  <a:pt x="3504" y="298"/>
                </a:cubicBezTo>
                <a:cubicBezTo>
                  <a:pt x="3499" y="298"/>
                  <a:pt x="3499" y="298"/>
                  <a:pt x="3499" y="298"/>
                </a:cubicBezTo>
                <a:cubicBezTo>
                  <a:pt x="3497" y="299"/>
                  <a:pt x="3496" y="301"/>
                  <a:pt x="3494" y="302"/>
                </a:cubicBezTo>
                <a:cubicBezTo>
                  <a:pt x="3492" y="303"/>
                  <a:pt x="3490" y="304"/>
                  <a:pt x="3488" y="305"/>
                </a:cubicBezTo>
                <a:cubicBezTo>
                  <a:pt x="3486" y="306"/>
                  <a:pt x="3485" y="307"/>
                  <a:pt x="3483" y="307"/>
                </a:cubicBezTo>
                <a:cubicBezTo>
                  <a:pt x="3481" y="308"/>
                  <a:pt x="3479" y="309"/>
                  <a:pt x="3477" y="309"/>
                </a:cubicBezTo>
                <a:cubicBezTo>
                  <a:pt x="3477" y="309"/>
                  <a:pt x="3477" y="309"/>
                  <a:pt x="3477" y="319"/>
                </a:cubicBezTo>
                <a:cubicBezTo>
                  <a:pt x="3480" y="318"/>
                  <a:pt x="3483" y="318"/>
                  <a:pt x="3486" y="316"/>
                </a:cubicBezTo>
                <a:cubicBezTo>
                  <a:pt x="3488" y="315"/>
                  <a:pt x="3491" y="314"/>
                  <a:pt x="3492" y="313"/>
                </a:cubicBezTo>
                <a:cubicBezTo>
                  <a:pt x="3492" y="313"/>
                  <a:pt x="3492" y="313"/>
                  <a:pt x="3492" y="371"/>
                </a:cubicBezTo>
                <a:cubicBezTo>
                  <a:pt x="3492" y="371"/>
                  <a:pt x="3492" y="371"/>
                  <a:pt x="3504" y="371"/>
                </a:cubicBezTo>
                <a:cubicBezTo>
                  <a:pt x="3504" y="371"/>
                  <a:pt x="3504" y="371"/>
                  <a:pt x="3504" y="298"/>
                </a:cubicBezTo>
                <a:close/>
                <a:moveTo>
                  <a:pt x="3625" y="298"/>
                </a:moveTo>
                <a:cubicBezTo>
                  <a:pt x="3625" y="298"/>
                  <a:pt x="3625" y="298"/>
                  <a:pt x="3625" y="298"/>
                </a:cubicBezTo>
                <a:cubicBezTo>
                  <a:pt x="3620" y="298"/>
                  <a:pt x="3620" y="298"/>
                  <a:pt x="3620" y="298"/>
                </a:cubicBezTo>
                <a:cubicBezTo>
                  <a:pt x="3618" y="299"/>
                  <a:pt x="3617" y="301"/>
                  <a:pt x="3614" y="302"/>
                </a:cubicBezTo>
                <a:cubicBezTo>
                  <a:pt x="3613" y="303"/>
                  <a:pt x="3611" y="304"/>
                  <a:pt x="3609" y="305"/>
                </a:cubicBezTo>
                <a:cubicBezTo>
                  <a:pt x="3608" y="306"/>
                  <a:pt x="3606" y="307"/>
                  <a:pt x="3604" y="307"/>
                </a:cubicBezTo>
                <a:cubicBezTo>
                  <a:pt x="3602" y="308"/>
                  <a:pt x="3601" y="309"/>
                  <a:pt x="3598" y="309"/>
                </a:cubicBezTo>
                <a:cubicBezTo>
                  <a:pt x="3598" y="309"/>
                  <a:pt x="3598" y="309"/>
                  <a:pt x="3598" y="319"/>
                </a:cubicBezTo>
                <a:cubicBezTo>
                  <a:pt x="3601" y="318"/>
                  <a:pt x="3604" y="318"/>
                  <a:pt x="3607" y="316"/>
                </a:cubicBezTo>
                <a:cubicBezTo>
                  <a:pt x="3609" y="315"/>
                  <a:pt x="3611" y="314"/>
                  <a:pt x="3614" y="313"/>
                </a:cubicBezTo>
                <a:cubicBezTo>
                  <a:pt x="3614" y="313"/>
                  <a:pt x="3614" y="313"/>
                  <a:pt x="3614" y="371"/>
                </a:cubicBezTo>
                <a:cubicBezTo>
                  <a:pt x="3614" y="371"/>
                  <a:pt x="3614" y="371"/>
                  <a:pt x="3625" y="371"/>
                </a:cubicBezTo>
                <a:cubicBezTo>
                  <a:pt x="3625" y="371"/>
                  <a:pt x="3625" y="371"/>
                  <a:pt x="3625" y="298"/>
                </a:cubicBezTo>
                <a:close/>
                <a:moveTo>
                  <a:pt x="3672" y="298"/>
                </a:moveTo>
                <a:cubicBezTo>
                  <a:pt x="3672" y="298"/>
                  <a:pt x="3672" y="298"/>
                  <a:pt x="3672" y="298"/>
                </a:cubicBezTo>
                <a:cubicBezTo>
                  <a:pt x="3667" y="298"/>
                  <a:pt x="3667" y="298"/>
                  <a:pt x="3667" y="298"/>
                </a:cubicBezTo>
                <a:cubicBezTo>
                  <a:pt x="3665" y="299"/>
                  <a:pt x="3664" y="301"/>
                  <a:pt x="3661" y="302"/>
                </a:cubicBezTo>
                <a:cubicBezTo>
                  <a:pt x="3660" y="303"/>
                  <a:pt x="3658" y="304"/>
                  <a:pt x="3656" y="305"/>
                </a:cubicBezTo>
                <a:cubicBezTo>
                  <a:pt x="3655" y="306"/>
                  <a:pt x="3653" y="307"/>
                  <a:pt x="3651" y="307"/>
                </a:cubicBezTo>
                <a:cubicBezTo>
                  <a:pt x="3649" y="308"/>
                  <a:pt x="3648" y="309"/>
                  <a:pt x="3645" y="309"/>
                </a:cubicBezTo>
                <a:cubicBezTo>
                  <a:pt x="3645" y="309"/>
                  <a:pt x="3645" y="309"/>
                  <a:pt x="3645" y="319"/>
                </a:cubicBezTo>
                <a:cubicBezTo>
                  <a:pt x="3648" y="318"/>
                  <a:pt x="3651" y="318"/>
                  <a:pt x="3653" y="316"/>
                </a:cubicBezTo>
                <a:cubicBezTo>
                  <a:pt x="3656" y="315"/>
                  <a:pt x="3659" y="314"/>
                  <a:pt x="3661" y="313"/>
                </a:cubicBezTo>
                <a:cubicBezTo>
                  <a:pt x="3661" y="313"/>
                  <a:pt x="3661" y="313"/>
                  <a:pt x="3661" y="371"/>
                </a:cubicBezTo>
                <a:cubicBezTo>
                  <a:pt x="3661" y="371"/>
                  <a:pt x="3661" y="371"/>
                  <a:pt x="3672" y="371"/>
                </a:cubicBezTo>
                <a:cubicBezTo>
                  <a:pt x="3672" y="371"/>
                  <a:pt x="3672" y="371"/>
                  <a:pt x="3672" y="298"/>
                </a:cubicBezTo>
                <a:close/>
                <a:moveTo>
                  <a:pt x="3718" y="298"/>
                </a:moveTo>
                <a:cubicBezTo>
                  <a:pt x="3718" y="298"/>
                  <a:pt x="3718" y="298"/>
                  <a:pt x="3718" y="298"/>
                </a:cubicBezTo>
                <a:cubicBezTo>
                  <a:pt x="3714" y="298"/>
                  <a:pt x="3714" y="298"/>
                  <a:pt x="3714" y="298"/>
                </a:cubicBezTo>
                <a:cubicBezTo>
                  <a:pt x="3712" y="299"/>
                  <a:pt x="3710" y="301"/>
                  <a:pt x="3708" y="302"/>
                </a:cubicBezTo>
                <a:cubicBezTo>
                  <a:pt x="3707" y="303"/>
                  <a:pt x="3704" y="304"/>
                  <a:pt x="3703" y="305"/>
                </a:cubicBezTo>
                <a:cubicBezTo>
                  <a:pt x="3701" y="305"/>
                  <a:pt x="3699" y="306"/>
                  <a:pt x="3697" y="307"/>
                </a:cubicBezTo>
                <a:cubicBezTo>
                  <a:pt x="3696" y="307"/>
                  <a:pt x="3693" y="308"/>
                  <a:pt x="3692" y="309"/>
                </a:cubicBezTo>
                <a:cubicBezTo>
                  <a:pt x="3692" y="309"/>
                  <a:pt x="3692" y="309"/>
                  <a:pt x="3692" y="319"/>
                </a:cubicBezTo>
                <a:cubicBezTo>
                  <a:pt x="3695" y="318"/>
                  <a:pt x="3698" y="317"/>
                  <a:pt x="3700" y="316"/>
                </a:cubicBezTo>
                <a:cubicBezTo>
                  <a:pt x="3702" y="315"/>
                  <a:pt x="3705" y="314"/>
                  <a:pt x="3707" y="313"/>
                </a:cubicBezTo>
                <a:cubicBezTo>
                  <a:pt x="3707" y="313"/>
                  <a:pt x="3707" y="313"/>
                  <a:pt x="3707" y="371"/>
                </a:cubicBezTo>
                <a:cubicBezTo>
                  <a:pt x="3707" y="371"/>
                  <a:pt x="3707" y="371"/>
                  <a:pt x="3718" y="371"/>
                </a:cubicBezTo>
                <a:cubicBezTo>
                  <a:pt x="3718" y="371"/>
                  <a:pt x="3718" y="371"/>
                  <a:pt x="3718" y="298"/>
                </a:cubicBezTo>
                <a:close/>
                <a:moveTo>
                  <a:pt x="3524" y="330"/>
                </a:moveTo>
                <a:cubicBezTo>
                  <a:pt x="3524" y="330"/>
                  <a:pt x="3524" y="330"/>
                  <a:pt x="3524" y="330"/>
                </a:cubicBezTo>
                <a:cubicBezTo>
                  <a:pt x="3524" y="339"/>
                  <a:pt x="3524" y="339"/>
                  <a:pt x="3524" y="339"/>
                </a:cubicBezTo>
                <a:cubicBezTo>
                  <a:pt x="3530" y="339"/>
                  <a:pt x="3531" y="342"/>
                  <a:pt x="3531" y="344"/>
                </a:cubicBezTo>
                <a:cubicBezTo>
                  <a:pt x="3531" y="347"/>
                  <a:pt x="3530" y="349"/>
                  <a:pt x="3530" y="352"/>
                </a:cubicBezTo>
                <a:cubicBezTo>
                  <a:pt x="3530" y="354"/>
                  <a:pt x="3529" y="356"/>
                  <a:pt x="3529" y="359"/>
                </a:cubicBezTo>
                <a:cubicBezTo>
                  <a:pt x="3529" y="368"/>
                  <a:pt x="3535" y="371"/>
                  <a:pt x="3544" y="371"/>
                </a:cubicBezTo>
                <a:cubicBezTo>
                  <a:pt x="3544" y="371"/>
                  <a:pt x="3544" y="371"/>
                  <a:pt x="3548" y="371"/>
                </a:cubicBezTo>
                <a:cubicBezTo>
                  <a:pt x="3548" y="371"/>
                  <a:pt x="3548" y="371"/>
                  <a:pt x="3548" y="362"/>
                </a:cubicBezTo>
                <a:cubicBezTo>
                  <a:pt x="3548" y="362"/>
                  <a:pt x="3548" y="362"/>
                  <a:pt x="3546" y="362"/>
                </a:cubicBezTo>
                <a:cubicBezTo>
                  <a:pt x="3542" y="362"/>
                  <a:pt x="3541" y="360"/>
                  <a:pt x="3541" y="356"/>
                </a:cubicBezTo>
                <a:cubicBezTo>
                  <a:pt x="3541" y="355"/>
                  <a:pt x="3541" y="353"/>
                  <a:pt x="3542" y="352"/>
                </a:cubicBezTo>
                <a:cubicBezTo>
                  <a:pt x="3542" y="350"/>
                  <a:pt x="3542" y="348"/>
                  <a:pt x="3542" y="346"/>
                </a:cubicBezTo>
                <a:cubicBezTo>
                  <a:pt x="3542" y="338"/>
                  <a:pt x="3539" y="336"/>
                  <a:pt x="3534" y="334"/>
                </a:cubicBezTo>
                <a:cubicBezTo>
                  <a:pt x="3534" y="334"/>
                  <a:pt x="3534" y="334"/>
                  <a:pt x="3534" y="334"/>
                </a:cubicBezTo>
                <a:cubicBezTo>
                  <a:pt x="3539" y="333"/>
                  <a:pt x="3542" y="331"/>
                  <a:pt x="3542" y="323"/>
                </a:cubicBezTo>
                <a:cubicBezTo>
                  <a:pt x="3542" y="321"/>
                  <a:pt x="3542" y="319"/>
                  <a:pt x="3542" y="317"/>
                </a:cubicBezTo>
                <a:cubicBezTo>
                  <a:pt x="3541" y="315"/>
                  <a:pt x="3541" y="313"/>
                  <a:pt x="3541" y="312"/>
                </a:cubicBezTo>
                <a:cubicBezTo>
                  <a:pt x="3541" y="309"/>
                  <a:pt x="3542" y="306"/>
                  <a:pt x="3546" y="306"/>
                </a:cubicBezTo>
                <a:cubicBezTo>
                  <a:pt x="3546" y="306"/>
                  <a:pt x="3546" y="306"/>
                  <a:pt x="3548" y="306"/>
                </a:cubicBezTo>
                <a:cubicBezTo>
                  <a:pt x="3548" y="306"/>
                  <a:pt x="3548" y="306"/>
                  <a:pt x="3548" y="297"/>
                </a:cubicBezTo>
                <a:cubicBezTo>
                  <a:pt x="3548" y="297"/>
                  <a:pt x="3548" y="297"/>
                  <a:pt x="3544" y="297"/>
                </a:cubicBezTo>
                <a:cubicBezTo>
                  <a:pt x="3535" y="297"/>
                  <a:pt x="3529" y="301"/>
                  <a:pt x="3529" y="310"/>
                </a:cubicBezTo>
                <a:cubicBezTo>
                  <a:pt x="3529" y="312"/>
                  <a:pt x="3530" y="315"/>
                  <a:pt x="3530" y="317"/>
                </a:cubicBezTo>
                <a:cubicBezTo>
                  <a:pt x="3530" y="319"/>
                  <a:pt x="3531" y="322"/>
                  <a:pt x="3531" y="324"/>
                </a:cubicBezTo>
                <a:cubicBezTo>
                  <a:pt x="3531" y="327"/>
                  <a:pt x="3530" y="330"/>
                  <a:pt x="3524" y="330"/>
                </a:cubicBezTo>
                <a:close/>
                <a:moveTo>
                  <a:pt x="3579" y="339"/>
                </a:moveTo>
                <a:cubicBezTo>
                  <a:pt x="3579" y="339"/>
                  <a:pt x="3579" y="339"/>
                  <a:pt x="3579" y="339"/>
                </a:cubicBezTo>
                <a:cubicBezTo>
                  <a:pt x="3579" y="330"/>
                  <a:pt x="3579" y="330"/>
                  <a:pt x="3579" y="330"/>
                </a:cubicBezTo>
                <a:cubicBezTo>
                  <a:pt x="3572" y="330"/>
                  <a:pt x="3572" y="327"/>
                  <a:pt x="3572" y="324"/>
                </a:cubicBezTo>
                <a:cubicBezTo>
                  <a:pt x="3572" y="322"/>
                  <a:pt x="3572" y="319"/>
                  <a:pt x="3572" y="317"/>
                </a:cubicBezTo>
                <a:cubicBezTo>
                  <a:pt x="3573" y="315"/>
                  <a:pt x="3573" y="312"/>
                  <a:pt x="3573" y="310"/>
                </a:cubicBezTo>
                <a:cubicBezTo>
                  <a:pt x="3573" y="301"/>
                  <a:pt x="3567" y="297"/>
                  <a:pt x="3558" y="297"/>
                </a:cubicBezTo>
                <a:cubicBezTo>
                  <a:pt x="3558" y="297"/>
                  <a:pt x="3558" y="297"/>
                  <a:pt x="3554" y="297"/>
                </a:cubicBezTo>
                <a:cubicBezTo>
                  <a:pt x="3554" y="297"/>
                  <a:pt x="3554" y="297"/>
                  <a:pt x="3554" y="306"/>
                </a:cubicBezTo>
                <a:cubicBezTo>
                  <a:pt x="3554" y="306"/>
                  <a:pt x="3554" y="306"/>
                  <a:pt x="3556" y="306"/>
                </a:cubicBezTo>
                <a:cubicBezTo>
                  <a:pt x="3560" y="306"/>
                  <a:pt x="3561" y="309"/>
                  <a:pt x="3561" y="312"/>
                </a:cubicBezTo>
                <a:cubicBezTo>
                  <a:pt x="3561" y="313"/>
                  <a:pt x="3561" y="315"/>
                  <a:pt x="3561" y="317"/>
                </a:cubicBezTo>
                <a:cubicBezTo>
                  <a:pt x="3560" y="319"/>
                  <a:pt x="3560" y="321"/>
                  <a:pt x="3560" y="323"/>
                </a:cubicBezTo>
                <a:cubicBezTo>
                  <a:pt x="3560" y="331"/>
                  <a:pt x="3563" y="333"/>
                  <a:pt x="3569" y="334"/>
                </a:cubicBezTo>
                <a:cubicBezTo>
                  <a:pt x="3569" y="334"/>
                  <a:pt x="3569" y="334"/>
                  <a:pt x="3569" y="334"/>
                </a:cubicBezTo>
                <a:cubicBezTo>
                  <a:pt x="3563" y="336"/>
                  <a:pt x="3560" y="338"/>
                  <a:pt x="3560" y="346"/>
                </a:cubicBezTo>
                <a:cubicBezTo>
                  <a:pt x="3560" y="348"/>
                  <a:pt x="3560" y="350"/>
                  <a:pt x="3561" y="352"/>
                </a:cubicBezTo>
                <a:cubicBezTo>
                  <a:pt x="3561" y="353"/>
                  <a:pt x="3561" y="355"/>
                  <a:pt x="3561" y="356"/>
                </a:cubicBezTo>
                <a:cubicBezTo>
                  <a:pt x="3561" y="360"/>
                  <a:pt x="3560" y="362"/>
                  <a:pt x="3556" y="362"/>
                </a:cubicBezTo>
                <a:cubicBezTo>
                  <a:pt x="3556" y="362"/>
                  <a:pt x="3556" y="362"/>
                  <a:pt x="3554" y="362"/>
                </a:cubicBezTo>
                <a:cubicBezTo>
                  <a:pt x="3554" y="362"/>
                  <a:pt x="3554" y="362"/>
                  <a:pt x="3554" y="371"/>
                </a:cubicBezTo>
                <a:cubicBezTo>
                  <a:pt x="3554" y="371"/>
                  <a:pt x="3554" y="371"/>
                  <a:pt x="3558" y="371"/>
                </a:cubicBezTo>
                <a:cubicBezTo>
                  <a:pt x="3567" y="371"/>
                  <a:pt x="3573" y="368"/>
                  <a:pt x="3573" y="359"/>
                </a:cubicBezTo>
                <a:cubicBezTo>
                  <a:pt x="3573" y="356"/>
                  <a:pt x="3573" y="354"/>
                  <a:pt x="3572" y="352"/>
                </a:cubicBezTo>
                <a:cubicBezTo>
                  <a:pt x="3572" y="349"/>
                  <a:pt x="3572" y="347"/>
                  <a:pt x="3572" y="344"/>
                </a:cubicBezTo>
                <a:cubicBezTo>
                  <a:pt x="3572" y="342"/>
                  <a:pt x="3572" y="339"/>
                  <a:pt x="3579" y="339"/>
                </a:cubicBezTo>
                <a:close/>
                <a:moveTo>
                  <a:pt x="3762" y="371"/>
                </a:moveTo>
                <a:cubicBezTo>
                  <a:pt x="3755" y="371"/>
                  <a:pt x="3748" y="368"/>
                  <a:pt x="3744" y="363"/>
                </a:cubicBezTo>
                <a:cubicBezTo>
                  <a:pt x="3740" y="356"/>
                  <a:pt x="3738" y="347"/>
                  <a:pt x="3738" y="335"/>
                </a:cubicBezTo>
                <a:cubicBezTo>
                  <a:pt x="3738" y="321"/>
                  <a:pt x="3740" y="312"/>
                  <a:pt x="3745" y="305"/>
                </a:cubicBezTo>
                <a:cubicBezTo>
                  <a:pt x="3749" y="299"/>
                  <a:pt x="3756" y="295"/>
                  <a:pt x="3764" y="295"/>
                </a:cubicBezTo>
                <a:cubicBezTo>
                  <a:pt x="3780" y="295"/>
                  <a:pt x="3788" y="308"/>
                  <a:pt x="3788" y="333"/>
                </a:cubicBezTo>
                <a:cubicBezTo>
                  <a:pt x="3788" y="346"/>
                  <a:pt x="3786" y="355"/>
                  <a:pt x="3781" y="362"/>
                </a:cubicBezTo>
                <a:cubicBezTo>
                  <a:pt x="3777" y="368"/>
                  <a:pt x="3770" y="371"/>
                  <a:pt x="3762" y="371"/>
                </a:cubicBezTo>
                <a:close/>
                <a:moveTo>
                  <a:pt x="3764" y="305"/>
                </a:moveTo>
                <a:cubicBezTo>
                  <a:pt x="3754" y="305"/>
                  <a:pt x="3750" y="315"/>
                  <a:pt x="3750" y="335"/>
                </a:cubicBezTo>
                <a:cubicBezTo>
                  <a:pt x="3750" y="353"/>
                  <a:pt x="3754" y="362"/>
                  <a:pt x="3763" y="362"/>
                </a:cubicBezTo>
                <a:cubicBezTo>
                  <a:pt x="3772" y="362"/>
                  <a:pt x="3776" y="353"/>
                  <a:pt x="3776" y="334"/>
                </a:cubicBezTo>
                <a:cubicBezTo>
                  <a:pt x="3776" y="314"/>
                  <a:pt x="3772" y="305"/>
                  <a:pt x="3764" y="305"/>
                </a:cubicBezTo>
                <a:close/>
                <a:moveTo>
                  <a:pt x="3833" y="371"/>
                </a:moveTo>
                <a:cubicBezTo>
                  <a:pt x="3825" y="371"/>
                  <a:pt x="3818" y="368"/>
                  <a:pt x="3815" y="363"/>
                </a:cubicBezTo>
                <a:cubicBezTo>
                  <a:pt x="3810" y="356"/>
                  <a:pt x="3808" y="347"/>
                  <a:pt x="3808" y="335"/>
                </a:cubicBezTo>
                <a:cubicBezTo>
                  <a:pt x="3808" y="321"/>
                  <a:pt x="3810" y="312"/>
                  <a:pt x="3815" y="305"/>
                </a:cubicBezTo>
                <a:cubicBezTo>
                  <a:pt x="3819" y="299"/>
                  <a:pt x="3826" y="295"/>
                  <a:pt x="3835" y="295"/>
                </a:cubicBezTo>
                <a:cubicBezTo>
                  <a:pt x="3851" y="295"/>
                  <a:pt x="3859" y="308"/>
                  <a:pt x="3859" y="333"/>
                </a:cubicBezTo>
                <a:cubicBezTo>
                  <a:pt x="3859" y="346"/>
                  <a:pt x="3857" y="355"/>
                  <a:pt x="3852" y="362"/>
                </a:cubicBezTo>
                <a:cubicBezTo>
                  <a:pt x="3847" y="368"/>
                  <a:pt x="3841" y="371"/>
                  <a:pt x="3833" y="371"/>
                </a:cubicBezTo>
                <a:close/>
                <a:moveTo>
                  <a:pt x="3834" y="305"/>
                </a:moveTo>
                <a:cubicBezTo>
                  <a:pt x="3825" y="305"/>
                  <a:pt x="3820" y="315"/>
                  <a:pt x="3820" y="335"/>
                </a:cubicBezTo>
                <a:cubicBezTo>
                  <a:pt x="3820" y="353"/>
                  <a:pt x="3824" y="362"/>
                  <a:pt x="3833" y="362"/>
                </a:cubicBezTo>
                <a:cubicBezTo>
                  <a:pt x="3842" y="362"/>
                  <a:pt x="3847" y="353"/>
                  <a:pt x="3847" y="334"/>
                </a:cubicBezTo>
                <a:cubicBezTo>
                  <a:pt x="3847" y="314"/>
                  <a:pt x="3842" y="305"/>
                  <a:pt x="3834" y="305"/>
                </a:cubicBezTo>
                <a:close/>
                <a:moveTo>
                  <a:pt x="1978" y="394"/>
                </a:moveTo>
                <a:cubicBezTo>
                  <a:pt x="1978" y="394"/>
                  <a:pt x="1978" y="394"/>
                  <a:pt x="1978" y="394"/>
                </a:cubicBezTo>
                <a:cubicBezTo>
                  <a:pt x="1973" y="394"/>
                  <a:pt x="1973" y="394"/>
                  <a:pt x="1973" y="394"/>
                </a:cubicBezTo>
                <a:cubicBezTo>
                  <a:pt x="1971" y="395"/>
                  <a:pt x="1969" y="397"/>
                  <a:pt x="1967" y="398"/>
                </a:cubicBezTo>
                <a:cubicBezTo>
                  <a:pt x="1966" y="399"/>
                  <a:pt x="1964" y="400"/>
                  <a:pt x="1962" y="401"/>
                </a:cubicBezTo>
                <a:cubicBezTo>
                  <a:pt x="1960" y="402"/>
                  <a:pt x="1958" y="403"/>
                  <a:pt x="1957" y="403"/>
                </a:cubicBezTo>
                <a:cubicBezTo>
                  <a:pt x="1955" y="404"/>
                  <a:pt x="1953" y="405"/>
                  <a:pt x="1951" y="405"/>
                </a:cubicBezTo>
                <a:cubicBezTo>
                  <a:pt x="1951" y="405"/>
                  <a:pt x="1951" y="405"/>
                  <a:pt x="1951" y="415"/>
                </a:cubicBezTo>
                <a:cubicBezTo>
                  <a:pt x="1954" y="414"/>
                  <a:pt x="1957" y="414"/>
                  <a:pt x="1960" y="412"/>
                </a:cubicBezTo>
                <a:cubicBezTo>
                  <a:pt x="1962" y="411"/>
                  <a:pt x="1964" y="410"/>
                  <a:pt x="1966" y="409"/>
                </a:cubicBezTo>
                <a:cubicBezTo>
                  <a:pt x="1966" y="409"/>
                  <a:pt x="1966" y="409"/>
                  <a:pt x="1966" y="467"/>
                </a:cubicBezTo>
                <a:cubicBezTo>
                  <a:pt x="1966" y="467"/>
                  <a:pt x="1966" y="467"/>
                  <a:pt x="1978" y="467"/>
                </a:cubicBezTo>
                <a:cubicBezTo>
                  <a:pt x="1978" y="467"/>
                  <a:pt x="1978" y="467"/>
                  <a:pt x="1978" y="394"/>
                </a:cubicBezTo>
                <a:close/>
                <a:moveTo>
                  <a:pt x="2025" y="394"/>
                </a:moveTo>
                <a:cubicBezTo>
                  <a:pt x="2025" y="394"/>
                  <a:pt x="2025" y="394"/>
                  <a:pt x="2025" y="394"/>
                </a:cubicBezTo>
                <a:cubicBezTo>
                  <a:pt x="2020" y="394"/>
                  <a:pt x="2020" y="394"/>
                  <a:pt x="2020" y="394"/>
                </a:cubicBezTo>
                <a:cubicBezTo>
                  <a:pt x="2018" y="395"/>
                  <a:pt x="2017" y="397"/>
                  <a:pt x="2015" y="398"/>
                </a:cubicBezTo>
                <a:cubicBezTo>
                  <a:pt x="2013" y="399"/>
                  <a:pt x="2011" y="400"/>
                  <a:pt x="2009" y="401"/>
                </a:cubicBezTo>
                <a:cubicBezTo>
                  <a:pt x="2008" y="402"/>
                  <a:pt x="2006" y="403"/>
                  <a:pt x="2004" y="403"/>
                </a:cubicBezTo>
                <a:cubicBezTo>
                  <a:pt x="2002" y="404"/>
                  <a:pt x="2001" y="405"/>
                  <a:pt x="1999" y="405"/>
                </a:cubicBezTo>
                <a:cubicBezTo>
                  <a:pt x="1999" y="405"/>
                  <a:pt x="1999" y="405"/>
                  <a:pt x="1999" y="415"/>
                </a:cubicBezTo>
                <a:cubicBezTo>
                  <a:pt x="2001" y="414"/>
                  <a:pt x="2004" y="414"/>
                  <a:pt x="2007" y="412"/>
                </a:cubicBezTo>
                <a:cubicBezTo>
                  <a:pt x="2009" y="411"/>
                  <a:pt x="2012" y="410"/>
                  <a:pt x="2014" y="409"/>
                </a:cubicBezTo>
                <a:cubicBezTo>
                  <a:pt x="2014" y="409"/>
                  <a:pt x="2014" y="409"/>
                  <a:pt x="2014" y="467"/>
                </a:cubicBezTo>
                <a:cubicBezTo>
                  <a:pt x="2014" y="467"/>
                  <a:pt x="2014" y="467"/>
                  <a:pt x="2025" y="467"/>
                </a:cubicBezTo>
                <a:cubicBezTo>
                  <a:pt x="2025" y="467"/>
                  <a:pt x="2025" y="467"/>
                  <a:pt x="2025" y="394"/>
                </a:cubicBezTo>
                <a:close/>
                <a:moveTo>
                  <a:pt x="2072" y="394"/>
                </a:moveTo>
                <a:cubicBezTo>
                  <a:pt x="2072" y="394"/>
                  <a:pt x="2072" y="394"/>
                  <a:pt x="2072" y="394"/>
                </a:cubicBezTo>
                <a:cubicBezTo>
                  <a:pt x="2068" y="394"/>
                  <a:pt x="2068" y="394"/>
                  <a:pt x="2068" y="394"/>
                </a:cubicBezTo>
                <a:cubicBezTo>
                  <a:pt x="2066" y="395"/>
                  <a:pt x="2064" y="397"/>
                  <a:pt x="2062" y="398"/>
                </a:cubicBezTo>
                <a:cubicBezTo>
                  <a:pt x="2060" y="399"/>
                  <a:pt x="2058" y="400"/>
                  <a:pt x="2057" y="401"/>
                </a:cubicBezTo>
                <a:cubicBezTo>
                  <a:pt x="2055" y="401"/>
                  <a:pt x="2053" y="402"/>
                  <a:pt x="2051" y="403"/>
                </a:cubicBezTo>
                <a:cubicBezTo>
                  <a:pt x="2050" y="403"/>
                  <a:pt x="2048" y="404"/>
                  <a:pt x="2046" y="405"/>
                </a:cubicBezTo>
                <a:cubicBezTo>
                  <a:pt x="2046" y="405"/>
                  <a:pt x="2046" y="405"/>
                  <a:pt x="2046" y="415"/>
                </a:cubicBezTo>
                <a:cubicBezTo>
                  <a:pt x="2049" y="414"/>
                  <a:pt x="2052" y="413"/>
                  <a:pt x="2054" y="412"/>
                </a:cubicBezTo>
                <a:cubicBezTo>
                  <a:pt x="2056" y="411"/>
                  <a:pt x="2059" y="410"/>
                  <a:pt x="2060" y="409"/>
                </a:cubicBezTo>
                <a:cubicBezTo>
                  <a:pt x="2060" y="409"/>
                  <a:pt x="2060" y="409"/>
                  <a:pt x="2060" y="467"/>
                </a:cubicBezTo>
                <a:cubicBezTo>
                  <a:pt x="2060" y="467"/>
                  <a:pt x="2060" y="467"/>
                  <a:pt x="2072" y="467"/>
                </a:cubicBezTo>
                <a:cubicBezTo>
                  <a:pt x="2072" y="467"/>
                  <a:pt x="2072" y="467"/>
                  <a:pt x="2072" y="394"/>
                </a:cubicBezTo>
                <a:close/>
                <a:moveTo>
                  <a:pt x="2117" y="467"/>
                </a:moveTo>
                <a:cubicBezTo>
                  <a:pt x="2109" y="467"/>
                  <a:pt x="2103" y="464"/>
                  <a:pt x="2098" y="459"/>
                </a:cubicBezTo>
                <a:cubicBezTo>
                  <a:pt x="2095" y="452"/>
                  <a:pt x="2093" y="443"/>
                  <a:pt x="2093" y="431"/>
                </a:cubicBezTo>
                <a:cubicBezTo>
                  <a:pt x="2093" y="417"/>
                  <a:pt x="2095" y="408"/>
                  <a:pt x="2099" y="401"/>
                </a:cubicBezTo>
                <a:cubicBezTo>
                  <a:pt x="2104" y="395"/>
                  <a:pt x="2110" y="391"/>
                  <a:pt x="2119" y="391"/>
                </a:cubicBezTo>
                <a:cubicBezTo>
                  <a:pt x="2135" y="391"/>
                  <a:pt x="2143" y="404"/>
                  <a:pt x="2143" y="429"/>
                </a:cubicBezTo>
                <a:cubicBezTo>
                  <a:pt x="2143" y="442"/>
                  <a:pt x="2141" y="451"/>
                  <a:pt x="2136" y="458"/>
                </a:cubicBezTo>
                <a:cubicBezTo>
                  <a:pt x="2131" y="464"/>
                  <a:pt x="2125" y="467"/>
                  <a:pt x="2117" y="467"/>
                </a:cubicBezTo>
                <a:close/>
                <a:moveTo>
                  <a:pt x="2118" y="401"/>
                </a:moveTo>
                <a:cubicBezTo>
                  <a:pt x="2109" y="401"/>
                  <a:pt x="2104" y="411"/>
                  <a:pt x="2104" y="431"/>
                </a:cubicBezTo>
                <a:cubicBezTo>
                  <a:pt x="2104" y="449"/>
                  <a:pt x="2109" y="458"/>
                  <a:pt x="2117" y="458"/>
                </a:cubicBezTo>
                <a:cubicBezTo>
                  <a:pt x="2126" y="458"/>
                  <a:pt x="2131" y="449"/>
                  <a:pt x="2131" y="430"/>
                </a:cubicBezTo>
                <a:cubicBezTo>
                  <a:pt x="2131" y="410"/>
                  <a:pt x="2126" y="401"/>
                  <a:pt x="2118" y="401"/>
                </a:cubicBezTo>
                <a:close/>
                <a:moveTo>
                  <a:pt x="2188" y="467"/>
                </a:moveTo>
                <a:cubicBezTo>
                  <a:pt x="2180" y="467"/>
                  <a:pt x="2174" y="464"/>
                  <a:pt x="2170" y="459"/>
                </a:cubicBezTo>
                <a:cubicBezTo>
                  <a:pt x="2166" y="452"/>
                  <a:pt x="2164" y="443"/>
                  <a:pt x="2164" y="431"/>
                </a:cubicBezTo>
                <a:cubicBezTo>
                  <a:pt x="2164" y="417"/>
                  <a:pt x="2166" y="408"/>
                  <a:pt x="2170" y="401"/>
                </a:cubicBezTo>
                <a:cubicBezTo>
                  <a:pt x="2175" y="395"/>
                  <a:pt x="2181" y="391"/>
                  <a:pt x="2190" y="391"/>
                </a:cubicBezTo>
                <a:cubicBezTo>
                  <a:pt x="2206" y="391"/>
                  <a:pt x="2214" y="404"/>
                  <a:pt x="2214" y="429"/>
                </a:cubicBezTo>
                <a:cubicBezTo>
                  <a:pt x="2214" y="442"/>
                  <a:pt x="2212" y="451"/>
                  <a:pt x="2208" y="458"/>
                </a:cubicBezTo>
                <a:cubicBezTo>
                  <a:pt x="2202" y="464"/>
                  <a:pt x="2197" y="467"/>
                  <a:pt x="2188" y="467"/>
                </a:cubicBezTo>
                <a:close/>
                <a:moveTo>
                  <a:pt x="2189" y="401"/>
                </a:moveTo>
                <a:cubicBezTo>
                  <a:pt x="2180" y="401"/>
                  <a:pt x="2175" y="411"/>
                  <a:pt x="2175" y="431"/>
                </a:cubicBezTo>
                <a:cubicBezTo>
                  <a:pt x="2175" y="449"/>
                  <a:pt x="2180" y="458"/>
                  <a:pt x="2189" y="458"/>
                </a:cubicBezTo>
                <a:cubicBezTo>
                  <a:pt x="2197" y="458"/>
                  <a:pt x="2202" y="449"/>
                  <a:pt x="2202" y="430"/>
                </a:cubicBezTo>
                <a:cubicBezTo>
                  <a:pt x="2202" y="410"/>
                  <a:pt x="2197" y="401"/>
                  <a:pt x="2189" y="401"/>
                </a:cubicBezTo>
                <a:close/>
                <a:moveTo>
                  <a:pt x="2400" y="467"/>
                </a:moveTo>
                <a:cubicBezTo>
                  <a:pt x="2393" y="467"/>
                  <a:pt x="2387" y="464"/>
                  <a:pt x="2383" y="458"/>
                </a:cubicBezTo>
                <a:cubicBezTo>
                  <a:pt x="2379" y="452"/>
                  <a:pt x="2376" y="442"/>
                  <a:pt x="2376" y="431"/>
                </a:cubicBezTo>
                <a:cubicBezTo>
                  <a:pt x="2376" y="417"/>
                  <a:pt x="2379" y="408"/>
                  <a:pt x="2383" y="401"/>
                </a:cubicBezTo>
                <a:cubicBezTo>
                  <a:pt x="2387" y="394"/>
                  <a:pt x="2394" y="391"/>
                  <a:pt x="2403" y="391"/>
                </a:cubicBezTo>
                <a:cubicBezTo>
                  <a:pt x="2419" y="391"/>
                  <a:pt x="2427" y="404"/>
                  <a:pt x="2427" y="429"/>
                </a:cubicBezTo>
                <a:cubicBezTo>
                  <a:pt x="2427" y="442"/>
                  <a:pt x="2425" y="451"/>
                  <a:pt x="2420" y="458"/>
                </a:cubicBezTo>
                <a:cubicBezTo>
                  <a:pt x="2415" y="464"/>
                  <a:pt x="2409" y="467"/>
                  <a:pt x="2400" y="467"/>
                </a:cubicBezTo>
                <a:close/>
                <a:moveTo>
                  <a:pt x="2402" y="401"/>
                </a:moveTo>
                <a:cubicBezTo>
                  <a:pt x="2393" y="401"/>
                  <a:pt x="2389" y="410"/>
                  <a:pt x="2389" y="430"/>
                </a:cubicBezTo>
                <a:cubicBezTo>
                  <a:pt x="2389" y="448"/>
                  <a:pt x="2393" y="458"/>
                  <a:pt x="2402" y="458"/>
                </a:cubicBezTo>
                <a:cubicBezTo>
                  <a:pt x="2410" y="458"/>
                  <a:pt x="2414" y="448"/>
                  <a:pt x="2414" y="430"/>
                </a:cubicBezTo>
                <a:cubicBezTo>
                  <a:pt x="2414" y="410"/>
                  <a:pt x="2411" y="401"/>
                  <a:pt x="2402" y="401"/>
                </a:cubicBezTo>
                <a:close/>
                <a:moveTo>
                  <a:pt x="2519" y="467"/>
                </a:moveTo>
                <a:cubicBezTo>
                  <a:pt x="2511" y="467"/>
                  <a:pt x="2505" y="464"/>
                  <a:pt x="2501" y="458"/>
                </a:cubicBezTo>
                <a:cubicBezTo>
                  <a:pt x="2497" y="452"/>
                  <a:pt x="2494" y="442"/>
                  <a:pt x="2494" y="431"/>
                </a:cubicBezTo>
                <a:cubicBezTo>
                  <a:pt x="2494" y="417"/>
                  <a:pt x="2497" y="408"/>
                  <a:pt x="2501" y="401"/>
                </a:cubicBezTo>
                <a:cubicBezTo>
                  <a:pt x="2505" y="394"/>
                  <a:pt x="2512" y="391"/>
                  <a:pt x="2521" y="391"/>
                </a:cubicBezTo>
                <a:cubicBezTo>
                  <a:pt x="2537" y="391"/>
                  <a:pt x="2545" y="404"/>
                  <a:pt x="2545" y="429"/>
                </a:cubicBezTo>
                <a:cubicBezTo>
                  <a:pt x="2545" y="442"/>
                  <a:pt x="2543" y="451"/>
                  <a:pt x="2538" y="458"/>
                </a:cubicBezTo>
                <a:cubicBezTo>
                  <a:pt x="2533" y="464"/>
                  <a:pt x="2527" y="467"/>
                  <a:pt x="2519" y="467"/>
                </a:cubicBezTo>
                <a:close/>
                <a:moveTo>
                  <a:pt x="2520" y="401"/>
                </a:moveTo>
                <a:cubicBezTo>
                  <a:pt x="2511" y="401"/>
                  <a:pt x="2507" y="410"/>
                  <a:pt x="2507" y="430"/>
                </a:cubicBezTo>
                <a:cubicBezTo>
                  <a:pt x="2507" y="448"/>
                  <a:pt x="2511" y="458"/>
                  <a:pt x="2520" y="458"/>
                </a:cubicBezTo>
                <a:cubicBezTo>
                  <a:pt x="2528" y="458"/>
                  <a:pt x="2532" y="448"/>
                  <a:pt x="2532" y="430"/>
                </a:cubicBezTo>
                <a:cubicBezTo>
                  <a:pt x="2532" y="410"/>
                  <a:pt x="2529" y="401"/>
                  <a:pt x="2520" y="401"/>
                </a:cubicBezTo>
                <a:close/>
                <a:moveTo>
                  <a:pt x="2474" y="394"/>
                </a:moveTo>
                <a:cubicBezTo>
                  <a:pt x="2474" y="394"/>
                  <a:pt x="2474" y="394"/>
                  <a:pt x="2474" y="394"/>
                </a:cubicBezTo>
                <a:cubicBezTo>
                  <a:pt x="2469" y="394"/>
                  <a:pt x="2469" y="394"/>
                  <a:pt x="2469" y="394"/>
                </a:cubicBezTo>
                <a:cubicBezTo>
                  <a:pt x="2467" y="395"/>
                  <a:pt x="2465" y="397"/>
                  <a:pt x="2463" y="398"/>
                </a:cubicBezTo>
                <a:cubicBezTo>
                  <a:pt x="2462" y="399"/>
                  <a:pt x="2460" y="400"/>
                  <a:pt x="2458" y="401"/>
                </a:cubicBezTo>
                <a:cubicBezTo>
                  <a:pt x="2457" y="401"/>
                  <a:pt x="2455" y="402"/>
                  <a:pt x="2453" y="403"/>
                </a:cubicBezTo>
                <a:cubicBezTo>
                  <a:pt x="2451" y="403"/>
                  <a:pt x="2450" y="404"/>
                  <a:pt x="2447" y="405"/>
                </a:cubicBezTo>
                <a:cubicBezTo>
                  <a:pt x="2447" y="405"/>
                  <a:pt x="2447" y="405"/>
                  <a:pt x="2447" y="415"/>
                </a:cubicBezTo>
                <a:cubicBezTo>
                  <a:pt x="2450" y="414"/>
                  <a:pt x="2453" y="413"/>
                  <a:pt x="2455" y="412"/>
                </a:cubicBezTo>
                <a:cubicBezTo>
                  <a:pt x="2458" y="411"/>
                  <a:pt x="2460" y="410"/>
                  <a:pt x="2462" y="409"/>
                </a:cubicBezTo>
                <a:cubicBezTo>
                  <a:pt x="2462" y="409"/>
                  <a:pt x="2462" y="409"/>
                  <a:pt x="2462" y="467"/>
                </a:cubicBezTo>
                <a:cubicBezTo>
                  <a:pt x="2462" y="467"/>
                  <a:pt x="2462" y="467"/>
                  <a:pt x="2474" y="467"/>
                </a:cubicBezTo>
                <a:cubicBezTo>
                  <a:pt x="2474" y="467"/>
                  <a:pt x="2474" y="467"/>
                  <a:pt x="2474" y="394"/>
                </a:cubicBezTo>
                <a:close/>
                <a:moveTo>
                  <a:pt x="2590" y="467"/>
                </a:moveTo>
                <a:cubicBezTo>
                  <a:pt x="2582" y="467"/>
                  <a:pt x="2576" y="464"/>
                  <a:pt x="2572" y="459"/>
                </a:cubicBezTo>
                <a:cubicBezTo>
                  <a:pt x="2568" y="452"/>
                  <a:pt x="2565" y="443"/>
                  <a:pt x="2565" y="431"/>
                </a:cubicBezTo>
                <a:cubicBezTo>
                  <a:pt x="2565" y="417"/>
                  <a:pt x="2568" y="408"/>
                  <a:pt x="2572" y="401"/>
                </a:cubicBezTo>
                <a:cubicBezTo>
                  <a:pt x="2576" y="395"/>
                  <a:pt x="2583" y="391"/>
                  <a:pt x="2592" y="391"/>
                </a:cubicBezTo>
                <a:cubicBezTo>
                  <a:pt x="2608" y="391"/>
                  <a:pt x="2616" y="404"/>
                  <a:pt x="2616" y="429"/>
                </a:cubicBezTo>
                <a:cubicBezTo>
                  <a:pt x="2616" y="442"/>
                  <a:pt x="2614" y="451"/>
                  <a:pt x="2609" y="458"/>
                </a:cubicBezTo>
                <a:cubicBezTo>
                  <a:pt x="2604" y="464"/>
                  <a:pt x="2598" y="467"/>
                  <a:pt x="2590" y="467"/>
                </a:cubicBezTo>
                <a:close/>
                <a:moveTo>
                  <a:pt x="2591" y="401"/>
                </a:moveTo>
                <a:cubicBezTo>
                  <a:pt x="2582" y="401"/>
                  <a:pt x="2577" y="411"/>
                  <a:pt x="2577" y="431"/>
                </a:cubicBezTo>
                <a:cubicBezTo>
                  <a:pt x="2577" y="449"/>
                  <a:pt x="2582" y="458"/>
                  <a:pt x="2590" y="458"/>
                </a:cubicBezTo>
                <a:cubicBezTo>
                  <a:pt x="2599" y="458"/>
                  <a:pt x="2603" y="449"/>
                  <a:pt x="2603" y="430"/>
                </a:cubicBezTo>
                <a:cubicBezTo>
                  <a:pt x="2603" y="410"/>
                  <a:pt x="2599" y="401"/>
                  <a:pt x="2591" y="401"/>
                </a:cubicBezTo>
                <a:close/>
                <a:moveTo>
                  <a:pt x="2637" y="426"/>
                </a:moveTo>
                <a:cubicBezTo>
                  <a:pt x="2637" y="426"/>
                  <a:pt x="2637" y="426"/>
                  <a:pt x="2637" y="426"/>
                </a:cubicBezTo>
                <a:cubicBezTo>
                  <a:pt x="2636" y="435"/>
                  <a:pt x="2636" y="435"/>
                  <a:pt x="2636" y="435"/>
                </a:cubicBezTo>
                <a:cubicBezTo>
                  <a:pt x="2643" y="435"/>
                  <a:pt x="2644" y="438"/>
                  <a:pt x="2644" y="440"/>
                </a:cubicBezTo>
                <a:cubicBezTo>
                  <a:pt x="2644" y="443"/>
                  <a:pt x="2643" y="445"/>
                  <a:pt x="2643" y="448"/>
                </a:cubicBezTo>
                <a:cubicBezTo>
                  <a:pt x="2643" y="450"/>
                  <a:pt x="2642" y="452"/>
                  <a:pt x="2642" y="455"/>
                </a:cubicBezTo>
                <a:cubicBezTo>
                  <a:pt x="2642" y="464"/>
                  <a:pt x="2648" y="467"/>
                  <a:pt x="2657" y="467"/>
                </a:cubicBezTo>
                <a:cubicBezTo>
                  <a:pt x="2657" y="467"/>
                  <a:pt x="2657" y="467"/>
                  <a:pt x="2660" y="467"/>
                </a:cubicBezTo>
                <a:cubicBezTo>
                  <a:pt x="2660" y="467"/>
                  <a:pt x="2660" y="467"/>
                  <a:pt x="2660" y="458"/>
                </a:cubicBezTo>
                <a:cubicBezTo>
                  <a:pt x="2660" y="458"/>
                  <a:pt x="2660" y="458"/>
                  <a:pt x="2659" y="458"/>
                </a:cubicBezTo>
                <a:cubicBezTo>
                  <a:pt x="2655" y="458"/>
                  <a:pt x="2654" y="456"/>
                  <a:pt x="2654" y="452"/>
                </a:cubicBezTo>
                <a:cubicBezTo>
                  <a:pt x="2654" y="451"/>
                  <a:pt x="2654" y="449"/>
                  <a:pt x="2655" y="448"/>
                </a:cubicBezTo>
                <a:cubicBezTo>
                  <a:pt x="2655" y="446"/>
                  <a:pt x="2655" y="444"/>
                  <a:pt x="2655" y="442"/>
                </a:cubicBezTo>
                <a:cubicBezTo>
                  <a:pt x="2655" y="434"/>
                  <a:pt x="2652" y="432"/>
                  <a:pt x="2646" y="430"/>
                </a:cubicBezTo>
                <a:cubicBezTo>
                  <a:pt x="2646" y="430"/>
                  <a:pt x="2646" y="430"/>
                  <a:pt x="2646" y="430"/>
                </a:cubicBezTo>
                <a:cubicBezTo>
                  <a:pt x="2652" y="429"/>
                  <a:pt x="2655" y="427"/>
                  <a:pt x="2655" y="419"/>
                </a:cubicBezTo>
                <a:cubicBezTo>
                  <a:pt x="2655" y="417"/>
                  <a:pt x="2655" y="415"/>
                  <a:pt x="2655" y="413"/>
                </a:cubicBezTo>
                <a:cubicBezTo>
                  <a:pt x="2654" y="411"/>
                  <a:pt x="2654" y="409"/>
                  <a:pt x="2654" y="408"/>
                </a:cubicBezTo>
                <a:cubicBezTo>
                  <a:pt x="2654" y="405"/>
                  <a:pt x="2655" y="402"/>
                  <a:pt x="2659" y="402"/>
                </a:cubicBezTo>
                <a:cubicBezTo>
                  <a:pt x="2659" y="402"/>
                  <a:pt x="2659" y="402"/>
                  <a:pt x="2660" y="402"/>
                </a:cubicBezTo>
                <a:cubicBezTo>
                  <a:pt x="2660" y="402"/>
                  <a:pt x="2660" y="402"/>
                  <a:pt x="2660" y="393"/>
                </a:cubicBezTo>
                <a:cubicBezTo>
                  <a:pt x="2660" y="393"/>
                  <a:pt x="2660" y="393"/>
                  <a:pt x="2657" y="393"/>
                </a:cubicBezTo>
                <a:cubicBezTo>
                  <a:pt x="2648" y="393"/>
                  <a:pt x="2642" y="397"/>
                  <a:pt x="2642" y="406"/>
                </a:cubicBezTo>
                <a:cubicBezTo>
                  <a:pt x="2642" y="408"/>
                  <a:pt x="2643" y="411"/>
                  <a:pt x="2643" y="413"/>
                </a:cubicBezTo>
                <a:cubicBezTo>
                  <a:pt x="2643" y="415"/>
                  <a:pt x="2644" y="418"/>
                  <a:pt x="2644" y="420"/>
                </a:cubicBezTo>
                <a:cubicBezTo>
                  <a:pt x="2644" y="423"/>
                  <a:pt x="2643" y="426"/>
                  <a:pt x="2637" y="426"/>
                </a:cubicBezTo>
                <a:close/>
                <a:moveTo>
                  <a:pt x="2692" y="435"/>
                </a:moveTo>
                <a:cubicBezTo>
                  <a:pt x="2692" y="435"/>
                  <a:pt x="2692" y="435"/>
                  <a:pt x="2692" y="435"/>
                </a:cubicBezTo>
                <a:cubicBezTo>
                  <a:pt x="2692" y="426"/>
                  <a:pt x="2692" y="426"/>
                  <a:pt x="2692" y="426"/>
                </a:cubicBezTo>
                <a:cubicBezTo>
                  <a:pt x="2685" y="426"/>
                  <a:pt x="2685" y="423"/>
                  <a:pt x="2685" y="420"/>
                </a:cubicBezTo>
                <a:cubicBezTo>
                  <a:pt x="2685" y="418"/>
                  <a:pt x="2685" y="415"/>
                  <a:pt x="2685" y="413"/>
                </a:cubicBezTo>
                <a:cubicBezTo>
                  <a:pt x="2686" y="411"/>
                  <a:pt x="2686" y="408"/>
                  <a:pt x="2686" y="406"/>
                </a:cubicBezTo>
                <a:cubicBezTo>
                  <a:pt x="2686" y="397"/>
                  <a:pt x="2681" y="393"/>
                  <a:pt x="2671" y="393"/>
                </a:cubicBezTo>
                <a:cubicBezTo>
                  <a:pt x="2671" y="393"/>
                  <a:pt x="2671" y="393"/>
                  <a:pt x="2668" y="393"/>
                </a:cubicBezTo>
                <a:cubicBezTo>
                  <a:pt x="2668" y="393"/>
                  <a:pt x="2668" y="393"/>
                  <a:pt x="2668" y="402"/>
                </a:cubicBezTo>
                <a:cubicBezTo>
                  <a:pt x="2668" y="402"/>
                  <a:pt x="2668" y="402"/>
                  <a:pt x="2669" y="402"/>
                </a:cubicBezTo>
                <a:cubicBezTo>
                  <a:pt x="2673" y="402"/>
                  <a:pt x="2674" y="405"/>
                  <a:pt x="2674" y="408"/>
                </a:cubicBezTo>
                <a:cubicBezTo>
                  <a:pt x="2674" y="409"/>
                  <a:pt x="2674" y="411"/>
                  <a:pt x="2674" y="413"/>
                </a:cubicBezTo>
                <a:cubicBezTo>
                  <a:pt x="2674" y="415"/>
                  <a:pt x="2674" y="417"/>
                  <a:pt x="2674" y="419"/>
                </a:cubicBezTo>
                <a:cubicBezTo>
                  <a:pt x="2674" y="427"/>
                  <a:pt x="2676" y="429"/>
                  <a:pt x="2682" y="430"/>
                </a:cubicBezTo>
                <a:cubicBezTo>
                  <a:pt x="2682" y="430"/>
                  <a:pt x="2682" y="430"/>
                  <a:pt x="2682" y="430"/>
                </a:cubicBezTo>
                <a:cubicBezTo>
                  <a:pt x="2676" y="432"/>
                  <a:pt x="2674" y="434"/>
                  <a:pt x="2674" y="442"/>
                </a:cubicBezTo>
                <a:cubicBezTo>
                  <a:pt x="2674" y="444"/>
                  <a:pt x="2674" y="446"/>
                  <a:pt x="2674" y="448"/>
                </a:cubicBezTo>
                <a:cubicBezTo>
                  <a:pt x="2674" y="449"/>
                  <a:pt x="2674" y="451"/>
                  <a:pt x="2674" y="452"/>
                </a:cubicBezTo>
                <a:cubicBezTo>
                  <a:pt x="2674" y="456"/>
                  <a:pt x="2673" y="458"/>
                  <a:pt x="2669" y="458"/>
                </a:cubicBezTo>
                <a:cubicBezTo>
                  <a:pt x="2669" y="458"/>
                  <a:pt x="2669" y="458"/>
                  <a:pt x="2668" y="458"/>
                </a:cubicBezTo>
                <a:cubicBezTo>
                  <a:pt x="2668" y="458"/>
                  <a:pt x="2668" y="458"/>
                  <a:pt x="2668" y="467"/>
                </a:cubicBezTo>
                <a:cubicBezTo>
                  <a:pt x="2668" y="467"/>
                  <a:pt x="2668" y="467"/>
                  <a:pt x="2671" y="467"/>
                </a:cubicBezTo>
                <a:cubicBezTo>
                  <a:pt x="2680" y="467"/>
                  <a:pt x="2686" y="464"/>
                  <a:pt x="2686" y="455"/>
                </a:cubicBezTo>
                <a:cubicBezTo>
                  <a:pt x="2686" y="452"/>
                  <a:pt x="2686" y="450"/>
                  <a:pt x="2685" y="448"/>
                </a:cubicBezTo>
                <a:cubicBezTo>
                  <a:pt x="2685" y="445"/>
                  <a:pt x="2685" y="443"/>
                  <a:pt x="2685" y="440"/>
                </a:cubicBezTo>
                <a:cubicBezTo>
                  <a:pt x="2685" y="438"/>
                  <a:pt x="2685" y="435"/>
                  <a:pt x="2692" y="435"/>
                </a:cubicBezTo>
                <a:close/>
                <a:moveTo>
                  <a:pt x="2812" y="467"/>
                </a:moveTo>
                <a:cubicBezTo>
                  <a:pt x="2804" y="467"/>
                  <a:pt x="2798" y="464"/>
                  <a:pt x="2794" y="459"/>
                </a:cubicBezTo>
                <a:cubicBezTo>
                  <a:pt x="2790" y="452"/>
                  <a:pt x="2788" y="443"/>
                  <a:pt x="2788" y="431"/>
                </a:cubicBezTo>
                <a:cubicBezTo>
                  <a:pt x="2788" y="417"/>
                  <a:pt x="2790" y="408"/>
                  <a:pt x="2794" y="401"/>
                </a:cubicBezTo>
                <a:cubicBezTo>
                  <a:pt x="2799" y="395"/>
                  <a:pt x="2805" y="391"/>
                  <a:pt x="2814" y="391"/>
                </a:cubicBezTo>
                <a:cubicBezTo>
                  <a:pt x="2830" y="391"/>
                  <a:pt x="2838" y="404"/>
                  <a:pt x="2838" y="429"/>
                </a:cubicBezTo>
                <a:cubicBezTo>
                  <a:pt x="2838" y="442"/>
                  <a:pt x="2836" y="451"/>
                  <a:pt x="2831" y="458"/>
                </a:cubicBezTo>
                <a:cubicBezTo>
                  <a:pt x="2826" y="464"/>
                  <a:pt x="2820" y="467"/>
                  <a:pt x="2812" y="467"/>
                </a:cubicBezTo>
                <a:close/>
                <a:moveTo>
                  <a:pt x="2813" y="401"/>
                </a:moveTo>
                <a:cubicBezTo>
                  <a:pt x="2804" y="401"/>
                  <a:pt x="2799" y="411"/>
                  <a:pt x="2799" y="431"/>
                </a:cubicBezTo>
                <a:cubicBezTo>
                  <a:pt x="2799" y="449"/>
                  <a:pt x="2804" y="458"/>
                  <a:pt x="2813" y="458"/>
                </a:cubicBezTo>
                <a:cubicBezTo>
                  <a:pt x="2821" y="458"/>
                  <a:pt x="2826" y="449"/>
                  <a:pt x="2826" y="430"/>
                </a:cubicBezTo>
                <a:cubicBezTo>
                  <a:pt x="2826" y="410"/>
                  <a:pt x="2821" y="401"/>
                  <a:pt x="2813" y="401"/>
                </a:cubicBezTo>
                <a:close/>
                <a:moveTo>
                  <a:pt x="2886" y="394"/>
                </a:moveTo>
                <a:cubicBezTo>
                  <a:pt x="2886" y="394"/>
                  <a:pt x="2886" y="394"/>
                  <a:pt x="2886" y="394"/>
                </a:cubicBezTo>
                <a:cubicBezTo>
                  <a:pt x="2881" y="394"/>
                  <a:pt x="2881" y="394"/>
                  <a:pt x="2881" y="394"/>
                </a:cubicBezTo>
                <a:cubicBezTo>
                  <a:pt x="2879" y="395"/>
                  <a:pt x="2877" y="397"/>
                  <a:pt x="2875" y="398"/>
                </a:cubicBezTo>
                <a:cubicBezTo>
                  <a:pt x="2874" y="399"/>
                  <a:pt x="2871" y="400"/>
                  <a:pt x="2870" y="401"/>
                </a:cubicBezTo>
                <a:cubicBezTo>
                  <a:pt x="2868" y="401"/>
                  <a:pt x="2866" y="402"/>
                  <a:pt x="2865" y="403"/>
                </a:cubicBezTo>
                <a:cubicBezTo>
                  <a:pt x="2862" y="403"/>
                  <a:pt x="2861" y="404"/>
                  <a:pt x="2859" y="405"/>
                </a:cubicBezTo>
                <a:cubicBezTo>
                  <a:pt x="2859" y="405"/>
                  <a:pt x="2859" y="405"/>
                  <a:pt x="2859" y="415"/>
                </a:cubicBezTo>
                <a:cubicBezTo>
                  <a:pt x="2862" y="414"/>
                  <a:pt x="2865" y="413"/>
                  <a:pt x="2867" y="412"/>
                </a:cubicBezTo>
                <a:cubicBezTo>
                  <a:pt x="2870" y="411"/>
                  <a:pt x="2872" y="410"/>
                  <a:pt x="2874" y="409"/>
                </a:cubicBezTo>
                <a:cubicBezTo>
                  <a:pt x="2874" y="409"/>
                  <a:pt x="2874" y="409"/>
                  <a:pt x="2874" y="467"/>
                </a:cubicBezTo>
                <a:cubicBezTo>
                  <a:pt x="2874" y="467"/>
                  <a:pt x="2874" y="467"/>
                  <a:pt x="2886" y="467"/>
                </a:cubicBezTo>
                <a:cubicBezTo>
                  <a:pt x="2886" y="467"/>
                  <a:pt x="2886" y="467"/>
                  <a:pt x="2886" y="394"/>
                </a:cubicBezTo>
                <a:close/>
                <a:moveTo>
                  <a:pt x="2718" y="467"/>
                </a:moveTo>
                <a:cubicBezTo>
                  <a:pt x="2721" y="448"/>
                  <a:pt x="2721" y="448"/>
                  <a:pt x="2721" y="448"/>
                </a:cubicBezTo>
                <a:cubicBezTo>
                  <a:pt x="2712" y="448"/>
                  <a:pt x="2712" y="448"/>
                  <a:pt x="2712" y="448"/>
                </a:cubicBezTo>
                <a:cubicBezTo>
                  <a:pt x="2712" y="436"/>
                  <a:pt x="2712" y="436"/>
                  <a:pt x="2712" y="436"/>
                </a:cubicBezTo>
                <a:cubicBezTo>
                  <a:pt x="2723" y="436"/>
                  <a:pt x="2723" y="436"/>
                  <a:pt x="2723" y="436"/>
                </a:cubicBezTo>
                <a:cubicBezTo>
                  <a:pt x="2725" y="425"/>
                  <a:pt x="2725" y="425"/>
                  <a:pt x="2725" y="425"/>
                </a:cubicBezTo>
                <a:cubicBezTo>
                  <a:pt x="2715" y="425"/>
                  <a:pt x="2715" y="425"/>
                  <a:pt x="2715" y="425"/>
                </a:cubicBezTo>
                <a:cubicBezTo>
                  <a:pt x="2715" y="413"/>
                  <a:pt x="2715" y="413"/>
                  <a:pt x="2715" y="413"/>
                </a:cubicBezTo>
                <a:cubicBezTo>
                  <a:pt x="2726" y="413"/>
                  <a:pt x="2726" y="413"/>
                  <a:pt x="2726" y="413"/>
                </a:cubicBezTo>
                <a:cubicBezTo>
                  <a:pt x="2729" y="395"/>
                  <a:pt x="2729" y="395"/>
                  <a:pt x="2729" y="395"/>
                </a:cubicBezTo>
                <a:cubicBezTo>
                  <a:pt x="2740" y="395"/>
                  <a:pt x="2740" y="395"/>
                  <a:pt x="2740" y="395"/>
                </a:cubicBezTo>
                <a:cubicBezTo>
                  <a:pt x="2737" y="413"/>
                  <a:pt x="2737" y="413"/>
                  <a:pt x="2737" y="413"/>
                </a:cubicBezTo>
                <a:cubicBezTo>
                  <a:pt x="2747" y="413"/>
                  <a:pt x="2747" y="413"/>
                  <a:pt x="2747" y="413"/>
                </a:cubicBezTo>
                <a:cubicBezTo>
                  <a:pt x="2750" y="395"/>
                  <a:pt x="2750" y="395"/>
                  <a:pt x="2750" y="395"/>
                </a:cubicBezTo>
                <a:cubicBezTo>
                  <a:pt x="2761" y="395"/>
                  <a:pt x="2761" y="395"/>
                  <a:pt x="2761" y="395"/>
                </a:cubicBezTo>
                <a:cubicBezTo>
                  <a:pt x="2758" y="413"/>
                  <a:pt x="2758" y="413"/>
                  <a:pt x="2758" y="413"/>
                </a:cubicBezTo>
                <a:cubicBezTo>
                  <a:pt x="2767" y="413"/>
                  <a:pt x="2767" y="413"/>
                  <a:pt x="2767" y="413"/>
                </a:cubicBezTo>
                <a:cubicBezTo>
                  <a:pt x="2767" y="425"/>
                  <a:pt x="2767" y="425"/>
                  <a:pt x="2767" y="425"/>
                </a:cubicBezTo>
                <a:cubicBezTo>
                  <a:pt x="2756" y="425"/>
                  <a:pt x="2756" y="425"/>
                  <a:pt x="2756" y="425"/>
                </a:cubicBezTo>
                <a:cubicBezTo>
                  <a:pt x="2755" y="436"/>
                  <a:pt x="2755" y="436"/>
                  <a:pt x="2755" y="436"/>
                </a:cubicBezTo>
                <a:cubicBezTo>
                  <a:pt x="2764" y="436"/>
                  <a:pt x="2764" y="436"/>
                  <a:pt x="2764" y="436"/>
                </a:cubicBezTo>
                <a:cubicBezTo>
                  <a:pt x="2764" y="448"/>
                  <a:pt x="2764" y="448"/>
                  <a:pt x="2764" y="448"/>
                </a:cubicBezTo>
                <a:cubicBezTo>
                  <a:pt x="2753" y="448"/>
                  <a:pt x="2753" y="448"/>
                  <a:pt x="2753" y="448"/>
                </a:cubicBezTo>
                <a:cubicBezTo>
                  <a:pt x="2750" y="467"/>
                  <a:pt x="2750" y="467"/>
                  <a:pt x="2750" y="467"/>
                </a:cubicBezTo>
                <a:cubicBezTo>
                  <a:pt x="2739" y="467"/>
                  <a:pt x="2739" y="467"/>
                  <a:pt x="2739" y="467"/>
                </a:cubicBezTo>
                <a:cubicBezTo>
                  <a:pt x="2742" y="448"/>
                  <a:pt x="2742" y="448"/>
                  <a:pt x="2742" y="448"/>
                </a:cubicBezTo>
                <a:cubicBezTo>
                  <a:pt x="2732" y="448"/>
                  <a:pt x="2732" y="448"/>
                  <a:pt x="2732" y="448"/>
                </a:cubicBezTo>
                <a:cubicBezTo>
                  <a:pt x="2729" y="467"/>
                  <a:pt x="2729" y="467"/>
                  <a:pt x="2729" y="467"/>
                </a:cubicBezTo>
                <a:cubicBezTo>
                  <a:pt x="2718" y="467"/>
                  <a:pt x="2718" y="467"/>
                  <a:pt x="2718" y="467"/>
                </a:cubicBezTo>
                <a:cubicBezTo>
                  <a:pt x="2718" y="467"/>
                  <a:pt x="2718" y="467"/>
                  <a:pt x="2718" y="467"/>
                </a:cubicBezTo>
                <a:close/>
                <a:moveTo>
                  <a:pt x="2744" y="436"/>
                </a:moveTo>
                <a:cubicBezTo>
                  <a:pt x="2745" y="425"/>
                  <a:pt x="2745" y="425"/>
                  <a:pt x="2745" y="425"/>
                </a:cubicBezTo>
                <a:cubicBezTo>
                  <a:pt x="2736" y="425"/>
                  <a:pt x="2736" y="425"/>
                  <a:pt x="2736" y="425"/>
                </a:cubicBezTo>
                <a:cubicBezTo>
                  <a:pt x="2734" y="436"/>
                  <a:pt x="2734" y="436"/>
                  <a:pt x="2734" y="436"/>
                </a:cubicBezTo>
                <a:cubicBezTo>
                  <a:pt x="2744" y="436"/>
                  <a:pt x="2744" y="436"/>
                  <a:pt x="2744" y="436"/>
                </a:cubicBezTo>
                <a:cubicBezTo>
                  <a:pt x="2744" y="436"/>
                  <a:pt x="2744" y="436"/>
                  <a:pt x="2744" y="436"/>
                </a:cubicBezTo>
                <a:close/>
                <a:moveTo>
                  <a:pt x="2262" y="394"/>
                </a:moveTo>
                <a:cubicBezTo>
                  <a:pt x="2262" y="394"/>
                  <a:pt x="2262" y="394"/>
                  <a:pt x="2262" y="394"/>
                </a:cubicBezTo>
                <a:cubicBezTo>
                  <a:pt x="2257" y="394"/>
                  <a:pt x="2257" y="394"/>
                  <a:pt x="2257" y="394"/>
                </a:cubicBezTo>
                <a:cubicBezTo>
                  <a:pt x="2254" y="395"/>
                  <a:pt x="2253" y="397"/>
                  <a:pt x="2251" y="398"/>
                </a:cubicBezTo>
                <a:cubicBezTo>
                  <a:pt x="2249" y="399"/>
                  <a:pt x="2248" y="400"/>
                  <a:pt x="2246" y="401"/>
                </a:cubicBezTo>
                <a:cubicBezTo>
                  <a:pt x="2244" y="402"/>
                  <a:pt x="2242" y="403"/>
                  <a:pt x="2241" y="403"/>
                </a:cubicBezTo>
                <a:cubicBezTo>
                  <a:pt x="2238" y="404"/>
                  <a:pt x="2237" y="405"/>
                  <a:pt x="2235" y="405"/>
                </a:cubicBezTo>
                <a:cubicBezTo>
                  <a:pt x="2235" y="405"/>
                  <a:pt x="2235" y="405"/>
                  <a:pt x="2235" y="415"/>
                </a:cubicBezTo>
                <a:cubicBezTo>
                  <a:pt x="2238" y="414"/>
                  <a:pt x="2241" y="414"/>
                  <a:pt x="2243" y="412"/>
                </a:cubicBezTo>
                <a:cubicBezTo>
                  <a:pt x="2246" y="411"/>
                  <a:pt x="2248" y="410"/>
                  <a:pt x="2250" y="409"/>
                </a:cubicBezTo>
                <a:cubicBezTo>
                  <a:pt x="2250" y="409"/>
                  <a:pt x="2250" y="409"/>
                  <a:pt x="2250" y="467"/>
                </a:cubicBezTo>
                <a:cubicBezTo>
                  <a:pt x="2250" y="467"/>
                  <a:pt x="2250" y="467"/>
                  <a:pt x="2262" y="467"/>
                </a:cubicBezTo>
                <a:cubicBezTo>
                  <a:pt x="2262" y="467"/>
                  <a:pt x="2262" y="467"/>
                  <a:pt x="2262" y="394"/>
                </a:cubicBezTo>
                <a:close/>
                <a:moveTo>
                  <a:pt x="2309" y="394"/>
                </a:moveTo>
                <a:cubicBezTo>
                  <a:pt x="2309" y="394"/>
                  <a:pt x="2309" y="394"/>
                  <a:pt x="2309" y="394"/>
                </a:cubicBezTo>
                <a:cubicBezTo>
                  <a:pt x="2304" y="394"/>
                  <a:pt x="2304" y="394"/>
                  <a:pt x="2304" y="394"/>
                </a:cubicBezTo>
                <a:cubicBezTo>
                  <a:pt x="2302" y="395"/>
                  <a:pt x="2300" y="397"/>
                  <a:pt x="2298" y="398"/>
                </a:cubicBezTo>
                <a:cubicBezTo>
                  <a:pt x="2297" y="399"/>
                  <a:pt x="2295" y="400"/>
                  <a:pt x="2293" y="401"/>
                </a:cubicBezTo>
                <a:cubicBezTo>
                  <a:pt x="2292" y="402"/>
                  <a:pt x="2290" y="403"/>
                  <a:pt x="2288" y="403"/>
                </a:cubicBezTo>
                <a:cubicBezTo>
                  <a:pt x="2286" y="404"/>
                  <a:pt x="2284" y="405"/>
                  <a:pt x="2282" y="405"/>
                </a:cubicBezTo>
                <a:cubicBezTo>
                  <a:pt x="2282" y="405"/>
                  <a:pt x="2282" y="405"/>
                  <a:pt x="2282" y="415"/>
                </a:cubicBezTo>
                <a:cubicBezTo>
                  <a:pt x="2285" y="414"/>
                  <a:pt x="2288" y="414"/>
                  <a:pt x="2290" y="412"/>
                </a:cubicBezTo>
                <a:cubicBezTo>
                  <a:pt x="2293" y="411"/>
                  <a:pt x="2295" y="410"/>
                  <a:pt x="2298" y="409"/>
                </a:cubicBezTo>
                <a:cubicBezTo>
                  <a:pt x="2298" y="409"/>
                  <a:pt x="2298" y="409"/>
                  <a:pt x="2298" y="467"/>
                </a:cubicBezTo>
                <a:cubicBezTo>
                  <a:pt x="2298" y="467"/>
                  <a:pt x="2298" y="467"/>
                  <a:pt x="2309" y="467"/>
                </a:cubicBezTo>
                <a:cubicBezTo>
                  <a:pt x="2309" y="467"/>
                  <a:pt x="2309" y="467"/>
                  <a:pt x="2309" y="394"/>
                </a:cubicBezTo>
                <a:close/>
                <a:moveTo>
                  <a:pt x="2356" y="394"/>
                </a:moveTo>
                <a:cubicBezTo>
                  <a:pt x="2356" y="394"/>
                  <a:pt x="2356" y="394"/>
                  <a:pt x="2356" y="394"/>
                </a:cubicBezTo>
                <a:cubicBezTo>
                  <a:pt x="2351" y="394"/>
                  <a:pt x="2351" y="394"/>
                  <a:pt x="2351" y="394"/>
                </a:cubicBezTo>
                <a:cubicBezTo>
                  <a:pt x="2349" y="395"/>
                  <a:pt x="2348" y="397"/>
                  <a:pt x="2346" y="398"/>
                </a:cubicBezTo>
                <a:cubicBezTo>
                  <a:pt x="2344" y="399"/>
                  <a:pt x="2342" y="400"/>
                  <a:pt x="2341" y="401"/>
                </a:cubicBezTo>
                <a:cubicBezTo>
                  <a:pt x="2338" y="401"/>
                  <a:pt x="2337" y="402"/>
                  <a:pt x="2335" y="403"/>
                </a:cubicBezTo>
                <a:cubicBezTo>
                  <a:pt x="2333" y="403"/>
                  <a:pt x="2331" y="404"/>
                  <a:pt x="2330" y="405"/>
                </a:cubicBezTo>
                <a:cubicBezTo>
                  <a:pt x="2330" y="405"/>
                  <a:pt x="2330" y="405"/>
                  <a:pt x="2330" y="415"/>
                </a:cubicBezTo>
                <a:cubicBezTo>
                  <a:pt x="2333" y="414"/>
                  <a:pt x="2336" y="413"/>
                  <a:pt x="2338" y="412"/>
                </a:cubicBezTo>
                <a:cubicBezTo>
                  <a:pt x="2340" y="411"/>
                  <a:pt x="2343" y="410"/>
                  <a:pt x="2344" y="409"/>
                </a:cubicBezTo>
                <a:cubicBezTo>
                  <a:pt x="2344" y="409"/>
                  <a:pt x="2344" y="409"/>
                  <a:pt x="2344" y="467"/>
                </a:cubicBezTo>
                <a:cubicBezTo>
                  <a:pt x="2344" y="467"/>
                  <a:pt x="2344" y="467"/>
                  <a:pt x="2356" y="467"/>
                </a:cubicBezTo>
                <a:cubicBezTo>
                  <a:pt x="2356" y="467"/>
                  <a:pt x="2356" y="467"/>
                  <a:pt x="2356" y="394"/>
                </a:cubicBezTo>
                <a:close/>
                <a:moveTo>
                  <a:pt x="2563" y="298"/>
                </a:moveTo>
                <a:cubicBezTo>
                  <a:pt x="2563" y="298"/>
                  <a:pt x="2563" y="298"/>
                  <a:pt x="2563" y="298"/>
                </a:cubicBezTo>
                <a:cubicBezTo>
                  <a:pt x="2558" y="298"/>
                  <a:pt x="2558" y="298"/>
                  <a:pt x="2558" y="298"/>
                </a:cubicBezTo>
                <a:cubicBezTo>
                  <a:pt x="2556" y="299"/>
                  <a:pt x="2554" y="301"/>
                  <a:pt x="2552" y="302"/>
                </a:cubicBezTo>
                <a:cubicBezTo>
                  <a:pt x="2551" y="303"/>
                  <a:pt x="2549" y="304"/>
                  <a:pt x="2547" y="305"/>
                </a:cubicBezTo>
                <a:cubicBezTo>
                  <a:pt x="2545" y="305"/>
                  <a:pt x="2543" y="306"/>
                  <a:pt x="2542" y="307"/>
                </a:cubicBezTo>
                <a:cubicBezTo>
                  <a:pt x="2540" y="307"/>
                  <a:pt x="2538" y="308"/>
                  <a:pt x="2536" y="309"/>
                </a:cubicBezTo>
                <a:cubicBezTo>
                  <a:pt x="2536" y="309"/>
                  <a:pt x="2536" y="309"/>
                  <a:pt x="2536" y="319"/>
                </a:cubicBezTo>
                <a:cubicBezTo>
                  <a:pt x="2539" y="318"/>
                  <a:pt x="2542" y="317"/>
                  <a:pt x="2544" y="316"/>
                </a:cubicBezTo>
                <a:cubicBezTo>
                  <a:pt x="2547" y="315"/>
                  <a:pt x="2549" y="314"/>
                  <a:pt x="2551" y="313"/>
                </a:cubicBezTo>
                <a:cubicBezTo>
                  <a:pt x="2551" y="313"/>
                  <a:pt x="2551" y="313"/>
                  <a:pt x="2551" y="371"/>
                </a:cubicBezTo>
                <a:cubicBezTo>
                  <a:pt x="2551" y="371"/>
                  <a:pt x="2551" y="371"/>
                  <a:pt x="2563" y="371"/>
                </a:cubicBezTo>
                <a:cubicBezTo>
                  <a:pt x="2563" y="371"/>
                  <a:pt x="2563" y="371"/>
                  <a:pt x="2563" y="298"/>
                </a:cubicBezTo>
                <a:close/>
                <a:moveTo>
                  <a:pt x="2610" y="298"/>
                </a:moveTo>
                <a:cubicBezTo>
                  <a:pt x="2610" y="298"/>
                  <a:pt x="2610" y="298"/>
                  <a:pt x="2610" y="298"/>
                </a:cubicBezTo>
                <a:cubicBezTo>
                  <a:pt x="2605" y="298"/>
                  <a:pt x="2605" y="298"/>
                  <a:pt x="2605" y="298"/>
                </a:cubicBezTo>
                <a:cubicBezTo>
                  <a:pt x="2602" y="299"/>
                  <a:pt x="2601" y="301"/>
                  <a:pt x="2599" y="302"/>
                </a:cubicBezTo>
                <a:cubicBezTo>
                  <a:pt x="2597" y="303"/>
                  <a:pt x="2595" y="304"/>
                  <a:pt x="2594" y="305"/>
                </a:cubicBezTo>
                <a:cubicBezTo>
                  <a:pt x="2592" y="306"/>
                  <a:pt x="2590" y="307"/>
                  <a:pt x="2589" y="307"/>
                </a:cubicBezTo>
                <a:cubicBezTo>
                  <a:pt x="2586" y="308"/>
                  <a:pt x="2585" y="309"/>
                  <a:pt x="2583" y="309"/>
                </a:cubicBezTo>
                <a:cubicBezTo>
                  <a:pt x="2583" y="309"/>
                  <a:pt x="2583" y="309"/>
                  <a:pt x="2583" y="319"/>
                </a:cubicBezTo>
                <a:cubicBezTo>
                  <a:pt x="2586" y="318"/>
                  <a:pt x="2589" y="318"/>
                  <a:pt x="2591" y="316"/>
                </a:cubicBezTo>
                <a:cubicBezTo>
                  <a:pt x="2594" y="315"/>
                  <a:pt x="2596" y="314"/>
                  <a:pt x="2598" y="313"/>
                </a:cubicBezTo>
                <a:cubicBezTo>
                  <a:pt x="2598" y="313"/>
                  <a:pt x="2598" y="313"/>
                  <a:pt x="2598" y="371"/>
                </a:cubicBezTo>
                <a:cubicBezTo>
                  <a:pt x="2598" y="371"/>
                  <a:pt x="2598" y="371"/>
                  <a:pt x="2610" y="371"/>
                </a:cubicBezTo>
                <a:cubicBezTo>
                  <a:pt x="2610" y="371"/>
                  <a:pt x="2610" y="371"/>
                  <a:pt x="2610" y="298"/>
                </a:cubicBezTo>
                <a:close/>
                <a:moveTo>
                  <a:pt x="2655" y="298"/>
                </a:moveTo>
                <a:cubicBezTo>
                  <a:pt x="2655" y="298"/>
                  <a:pt x="2655" y="298"/>
                  <a:pt x="2655" y="298"/>
                </a:cubicBezTo>
                <a:cubicBezTo>
                  <a:pt x="2651" y="298"/>
                  <a:pt x="2651" y="298"/>
                  <a:pt x="2651" y="298"/>
                </a:cubicBezTo>
                <a:cubicBezTo>
                  <a:pt x="2649" y="299"/>
                  <a:pt x="2647" y="301"/>
                  <a:pt x="2645" y="302"/>
                </a:cubicBezTo>
                <a:cubicBezTo>
                  <a:pt x="2644" y="303"/>
                  <a:pt x="2642" y="304"/>
                  <a:pt x="2640" y="305"/>
                </a:cubicBezTo>
                <a:cubicBezTo>
                  <a:pt x="2638" y="306"/>
                  <a:pt x="2636" y="307"/>
                  <a:pt x="2634" y="307"/>
                </a:cubicBezTo>
                <a:cubicBezTo>
                  <a:pt x="2633" y="308"/>
                  <a:pt x="2631" y="309"/>
                  <a:pt x="2629" y="309"/>
                </a:cubicBezTo>
                <a:cubicBezTo>
                  <a:pt x="2629" y="309"/>
                  <a:pt x="2629" y="309"/>
                  <a:pt x="2629" y="319"/>
                </a:cubicBezTo>
                <a:cubicBezTo>
                  <a:pt x="2632" y="318"/>
                  <a:pt x="2635" y="318"/>
                  <a:pt x="2637" y="316"/>
                </a:cubicBezTo>
                <a:cubicBezTo>
                  <a:pt x="2639" y="315"/>
                  <a:pt x="2642" y="314"/>
                  <a:pt x="2644" y="313"/>
                </a:cubicBezTo>
                <a:cubicBezTo>
                  <a:pt x="2644" y="313"/>
                  <a:pt x="2644" y="313"/>
                  <a:pt x="2644" y="371"/>
                </a:cubicBezTo>
                <a:cubicBezTo>
                  <a:pt x="2644" y="371"/>
                  <a:pt x="2644" y="371"/>
                  <a:pt x="2655" y="371"/>
                </a:cubicBezTo>
                <a:cubicBezTo>
                  <a:pt x="2655" y="371"/>
                  <a:pt x="2655" y="371"/>
                  <a:pt x="2655" y="298"/>
                </a:cubicBezTo>
                <a:close/>
                <a:moveTo>
                  <a:pt x="2702" y="298"/>
                </a:moveTo>
                <a:cubicBezTo>
                  <a:pt x="2702" y="298"/>
                  <a:pt x="2702" y="298"/>
                  <a:pt x="2702" y="298"/>
                </a:cubicBezTo>
                <a:cubicBezTo>
                  <a:pt x="2697" y="298"/>
                  <a:pt x="2697" y="298"/>
                  <a:pt x="2697" y="298"/>
                </a:cubicBezTo>
                <a:cubicBezTo>
                  <a:pt x="2695" y="299"/>
                  <a:pt x="2694" y="301"/>
                  <a:pt x="2691" y="302"/>
                </a:cubicBezTo>
                <a:cubicBezTo>
                  <a:pt x="2690" y="303"/>
                  <a:pt x="2688" y="304"/>
                  <a:pt x="2686" y="305"/>
                </a:cubicBezTo>
                <a:cubicBezTo>
                  <a:pt x="2685" y="306"/>
                  <a:pt x="2683" y="307"/>
                  <a:pt x="2681" y="307"/>
                </a:cubicBezTo>
                <a:cubicBezTo>
                  <a:pt x="2679" y="308"/>
                  <a:pt x="2678" y="309"/>
                  <a:pt x="2675" y="309"/>
                </a:cubicBezTo>
                <a:cubicBezTo>
                  <a:pt x="2675" y="309"/>
                  <a:pt x="2675" y="309"/>
                  <a:pt x="2675" y="319"/>
                </a:cubicBezTo>
                <a:cubicBezTo>
                  <a:pt x="2678" y="318"/>
                  <a:pt x="2681" y="318"/>
                  <a:pt x="2683" y="316"/>
                </a:cubicBezTo>
                <a:cubicBezTo>
                  <a:pt x="2686" y="315"/>
                  <a:pt x="2688" y="314"/>
                  <a:pt x="2691" y="313"/>
                </a:cubicBezTo>
                <a:cubicBezTo>
                  <a:pt x="2691" y="313"/>
                  <a:pt x="2691" y="313"/>
                  <a:pt x="2691" y="371"/>
                </a:cubicBezTo>
                <a:cubicBezTo>
                  <a:pt x="2691" y="371"/>
                  <a:pt x="2691" y="371"/>
                  <a:pt x="2702" y="371"/>
                </a:cubicBezTo>
                <a:cubicBezTo>
                  <a:pt x="2702" y="371"/>
                  <a:pt x="2702" y="371"/>
                  <a:pt x="2702" y="298"/>
                </a:cubicBezTo>
                <a:close/>
                <a:moveTo>
                  <a:pt x="2824" y="298"/>
                </a:moveTo>
                <a:cubicBezTo>
                  <a:pt x="2824" y="298"/>
                  <a:pt x="2824" y="298"/>
                  <a:pt x="2824" y="298"/>
                </a:cubicBezTo>
                <a:cubicBezTo>
                  <a:pt x="2819" y="298"/>
                  <a:pt x="2819" y="298"/>
                  <a:pt x="2819" y="298"/>
                </a:cubicBezTo>
                <a:cubicBezTo>
                  <a:pt x="2817" y="299"/>
                  <a:pt x="2815" y="301"/>
                  <a:pt x="2813" y="302"/>
                </a:cubicBezTo>
                <a:cubicBezTo>
                  <a:pt x="2812" y="303"/>
                  <a:pt x="2810" y="304"/>
                  <a:pt x="2808" y="305"/>
                </a:cubicBezTo>
                <a:cubicBezTo>
                  <a:pt x="2806" y="306"/>
                  <a:pt x="2804" y="307"/>
                  <a:pt x="2803" y="307"/>
                </a:cubicBezTo>
                <a:cubicBezTo>
                  <a:pt x="2801" y="308"/>
                  <a:pt x="2799" y="309"/>
                  <a:pt x="2797" y="309"/>
                </a:cubicBezTo>
                <a:cubicBezTo>
                  <a:pt x="2797" y="309"/>
                  <a:pt x="2797" y="309"/>
                  <a:pt x="2797" y="319"/>
                </a:cubicBezTo>
                <a:cubicBezTo>
                  <a:pt x="2800" y="318"/>
                  <a:pt x="2803" y="318"/>
                  <a:pt x="2806" y="316"/>
                </a:cubicBezTo>
                <a:cubicBezTo>
                  <a:pt x="2808" y="315"/>
                  <a:pt x="2810" y="314"/>
                  <a:pt x="2812" y="313"/>
                </a:cubicBezTo>
                <a:cubicBezTo>
                  <a:pt x="2812" y="313"/>
                  <a:pt x="2812" y="313"/>
                  <a:pt x="2812" y="371"/>
                </a:cubicBezTo>
                <a:cubicBezTo>
                  <a:pt x="2812" y="371"/>
                  <a:pt x="2812" y="371"/>
                  <a:pt x="2824" y="371"/>
                </a:cubicBezTo>
                <a:cubicBezTo>
                  <a:pt x="2824" y="371"/>
                  <a:pt x="2824" y="371"/>
                  <a:pt x="2824" y="298"/>
                </a:cubicBezTo>
                <a:close/>
                <a:moveTo>
                  <a:pt x="2871" y="298"/>
                </a:moveTo>
                <a:cubicBezTo>
                  <a:pt x="2871" y="298"/>
                  <a:pt x="2871" y="298"/>
                  <a:pt x="2871" y="298"/>
                </a:cubicBezTo>
                <a:cubicBezTo>
                  <a:pt x="2866" y="298"/>
                  <a:pt x="2866" y="298"/>
                  <a:pt x="2866" y="298"/>
                </a:cubicBezTo>
                <a:cubicBezTo>
                  <a:pt x="2864" y="299"/>
                  <a:pt x="2862" y="301"/>
                  <a:pt x="2860" y="302"/>
                </a:cubicBezTo>
                <a:cubicBezTo>
                  <a:pt x="2859" y="303"/>
                  <a:pt x="2856" y="304"/>
                  <a:pt x="2855" y="305"/>
                </a:cubicBezTo>
                <a:cubicBezTo>
                  <a:pt x="2853" y="306"/>
                  <a:pt x="2851" y="307"/>
                  <a:pt x="2850" y="307"/>
                </a:cubicBezTo>
                <a:cubicBezTo>
                  <a:pt x="2848" y="308"/>
                  <a:pt x="2846" y="309"/>
                  <a:pt x="2844" y="309"/>
                </a:cubicBezTo>
                <a:cubicBezTo>
                  <a:pt x="2844" y="309"/>
                  <a:pt x="2844" y="309"/>
                  <a:pt x="2844" y="319"/>
                </a:cubicBezTo>
                <a:cubicBezTo>
                  <a:pt x="2847" y="318"/>
                  <a:pt x="2850" y="318"/>
                  <a:pt x="2852" y="316"/>
                </a:cubicBezTo>
                <a:cubicBezTo>
                  <a:pt x="2855" y="315"/>
                  <a:pt x="2857" y="314"/>
                  <a:pt x="2859" y="313"/>
                </a:cubicBezTo>
                <a:cubicBezTo>
                  <a:pt x="2859" y="313"/>
                  <a:pt x="2859" y="313"/>
                  <a:pt x="2859" y="371"/>
                </a:cubicBezTo>
                <a:cubicBezTo>
                  <a:pt x="2859" y="371"/>
                  <a:pt x="2859" y="371"/>
                  <a:pt x="2871" y="371"/>
                </a:cubicBezTo>
                <a:cubicBezTo>
                  <a:pt x="2871" y="371"/>
                  <a:pt x="2871" y="371"/>
                  <a:pt x="2871" y="298"/>
                </a:cubicBezTo>
                <a:close/>
                <a:moveTo>
                  <a:pt x="2722" y="330"/>
                </a:moveTo>
                <a:cubicBezTo>
                  <a:pt x="2722" y="330"/>
                  <a:pt x="2722" y="330"/>
                  <a:pt x="2722" y="330"/>
                </a:cubicBezTo>
                <a:cubicBezTo>
                  <a:pt x="2722" y="339"/>
                  <a:pt x="2722" y="339"/>
                  <a:pt x="2722" y="339"/>
                </a:cubicBezTo>
                <a:cubicBezTo>
                  <a:pt x="2728" y="339"/>
                  <a:pt x="2729" y="342"/>
                  <a:pt x="2729" y="344"/>
                </a:cubicBezTo>
                <a:cubicBezTo>
                  <a:pt x="2729" y="347"/>
                  <a:pt x="2729" y="349"/>
                  <a:pt x="2729" y="352"/>
                </a:cubicBezTo>
                <a:cubicBezTo>
                  <a:pt x="2728" y="354"/>
                  <a:pt x="2728" y="356"/>
                  <a:pt x="2728" y="359"/>
                </a:cubicBezTo>
                <a:cubicBezTo>
                  <a:pt x="2728" y="368"/>
                  <a:pt x="2734" y="371"/>
                  <a:pt x="2743" y="371"/>
                </a:cubicBezTo>
                <a:cubicBezTo>
                  <a:pt x="2743" y="371"/>
                  <a:pt x="2743" y="371"/>
                  <a:pt x="2746" y="371"/>
                </a:cubicBezTo>
                <a:cubicBezTo>
                  <a:pt x="2746" y="371"/>
                  <a:pt x="2746" y="371"/>
                  <a:pt x="2746" y="362"/>
                </a:cubicBezTo>
                <a:cubicBezTo>
                  <a:pt x="2746" y="362"/>
                  <a:pt x="2746" y="362"/>
                  <a:pt x="2745" y="362"/>
                </a:cubicBezTo>
                <a:cubicBezTo>
                  <a:pt x="2741" y="362"/>
                  <a:pt x="2740" y="360"/>
                  <a:pt x="2740" y="356"/>
                </a:cubicBezTo>
                <a:cubicBezTo>
                  <a:pt x="2740" y="355"/>
                  <a:pt x="2740" y="353"/>
                  <a:pt x="2740" y="352"/>
                </a:cubicBezTo>
                <a:cubicBezTo>
                  <a:pt x="2740" y="350"/>
                  <a:pt x="2741" y="348"/>
                  <a:pt x="2741" y="346"/>
                </a:cubicBezTo>
                <a:cubicBezTo>
                  <a:pt x="2741" y="338"/>
                  <a:pt x="2738" y="336"/>
                  <a:pt x="2732" y="334"/>
                </a:cubicBezTo>
                <a:cubicBezTo>
                  <a:pt x="2732" y="334"/>
                  <a:pt x="2732" y="334"/>
                  <a:pt x="2732" y="334"/>
                </a:cubicBezTo>
                <a:cubicBezTo>
                  <a:pt x="2738" y="333"/>
                  <a:pt x="2741" y="331"/>
                  <a:pt x="2741" y="323"/>
                </a:cubicBezTo>
                <a:cubicBezTo>
                  <a:pt x="2741" y="321"/>
                  <a:pt x="2740" y="319"/>
                  <a:pt x="2740" y="317"/>
                </a:cubicBezTo>
                <a:cubicBezTo>
                  <a:pt x="2740" y="315"/>
                  <a:pt x="2740" y="313"/>
                  <a:pt x="2740" y="312"/>
                </a:cubicBezTo>
                <a:cubicBezTo>
                  <a:pt x="2740" y="309"/>
                  <a:pt x="2741" y="306"/>
                  <a:pt x="2745" y="306"/>
                </a:cubicBezTo>
                <a:cubicBezTo>
                  <a:pt x="2745" y="306"/>
                  <a:pt x="2745" y="306"/>
                  <a:pt x="2746" y="306"/>
                </a:cubicBezTo>
                <a:cubicBezTo>
                  <a:pt x="2746" y="306"/>
                  <a:pt x="2746" y="306"/>
                  <a:pt x="2746" y="297"/>
                </a:cubicBezTo>
                <a:cubicBezTo>
                  <a:pt x="2746" y="297"/>
                  <a:pt x="2746" y="297"/>
                  <a:pt x="2743" y="297"/>
                </a:cubicBezTo>
                <a:cubicBezTo>
                  <a:pt x="2734" y="297"/>
                  <a:pt x="2728" y="301"/>
                  <a:pt x="2728" y="310"/>
                </a:cubicBezTo>
                <a:cubicBezTo>
                  <a:pt x="2728" y="312"/>
                  <a:pt x="2728" y="315"/>
                  <a:pt x="2728" y="317"/>
                </a:cubicBezTo>
                <a:cubicBezTo>
                  <a:pt x="2729" y="319"/>
                  <a:pt x="2729" y="322"/>
                  <a:pt x="2729" y="324"/>
                </a:cubicBezTo>
                <a:cubicBezTo>
                  <a:pt x="2729" y="327"/>
                  <a:pt x="2728" y="330"/>
                  <a:pt x="2722" y="330"/>
                </a:cubicBezTo>
                <a:close/>
                <a:moveTo>
                  <a:pt x="2777" y="339"/>
                </a:moveTo>
                <a:cubicBezTo>
                  <a:pt x="2777" y="339"/>
                  <a:pt x="2777" y="339"/>
                  <a:pt x="2777" y="339"/>
                </a:cubicBezTo>
                <a:cubicBezTo>
                  <a:pt x="2777" y="330"/>
                  <a:pt x="2777" y="330"/>
                  <a:pt x="2777" y="330"/>
                </a:cubicBezTo>
                <a:cubicBezTo>
                  <a:pt x="2771" y="330"/>
                  <a:pt x="2770" y="327"/>
                  <a:pt x="2770" y="324"/>
                </a:cubicBezTo>
                <a:cubicBezTo>
                  <a:pt x="2770" y="322"/>
                  <a:pt x="2770" y="319"/>
                  <a:pt x="2771" y="317"/>
                </a:cubicBezTo>
                <a:cubicBezTo>
                  <a:pt x="2771" y="315"/>
                  <a:pt x="2771" y="312"/>
                  <a:pt x="2771" y="310"/>
                </a:cubicBezTo>
                <a:cubicBezTo>
                  <a:pt x="2771" y="301"/>
                  <a:pt x="2766" y="297"/>
                  <a:pt x="2757" y="297"/>
                </a:cubicBezTo>
                <a:cubicBezTo>
                  <a:pt x="2757" y="297"/>
                  <a:pt x="2757" y="297"/>
                  <a:pt x="2753" y="297"/>
                </a:cubicBezTo>
                <a:cubicBezTo>
                  <a:pt x="2753" y="297"/>
                  <a:pt x="2753" y="297"/>
                  <a:pt x="2753" y="306"/>
                </a:cubicBezTo>
                <a:cubicBezTo>
                  <a:pt x="2753" y="306"/>
                  <a:pt x="2753" y="306"/>
                  <a:pt x="2755" y="306"/>
                </a:cubicBezTo>
                <a:cubicBezTo>
                  <a:pt x="2758" y="306"/>
                  <a:pt x="2760" y="309"/>
                  <a:pt x="2760" y="312"/>
                </a:cubicBezTo>
                <a:cubicBezTo>
                  <a:pt x="2760" y="313"/>
                  <a:pt x="2759" y="315"/>
                  <a:pt x="2759" y="317"/>
                </a:cubicBezTo>
                <a:cubicBezTo>
                  <a:pt x="2759" y="319"/>
                  <a:pt x="2759" y="321"/>
                  <a:pt x="2759" y="323"/>
                </a:cubicBezTo>
                <a:cubicBezTo>
                  <a:pt x="2759" y="331"/>
                  <a:pt x="2762" y="333"/>
                  <a:pt x="2768" y="334"/>
                </a:cubicBezTo>
                <a:cubicBezTo>
                  <a:pt x="2768" y="334"/>
                  <a:pt x="2768" y="334"/>
                  <a:pt x="2768" y="334"/>
                </a:cubicBezTo>
                <a:cubicBezTo>
                  <a:pt x="2762" y="336"/>
                  <a:pt x="2759" y="338"/>
                  <a:pt x="2759" y="346"/>
                </a:cubicBezTo>
                <a:cubicBezTo>
                  <a:pt x="2759" y="348"/>
                  <a:pt x="2759" y="350"/>
                  <a:pt x="2759" y="352"/>
                </a:cubicBezTo>
                <a:cubicBezTo>
                  <a:pt x="2759" y="353"/>
                  <a:pt x="2760" y="355"/>
                  <a:pt x="2760" y="356"/>
                </a:cubicBezTo>
                <a:cubicBezTo>
                  <a:pt x="2760" y="360"/>
                  <a:pt x="2759" y="362"/>
                  <a:pt x="2755" y="362"/>
                </a:cubicBezTo>
                <a:cubicBezTo>
                  <a:pt x="2755" y="362"/>
                  <a:pt x="2755" y="362"/>
                  <a:pt x="2753" y="362"/>
                </a:cubicBezTo>
                <a:cubicBezTo>
                  <a:pt x="2753" y="362"/>
                  <a:pt x="2753" y="362"/>
                  <a:pt x="2753" y="371"/>
                </a:cubicBezTo>
                <a:cubicBezTo>
                  <a:pt x="2753" y="371"/>
                  <a:pt x="2753" y="371"/>
                  <a:pt x="2757" y="371"/>
                </a:cubicBezTo>
                <a:cubicBezTo>
                  <a:pt x="2766" y="371"/>
                  <a:pt x="2771" y="368"/>
                  <a:pt x="2771" y="359"/>
                </a:cubicBezTo>
                <a:cubicBezTo>
                  <a:pt x="2771" y="356"/>
                  <a:pt x="2771" y="354"/>
                  <a:pt x="2771" y="352"/>
                </a:cubicBezTo>
                <a:cubicBezTo>
                  <a:pt x="2770" y="349"/>
                  <a:pt x="2770" y="347"/>
                  <a:pt x="2770" y="344"/>
                </a:cubicBezTo>
                <a:cubicBezTo>
                  <a:pt x="2770" y="342"/>
                  <a:pt x="2771" y="339"/>
                  <a:pt x="2777" y="339"/>
                </a:cubicBezTo>
                <a:close/>
                <a:moveTo>
                  <a:pt x="2163" y="371"/>
                </a:moveTo>
                <a:cubicBezTo>
                  <a:pt x="2156" y="371"/>
                  <a:pt x="2149" y="368"/>
                  <a:pt x="2145" y="363"/>
                </a:cubicBezTo>
                <a:cubicBezTo>
                  <a:pt x="2141" y="356"/>
                  <a:pt x="2139" y="347"/>
                  <a:pt x="2139" y="335"/>
                </a:cubicBezTo>
                <a:cubicBezTo>
                  <a:pt x="2139" y="321"/>
                  <a:pt x="2141" y="312"/>
                  <a:pt x="2145" y="305"/>
                </a:cubicBezTo>
                <a:cubicBezTo>
                  <a:pt x="2150" y="299"/>
                  <a:pt x="2156" y="295"/>
                  <a:pt x="2165" y="295"/>
                </a:cubicBezTo>
                <a:cubicBezTo>
                  <a:pt x="2182" y="295"/>
                  <a:pt x="2190" y="308"/>
                  <a:pt x="2190" y="333"/>
                </a:cubicBezTo>
                <a:cubicBezTo>
                  <a:pt x="2190" y="346"/>
                  <a:pt x="2187" y="355"/>
                  <a:pt x="2182" y="362"/>
                </a:cubicBezTo>
                <a:cubicBezTo>
                  <a:pt x="2178" y="368"/>
                  <a:pt x="2171" y="371"/>
                  <a:pt x="2163" y="371"/>
                </a:cubicBezTo>
                <a:close/>
                <a:moveTo>
                  <a:pt x="2165" y="305"/>
                </a:moveTo>
                <a:cubicBezTo>
                  <a:pt x="2155" y="305"/>
                  <a:pt x="2151" y="315"/>
                  <a:pt x="2151" y="335"/>
                </a:cubicBezTo>
                <a:cubicBezTo>
                  <a:pt x="2151" y="353"/>
                  <a:pt x="2155" y="362"/>
                  <a:pt x="2164" y="362"/>
                </a:cubicBezTo>
                <a:cubicBezTo>
                  <a:pt x="2173" y="362"/>
                  <a:pt x="2177" y="353"/>
                  <a:pt x="2177" y="334"/>
                </a:cubicBezTo>
                <a:cubicBezTo>
                  <a:pt x="2177" y="314"/>
                  <a:pt x="2173" y="305"/>
                  <a:pt x="2165" y="305"/>
                </a:cubicBezTo>
                <a:close/>
                <a:moveTo>
                  <a:pt x="2233" y="371"/>
                </a:moveTo>
                <a:cubicBezTo>
                  <a:pt x="2226" y="371"/>
                  <a:pt x="2220" y="368"/>
                  <a:pt x="2216" y="363"/>
                </a:cubicBezTo>
                <a:cubicBezTo>
                  <a:pt x="2211" y="356"/>
                  <a:pt x="2209" y="347"/>
                  <a:pt x="2209" y="335"/>
                </a:cubicBezTo>
                <a:cubicBezTo>
                  <a:pt x="2209" y="321"/>
                  <a:pt x="2211" y="312"/>
                  <a:pt x="2216" y="305"/>
                </a:cubicBezTo>
                <a:cubicBezTo>
                  <a:pt x="2220" y="299"/>
                  <a:pt x="2227" y="295"/>
                  <a:pt x="2236" y="295"/>
                </a:cubicBezTo>
                <a:cubicBezTo>
                  <a:pt x="2252" y="295"/>
                  <a:pt x="2260" y="308"/>
                  <a:pt x="2260" y="333"/>
                </a:cubicBezTo>
                <a:cubicBezTo>
                  <a:pt x="2260" y="346"/>
                  <a:pt x="2258" y="355"/>
                  <a:pt x="2253" y="362"/>
                </a:cubicBezTo>
                <a:cubicBezTo>
                  <a:pt x="2248" y="368"/>
                  <a:pt x="2242" y="371"/>
                  <a:pt x="2233" y="371"/>
                </a:cubicBezTo>
                <a:close/>
                <a:moveTo>
                  <a:pt x="2235" y="305"/>
                </a:moveTo>
                <a:cubicBezTo>
                  <a:pt x="2226" y="305"/>
                  <a:pt x="2221" y="315"/>
                  <a:pt x="2221" y="335"/>
                </a:cubicBezTo>
                <a:cubicBezTo>
                  <a:pt x="2221" y="353"/>
                  <a:pt x="2225" y="362"/>
                  <a:pt x="2234" y="362"/>
                </a:cubicBezTo>
                <a:cubicBezTo>
                  <a:pt x="2243" y="362"/>
                  <a:pt x="2247" y="353"/>
                  <a:pt x="2247" y="334"/>
                </a:cubicBezTo>
                <a:cubicBezTo>
                  <a:pt x="2247" y="314"/>
                  <a:pt x="2243" y="305"/>
                  <a:pt x="2235" y="305"/>
                </a:cubicBezTo>
                <a:close/>
                <a:moveTo>
                  <a:pt x="2444" y="371"/>
                </a:moveTo>
                <a:cubicBezTo>
                  <a:pt x="2436" y="371"/>
                  <a:pt x="2430" y="368"/>
                  <a:pt x="2426" y="362"/>
                </a:cubicBezTo>
                <a:cubicBezTo>
                  <a:pt x="2422" y="356"/>
                  <a:pt x="2420" y="346"/>
                  <a:pt x="2420" y="335"/>
                </a:cubicBezTo>
                <a:cubicBezTo>
                  <a:pt x="2420" y="321"/>
                  <a:pt x="2422" y="312"/>
                  <a:pt x="2426" y="305"/>
                </a:cubicBezTo>
                <a:cubicBezTo>
                  <a:pt x="2430" y="298"/>
                  <a:pt x="2437" y="295"/>
                  <a:pt x="2446" y="295"/>
                </a:cubicBezTo>
                <a:cubicBezTo>
                  <a:pt x="2462" y="295"/>
                  <a:pt x="2470" y="308"/>
                  <a:pt x="2470" y="333"/>
                </a:cubicBezTo>
                <a:cubicBezTo>
                  <a:pt x="2470" y="346"/>
                  <a:pt x="2468" y="355"/>
                  <a:pt x="2463" y="362"/>
                </a:cubicBezTo>
                <a:cubicBezTo>
                  <a:pt x="2458" y="368"/>
                  <a:pt x="2452" y="371"/>
                  <a:pt x="2444" y="371"/>
                </a:cubicBezTo>
                <a:close/>
                <a:moveTo>
                  <a:pt x="2445" y="305"/>
                </a:moveTo>
                <a:cubicBezTo>
                  <a:pt x="2436" y="305"/>
                  <a:pt x="2432" y="314"/>
                  <a:pt x="2432" y="334"/>
                </a:cubicBezTo>
                <a:cubicBezTo>
                  <a:pt x="2432" y="352"/>
                  <a:pt x="2436" y="362"/>
                  <a:pt x="2445" y="362"/>
                </a:cubicBezTo>
                <a:cubicBezTo>
                  <a:pt x="2453" y="362"/>
                  <a:pt x="2458" y="352"/>
                  <a:pt x="2458" y="334"/>
                </a:cubicBezTo>
                <a:cubicBezTo>
                  <a:pt x="2458" y="314"/>
                  <a:pt x="2454" y="305"/>
                  <a:pt x="2445" y="305"/>
                </a:cubicBezTo>
                <a:close/>
                <a:moveTo>
                  <a:pt x="2516" y="298"/>
                </a:moveTo>
                <a:cubicBezTo>
                  <a:pt x="2516" y="298"/>
                  <a:pt x="2516" y="298"/>
                  <a:pt x="2516" y="298"/>
                </a:cubicBezTo>
                <a:cubicBezTo>
                  <a:pt x="2511" y="298"/>
                  <a:pt x="2511" y="298"/>
                  <a:pt x="2511" y="298"/>
                </a:cubicBezTo>
                <a:cubicBezTo>
                  <a:pt x="2509" y="299"/>
                  <a:pt x="2507" y="301"/>
                  <a:pt x="2505" y="302"/>
                </a:cubicBezTo>
                <a:cubicBezTo>
                  <a:pt x="2504" y="303"/>
                  <a:pt x="2502" y="304"/>
                  <a:pt x="2500" y="305"/>
                </a:cubicBezTo>
                <a:cubicBezTo>
                  <a:pt x="2499" y="305"/>
                  <a:pt x="2497" y="306"/>
                  <a:pt x="2495" y="307"/>
                </a:cubicBezTo>
                <a:cubicBezTo>
                  <a:pt x="2493" y="307"/>
                  <a:pt x="2492" y="308"/>
                  <a:pt x="2490" y="309"/>
                </a:cubicBezTo>
                <a:cubicBezTo>
                  <a:pt x="2490" y="309"/>
                  <a:pt x="2490" y="309"/>
                  <a:pt x="2490" y="319"/>
                </a:cubicBezTo>
                <a:cubicBezTo>
                  <a:pt x="2492" y="318"/>
                  <a:pt x="2495" y="317"/>
                  <a:pt x="2497" y="316"/>
                </a:cubicBezTo>
                <a:cubicBezTo>
                  <a:pt x="2500" y="315"/>
                  <a:pt x="2502" y="314"/>
                  <a:pt x="2505" y="313"/>
                </a:cubicBezTo>
                <a:cubicBezTo>
                  <a:pt x="2505" y="313"/>
                  <a:pt x="2505" y="313"/>
                  <a:pt x="2505" y="371"/>
                </a:cubicBezTo>
                <a:cubicBezTo>
                  <a:pt x="2505" y="371"/>
                  <a:pt x="2505" y="371"/>
                  <a:pt x="2516" y="371"/>
                </a:cubicBezTo>
                <a:cubicBezTo>
                  <a:pt x="2516" y="371"/>
                  <a:pt x="2516" y="371"/>
                  <a:pt x="2516" y="298"/>
                </a:cubicBezTo>
                <a:close/>
                <a:moveTo>
                  <a:pt x="2307" y="298"/>
                </a:moveTo>
                <a:cubicBezTo>
                  <a:pt x="2307" y="298"/>
                  <a:pt x="2307" y="298"/>
                  <a:pt x="2307" y="298"/>
                </a:cubicBezTo>
                <a:cubicBezTo>
                  <a:pt x="2302" y="298"/>
                  <a:pt x="2302" y="298"/>
                  <a:pt x="2302" y="298"/>
                </a:cubicBezTo>
                <a:cubicBezTo>
                  <a:pt x="2299" y="299"/>
                  <a:pt x="2298" y="301"/>
                  <a:pt x="2296" y="302"/>
                </a:cubicBezTo>
                <a:cubicBezTo>
                  <a:pt x="2294" y="303"/>
                  <a:pt x="2293" y="304"/>
                  <a:pt x="2290" y="305"/>
                </a:cubicBezTo>
                <a:cubicBezTo>
                  <a:pt x="2289" y="306"/>
                  <a:pt x="2287" y="307"/>
                  <a:pt x="2285" y="307"/>
                </a:cubicBezTo>
                <a:cubicBezTo>
                  <a:pt x="2283" y="308"/>
                  <a:pt x="2282" y="309"/>
                  <a:pt x="2279" y="309"/>
                </a:cubicBezTo>
                <a:cubicBezTo>
                  <a:pt x="2279" y="309"/>
                  <a:pt x="2279" y="309"/>
                  <a:pt x="2279" y="319"/>
                </a:cubicBezTo>
                <a:cubicBezTo>
                  <a:pt x="2282" y="318"/>
                  <a:pt x="2285" y="318"/>
                  <a:pt x="2288" y="316"/>
                </a:cubicBezTo>
                <a:cubicBezTo>
                  <a:pt x="2290" y="315"/>
                  <a:pt x="2293" y="314"/>
                  <a:pt x="2295" y="313"/>
                </a:cubicBezTo>
                <a:cubicBezTo>
                  <a:pt x="2295" y="313"/>
                  <a:pt x="2295" y="313"/>
                  <a:pt x="2295" y="371"/>
                </a:cubicBezTo>
                <a:cubicBezTo>
                  <a:pt x="2295" y="371"/>
                  <a:pt x="2295" y="371"/>
                  <a:pt x="2307" y="371"/>
                </a:cubicBezTo>
                <a:cubicBezTo>
                  <a:pt x="2307" y="371"/>
                  <a:pt x="2307" y="371"/>
                  <a:pt x="2307" y="298"/>
                </a:cubicBezTo>
                <a:close/>
                <a:moveTo>
                  <a:pt x="2354" y="298"/>
                </a:moveTo>
                <a:cubicBezTo>
                  <a:pt x="2354" y="298"/>
                  <a:pt x="2354" y="298"/>
                  <a:pt x="2354" y="298"/>
                </a:cubicBezTo>
                <a:cubicBezTo>
                  <a:pt x="2349" y="298"/>
                  <a:pt x="2349" y="298"/>
                  <a:pt x="2349" y="298"/>
                </a:cubicBezTo>
                <a:cubicBezTo>
                  <a:pt x="2346" y="299"/>
                  <a:pt x="2345" y="301"/>
                  <a:pt x="2343" y="302"/>
                </a:cubicBezTo>
                <a:cubicBezTo>
                  <a:pt x="2341" y="303"/>
                  <a:pt x="2339" y="304"/>
                  <a:pt x="2338" y="305"/>
                </a:cubicBezTo>
                <a:cubicBezTo>
                  <a:pt x="2336" y="306"/>
                  <a:pt x="2334" y="307"/>
                  <a:pt x="2332" y="307"/>
                </a:cubicBezTo>
                <a:cubicBezTo>
                  <a:pt x="2330" y="308"/>
                  <a:pt x="2329" y="309"/>
                  <a:pt x="2326" y="309"/>
                </a:cubicBezTo>
                <a:cubicBezTo>
                  <a:pt x="2326" y="309"/>
                  <a:pt x="2326" y="309"/>
                  <a:pt x="2326" y="319"/>
                </a:cubicBezTo>
                <a:cubicBezTo>
                  <a:pt x="2329" y="318"/>
                  <a:pt x="2332" y="318"/>
                  <a:pt x="2335" y="316"/>
                </a:cubicBezTo>
                <a:cubicBezTo>
                  <a:pt x="2338" y="315"/>
                  <a:pt x="2340" y="314"/>
                  <a:pt x="2342" y="313"/>
                </a:cubicBezTo>
                <a:cubicBezTo>
                  <a:pt x="2342" y="313"/>
                  <a:pt x="2342" y="313"/>
                  <a:pt x="2342" y="371"/>
                </a:cubicBezTo>
                <a:cubicBezTo>
                  <a:pt x="2342" y="371"/>
                  <a:pt x="2342" y="371"/>
                  <a:pt x="2354" y="371"/>
                </a:cubicBezTo>
                <a:cubicBezTo>
                  <a:pt x="2354" y="371"/>
                  <a:pt x="2354" y="371"/>
                  <a:pt x="2354" y="298"/>
                </a:cubicBezTo>
                <a:close/>
                <a:moveTo>
                  <a:pt x="2399" y="298"/>
                </a:moveTo>
                <a:cubicBezTo>
                  <a:pt x="2399" y="298"/>
                  <a:pt x="2399" y="298"/>
                  <a:pt x="2399" y="298"/>
                </a:cubicBezTo>
                <a:cubicBezTo>
                  <a:pt x="2395" y="298"/>
                  <a:pt x="2395" y="298"/>
                  <a:pt x="2395" y="298"/>
                </a:cubicBezTo>
                <a:cubicBezTo>
                  <a:pt x="2393" y="299"/>
                  <a:pt x="2391" y="301"/>
                  <a:pt x="2389" y="302"/>
                </a:cubicBezTo>
                <a:cubicBezTo>
                  <a:pt x="2388" y="303"/>
                  <a:pt x="2386" y="304"/>
                  <a:pt x="2384" y="305"/>
                </a:cubicBezTo>
                <a:cubicBezTo>
                  <a:pt x="2382" y="305"/>
                  <a:pt x="2381" y="306"/>
                  <a:pt x="2378" y="307"/>
                </a:cubicBezTo>
                <a:cubicBezTo>
                  <a:pt x="2377" y="307"/>
                  <a:pt x="2375" y="308"/>
                  <a:pt x="2373" y="309"/>
                </a:cubicBezTo>
                <a:cubicBezTo>
                  <a:pt x="2373" y="309"/>
                  <a:pt x="2373" y="309"/>
                  <a:pt x="2373" y="319"/>
                </a:cubicBezTo>
                <a:cubicBezTo>
                  <a:pt x="2376" y="318"/>
                  <a:pt x="2379" y="317"/>
                  <a:pt x="2381" y="316"/>
                </a:cubicBezTo>
                <a:cubicBezTo>
                  <a:pt x="2384" y="315"/>
                  <a:pt x="2386" y="314"/>
                  <a:pt x="2388" y="313"/>
                </a:cubicBezTo>
                <a:cubicBezTo>
                  <a:pt x="2388" y="313"/>
                  <a:pt x="2388" y="313"/>
                  <a:pt x="2388" y="371"/>
                </a:cubicBezTo>
                <a:cubicBezTo>
                  <a:pt x="2388" y="371"/>
                  <a:pt x="2388" y="371"/>
                  <a:pt x="2399" y="371"/>
                </a:cubicBezTo>
                <a:cubicBezTo>
                  <a:pt x="2399" y="371"/>
                  <a:pt x="2399" y="371"/>
                  <a:pt x="2399" y="298"/>
                </a:cubicBezTo>
                <a:close/>
                <a:moveTo>
                  <a:pt x="1965" y="371"/>
                </a:moveTo>
                <a:cubicBezTo>
                  <a:pt x="1958" y="371"/>
                  <a:pt x="1951" y="368"/>
                  <a:pt x="1948" y="363"/>
                </a:cubicBezTo>
                <a:cubicBezTo>
                  <a:pt x="1943" y="356"/>
                  <a:pt x="1941" y="347"/>
                  <a:pt x="1941" y="335"/>
                </a:cubicBezTo>
                <a:cubicBezTo>
                  <a:pt x="1941" y="321"/>
                  <a:pt x="1943" y="312"/>
                  <a:pt x="1948" y="305"/>
                </a:cubicBezTo>
                <a:cubicBezTo>
                  <a:pt x="1952" y="299"/>
                  <a:pt x="1959" y="295"/>
                  <a:pt x="1967" y="295"/>
                </a:cubicBezTo>
                <a:cubicBezTo>
                  <a:pt x="1983" y="295"/>
                  <a:pt x="1991" y="308"/>
                  <a:pt x="1991" y="333"/>
                </a:cubicBezTo>
                <a:cubicBezTo>
                  <a:pt x="1991" y="346"/>
                  <a:pt x="1989" y="355"/>
                  <a:pt x="1985" y="362"/>
                </a:cubicBezTo>
                <a:cubicBezTo>
                  <a:pt x="1980" y="368"/>
                  <a:pt x="1974" y="371"/>
                  <a:pt x="1965" y="371"/>
                </a:cubicBezTo>
                <a:close/>
                <a:moveTo>
                  <a:pt x="1967" y="305"/>
                </a:moveTo>
                <a:cubicBezTo>
                  <a:pt x="1958" y="305"/>
                  <a:pt x="1953" y="315"/>
                  <a:pt x="1953" y="335"/>
                </a:cubicBezTo>
                <a:cubicBezTo>
                  <a:pt x="1953" y="353"/>
                  <a:pt x="1957" y="362"/>
                  <a:pt x="1966" y="362"/>
                </a:cubicBezTo>
                <a:cubicBezTo>
                  <a:pt x="1975" y="362"/>
                  <a:pt x="1979" y="353"/>
                  <a:pt x="1979" y="334"/>
                </a:cubicBezTo>
                <a:cubicBezTo>
                  <a:pt x="1979" y="314"/>
                  <a:pt x="1975" y="305"/>
                  <a:pt x="1967" y="305"/>
                </a:cubicBezTo>
                <a:close/>
                <a:moveTo>
                  <a:pt x="2026" y="298"/>
                </a:moveTo>
                <a:cubicBezTo>
                  <a:pt x="2026" y="298"/>
                  <a:pt x="2026" y="298"/>
                  <a:pt x="2026" y="298"/>
                </a:cubicBezTo>
                <a:cubicBezTo>
                  <a:pt x="2021" y="298"/>
                  <a:pt x="2021" y="298"/>
                  <a:pt x="2021" y="298"/>
                </a:cubicBezTo>
                <a:cubicBezTo>
                  <a:pt x="2019" y="299"/>
                  <a:pt x="2018" y="301"/>
                  <a:pt x="2015" y="302"/>
                </a:cubicBezTo>
                <a:cubicBezTo>
                  <a:pt x="2014" y="303"/>
                  <a:pt x="2012" y="304"/>
                  <a:pt x="2010" y="305"/>
                </a:cubicBezTo>
                <a:cubicBezTo>
                  <a:pt x="2009" y="306"/>
                  <a:pt x="2006" y="307"/>
                  <a:pt x="2005" y="307"/>
                </a:cubicBezTo>
                <a:cubicBezTo>
                  <a:pt x="2003" y="308"/>
                  <a:pt x="2001" y="309"/>
                  <a:pt x="1999" y="309"/>
                </a:cubicBezTo>
                <a:cubicBezTo>
                  <a:pt x="1999" y="309"/>
                  <a:pt x="1999" y="309"/>
                  <a:pt x="1999" y="319"/>
                </a:cubicBezTo>
                <a:cubicBezTo>
                  <a:pt x="2002" y="318"/>
                  <a:pt x="2005" y="318"/>
                  <a:pt x="2008" y="316"/>
                </a:cubicBezTo>
                <a:cubicBezTo>
                  <a:pt x="2010" y="315"/>
                  <a:pt x="2012" y="314"/>
                  <a:pt x="2015" y="313"/>
                </a:cubicBezTo>
                <a:cubicBezTo>
                  <a:pt x="2015" y="313"/>
                  <a:pt x="2015" y="313"/>
                  <a:pt x="2015" y="371"/>
                </a:cubicBezTo>
                <a:cubicBezTo>
                  <a:pt x="2015" y="371"/>
                  <a:pt x="2015" y="371"/>
                  <a:pt x="2026" y="371"/>
                </a:cubicBezTo>
                <a:cubicBezTo>
                  <a:pt x="2026" y="371"/>
                  <a:pt x="2026" y="371"/>
                  <a:pt x="2026" y="298"/>
                </a:cubicBezTo>
                <a:close/>
                <a:moveTo>
                  <a:pt x="2073" y="298"/>
                </a:moveTo>
                <a:cubicBezTo>
                  <a:pt x="2073" y="298"/>
                  <a:pt x="2073" y="298"/>
                  <a:pt x="2073" y="298"/>
                </a:cubicBezTo>
                <a:cubicBezTo>
                  <a:pt x="2068" y="298"/>
                  <a:pt x="2068" y="298"/>
                  <a:pt x="2068" y="298"/>
                </a:cubicBezTo>
                <a:cubicBezTo>
                  <a:pt x="2066" y="299"/>
                  <a:pt x="2065" y="301"/>
                  <a:pt x="2062" y="302"/>
                </a:cubicBezTo>
                <a:cubicBezTo>
                  <a:pt x="2061" y="303"/>
                  <a:pt x="2059" y="304"/>
                  <a:pt x="2057" y="305"/>
                </a:cubicBezTo>
                <a:cubicBezTo>
                  <a:pt x="2056" y="306"/>
                  <a:pt x="2053" y="307"/>
                  <a:pt x="2052" y="307"/>
                </a:cubicBezTo>
                <a:cubicBezTo>
                  <a:pt x="2050" y="308"/>
                  <a:pt x="2048" y="309"/>
                  <a:pt x="2046" y="309"/>
                </a:cubicBezTo>
                <a:cubicBezTo>
                  <a:pt x="2046" y="309"/>
                  <a:pt x="2046" y="309"/>
                  <a:pt x="2046" y="319"/>
                </a:cubicBezTo>
                <a:cubicBezTo>
                  <a:pt x="2049" y="318"/>
                  <a:pt x="2052" y="318"/>
                  <a:pt x="2054" y="316"/>
                </a:cubicBezTo>
                <a:cubicBezTo>
                  <a:pt x="2057" y="315"/>
                  <a:pt x="2059" y="314"/>
                  <a:pt x="2062" y="313"/>
                </a:cubicBezTo>
                <a:cubicBezTo>
                  <a:pt x="2062" y="313"/>
                  <a:pt x="2062" y="313"/>
                  <a:pt x="2062" y="371"/>
                </a:cubicBezTo>
                <a:cubicBezTo>
                  <a:pt x="2062" y="371"/>
                  <a:pt x="2062" y="371"/>
                  <a:pt x="2073" y="371"/>
                </a:cubicBezTo>
                <a:cubicBezTo>
                  <a:pt x="2073" y="371"/>
                  <a:pt x="2073" y="371"/>
                  <a:pt x="2073" y="298"/>
                </a:cubicBezTo>
                <a:close/>
                <a:moveTo>
                  <a:pt x="2119" y="298"/>
                </a:moveTo>
                <a:cubicBezTo>
                  <a:pt x="2119" y="298"/>
                  <a:pt x="2119" y="298"/>
                  <a:pt x="2119" y="298"/>
                </a:cubicBezTo>
                <a:cubicBezTo>
                  <a:pt x="2115" y="298"/>
                  <a:pt x="2115" y="298"/>
                  <a:pt x="2115" y="298"/>
                </a:cubicBezTo>
                <a:cubicBezTo>
                  <a:pt x="2113" y="299"/>
                  <a:pt x="2111" y="301"/>
                  <a:pt x="2109" y="302"/>
                </a:cubicBezTo>
                <a:cubicBezTo>
                  <a:pt x="2108" y="303"/>
                  <a:pt x="2105" y="304"/>
                  <a:pt x="2104" y="305"/>
                </a:cubicBezTo>
                <a:cubicBezTo>
                  <a:pt x="2102" y="305"/>
                  <a:pt x="2100" y="306"/>
                  <a:pt x="2098" y="307"/>
                </a:cubicBezTo>
                <a:cubicBezTo>
                  <a:pt x="2097" y="307"/>
                  <a:pt x="2095" y="308"/>
                  <a:pt x="2093" y="309"/>
                </a:cubicBezTo>
                <a:cubicBezTo>
                  <a:pt x="2093" y="309"/>
                  <a:pt x="2093" y="309"/>
                  <a:pt x="2093" y="319"/>
                </a:cubicBezTo>
                <a:cubicBezTo>
                  <a:pt x="2096" y="318"/>
                  <a:pt x="2099" y="317"/>
                  <a:pt x="2101" y="316"/>
                </a:cubicBezTo>
                <a:cubicBezTo>
                  <a:pt x="2103" y="315"/>
                  <a:pt x="2106" y="314"/>
                  <a:pt x="2108" y="313"/>
                </a:cubicBezTo>
                <a:cubicBezTo>
                  <a:pt x="2108" y="313"/>
                  <a:pt x="2108" y="313"/>
                  <a:pt x="2108" y="371"/>
                </a:cubicBezTo>
                <a:cubicBezTo>
                  <a:pt x="2108" y="371"/>
                  <a:pt x="2108" y="371"/>
                  <a:pt x="2119" y="371"/>
                </a:cubicBezTo>
                <a:cubicBezTo>
                  <a:pt x="2119" y="371"/>
                  <a:pt x="2119" y="371"/>
                  <a:pt x="2119" y="298"/>
                </a:cubicBezTo>
                <a:close/>
                <a:moveTo>
                  <a:pt x="1978" y="597"/>
                </a:moveTo>
                <a:cubicBezTo>
                  <a:pt x="1978" y="597"/>
                  <a:pt x="1978" y="597"/>
                  <a:pt x="1978" y="597"/>
                </a:cubicBezTo>
                <a:cubicBezTo>
                  <a:pt x="1973" y="597"/>
                  <a:pt x="1973" y="597"/>
                  <a:pt x="1973" y="597"/>
                </a:cubicBezTo>
                <a:cubicBezTo>
                  <a:pt x="1971" y="598"/>
                  <a:pt x="1969" y="599"/>
                  <a:pt x="1967" y="600"/>
                </a:cubicBezTo>
                <a:cubicBezTo>
                  <a:pt x="1966" y="602"/>
                  <a:pt x="1963" y="602"/>
                  <a:pt x="1962" y="603"/>
                </a:cubicBezTo>
                <a:cubicBezTo>
                  <a:pt x="1960" y="605"/>
                  <a:pt x="1958" y="605"/>
                  <a:pt x="1957" y="606"/>
                </a:cubicBezTo>
                <a:cubicBezTo>
                  <a:pt x="1955" y="607"/>
                  <a:pt x="1953" y="607"/>
                  <a:pt x="1951" y="607"/>
                </a:cubicBezTo>
                <a:cubicBezTo>
                  <a:pt x="1951" y="607"/>
                  <a:pt x="1951" y="607"/>
                  <a:pt x="1951" y="618"/>
                </a:cubicBezTo>
                <a:cubicBezTo>
                  <a:pt x="1954" y="617"/>
                  <a:pt x="1957" y="616"/>
                  <a:pt x="1959" y="615"/>
                </a:cubicBezTo>
                <a:cubicBezTo>
                  <a:pt x="1962" y="614"/>
                  <a:pt x="1964" y="613"/>
                  <a:pt x="1966" y="611"/>
                </a:cubicBezTo>
                <a:cubicBezTo>
                  <a:pt x="1966" y="611"/>
                  <a:pt x="1966" y="611"/>
                  <a:pt x="1966" y="670"/>
                </a:cubicBezTo>
                <a:cubicBezTo>
                  <a:pt x="1966" y="670"/>
                  <a:pt x="1966" y="670"/>
                  <a:pt x="1978" y="670"/>
                </a:cubicBezTo>
                <a:cubicBezTo>
                  <a:pt x="1978" y="670"/>
                  <a:pt x="1978" y="670"/>
                  <a:pt x="1978" y="597"/>
                </a:cubicBezTo>
                <a:close/>
                <a:moveTo>
                  <a:pt x="1978" y="492"/>
                </a:moveTo>
                <a:cubicBezTo>
                  <a:pt x="1978" y="492"/>
                  <a:pt x="1978" y="492"/>
                  <a:pt x="1978" y="492"/>
                </a:cubicBezTo>
                <a:cubicBezTo>
                  <a:pt x="1974" y="492"/>
                  <a:pt x="1974" y="492"/>
                  <a:pt x="1974" y="492"/>
                </a:cubicBezTo>
                <a:cubicBezTo>
                  <a:pt x="1972" y="494"/>
                  <a:pt x="1970" y="495"/>
                  <a:pt x="1968" y="496"/>
                </a:cubicBezTo>
                <a:cubicBezTo>
                  <a:pt x="1967" y="497"/>
                  <a:pt x="1965" y="498"/>
                  <a:pt x="1963" y="499"/>
                </a:cubicBezTo>
                <a:cubicBezTo>
                  <a:pt x="1961" y="500"/>
                  <a:pt x="1960" y="500"/>
                  <a:pt x="1958" y="501"/>
                </a:cubicBezTo>
                <a:cubicBezTo>
                  <a:pt x="1956" y="502"/>
                  <a:pt x="1954" y="503"/>
                  <a:pt x="1952" y="503"/>
                </a:cubicBezTo>
                <a:cubicBezTo>
                  <a:pt x="1952" y="503"/>
                  <a:pt x="1952" y="503"/>
                  <a:pt x="1952" y="513"/>
                </a:cubicBezTo>
                <a:cubicBezTo>
                  <a:pt x="1955" y="513"/>
                  <a:pt x="1958" y="511"/>
                  <a:pt x="1960" y="511"/>
                </a:cubicBezTo>
                <a:cubicBezTo>
                  <a:pt x="1963" y="510"/>
                  <a:pt x="1965" y="508"/>
                  <a:pt x="1967" y="507"/>
                </a:cubicBezTo>
                <a:cubicBezTo>
                  <a:pt x="1967" y="507"/>
                  <a:pt x="1967" y="507"/>
                  <a:pt x="1967" y="566"/>
                </a:cubicBezTo>
                <a:cubicBezTo>
                  <a:pt x="1967" y="566"/>
                  <a:pt x="1967" y="566"/>
                  <a:pt x="1978" y="566"/>
                </a:cubicBezTo>
                <a:cubicBezTo>
                  <a:pt x="1978" y="566"/>
                  <a:pt x="1978" y="566"/>
                  <a:pt x="1978" y="492"/>
                </a:cubicBezTo>
                <a:close/>
                <a:moveTo>
                  <a:pt x="2922" y="281"/>
                </a:moveTo>
                <a:cubicBezTo>
                  <a:pt x="2915" y="281"/>
                  <a:pt x="2908" y="278"/>
                  <a:pt x="2904" y="272"/>
                </a:cubicBezTo>
                <a:cubicBezTo>
                  <a:pt x="2900" y="265"/>
                  <a:pt x="2898" y="257"/>
                  <a:pt x="2898" y="244"/>
                </a:cubicBezTo>
                <a:cubicBezTo>
                  <a:pt x="2898" y="231"/>
                  <a:pt x="2900" y="222"/>
                  <a:pt x="2905" y="215"/>
                </a:cubicBezTo>
                <a:cubicBezTo>
                  <a:pt x="2909" y="208"/>
                  <a:pt x="2916" y="205"/>
                  <a:pt x="2924" y="205"/>
                </a:cubicBezTo>
                <a:cubicBezTo>
                  <a:pt x="2940" y="205"/>
                  <a:pt x="2948" y="217"/>
                  <a:pt x="2948" y="243"/>
                </a:cubicBezTo>
                <a:cubicBezTo>
                  <a:pt x="2948" y="255"/>
                  <a:pt x="2946" y="265"/>
                  <a:pt x="2941" y="271"/>
                </a:cubicBezTo>
                <a:cubicBezTo>
                  <a:pt x="2937" y="278"/>
                  <a:pt x="2930" y="281"/>
                  <a:pt x="2922" y="281"/>
                </a:cubicBezTo>
                <a:close/>
                <a:moveTo>
                  <a:pt x="2924" y="214"/>
                </a:moveTo>
                <a:cubicBezTo>
                  <a:pt x="2914" y="214"/>
                  <a:pt x="2910" y="225"/>
                  <a:pt x="2910" y="244"/>
                </a:cubicBezTo>
                <a:cubicBezTo>
                  <a:pt x="2910" y="262"/>
                  <a:pt x="2914" y="271"/>
                  <a:pt x="2923" y="271"/>
                </a:cubicBezTo>
                <a:cubicBezTo>
                  <a:pt x="2932" y="271"/>
                  <a:pt x="2936" y="262"/>
                  <a:pt x="2936" y="243"/>
                </a:cubicBezTo>
                <a:cubicBezTo>
                  <a:pt x="2936" y="224"/>
                  <a:pt x="2932" y="214"/>
                  <a:pt x="2924" y="214"/>
                </a:cubicBezTo>
                <a:close/>
                <a:moveTo>
                  <a:pt x="2996" y="207"/>
                </a:moveTo>
                <a:cubicBezTo>
                  <a:pt x="2996" y="207"/>
                  <a:pt x="2996" y="207"/>
                  <a:pt x="2996" y="207"/>
                </a:cubicBezTo>
                <a:cubicBezTo>
                  <a:pt x="2991" y="207"/>
                  <a:pt x="2991" y="207"/>
                  <a:pt x="2991" y="207"/>
                </a:cubicBezTo>
                <a:cubicBezTo>
                  <a:pt x="2989" y="209"/>
                  <a:pt x="2987" y="210"/>
                  <a:pt x="2985" y="211"/>
                </a:cubicBezTo>
                <a:cubicBezTo>
                  <a:pt x="2984" y="212"/>
                  <a:pt x="2981" y="213"/>
                  <a:pt x="2980" y="214"/>
                </a:cubicBezTo>
                <a:cubicBezTo>
                  <a:pt x="2978" y="215"/>
                  <a:pt x="2976" y="215"/>
                  <a:pt x="2975" y="216"/>
                </a:cubicBezTo>
                <a:cubicBezTo>
                  <a:pt x="2973" y="217"/>
                  <a:pt x="2971" y="217"/>
                  <a:pt x="2969" y="218"/>
                </a:cubicBezTo>
                <a:cubicBezTo>
                  <a:pt x="2969" y="218"/>
                  <a:pt x="2969" y="218"/>
                  <a:pt x="2969" y="228"/>
                </a:cubicBezTo>
                <a:cubicBezTo>
                  <a:pt x="2972" y="228"/>
                  <a:pt x="2975" y="226"/>
                  <a:pt x="2977" y="225"/>
                </a:cubicBezTo>
                <a:cubicBezTo>
                  <a:pt x="2980" y="225"/>
                  <a:pt x="2982" y="223"/>
                  <a:pt x="2984" y="222"/>
                </a:cubicBezTo>
                <a:cubicBezTo>
                  <a:pt x="2984" y="222"/>
                  <a:pt x="2984" y="222"/>
                  <a:pt x="2984" y="281"/>
                </a:cubicBezTo>
                <a:cubicBezTo>
                  <a:pt x="2984" y="281"/>
                  <a:pt x="2984" y="281"/>
                  <a:pt x="2996" y="281"/>
                </a:cubicBezTo>
                <a:cubicBezTo>
                  <a:pt x="2996" y="281"/>
                  <a:pt x="2996" y="281"/>
                  <a:pt x="2996" y="207"/>
                </a:cubicBezTo>
                <a:close/>
                <a:moveTo>
                  <a:pt x="3043" y="207"/>
                </a:moveTo>
                <a:cubicBezTo>
                  <a:pt x="3043" y="207"/>
                  <a:pt x="3043" y="207"/>
                  <a:pt x="3043" y="207"/>
                </a:cubicBezTo>
                <a:cubicBezTo>
                  <a:pt x="3038" y="207"/>
                  <a:pt x="3038" y="207"/>
                  <a:pt x="3038" y="207"/>
                </a:cubicBezTo>
                <a:cubicBezTo>
                  <a:pt x="3036" y="209"/>
                  <a:pt x="3034" y="210"/>
                  <a:pt x="3032" y="211"/>
                </a:cubicBezTo>
                <a:cubicBezTo>
                  <a:pt x="3031" y="212"/>
                  <a:pt x="3029" y="213"/>
                  <a:pt x="3027" y="214"/>
                </a:cubicBezTo>
                <a:cubicBezTo>
                  <a:pt x="3026" y="215"/>
                  <a:pt x="3024" y="216"/>
                  <a:pt x="3022" y="217"/>
                </a:cubicBezTo>
                <a:cubicBezTo>
                  <a:pt x="3020" y="217"/>
                  <a:pt x="3019" y="218"/>
                  <a:pt x="3017" y="218"/>
                </a:cubicBezTo>
                <a:cubicBezTo>
                  <a:pt x="3017" y="218"/>
                  <a:pt x="3017" y="218"/>
                  <a:pt x="3017" y="228"/>
                </a:cubicBezTo>
                <a:cubicBezTo>
                  <a:pt x="3020" y="228"/>
                  <a:pt x="3022" y="227"/>
                  <a:pt x="3025" y="225"/>
                </a:cubicBezTo>
                <a:cubicBezTo>
                  <a:pt x="3027" y="225"/>
                  <a:pt x="3029" y="223"/>
                  <a:pt x="3032" y="222"/>
                </a:cubicBezTo>
                <a:cubicBezTo>
                  <a:pt x="3032" y="222"/>
                  <a:pt x="3032" y="222"/>
                  <a:pt x="3032" y="281"/>
                </a:cubicBezTo>
                <a:cubicBezTo>
                  <a:pt x="3032" y="281"/>
                  <a:pt x="3032" y="281"/>
                  <a:pt x="3043" y="281"/>
                </a:cubicBezTo>
                <a:cubicBezTo>
                  <a:pt x="3043" y="281"/>
                  <a:pt x="3043" y="281"/>
                  <a:pt x="3043" y="207"/>
                </a:cubicBezTo>
                <a:close/>
                <a:moveTo>
                  <a:pt x="3090" y="207"/>
                </a:moveTo>
                <a:cubicBezTo>
                  <a:pt x="3090" y="207"/>
                  <a:pt x="3090" y="207"/>
                  <a:pt x="3090" y="207"/>
                </a:cubicBezTo>
                <a:cubicBezTo>
                  <a:pt x="3085" y="207"/>
                  <a:pt x="3085" y="207"/>
                  <a:pt x="3085" y="207"/>
                </a:cubicBezTo>
                <a:cubicBezTo>
                  <a:pt x="3083" y="209"/>
                  <a:pt x="3082" y="210"/>
                  <a:pt x="3080" y="211"/>
                </a:cubicBezTo>
                <a:cubicBezTo>
                  <a:pt x="3078" y="212"/>
                  <a:pt x="3076" y="213"/>
                  <a:pt x="3074" y="214"/>
                </a:cubicBezTo>
                <a:cubicBezTo>
                  <a:pt x="3072" y="215"/>
                  <a:pt x="3071" y="216"/>
                  <a:pt x="3069" y="217"/>
                </a:cubicBezTo>
                <a:cubicBezTo>
                  <a:pt x="3067" y="217"/>
                  <a:pt x="3065" y="218"/>
                  <a:pt x="3064" y="218"/>
                </a:cubicBezTo>
                <a:cubicBezTo>
                  <a:pt x="3064" y="218"/>
                  <a:pt x="3064" y="218"/>
                  <a:pt x="3064" y="228"/>
                </a:cubicBezTo>
                <a:cubicBezTo>
                  <a:pt x="3067" y="228"/>
                  <a:pt x="3069" y="227"/>
                  <a:pt x="3072" y="225"/>
                </a:cubicBezTo>
                <a:cubicBezTo>
                  <a:pt x="3074" y="225"/>
                  <a:pt x="3077" y="223"/>
                  <a:pt x="3078" y="222"/>
                </a:cubicBezTo>
                <a:cubicBezTo>
                  <a:pt x="3078" y="222"/>
                  <a:pt x="3078" y="222"/>
                  <a:pt x="3078" y="281"/>
                </a:cubicBezTo>
                <a:cubicBezTo>
                  <a:pt x="3078" y="281"/>
                  <a:pt x="3078" y="281"/>
                  <a:pt x="3090" y="281"/>
                </a:cubicBezTo>
                <a:cubicBezTo>
                  <a:pt x="3090" y="281"/>
                  <a:pt x="3090" y="281"/>
                  <a:pt x="3090" y="207"/>
                </a:cubicBezTo>
                <a:close/>
                <a:moveTo>
                  <a:pt x="3137" y="207"/>
                </a:moveTo>
                <a:cubicBezTo>
                  <a:pt x="3137" y="207"/>
                  <a:pt x="3137" y="207"/>
                  <a:pt x="3137" y="207"/>
                </a:cubicBezTo>
                <a:cubicBezTo>
                  <a:pt x="3132" y="207"/>
                  <a:pt x="3132" y="207"/>
                  <a:pt x="3132" y="207"/>
                </a:cubicBezTo>
                <a:cubicBezTo>
                  <a:pt x="3130" y="209"/>
                  <a:pt x="3128" y="210"/>
                  <a:pt x="3126" y="211"/>
                </a:cubicBezTo>
                <a:cubicBezTo>
                  <a:pt x="3125" y="212"/>
                  <a:pt x="3123" y="213"/>
                  <a:pt x="3121" y="214"/>
                </a:cubicBezTo>
                <a:cubicBezTo>
                  <a:pt x="3120" y="215"/>
                  <a:pt x="3118" y="216"/>
                  <a:pt x="3116" y="217"/>
                </a:cubicBezTo>
                <a:cubicBezTo>
                  <a:pt x="3114" y="217"/>
                  <a:pt x="3112" y="218"/>
                  <a:pt x="3110" y="218"/>
                </a:cubicBezTo>
                <a:cubicBezTo>
                  <a:pt x="3110" y="218"/>
                  <a:pt x="3110" y="218"/>
                  <a:pt x="3110" y="228"/>
                </a:cubicBezTo>
                <a:cubicBezTo>
                  <a:pt x="3113" y="228"/>
                  <a:pt x="3116" y="227"/>
                  <a:pt x="3118" y="225"/>
                </a:cubicBezTo>
                <a:cubicBezTo>
                  <a:pt x="3121" y="225"/>
                  <a:pt x="3123" y="223"/>
                  <a:pt x="3126" y="222"/>
                </a:cubicBezTo>
                <a:cubicBezTo>
                  <a:pt x="3126" y="222"/>
                  <a:pt x="3126" y="222"/>
                  <a:pt x="3126" y="281"/>
                </a:cubicBezTo>
                <a:cubicBezTo>
                  <a:pt x="3126" y="281"/>
                  <a:pt x="3126" y="281"/>
                  <a:pt x="3137" y="281"/>
                </a:cubicBezTo>
                <a:cubicBezTo>
                  <a:pt x="3137" y="281"/>
                  <a:pt x="3137" y="281"/>
                  <a:pt x="3137" y="207"/>
                </a:cubicBezTo>
                <a:close/>
                <a:moveTo>
                  <a:pt x="3260" y="207"/>
                </a:moveTo>
                <a:cubicBezTo>
                  <a:pt x="3260" y="207"/>
                  <a:pt x="3260" y="207"/>
                  <a:pt x="3260" y="207"/>
                </a:cubicBezTo>
                <a:cubicBezTo>
                  <a:pt x="3255" y="207"/>
                  <a:pt x="3255" y="207"/>
                  <a:pt x="3255" y="207"/>
                </a:cubicBezTo>
                <a:cubicBezTo>
                  <a:pt x="3253" y="209"/>
                  <a:pt x="3252" y="210"/>
                  <a:pt x="3250" y="211"/>
                </a:cubicBezTo>
                <a:cubicBezTo>
                  <a:pt x="3248" y="212"/>
                  <a:pt x="3247" y="213"/>
                  <a:pt x="3245" y="214"/>
                </a:cubicBezTo>
                <a:cubicBezTo>
                  <a:pt x="3243" y="215"/>
                  <a:pt x="3241" y="216"/>
                  <a:pt x="3239" y="217"/>
                </a:cubicBezTo>
                <a:cubicBezTo>
                  <a:pt x="3237" y="217"/>
                  <a:pt x="3236" y="218"/>
                  <a:pt x="3234" y="218"/>
                </a:cubicBezTo>
                <a:cubicBezTo>
                  <a:pt x="3234" y="218"/>
                  <a:pt x="3234" y="218"/>
                  <a:pt x="3234" y="228"/>
                </a:cubicBezTo>
                <a:cubicBezTo>
                  <a:pt x="3237" y="228"/>
                  <a:pt x="3239" y="227"/>
                  <a:pt x="3242" y="225"/>
                </a:cubicBezTo>
                <a:cubicBezTo>
                  <a:pt x="3245" y="225"/>
                  <a:pt x="3247" y="223"/>
                  <a:pt x="3249" y="222"/>
                </a:cubicBezTo>
                <a:cubicBezTo>
                  <a:pt x="3249" y="222"/>
                  <a:pt x="3249" y="222"/>
                  <a:pt x="3249" y="281"/>
                </a:cubicBezTo>
                <a:cubicBezTo>
                  <a:pt x="3249" y="281"/>
                  <a:pt x="3249" y="281"/>
                  <a:pt x="3260" y="281"/>
                </a:cubicBezTo>
                <a:cubicBezTo>
                  <a:pt x="3260" y="281"/>
                  <a:pt x="3260" y="281"/>
                  <a:pt x="3260" y="207"/>
                </a:cubicBezTo>
                <a:close/>
                <a:moveTo>
                  <a:pt x="3308" y="207"/>
                </a:moveTo>
                <a:cubicBezTo>
                  <a:pt x="3308" y="207"/>
                  <a:pt x="3308" y="207"/>
                  <a:pt x="3308" y="207"/>
                </a:cubicBezTo>
                <a:cubicBezTo>
                  <a:pt x="3303" y="207"/>
                  <a:pt x="3303" y="207"/>
                  <a:pt x="3303" y="207"/>
                </a:cubicBezTo>
                <a:cubicBezTo>
                  <a:pt x="3301" y="209"/>
                  <a:pt x="3299" y="210"/>
                  <a:pt x="3297" y="211"/>
                </a:cubicBezTo>
                <a:cubicBezTo>
                  <a:pt x="3296" y="212"/>
                  <a:pt x="3293" y="213"/>
                  <a:pt x="3292" y="214"/>
                </a:cubicBezTo>
                <a:cubicBezTo>
                  <a:pt x="3291" y="215"/>
                  <a:pt x="3288" y="216"/>
                  <a:pt x="3287" y="217"/>
                </a:cubicBezTo>
                <a:cubicBezTo>
                  <a:pt x="3285" y="217"/>
                  <a:pt x="3283" y="218"/>
                  <a:pt x="3281" y="218"/>
                </a:cubicBezTo>
                <a:cubicBezTo>
                  <a:pt x="3281" y="218"/>
                  <a:pt x="3281" y="218"/>
                  <a:pt x="3281" y="228"/>
                </a:cubicBezTo>
                <a:cubicBezTo>
                  <a:pt x="3284" y="228"/>
                  <a:pt x="3287" y="227"/>
                  <a:pt x="3289" y="225"/>
                </a:cubicBezTo>
                <a:cubicBezTo>
                  <a:pt x="3292" y="225"/>
                  <a:pt x="3294" y="223"/>
                  <a:pt x="3296" y="222"/>
                </a:cubicBezTo>
                <a:cubicBezTo>
                  <a:pt x="3296" y="222"/>
                  <a:pt x="3296" y="222"/>
                  <a:pt x="3296" y="281"/>
                </a:cubicBezTo>
                <a:cubicBezTo>
                  <a:pt x="3296" y="281"/>
                  <a:pt x="3296" y="281"/>
                  <a:pt x="3308" y="281"/>
                </a:cubicBezTo>
                <a:cubicBezTo>
                  <a:pt x="3308" y="281"/>
                  <a:pt x="3308" y="281"/>
                  <a:pt x="3308" y="207"/>
                </a:cubicBezTo>
                <a:close/>
                <a:moveTo>
                  <a:pt x="3356" y="207"/>
                </a:moveTo>
                <a:cubicBezTo>
                  <a:pt x="3356" y="207"/>
                  <a:pt x="3356" y="207"/>
                  <a:pt x="3356" y="207"/>
                </a:cubicBezTo>
                <a:cubicBezTo>
                  <a:pt x="3350" y="207"/>
                  <a:pt x="3350" y="207"/>
                  <a:pt x="3350" y="207"/>
                </a:cubicBezTo>
                <a:cubicBezTo>
                  <a:pt x="3349" y="209"/>
                  <a:pt x="3347" y="210"/>
                  <a:pt x="3345" y="211"/>
                </a:cubicBezTo>
                <a:cubicBezTo>
                  <a:pt x="3343" y="212"/>
                  <a:pt x="3342" y="213"/>
                  <a:pt x="3340" y="214"/>
                </a:cubicBezTo>
                <a:cubicBezTo>
                  <a:pt x="3338" y="215"/>
                  <a:pt x="3336" y="216"/>
                  <a:pt x="3334" y="217"/>
                </a:cubicBezTo>
                <a:cubicBezTo>
                  <a:pt x="3332" y="217"/>
                  <a:pt x="3331" y="218"/>
                  <a:pt x="3329" y="218"/>
                </a:cubicBezTo>
                <a:cubicBezTo>
                  <a:pt x="3329" y="218"/>
                  <a:pt x="3329" y="218"/>
                  <a:pt x="3329" y="228"/>
                </a:cubicBezTo>
                <a:cubicBezTo>
                  <a:pt x="3332" y="228"/>
                  <a:pt x="3334" y="227"/>
                  <a:pt x="3337" y="225"/>
                </a:cubicBezTo>
                <a:cubicBezTo>
                  <a:pt x="3340" y="225"/>
                  <a:pt x="3342" y="223"/>
                  <a:pt x="3344" y="222"/>
                </a:cubicBezTo>
                <a:cubicBezTo>
                  <a:pt x="3344" y="222"/>
                  <a:pt x="3344" y="222"/>
                  <a:pt x="3344" y="281"/>
                </a:cubicBezTo>
                <a:cubicBezTo>
                  <a:pt x="3344" y="281"/>
                  <a:pt x="3344" y="281"/>
                  <a:pt x="3356" y="281"/>
                </a:cubicBezTo>
                <a:cubicBezTo>
                  <a:pt x="3356" y="281"/>
                  <a:pt x="3356" y="281"/>
                  <a:pt x="3356" y="207"/>
                </a:cubicBezTo>
                <a:close/>
                <a:moveTo>
                  <a:pt x="3402" y="207"/>
                </a:moveTo>
                <a:cubicBezTo>
                  <a:pt x="3402" y="207"/>
                  <a:pt x="3402" y="207"/>
                  <a:pt x="3402" y="207"/>
                </a:cubicBezTo>
                <a:cubicBezTo>
                  <a:pt x="3398" y="207"/>
                  <a:pt x="3398" y="207"/>
                  <a:pt x="3398" y="207"/>
                </a:cubicBezTo>
                <a:cubicBezTo>
                  <a:pt x="3396" y="209"/>
                  <a:pt x="3394" y="210"/>
                  <a:pt x="3392" y="211"/>
                </a:cubicBezTo>
                <a:cubicBezTo>
                  <a:pt x="3391" y="212"/>
                  <a:pt x="3388" y="213"/>
                  <a:pt x="3387" y="214"/>
                </a:cubicBezTo>
                <a:cubicBezTo>
                  <a:pt x="3385" y="215"/>
                  <a:pt x="3383" y="215"/>
                  <a:pt x="3381" y="216"/>
                </a:cubicBezTo>
                <a:cubicBezTo>
                  <a:pt x="3380" y="217"/>
                  <a:pt x="3378" y="217"/>
                  <a:pt x="3376" y="218"/>
                </a:cubicBezTo>
                <a:cubicBezTo>
                  <a:pt x="3376" y="218"/>
                  <a:pt x="3376" y="218"/>
                  <a:pt x="3376" y="228"/>
                </a:cubicBezTo>
                <a:cubicBezTo>
                  <a:pt x="3379" y="228"/>
                  <a:pt x="3382" y="226"/>
                  <a:pt x="3384" y="225"/>
                </a:cubicBezTo>
                <a:cubicBezTo>
                  <a:pt x="3386" y="225"/>
                  <a:pt x="3389" y="223"/>
                  <a:pt x="3391" y="222"/>
                </a:cubicBezTo>
                <a:cubicBezTo>
                  <a:pt x="3391" y="222"/>
                  <a:pt x="3391" y="222"/>
                  <a:pt x="3391" y="281"/>
                </a:cubicBezTo>
                <a:cubicBezTo>
                  <a:pt x="3391" y="281"/>
                  <a:pt x="3391" y="281"/>
                  <a:pt x="3402" y="281"/>
                </a:cubicBezTo>
                <a:cubicBezTo>
                  <a:pt x="3402" y="281"/>
                  <a:pt x="3402" y="281"/>
                  <a:pt x="3402" y="207"/>
                </a:cubicBezTo>
                <a:close/>
                <a:moveTo>
                  <a:pt x="3158" y="240"/>
                </a:moveTo>
                <a:cubicBezTo>
                  <a:pt x="3158" y="240"/>
                  <a:pt x="3158" y="240"/>
                  <a:pt x="3158" y="240"/>
                </a:cubicBezTo>
                <a:cubicBezTo>
                  <a:pt x="3158" y="248"/>
                  <a:pt x="3158" y="248"/>
                  <a:pt x="3158" y="248"/>
                </a:cubicBezTo>
                <a:cubicBezTo>
                  <a:pt x="3164" y="248"/>
                  <a:pt x="3165" y="251"/>
                  <a:pt x="3165" y="254"/>
                </a:cubicBezTo>
                <a:cubicBezTo>
                  <a:pt x="3165" y="256"/>
                  <a:pt x="3164" y="258"/>
                  <a:pt x="3164" y="261"/>
                </a:cubicBezTo>
                <a:cubicBezTo>
                  <a:pt x="3164" y="263"/>
                  <a:pt x="3164" y="266"/>
                  <a:pt x="3164" y="268"/>
                </a:cubicBezTo>
                <a:cubicBezTo>
                  <a:pt x="3164" y="277"/>
                  <a:pt x="3170" y="281"/>
                  <a:pt x="3178" y="281"/>
                </a:cubicBezTo>
                <a:cubicBezTo>
                  <a:pt x="3178" y="281"/>
                  <a:pt x="3178" y="281"/>
                  <a:pt x="3182" y="281"/>
                </a:cubicBezTo>
                <a:cubicBezTo>
                  <a:pt x="3182" y="281"/>
                  <a:pt x="3182" y="281"/>
                  <a:pt x="3182" y="272"/>
                </a:cubicBezTo>
                <a:cubicBezTo>
                  <a:pt x="3182" y="272"/>
                  <a:pt x="3182" y="272"/>
                  <a:pt x="3180" y="272"/>
                </a:cubicBezTo>
                <a:cubicBezTo>
                  <a:pt x="3177" y="272"/>
                  <a:pt x="3175" y="269"/>
                  <a:pt x="3175" y="266"/>
                </a:cubicBezTo>
                <a:cubicBezTo>
                  <a:pt x="3175" y="264"/>
                  <a:pt x="3175" y="263"/>
                  <a:pt x="3176" y="261"/>
                </a:cubicBezTo>
                <a:cubicBezTo>
                  <a:pt x="3176" y="259"/>
                  <a:pt x="3176" y="257"/>
                  <a:pt x="3176" y="255"/>
                </a:cubicBezTo>
                <a:cubicBezTo>
                  <a:pt x="3176" y="247"/>
                  <a:pt x="3173" y="245"/>
                  <a:pt x="3168" y="244"/>
                </a:cubicBezTo>
                <a:cubicBezTo>
                  <a:pt x="3168" y="244"/>
                  <a:pt x="3168" y="244"/>
                  <a:pt x="3168" y="243"/>
                </a:cubicBezTo>
                <a:cubicBezTo>
                  <a:pt x="3173" y="242"/>
                  <a:pt x="3176" y="240"/>
                  <a:pt x="3176" y="232"/>
                </a:cubicBezTo>
                <a:cubicBezTo>
                  <a:pt x="3176" y="230"/>
                  <a:pt x="3176" y="228"/>
                  <a:pt x="3176" y="226"/>
                </a:cubicBezTo>
                <a:cubicBezTo>
                  <a:pt x="3175" y="225"/>
                  <a:pt x="3175" y="223"/>
                  <a:pt x="3175" y="222"/>
                </a:cubicBezTo>
                <a:cubicBezTo>
                  <a:pt x="3175" y="218"/>
                  <a:pt x="3177" y="216"/>
                  <a:pt x="3180" y="216"/>
                </a:cubicBezTo>
                <a:cubicBezTo>
                  <a:pt x="3180" y="216"/>
                  <a:pt x="3180" y="216"/>
                  <a:pt x="3182" y="216"/>
                </a:cubicBezTo>
                <a:cubicBezTo>
                  <a:pt x="3182" y="216"/>
                  <a:pt x="3182" y="216"/>
                  <a:pt x="3182" y="206"/>
                </a:cubicBezTo>
                <a:cubicBezTo>
                  <a:pt x="3182" y="206"/>
                  <a:pt x="3182" y="206"/>
                  <a:pt x="3178" y="206"/>
                </a:cubicBezTo>
                <a:cubicBezTo>
                  <a:pt x="3169" y="206"/>
                  <a:pt x="3164" y="210"/>
                  <a:pt x="3164" y="219"/>
                </a:cubicBezTo>
                <a:cubicBezTo>
                  <a:pt x="3164" y="221"/>
                  <a:pt x="3164" y="224"/>
                  <a:pt x="3164" y="226"/>
                </a:cubicBezTo>
                <a:cubicBezTo>
                  <a:pt x="3164" y="229"/>
                  <a:pt x="3165" y="231"/>
                  <a:pt x="3165" y="233"/>
                </a:cubicBezTo>
                <a:cubicBezTo>
                  <a:pt x="3165" y="236"/>
                  <a:pt x="3164" y="239"/>
                  <a:pt x="3158" y="240"/>
                </a:cubicBezTo>
                <a:close/>
                <a:moveTo>
                  <a:pt x="3213" y="248"/>
                </a:moveTo>
                <a:cubicBezTo>
                  <a:pt x="3213" y="248"/>
                  <a:pt x="3213" y="248"/>
                  <a:pt x="3213" y="248"/>
                </a:cubicBezTo>
                <a:cubicBezTo>
                  <a:pt x="3213" y="240"/>
                  <a:pt x="3213" y="240"/>
                  <a:pt x="3213" y="240"/>
                </a:cubicBezTo>
                <a:cubicBezTo>
                  <a:pt x="3207" y="239"/>
                  <a:pt x="3206" y="236"/>
                  <a:pt x="3206" y="233"/>
                </a:cubicBezTo>
                <a:cubicBezTo>
                  <a:pt x="3206" y="231"/>
                  <a:pt x="3206" y="229"/>
                  <a:pt x="3207" y="226"/>
                </a:cubicBezTo>
                <a:cubicBezTo>
                  <a:pt x="3207" y="224"/>
                  <a:pt x="3207" y="221"/>
                  <a:pt x="3207" y="219"/>
                </a:cubicBezTo>
                <a:cubicBezTo>
                  <a:pt x="3207" y="210"/>
                  <a:pt x="3202" y="206"/>
                  <a:pt x="3193" y="206"/>
                </a:cubicBezTo>
                <a:cubicBezTo>
                  <a:pt x="3193" y="206"/>
                  <a:pt x="3193" y="206"/>
                  <a:pt x="3189" y="206"/>
                </a:cubicBezTo>
                <a:cubicBezTo>
                  <a:pt x="3189" y="206"/>
                  <a:pt x="3189" y="206"/>
                  <a:pt x="3189" y="216"/>
                </a:cubicBezTo>
                <a:cubicBezTo>
                  <a:pt x="3189" y="216"/>
                  <a:pt x="3189" y="216"/>
                  <a:pt x="3190" y="216"/>
                </a:cubicBezTo>
                <a:cubicBezTo>
                  <a:pt x="3194" y="216"/>
                  <a:pt x="3196" y="218"/>
                  <a:pt x="3196" y="222"/>
                </a:cubicBezTo>
                <a:cubicBezTo>
                  <a:pt x="3196" y="223"/>
                  <a:pt x="3195" y="225"/>
                  <a:pt x="3195" y="226"/>
                </a:cubicBezTo>
                <a:cubicBezTo>
                  <a:pt x="3195" y="228"/>
                  <a:pt x="3195" y="230"/>
                  <a:pt x="3195" y="232"/>
                </a:cubicBezTo>
                <a:cubicBezTo>
                  <a:pt x="3195" y="240"/>
                  <a:pt x="3197" y="242"/>
                  <a:pt x="3203" y="243"/>
                </a:cubicBezTo>
                <a:cubicBezTo>
                  <a:pt x="3203" y="243"/>
                  <a:pt x="3203" y="243"/>
                  <a:pt x="3203" y="244"/>
                </a:cubicBezTo>
                <a:cubicBezTo>
                  <a:pt x="3197" y="245"/>
                  <a:pt x="3195" y="247"/>
                  <a:pt x="3195" y="255"/>
                </a:cubicBezTo>
                <a:cubicBezTo>
                  <a:pt x="3195" y="257"/>
                  <a:pt x="3195" y="259"/>
                  <a:pt x="3195" y="261"/>
                </a:cubicBezTo>
                <a:cubicBezTo>
                  <a:pt x="3195" y="263"/>
                  <a:pt x="3196" y="264"/>
                  <a:pt x="3196" y="266"/>
                </a:cubicBezTo>
                <a:cubicBezTo>
                  <a:pt x="3196" y="269"/>
                  <a:pt x="3195" y="272"/>
                  <a:pt x="3190" y="272"/>
                </a:cubicBezTo>
                <a:cubicBezTo>
                  <a:pt x="3190" y="272"/>
                  <a:pt x="3190" y="272"/>
                  <a:pt x="3189" y="272"/>
                </a:cubicBezTo>
                <a:cubicBezTo>
                  <a:pt x="3189" y="272"/>
                  <a:pt x="3189" y="272"/>
                  <a:pt x="3189" y="281"/>
                </a:cubicBezTo>
                <a:cubicBezTo>
                  <a:pt x="3189" y="281"/>
                  <a:pt x="3189" y="281"/>
                  <a:pt x="3193" y="281"/>
                </a:cubicBezTo>
                <a:cubicBezTo>
                  <a:pt x="3202" y="281"/>
                  <a:pt x="3207" y="277"/>
                  <a:pt x="3207" y="268"/>
                </a:cubicBezTo>
                <a:cubicBezTo>
                  <a:pt x="3207" y="266"/>
                  <a:pt x="3207" y="263"/>
                  <a:pt x="3207" y="261"/>
                </a:cubicBezTo>
                <a:cubicBezTo>
                  <a:pt x="3206" y="258"/>
                  <a:pt x="3206" y="256"/>
                  <a:pt x="3206" y="254"/>
                </a:cubicBezTo>
                <a:cubicBezTo>
                  <a:pt x="3206" y="251"/>
                  <a:pt x="3207" y="248"/>
                  <a:pt x="3213" y="248"/>
                </a:cubicBezTo>
                <a:close/>
                <a:moveTo>
                  <a:pt x="3540" y="240"/>
                </a:moveTo>
                <a:cubicBezTo>
                  <a:pt x="3540" y="240"/>
                  <a:pt x="3540" y="240"/>
                  <a:pt x="3540" y="240"/>
                </a:cubicBezTo>
                <a:cubicBezTo>
                  <a:pt x="3540" y="248"/>
                  <a:pt x="3540" y="248"/>
                  <a:pt x="3540" y="248"/>
                </a:cubicBezTo>
                <a:cubicBezTo>
                  <a:pt x="3546" y="248"/>
                  <a:pt x="3547" y="251"/>
                  <a:pt x="3547" y="254"/>
                </a:cubicBezTo>
                <a:cubicBezTo>
                  <a:pt x="3547" y="256"/>
                  <a:pt x="3547" y="258"/>
                  <a:pt x="3547" y="261"/>
                </a:cubicBezTo>
                <a:cubicBezTo>
                  <a:pt x="3546" y="263"/>
                  <a:pt x="3546" y="266"/>
                  <a:pt x="3546" y="268"/>
                </a:cubicBezTo>
                <a:cubicBezTo>
                  <a:pt x="3546" y="277"/>
                  <a:pt x="3552" y="281"/>
                  <a:pt x="3561" y="281"/>
                </a:cubicBezTo>
                <a:cubicBezTo>
                  <a:pt x="3561" y="281"/>
                  <a:pt x="3561" y="281"/>
                  <a:pt x="3564" y="281"/>
                </a:cubicBezTo>
                <a:cubicBezTo>
                  <a:pt x="3564" y="281"/>
                  <a:pt x="3564" y="281"/>
                  <a:pt x="3564" y="272"/>
                </a:cubicBezTo>
                <a:cubicBezTo>
                  <a:pt x="3564" y="272"/>
                  <a:pt x="3564" y="272"/>
                  <a:pt x="3563" y="272"/>
                </a:cubicBezTo>
                <a:cubicBezTo>
                  <a:pt x="3559" y="272"/>
                  <a:pt x="3558" y="269"/>
                  <a:pt x="3558" y="266"/>
                </a:cubicBezTo>
                <a:cubicBezTo>
                  <a:pt x="3558" y="264"/>
                  <a:pt x="3558" y="263"/>
                  <a:pt x="3558" y="261"/>
                </a:cubicBezTo>
                <a:cubicBezTo>
                  <a:pt x="3558" y="259"/>
                  <a:pt x="3559" y="257"/>
                  <a:pt x="3559" y="255"/>
                </a:cubicBezTo>
                <a:cubicBezTo>
                  <a:pt x="3559" y="247"/>
                  <a:pt x="3556" y="245"/>
                  <a:pt x="3550" y="244"/>
                </a:cubicBezTo>
                <a:cubicBezTo>
                  <a:pt x="3550" y="244"/>
                  <a:pt x="3550" y="244"/>
                  <a:pt x="3550" y="243"/>
                </a:cubicBezTo>
                <a:cubicBezTo>
                  <a:pt x="3556" y="242"/>
                  <a:pt x="3559" y="240"/>
                  <a:pt x="3559" y="232"/>
                </a:cubicBezTo>
                <a:cubicBezTo>
                  <a:pt x="3559" y="230"/>
                  <a:pt x="3558" y="228"/>
                  <a:pt x="3558" y="226"/>
                </a:cubicBezTo>
                <a:cubicBezTo>
                  <a:pt x="3558" y="225"/>
                  <a:pt x="3558" y="223"/>
                  <a:pt x="3558" y="222"/>
                </a:cubicBezTo>
                <a:cubicBezTo>
                  <a:pt x="3558" y="218"/>
                  <a:pt x="3559" y="216"/>
                  <a:pt x="3563" y="216"/>
                </a:cubicBezTo>
                <a:cubicBezTo>
                  <a:pt x="3563" y="216"/>
                  <a:pt x="3563" y="216"/>
                  <a:pt x="3564" y="216"/>
                </a:cubicBezTo>
                <a:cubicBezTo>
                  <a:pt x="3564" y="216"/>
                  <a:pt x="3564" y="216"/>
                  <a:pt x="3564" y="206"/>
                </a:cubicBezTo>
                <a:cubicBezTo>
                  <a:pt x="3564" y="206"/>
                  <a:pt x="3564" y="206"/>
                  <a:pt x="3561" y="206"/>
                </a:cubicBezTo>
                <a:cubicBezTo>
                  <a:pt x="3552" y="206"/>
                  <a:pt x="3546" y="210"/>
                  <a:pt x="3546" y="219"/>
                </a:cubicBezTo>
                <a:cubicBezTo>
                  <a:pt x="3546" y="221"/>
                  <a:pt x="3546" y="224"/>
                  <a:pt x="3546" y="226"/>
                </a:cubicBezTo>
                <a:cubicBezTo>
                  <a:pt x="3547" y="229"/>
                  <a:pt x="3547" y="231"/>
                  <a:pt x="3547" y="233"/>
                </a:cubicBezTo>
                <a:cubicBezTo>
                  <a:pt x="3547" y="236"/>
                  <a:pt x="3546" y="239"/>
                  <a:pt x="3540" y="240"/>
                </a:cubicBezTo>
                <a:close/>
                <a:moveTo>
                  <a:pt x="3595" y="248"/>
                </a:moveTo>
                <a:cubicBezTo>
                  <a:pt x="3595" y="248"/>
                  <a:pt x="3595" y="248"/>
                  <a:pt x="3595" y="248"/>
                </a:cubicBezTo>
                <a:cubicBezTo>
                  <a:pt x="3595" y="240"/>
                  <a:pt x="3595" y="240"/>
                  <a:pt x="3595" y="240"/>
                </a:cubicBezTo>
                <a:cubicBezTo>
                  <a:pt x="3589" y="239"/>
                  <a:pt x="3588" y="236"/>
                  <a:pt x="3588" y="233"/>
                </a:cubicBezTo>
                <a:cubicBezTo>
                  <a:pt x="3588" y="231"/>
                  <a:pt x="3588" y="229"/>
                  <a:pt x="3589" y="226"/>
                </a:cubicBezTo>
                <a:cubicBezTo>
                  <a:pt x="3589" y="224"/>
                  <a:pt x="3589" y="221"/>
                  <a:pt x="3589" y="219"/>
                </a:cubicBezTo>
                <a:cubicBezTo>
                  <a:pt x="3589" y="210"/>
                  <a:pt x="3584" y="206"/>
                  <a:pt x="3575" y="206"/>
                </a:cubicBezTo>
                <a:cubicBezTo>
                  <a:pt x="3575" y="206"/>
                  <a:pt x="3575" y="206"/>
                  <a:pt x="3571" y="206"/>
                </a:cubicBezTo>
                <a:cubicBezTo>
                  <a:pt x="3571" y="206"/>
                  <a:pt x="3571" y="206"/>
                  <a:pt x="3571" y="216"/>
                </a:cubicBezTo>
                <a:cubicBezTo>
                  <a:pt x="3571" y="216"/>
                  <a:pt x="3571" y="216"/>
                  <a:pt x="3573" y="216"/>
                </a:cubicBezTo>
                <a:cubicBezTo>
                  <a:pt x="3576" y="216"/>
                  <a:pt x="3578" y="218"/>
                  <a:pt x="3578" y="222"/>
                </a:cubicBezTo>
                <a:cubicBezTo>
                  <a:pt x="3578" y="223"/>
                  <a:pt x="3577" y="225"/>
                  <a:pt x="3577" y="226"/>
                </a:cubicBezTo>
                <a:cubicBezTo>
                  <a:pt x="3577" y="228"/>
                  <a:pt x="3577" y="230"/>
                  <a:pt x="3577" y="232"/>
                </a:cubicBezTo>
                <a:cubicBezTo>
                  <a:pt x="3577" y="240"/>
                  <a:pt x="3580" y="242"/>
                  <a:pt x="3585" y="243"/>
                </a:cubicBezTo>
                <a:cubicBezTo>
                  <a:pt x="3585" y="243"/>
                  <a:pt x="3585" y="243"/>
                  <a:pt x="3585" y="244"/>
                </a:cubicBezTo>
                <a:cubicBezTo>
                  <a:pt x="3580" y="245"/>
                  <a:pt x="3577" y="247"/>
                  <a:pt x="3577" y="255"/>
                </a:cubicBezTo>
                <a:cubicBezTo>
                  <a:pt x="3577" y="257"/>
                  <a:pt x="3577" y="259"/>
                  <a:pt x="3577" y="261"/>
                </a:cubicBezTo>
                <a:cubicBezTo>
                  <a:pt x="3577" y="263"/>
                  <a:pt x="3578" y="264"/>
                  <a:pt x="3578" y="266"/>
                </a:cubicBezTo>
                <a:cubicBezTo>
                  <a:pt x="3578" y="269"/>
                  <a:pt x="3577" y="272"/>
                  <a:pt x="3573" y="272"/>
                </a:cubicBezTo>
                <a:cubicBezTo>
                  <a:pt x="3573" y="272"/>
                  <a:pt x="3573" y="272"/>
                  <a:pt x="3571" y="272"/>
                </a:cubicBezTo>
                <a:cubicBezTo>
                  <a:pt x="3571" y="272"/>
                  <a:pt x="3571" y="272"/>
                  <a:pt x="3571" y="281"/>
                </a:cubicBezTo>
                <a:cubicBezTo>
                  <a:pt x="3571" y="281"/>
                  <a:pt x="3571" y="281"/>
                  <a:pt x="3575" y="281"/>
                </a:cubicBezTo>
                <a:cubicBezTo>
                  <a:pt x="3584" y="281"/>
                  <a:pt x="3589" y="277"/>
                  <a:pt x="3589" y="268"/>
                </a:cubicBezTo>
                <a:cubicBezTo>
                  <a:pt x="3589" y="266"/>
                  <a:pt x="3589" y="263"/>
                  <a:pt x="3589" y="261"/>
                </a:cubicBezTo>
                <a:cubicBezTo>
                  <a:pt x="3588" y="258"/>
                  <a:pt x="3588" y="256"/>
                  <a:pt x="3588" y="254"/>
                </a:cubicBezTo>
                <a:cubicBezTo>
                  <a:pt x="3588" y="251"/>
                  <a:pt x="3589" y="248"/>
                  <a:pt x="3595" y="248"/>
                </a:cubicBezTo>
                <a:close/>
                <a:moveTo>
                  <a:pt x="3643" y="207"/>
                </a:moveTo>
                <a:cubicBezTo>
                  <a:pt x="3643" y="207"/>
                  <a:pt x="3643" y="207"/>
                  <a:pt x="3643" y="207"/>
                </a:cubicBezTo>
                <a:cubicBezTo>
                  <a:pt x="3637" y="207"/>
                  <a:pt x="3637" y="207"/>
                  <a:pt x="3637" y="207"/>
                </a:cubicBezTo>
                <a:cubicBezTo>
                  <a:pt x="3635" y="209"/>
                  <a:pt x="3634" y="210"/>
                  <a:pt x="3632" y="211"/>
                </a:cubicBezTo>
                <a:cubicBezTo>
                  <a:pt x="3630" y="212"/>
                  <a:pt x="3628" y="213"/>
                  <a:pt x="3627" y="214"/>
                </a:cubicBezTo>
                <a:cubicBezTo>
                  <a:pt x="3624" y="215"/>
                  <a:pt x="3623" y="215"/>
                  <a:pt x="3622" y="216"/>
                </a:cubicBezTo>
                <a:cubicBezTo>
                  <a:pt x="3619" y="217"/>
                  <a:pt x="3618" y="217"/>
                  <a:pt x="3616" y="218"/>
                </a:cubicBezTo>
                <a:cubicBezTo>
                  <a:pt x="3616" y="218"/>
                  <a:pt x="3616" y="218"/>
                  <a:pt x="3616" y="228"/>
                </a:cubicBezTo>
                <a:cubicBezTo>
                  <a:pt x="3619" y="228"/>
                  <a:pt x="3622" y="226"/>
                  <a:pt x="3624" y="225"/>
                </a:cubicBezTo>
                <a:cubicBezTo>
                  <a:pt x="3627" y="225"/>
                  <a:pt x="3629" y="223"/>
                  <a:pt x="3631" y="222"/>
                </a:cubicBezTo>
                <a:cubicBezTo>
                  <a:pt x="3631" y="222"/>
                  <a:pt x="3631" y="222"/>
                  <a:pt x="3631" y="281"/>
                </a:cubicBezTo>
                <a:cubicBezTo>
                  <a:pt x="3631" y="281"/>
                  <a:pt x="3631" y="281"/>
                  <a:pt x="3643" y="281"/>
                </a:cubicBezTo>
                <a:cubicBezTo>
                  <a:pt x="3643" y="281"/>
                  <a:pt x="3643" y="281"/>
                  <a:pt x="3643" y="207"/>
                </a:cubicBezTo>
                <a:close/>
                <a:moveTo>
                  <a:pt x="3690" y="207"/>
                </a:moveTo>
                <a:cubicBezTo>
                  <a:pt x="3690" y="207"/>
                  <a:pt x="3690" y="207"/>
                  <a:pt x="3690" y="207"/>
                </a:cubicBezTo>
                <a:cubicBezTo>
                  <a:pt x="3685" y="207"/>
                  <a:pt x="3685" y="207"/>
                  <a:pt x="3685" y="207"/>
                </a:cubicBezTo>
                <a:cubicBezTo>
                  <a:pt x="3682" y="209"/>
                  <a:pt x="3681" y="210"/>
                  <a:pt x="3679" y="211"/>
                </a:cubicBezTo>
                <a:cubicBezTo>
                  <a:pt x="3677" y="212"/>
                  <a:pt x="3675" y="213"/>
                  <a:pt x="3674" y="214"/>
                </a:cubicBezTo>
                <a:cubicBezTo>
                  <a:pt x="3672" y="215"/>
                  <a:pt x="3670" y="216"/>
                  <a:pt x="3669" y="217"/>
                </a:cubicBezTo>
                <a:cubicBezTo>
                  <a:pt x="3667" y="217"/>
                  <a:pt x="3665" y="218"/>
                  <a:pt x="3663" y="218"/>
                </a:cubicBezTo>
                <a:cubicBezTo>
                  <a:pt x="3663" y="218"/>
                  <a:pt x="3663" y="218"/>
                  <a:pt x="3663" y="228"/>
                </a:cubicBezTo>
                <a:cubicBezTo>
                  <a:pt x="3666" y="228"/>
                  <a:pt x="3669" y="227"/>
                  <a:pt x="3671" y="225"/>
                </a:cubicBezTo>
                <a:cubicBezTo>
                  <a:pt x="3674" y="225"/>
                  <a:pt x="3676" y="223"/>
                  <a:pt x="3678" y="222"/>
                </a:cubicBezTo>
                <a:cubicBezTo>
                  <a:pt x="3678" y="222"/>
                  <a:pt x="3678" y="222"/>
                  <a:pt x="3678" y="281"/>
                </a:cubicBezTo>
                <a:cubicBezTo>
                  <a:pt x="3678" y="281"/>
                  <a:pt x="3678" y="281"/>
                  <a:pt x="3690" y="281"/>
                </a:cubicBezTo>
                <a:cubicBezTo>
                  <a:pt x="3690" y="281"/>
                  <a:pt x="3690" y="281"/>
                  <a:pt x="3690" y="207"/>
                </a:cubicBezTo>
                <a:close/>
                <a:moveTo>
                  <a:pt x="3736" y="207"/>
                </a:moveTo>
                <a:cubicBezTo>
                  <a:pt x="3736" y="207"/>
                  <a:pt x="3736" y="207"/>
                  <a:pt x="3736" y="207"/>
                </a:cubicBezTo>
                <a:cubicBezTo>
                  <a:pt x="3732" y="207"/>
                  <a:pt x="3732" y="207"/>
                  <a:pt x="3732" y="207"/>
                </a:cubicBezTo>
                <a:cubicBezTo>
                  <a:pt x="3730" y="209"/>
                  <a:pt x="3728" y="210"/>
                  <a:pt x="3726" y="211"/>
                </a:cubicBezTo>
                <a:cubicBezTo>
                  <a:pt x="3725" y="212"/>
                  <a:pt x="3722" y="213"/>
                  <a:pt x="3721" y="214"/>
                </a:cubicBezTo>
                <a:cubicBezTo>
                  <a:pt x="3719" y="215"/>
                  <a:pt x="3717" y="216"/>
                  <a:pt x="3715" y="217"/>
                </a:cubicBezTo>
                <a:cubicBezTo>
                  <a:pt x="3714" y="217"/>
                  <a:pt x="3712" y="218"/>
                  <a:pt x="3710" y="218"/>
                </a:cubicBezTo>
                <a:cubicBezTo>
                  <a:pt x="3710" y="218"/>
                  <a:pt x="3710" y="218"/>
                  <a:pt x="3710" y="228"/>
                </a:cubicBezTo>
                <a:cubicBezTo>
                  <a:pt x="3713" y="228"/>
                  <a:pt x="3716" y="227"/>
                  <a:pt x="3718" y="225"/>
                </a:cubicBezTo>
                <a:cubicBezTo>
                  <a:pt x="3720" y="225"/>
                  <a:pt x="3723" y="223"/>
                  <a:pt x="3725" y="222"/>
                </a:cubicBezTo>
                <a:cubicBezTo>
                  <a:pt x="3725" y="222"/>
                  <a:pt x="3725" y="222"/>
                  <a:pt x="3725" y="281"/>
                </a:cubicBezTo>
                <a:cubicBezTo>
                  <a:pt x="3725" y="281"/>
                  <a:pt x="3725" y="281"/>
                  <a:pt x="3736" y="281"/>
                </a:cubicBezTo>
                <a:cubicBezTo>
                  <a:pt x="3736" y="281"/>
                  <a:pt x="3736" y="281"/>
                  <a:pt x="3736" y="207"/>
                </a:cubicBezTo>
                <a:close/>
                <a:moveTo>
                  <a:pt x="3860" y="207"/>
                </a:moveTo>
                <a:cubicBezTo>
                  <a:pt x="3860" y="207"/>
                  <a:pt x="3860" y="207"/>
                  <a:pt x="3860" y="207"/>
                </a:cubicBezTo>
                <a:cubicBezTo>
                  <a:pt x="3854" y="207"/>
                  <a:pt x="3854" y="207"/>
                  <a:pt x="3854" y="207"/>
                </a:cubicBezTo>
                <a:cubicBezTo>
                  <a:pt x="3852" y="209"/>
                  <a:pt x="3851" y="210"/>
                  <a:pt x="3848" y="211"/>
                </a:cubicBezTo>
                <a:cubicBezTo>
                  <a:pt x="3847" y="212"/>
                  <a:pt x="3845" y="213"/>
                  <a:pt x="3843" y="214"/>
                </a:cubicBezTo>
                <a:cubicBezTo>
                  <a:pt x="3842" y="215"/>
                  <a:pt x="3840" y="216"/>
                  <a:pt x="3838" y="217"/>
                </a:cubicBezTo>
                <a:cubicBezTo>
                  <a:pt x="3836" y="217"/>
                  <a:pt x="3834" y="218"/>
                  <a:pt x="3832" y="218"/>
                </a:cubicBezTo>
                <a:cubicBezTo>
                  <a:pt x="3832" y="218"/>
                  <a:pt x="3832" y="218"/>
                  <a:pt x="3832" y="228"/>
                </a:cubicBezTo>
                <a:cubicBezTo>
                  <a:pt x="3835" y="228"/>
                  <a:pt x="3838" y="227"/>
                  <a:pt x="3841" y="225"/>
                </a:cubicBezTo>
                <a:cubicBezTo>
                  <a:pt x="3843" y="225"/>
                  <a:pt x="3845" y="223"/>
                  <a:pt x="3848" y="222"/>
                </a:cubicBezTo>
                <a:cubicBezTo>
                  <a:pt x="3848" y="222"/>
                  <a:pt x="3848" y="222"/>
                  <a:pt x="3848" y="281"/>
                </a:cubicBezTo>
                <a:cubicBezTo>
                  <a:pt x="3848" y="281"/>
                  <a:pt x="3848" y="281"/>
                  <a:pt x="3860" y="281"/>
                </a:cubicBezTo>
                <a:cubicBezTo>
                  <a:pt x="3860" y="281"/>
                  <a:pt x="3860" y="281"/>
                  <a:pt x="3860" y="207"/>
                </a:cubicBezTo>
                <a:close/>
                <a:moveTo>
                  <a:pt x="3757" y="240"/>
                </a:moveTo>
                <a:cubicBezTo>
                  <a:pt x="3757" y="240"/>
                  <a:pt x="3757" y="240"/>
                  <a:pt x="3757" y="240"/>
                </a:cubicBezTo>
                <a:cubicBezTo>
                  <a:pt x="3757" y="248"/>
                  <a:pt x="3757" y="248"/>
                  <a:pt x="3757" y="248"/>
                </a:cubicBezTo>
                <a:cubicBezTo>
                  <a:pt x="3763" y="248"/>
                  <a:pt x="3764" y="251"/>
                  <a:pt x="3764" y="254"/>
                </a:cubicBezTo>
                <a:cubicBezTo>
                  <a:pt x="3764" y="256"/>
                  <a:pt x="3763" y="258"/>
                  <a:pt x="3763" y="261"/>
                </a:cubicBezTo>
                <a:cubicBezTo>
                  <a:pt x="3763" y="263"/>
                  <a:pt x="3763" y="266"/>
                  <a:pt x="3763" y="268"/>
                </a:cubicBezTo>
                <a:cubicBezTo>
                  <a:pt x="3763" y="277"/>
                  <a:pt x="3769" y="281"/>
                  <a:pt x="3777" y="281"/>
                </a:cubicBezTo>
                <a:cubicBezTo>
                  <a:pt x="3777" y="281"/>
                  <a:pt x="3777" y="281"/>
                  <a:pt x="3781" y="281"/>
                </a:cubicBezTo>
                <a:cubicBezTo>
                  <a:pt x="3781" y="281"/>
                  <a:pt x="3781" y="281"/>
                  <a:pt x="3781" y="272"/>
                </a:cubicBezTo>
                <a:cubicBezTo>
                  <a:pt x="3781" y="272"/>
                  <a:pt x="3781" y="272"/>
                  <a:pt x="3779" y="272"/>
                </a:cubicBezTo>
                <a:cubicBezTo>
                  <a:pt x="3776" y="272"/>
                  <a:pt x="3775" y="269"/>
                  <a:pt x="3775" y="266"/>
                </a:cubicBezTo>
                <a:cubicBezTo>
                  <a:pt x="3775" y="264"/>
                  <a:pt x="3775" y="263"/>
                  <a:pt x="3775" y="261"/>
                </a:cubicBezTo>
                <a:cubicBezTo>
                  <a:pt x="3775" y="259"/>
                  <a:pt x="3775" y="257"/>
                  <a:pt x="3775" y="255"/>
                </a:cubicBezTo>
                <a:cubicBezTo>
                  <a:pt x="3775" y="247"/>
                  <a:pt x="3772" y="245"/>
                  <a:pt x="3767" y="244"/>
                </a:cubicBezTo>
                <a:cubicBezTo>
                  <a:pt x="3767" y="244"/>
                  <a:pt x="3767" y="244"/>
                  <a:pt x="3767" y="243"/>
                </a:cubicBezTo>
                <a:cubicBezTo>
                  <a:pt x="3772" y="242"/>
                  <a:pt x="3775" y="240"/>
                  <a:pt x="3775" y="232"/>
                </a:cubicBezTo>
                <a:cubicBezTo>
                  <a:pt x="3775" y="230"/>
                  <a:pt x="3775" y="228"/>
                  <a:pt x="3775" y="226"/>
                </a:cubicBezTo>
                <a:cubicBezTo>
                  <a:pt x="3775" y="225"/>
                  <a:pt x="3775" y="223"/>
                  <a:pt x="3775" y="222"/>
                </a:cubicBezTo>
                <a:cubicBezTo>
                  <a:pt x="3775" y="218"/>
                  <a:pt x="3776" y="216"/>
                  <a:pt x="3779" y="216"/>
                </a:cubicBezTo>
                <a:cubicBezTo>
                  <a:pt x="3779" y="216"/>
                  <a:pt x="3779" y="216"/>
                  <a:pt x="3781" y="216"/>
                </a:cubicBezTo>
                <a:cubicBezTo>
                  <a:pt x="3781" y="216"/>
                  <a:pt x="3781" y="216"/>
                  <a:pt x="3781" y="206"/>
                </a:cubicBezTo>
                <a:cubicBezTo>
                  <a:pt x="3781" y="206"/>
                  <a:pt x="3781" y="206"/>
                  <a:pt x="3777" y="206"/>
                </a:cubicBezTo>
                <a:cubicBezTo>
                  <a:pt x="3768" y="206"/>
                  <a:pt x="3763" y="210"/>
                  <a:pt x="3763" y="219"/>
                </a:cubicBezTo>
                <a:cubicBezTo>
                  <a:pt x="3763" y="221"/>
                  <a:pt x="3763" y="224"/>
                  <a:pt x="3763" y="226"/>
                </a:cubicBezTo>
                <a:cubicBezTo>
                  <a:pt x="3763" y="229"/>
                  <a:pt x="3764" y="231"/>
                  <a:pt x="3764" y="233"/>
                </a:cubicBezTo>
                <a:cubicBezTo>
                  <a:pt x="3764" y="236"/>
                  <a:pt x="3763" y="239"/>
                  <a:pt x="3757" y="240"/>
                </a:cubicBezTo>
                <a:close/>
                <a:moveTo>
                  <a:pt x="3812" y="248"/>
                </a:moveTo>
                <a:cubicBezTo>
                  <a:pt x="3812" y="248"/>
                  <a:pt x="3812" y="248"/>
                  <a:pt x="3812" y="248"/>
                </a:cubicBezTo>
                <a:cubicBezTo>
                  <a:pt x="3812" y="240"/>
                  <a:pt x="3812" y="240"/>
                  <a:pt x="3812" y="240"/>
                </a:cubicBezTo>
                <a:cubicBezTo>
                  <a:pt x="3806" y="239"/>
                  <a:pt x="3805" y="236"/>
                  <a:pt x="3805" y="233"/>
                </a:cubicBezTo>
                <a:cubicBezTo>
                  <a:pt x="3805" y="231"/>
                  <a:pt x="3805" y="229"/>
                  <a:pt x="3806" y="226"/>
                </a:cubicBezTo>
                <a:cubicBezTo>
                  <a:pt x="3806" y="224"/>
                  <a:pt x="3806" y="221"/>
                  <a:pt x="3806" y="219"/>
                </a:cubicBezTo>
                <a:cubicBezTo>
                  <a:pt x="3806" y="210"/>
                  <a:pt x="3801" y="206"/>
                  <a:pt x="3791" y="206"/>
                </a:cubicBezTo>
                <a:cubicBezTo>
                  <a:pt x="3791" y="206"/>
                  <a:pt x="3791" y="206"/>
                  <a:pt x="3788" y="206"/>
                </a:cubicBezTo>
                <a:cubicBezTo>
                  <a:pt x="3788" y="206"/>
                  <a:pt x="3788" y="206"/>
                  <a:pt x="3788" y="216"/>
                </a:cubicBezTo>
                <a:cubicBezTo>
                  <a:pt x="3788" y="216"/>
                  <a:pt x="3788" y="216"/>
                  <a:pt x="3789" y="216"/>
                </a:cubicBezTo>
                <a:cubicBezTo>
                  <a:pt x="3793" y="216"/>
                  <a:pt x="3794" y="218"/>
                  <a:pt x="3794" y="222"/>
                </a:cubicBezTo>
                <a:cubicBezTo>
                  <a:pt x="3794" y="223"/>
                  <a:pt x="3794" y="225"/>
                  <a:pt x="3794" y="226"/>
                </a:cubicBezTo>
                <a:cubicBezTo>
                  <a:pt x="3794" y="228"/>
                  <a:pt x="3794" y="230"/>
                  <a:pt x="3794" y="232"/>
                </a:cubicBezTo>
                <a:cubicBezTo>
                  <a:pt x="3794" y="240"/>
                  <a:pt x="3796" y="242"/>
                  <a:pt x="3802" y="243"/>
                </a:cubicBezTo>
                <a:cubicBezTo>
                  <a:pt x="3802" y="243"/>
                  <a:pt x="3802" y="243"/>
                  <a:pt x="3802" y="244"/>
                </a:cubicBezTo>
                <a:cubicBezTo>
                  <a:pt x="3796" y="245"/>
                  <a:pt x="3794" y="247"/>
                  <a:pt x="3794" y="255"/>
                </a:cubicBezTo>
                <a:cubicBezTo>
                  <a:pt x="3794" y="257"/>
                  <a:pt x="3794" y="259"/>
                  <a:pt x="3794" y="261"/>
                </a:cubicBezTo>
                <a:cubicBezTo>
                  <a:pt x="3794" y="263"/>
                  <a:pt x="3794" y="264"/>
                  <a:pt x="3794" y="266"/>
                </a:cubicBezTo>
                <a:cubicBezTo>
                  <a:pt x="3794" y="269"/>
                  <a:pt x="3793" y="272"/>
                  <a:pt x="3789" y="272"/>
                </a:cubicBezTo>
                <a:cubicBezTo>
                  <a:pt x="3789" y="272"/>
                  <a:pt x="3789" y="272"/>
                  <a:pt x="3788" y="272"/>
                </a:cubicBezTo>
                <a:cubicBezTo>
                  <a:pt x="3788" y="272"/>
                  <a:pt x="3788" y="272"/>
                  <a:pt x="3788" y="281"/>
                </a:cubicBezTo>
                <a:cubicBezTo>
                  <a:pt x="3788" y="281"/>
                  <a:pt x="3788" y="281"/>
                  <a:pt x="3791" y="281"/>
                </a:cubicBezTo>
                <a:cubicBezTo>
                  <a:pt x="3800" y="281"/>
                  <a:pt x="3806" y="277"/>
                  <a:pt x="3806" y="268"/>
                </a:cubicBezTo>
                <a:cubicBezTo>
                  <a:pt x="3806" y="266"/>
                  <a:pt x="3806" y="263"/>
                  <a:pt x="3806" y="261"/>
                </a:cubicBezTo>
                <a:cubicBezTo>
                  <a:pt x="3805" y="258"/>
                  <a:pt x="3805" y="256"/>
                  <a:pt x="3805" y="254"/>
                </a:cubicBezTo>
                <a:cubicBezTo>
                  <a:pt x="3805" y="251"/>
                  <a:pt x="3806" y="248"/>
                  <a:pt x="3812" y="248"/>
                </a:cubicBezTo>
                <a:close/>
                <a:moveTo>
                  <a:pt x="2953" y="159"/>
                </a:moveTo>
                <a:cubicBezTo>
                  <a:pt x="2953" y="160"/>
                  <a:pt x="2954" y="161"/>
                  <a:pt x="2954" y="163"/>
                </a:cubicBezTo>
                <a:cubicBezTo>
                  <a:pt x="2955" y="164"/>
                  <a:pt x="2955" y="166"/>
                  <a:pt x="2956" y="168"/>
                </a:cubicBezTo>
                <a:cubicBezTo>
                  <a:pt x="2956" y="170"/>
                  <a:pt x="2956" y="171"/>
                  <a:pt x="2956" y="173"/>
                </a:cubicBezTo>
                <a:cubicBezTo>
                  <a:pt x="2957" y="176"/>
                  <a:pt x="2956" y="178"/>
                  <a:pt x="2952" y="178"/>
                </a:cubicBezTo>
                <a:cubicBezTo>
                  <a:pt x="2950" y="178"/>
                  <a:pt x="2947" y="177"/>
                  <a:pt x="2944" y="177"/>
                </a:cubicBezTo>
                <a:cubicBezTo>
                  <a:pt x="2944" y="177"/>
                  <a:pt x="2943" y="177"/>
                  <a:pt x="2943" y="178"/>
                </a:cubicBezTo>
                <a:cubicBezTo>
                  <a:pt x="2941" y="179"/>
                  <a:pt x="2939" y="180"/>
                  <a:pt x="2938" y="182"/>
                </a:cubicBezTo>
                <a:cubicBezTo>
                  <a:pt x="2936" y="184"/>
                  <a:pt x="2933" y="185"/>
                  <a:pt x="2931" y="183"/>
                </a:cubicBezTo>
                <a:cubicBezTo>
                  <a:pt x="2929" y="180"/>
                  <a:pt x="2928" y="178"/>
                  <a:pt x="2926" y="175"/>
                </a:cubicBezTo>
                <a:cubicBezTo>
                  <a:pt x="2925" y="174"/>
                  <a:pt x="2926" y="172"/>
                  <a:pt x="2928" y="170"/>
                </a:cubicBezTo>
                <a:cubicBezTo>
                  <a:pt x="2925" y="170"/>
                  <a:pt x="2924" y="170"/>
                  <a:pt x="2922" y="170"/>
                </a:cubicBezTo>
                <a:cubicBezTo>
                  <a:pt x="2921" y="172"/>
                  <a:pt x="2920" y="174"/>
                  <a:pt x="2919" y="176"/>
                </a:cubicBezTo>
                <a:cubicBezTo>
                  <a:pt x="2919" y="177"/>
                  <a:pt x="2919" y="178"/>
                  <a:pt x="2919" y="179"/>
                </a:cubicBezTo>
                <a:cubicBezTo>
                  <a:pt x="2919" y="182"/>
                  <a:pt x="2918" y="183"/>
                  <a:pt x="2915" y="183"/>
                </a:cubicBezTo>
                <a:cubicBezTo>
                  <a:pt x="2912" y="182"/>
                  <a:pt x="2909" y="182"/>
                  <a:pt x="2906" y="180"/>
                </a:cubicBezTo>
                <a:cubicBezTo>
                  <a:pt x="2904" y="180"/>
                  <a:pt x="2903" y="178"/>
                  <a:pt x="2904" y="176"/>
                </a:cubicBezTo>
                <a:cubicBezTo>
                  <a:pt x="2904" y="176"/>
                  <a:pt x="2904" y="175"/>
                  <a:pt x="2905" y="175"/>
                </a:cubicBezTo>
                <a:cubicBezTo>
                  <a:pt x="2902" y="174"/>
                  <a:pt x="2900" y="173"/>
                  <a:pt x="2898" y="171"/>
                </a:cubicBezTo>
                <a:cubicBezTo>
                  <a:pt x="2897" y="170"/>
                  <a:pt x="2896" y="168"/>
                  <a:pt x="2895" y="167"/>
                </a:cubicBezTo>
                <a:cubicBezTo>
                  <a:pt x="2894" y="165"/>
                  <a:pt x="2894" y="163"/>
                  <a:pt x="2896" y="162"/>
                </a:cubicBezTo>
                <a:cubicBezTo>
                  <a:pt x="2899" y="159"/>
                  <a:pt x="2900" y="157"/>
                  <a:pt x="2899" y="153"/>
                </a:cubicBezTo>
                <a:cubicBezTo>
                  <a:pt x="2899" y="151"/>
                  <a:pt x="2899" y="148"/>
                  <a:pt x="2899" y="147"/>
                </a:cubicBezTo>
                <a:cubicBezTo>
                  <a:pt x="2898" y="146"/>
                  <a:pt x="2896" y="145"/>
                  <a:pt x="2895" y="144"/>
                </a:cubicBezTo>
                <a:cubicBezTo>
                  <a:pt x="2894" y="143"/>
                  <a:pt x="2893" y="141"/>
                  <a:pt x="2893" y="139"/>
                </a:cubicBezTo>
                <a:cubicBezTo>
                  <a:pt x="2893" y="136"/>
                  <a:pt x="2896" y="133"/>
                  <a:pt x="2899" y="132"/>
                </a:cubicBezTo>
                <a:cubicBezTo>
                  <a:pt x="2899" y="133"/>
                  <a:pt x="2899" y="134"/>
                  <a:pt x="2900" y="135"/>
                </a:cubicBezTo>
                <a:cubicBezTo>
                  <a:pt x="2900" y="136"/>
                  <a:pt x="2900" y="137"/>
                  <a:pt x="2900" y="138"/>
                </a:cubicBezTo>
                <a:cubicBezTo>
                  <a:pt x="2899" y="138"/>
                  <a:pt x="2899" y="138"/>
                  <a:pt x="2899" y="138"/>
                </a:cubicBezTo>
                <a:cubicBezTo>
                  <a:pt x="2898" y="139"/>
                  <a:pt x="2898" y="140"/>
                  <a:pt x="2897" y="142"/>
                </a:cubicBezTo>
                <a:cubicBezTo>
                  <a:pt x="2898" y="142"/>
                  <a:pt x="2899" y="142"/>
                  <a:pt x="2899" y="141"/>
                </a:cubicBezTo>
                <a:cubicBezTo>
                  <a:pt x="2901" y="140"/>
                  <a:pt x="2901" y="139"/>
                  <a:pt x="2902" y="138"/>
                </a:cubicBezTo>
                <a:cubicBezTo>
                  <a:pt x="2907" y="131"/>
                  <a:pt x="2912" y="127"/>
                  <a:pt x="2920" y="126"/>
                </a:cubicBezTo>
                <a:cubicBezTo>
                  <a:pt x="2923" y="125"/>
                  <a:pt x="2927" y="124"/>
                  <a:pt x="2929" y="121"/>
                </a:cubicBezTo>
                <a:cubicBezTo>
                  <a:pt x="2929" y="121"/>
                  <a:pt x="2930" y="121"/>
                  <a:pt x="2930" y="121"/>
                </a:cubicBezTo>
                <a:cubicBezTo>
                  <a:pt x="2933" y="120"/>
                  <a:pt x="2934" y="118"/>
                  <a:pt x="2936" y="116"/>
                </a:cubicBezTo>
                <a:cubicBezTo>
                  <a:pt x="2944" y="108"/>
                  <a:pt x="2956" y="108"/>
                  <a:pt x="2963" y="115"/>
                </a:cubicBezTo>
                <a:cubicBezTo>
                  <a:pt x="2966" y="117"/>
                  <a:pt x="2969" y="119"/>
                  <a:pt x="2971" y="121"/>
                </a:cubicBezTo>
                <a:cubicBezTo>
                  <a:pt x="2972" y="122"/>
                  <a:pt x="2974" y="123"/>
                  <a:pt x="2975" y="125"/>
                </a:cubicBezTo>
                <a:cubicBezTo>
                  <a:pt x="2976" y="127"/>
                  <a:pt x="2976" y="127"/>
                  <a:pt x="2978" y="126"/>
                </a:cubicBezTo>
                <a:cubicBezTo>
                  <a:pt x="2978" y="125"/>
                  <a:pt x="2979" y="125"/>
                  <a:pt x="2980" y="124"/>
                </a:cubicBezTo>
                <a:cubicBezTo>
                  <a:pt x="2982" y="121"/>
                  <a:pt x="2985" y="121"/>
                  <a:pt x="2986" y="124"/>
                </a:cubicBezTo>
                <a:cubicBezTo>
                  <a:pt x="2987" y="127"/>
                  <a:pt x="2988" y="130"/>
                  <a:pt x="2989" y="133"/>
                </a:cubicBezTo>
                <a:cubicBezTo>
                  <a:pt x="2989" y="138"/>
                  <a:pt x="2989" y="142"/>
                  <a:pt x="2987" y="146"/>
                </a:cubicBezTo>
                <a:cubicBezTo>
                  <a:pt x="2985" y="153"/>
                  <a:pt x="2980" y="156"/>
                  <a:pt x="2974" y="156"/>
                </a:cubicBezTo>
                <a:cubicBezTo>
                  <a:pt x="2973" y="156"/>
                  <a:pt x="2972" y="156"/>
                  <a:pt x="2972" y="156"/>
                </a:cubicBezTo>
                <a:cubicBezTo>
                  <a:pt x="2969" y="156"/>
                  <a:pt x="2968" y="156"/>
                  <a:pt x="2967" y="159"/>
                </a:cubicBezTo>
                <a:cubicBezTo>
                  <a:pt x="2966" y="163"/>
                  <a:pt x="2960" y="164"/>
                  <a:pt x="2957" y="161"/>
                </a:cubicBezTo>
                <a:cubicBezTo>
                  <a:pt x="2956" y="160"/>
                  <a:pt x="2955" y="159"/>
                  <a:pt x="2954" y="158"/>
                </a:cubicBezTo>
                <a:cubicBezTo>
                  <a:pt x="2953" y="159"/>
                  <a:pt x="2953" y="159"/>
                  <a:pt x="2953" y="159"/>
                </a:cubicBezTo>
                <a:close/>
                <a:moveTo>
                  <a:pt x="2947" y="154"/>
                </a:moveTo>
                <a:cubicBezTo>
                  <a:pt x="2951" y="156"/>
                  <a:pt x="2954" y="157"/>
                  <a:pt x="2957" y="160"/>
                </a:cubicBezTo>
                <a:cubicBezTo>
                  <a:pt x="2959" y="161"/>
                  <a:pt x="2961" y="162"/>
                  <a:pt x="2963" y="161"/>
                </a:cubicBezTo>
                <a:cubicBezTo>
                  <a:pt x="2965" y="161"/>
                  <a:pt x="2967" y="159"/>
                  <a:pt x="2967" y="155"/>
                </a:cubicBezTo>
                <a:cubicBezTo>
                  <a:pt x="2967" y="156"/>
                  <a:pt x="2966" y="156"/>
                  <a:pt x="2966" y="156"/>
                </a:cubicBezTo>
                <a:cubicBezTo>
                  <a:pt x="2965" y="158"/>
                  <a:pt x="2964" y="159"/>
                  <a:pt x="2963" y="160"/>
                </a:cubicBezTo>
                <a:cubicBezTo>
                  <a:pt x="2962" y="161"/>
                  <a:pt x="2961" y="161"/>
                  <a:pt x="2960" y="160"/>
                </a:cubicBezTo>
                <a:cubicBezTo>
                  <a:pt x="2959" y="160"/>
                  <a:pt x="2959" y="159"/>
                  <a:pt x="2959" y="158"/>
                </a:cubicBezTo>
                <a:cubicBezTo>
                  <a:pt x="2959" y="156"/>
                  <a:pt x="2959" y="154"/>
                  <a:pt x="2960" y="152"/>
                </a:cubicBezTo>
                <a:cubicBezTo>
                  <a:pt x="2963" y="153"/>
                  <a:pt x="2966" y="154"/>
                  <a:pt x="2970" y="154"/>
                </a:cubicBezTo>
                <a:cubicBezTo>
                  <a:pt x="2977" y="155"/>
                  <a:pt x="2983" y="154"/>
                  <a:pt x="2986" y="145"/>
                </a:cubicBezTo>
                <a:cubicBezTo>
                  <a:pt x="2988" y="140"/>
                  <a:pt x="2987" y="136"/>
                  <a:pt x="2987" y="130"/>
                </a:cubicBezTo>
                <a:cubicBezTo>
                  <a:pt x="2986" y="128"/>
                  <a:pt x="2985" y="127"/>
                  <a:pt x="2985" y="125"/>
                </a:cubicBezTo>
                <a:cubicBezTo>
                  <a:pt x="2984" y="123"/>
                  <a:pt x="2983" y="123"/>
                  <a:pt x="2981" y="125"/>
                </a:cubicBezTo>
                <a:cubicBezTo>
                  <a:pt x="2980" y="126"/>
                  <a:pt x="2978" y="128"/>
                  <a:pt x="2976" y="128"/>
                </a:cubicBezTo>
                <a:cubicBezTo>
                  <a:pt x="2976" y="129"/>
                  <a:pt x="2975" y="130"/>
                  <a:pt x="2975" y="131"/>
                </a:cubicBezTo>
                <a:cubicBezTo>
                  <a:pt x="2976" y="134"/>
                  <a:pt x="2975" y="137"/>
                  <a:pt x="2974" y="140"/>
                </a:cubicBezTo>
                <a:cubicBezTo>
                  <a:pt x="2974" y="138"/>
                  <a:pt x="2974" y="136"/>
                  <a:pt x="2974" y="135"/>
                </a:cubicBezTo>
                <a:cubicBezTo>
                  <a:pt x="2974" y="134"/>
                  <a:pt x="2974" y="134"/>
                  <a:pt x="2974" y="133"/>
                </a:cubicBezTo>
                <a:cubicBezTo>
                  <a:pt x="2973" y="134"/>
                  <a:pt x="2972" y="134"/>
                  <a:pt x="2972" y="134"/>
                </a:cubicBezTo>
                <a:cubicBezTo>
                  <a:pt x="2972" y="135"/>
                  <a:pt x="2971" y="137"/>
                  <a:pt x="2970" y="138"/>
                </a:cubicBezTo>
                <a:cubicBezTo>
                  <a:pt x="2970" y="138"/>
                  <a:pt x="2970" y="138"/>
                  <a:pt x="2970" y="138"/>
                </a:cubicBezTo>
                <a:cubicBezTo>
                  <a:pt x="2970" y="136"/>
                  <a:pt x="2970" y="135"/>
                  <a:pt x="2971" y="132"/>
                </a:cubicBezTo>
                <a:cubicBezTo>
                  <a:pt x="2970" y="133"/>
                  <a:pt x="2969" y="134"/>
                  <a:pt x="2969" y="134"/>
                </a:cubicBezTo>
                <a:cubicBezTo>
                  <a:pt x="2968" y="135"/>
                  <a:pt x="2968" y="136"/>
                  <a:pt x="2967" y="136"/>
                </a:cubicBezTo>
                <a:cubicBezTo>
                  <a:pt x="2968" y="133"/>
                  <a:pt x="2968" y="133"/>
                  <a:pt x="2974" y="132"/>
                </a:cubicBezTo>
                <a:cubicBezTo>
                  <a:pt x="2974" y="131"/>
                  <a:pt x="2973" y="130"/>
                  <a:pt x="2973" y="130"/>
                </a:cubicBezTo>
                <a:cubicBezTo>
                  <a:pt x="2970" y="131"/>
                  <a:pt x="2969" y="130"/>
                  <a:pt x="2969" y="127"/>
                </a:cubicBezTo>
                <a:cubicBezTo>
                  <a:pt x="2970" y="127"/>
                  <a:pt x="2972" y="126"/>
                  <a:pt x="2974" y="126"/>
                </a:cubicBezTo>
                <a:cubicBezTo>
                  <a:pt x="2972" y="124"/>
                  <a:pt x="2970" y="121"/>
                  <a:pt x="2967" y="121"/>
                </a:cubicBezTo>
                <a:cubicBezTo>
                  <a:pt x="2967" y="121"/>
                  <a:pt x="2967" y="120"/>
                  <a:pt x="2967" y="120"/>
                </a:cubicBezTo>
                <a:cubicBezTo>
                  <a:pt x="2964" y="118"/>
                  <a:pt x="2962" y="115"/>
                  <a:pt x="2959" y="113"/>
                </a:cubicBezTo>
                <a:cubicBezTo>
                  <a:pt x="2957" y="112"/>
                  <a:pt x="2954" y="111"/>
                  <a:pt x="2952" y="111"/>
                </a:cubicBezTo>
                <a:cubicBezTo>
                  <a:pt x="2949" y="112"/>
                  <a:pt x="2945" y="113"/>
                  <a:pt x="2942" y="114"/>
                </a:cubicBezTo>
                <a:cubicBezTo>
                  <a:pt x="2939" y="115"/>
                  <a:pt x="2937" y="117"/>
                  <a:pt x="2935" y="120"/>
                </a:cubicBezTo>
                <a:cubicBezTo>
                  <a:pt x="2937" y="120"/>
                  <a:pt x="2938" y="120"/>
                  <a:pt x="2939" y="120"/>
                </a:cubicBezTo>
                <a:cubicBezTo>
                  <a:pt x="2939" y="120"/>
                  <a:pt x="2938" y="121"/>
                  <a:pt x="2937" y="121"/>
                </a:cubicBezTo>
                <a:cubicBezTo>
                  <a:pt x="2935" y="121"/>
                  <a:pt x="2932" y="121"/>
                  <a:pt x="2930" y="123"/>
                </a:cubicBezTo>
                <a:cubicBezTo>
                  <a:pt x="2927" y="127"/>
                  <a:pt x="2923" y="130"/>
                  <a:pt x="2919" y="135"/>
                </a:cubicBezTo>
                <a:cubicBezTo>
                  <a:pt x="2918" y="137"/>
                  <a:pt x="2917" y="139"/>
                  <a:pt x="2916" y="142"/>
                </a:cubicBezTo>
                <a:cubicBezTo>
                  <a:pt x="2916" y="142"/>
                  <a:pt x="2916" y="143"/>
                  <a:pt x="2916" y="143"/>
                </a:cubicBezTo>
                <a:cubicBezTo>
                  <a:pt x="2917" y="145"/>
                  <a:pt x="2918" y="147"/>
                  <a:pt x="2920" y="149"/>
                </a:cubicBezTo>
                <a:cubicBezTo>
                  <a:pt x="2921" y="147"/>
                  <a:pt x="2922" y="146"/>
                  <a:pt x="2923" y="145"/>
                </a:cubicBezTo>
                <a:cubicBezTo>
                  <a:pt x="2923" y="146"/>
                  <a:pt x="2923" y="147"/>
                  <a:pt x="2922" y="149"/>
                </a:cubicBezTo>
                <a:cubicBezTo>
                  <a:pt x="2921" y="150"/>
                  <a:pt x="2920" y="151"/>
                  <a:pt x="2920" y="153"/>
                </a:cubicBezTo>
                <a:cubicBezTo>
                  <a:pt x="2919" y="153"/>
                  <a:pt x="2920" y="155"/>
                  <a:pt x="2920" y="155"/>
                </a:cubicBezTo>
                <a:cubicBezTo>
                  <a:pt x="2923" y="159"/>
                  <a:pt x="2926" y="159"/>
                  <a:pt x="2930" y="157"/>
                </a:cubicBezTo>
                <a:cubicBezTo>
                  <a:pt x="2932" y="155"/>
                  <a:pt x="2935" y="154"/>
                  <a:pt x="2938" y="153"/>
                </a:cubicBezTo>
                <a:cubicBezTo>
                  <a:pt x="2939" y="153"/>
                  <a:pt x="2940" y="152"/>
                  <a:pt x="2940" y="151"/>
                </a:cubicBezTo>
                <a:cubicBezTo>
                  <a:pt x="2940" y="147"/>
                  <a:pt x="2940" y="144"/>
                  <a:pt x="2940" y="141"/>
                </a:cubicBezTo>
                <a:cubicBezTo>
                  <a:pt x="2940" y="138"/>
                  <a:pt x="2940" y="135"/>
                  <a:pt x="2940" y="132"/>
                </a:cubicBezTo>
                <a:cubicBezTo>
                  <a:pt x="2941" y="134"/>
                  <a:pt x="2941" y="137"/>
                  <a:pt x="2942" y="140"/>
                </a:cubicBezTo>
                <a:cubicBezTo>
                  <a:pt x="2943" y="144"/>
                  <a:pt x="2943" y="149"/>
                  <a:pt x="2941" y="153"/>
                </a:cubicBezTo>
                <a:cubicBezTo>
                  <a:pt x="2941" y="154"/>
                  <a:pt x="2940" y="155"/>
                  <a:pt x="2940" y="155"/>
                </a:cubicBezTo>
                <a:cubicBezTo>
                  <a:pt x="2936" y="155"/>
                  <a:pt x="2933" y="157"/>
                  <a:pt x="2930" y="159"/>
                </a:cubicBezTo>
                <a:cubicBezTo>
                  <a:pt x="2925" y="162"/>
                  <a:pt x="2921" y="160"/>
                  <a:pt x="2918" y="156"/>
                </a:cubicBezTo>
                <a:cubicBezTo>
                  <a:pt x="2918" y="155"/>
                  <a:pt x="2918" y="154"/>
                  <a:pt x="2918" y="154"/>
                </a:cubicBezTo>
                <a:cubicBezTo>
                  <a:pt x="2919" y="151"/>
                  <a:pt x="2918" y="149"/>
                  <a:pt x="2916" y="147"/>
                </a:cubicBezTo>
                <a:cubicBezTo>
                  <a:pt x="2915" y="145"/>
                  <a:pt x="2913" y="143"/>
                  <a:pt x="2914" y="140"/>
                </a:cubicBezTo>
                <a:cubicBezTo>
                  <a:pt x="2915" y="138"/>
                  <a:pt x="2916" y="137"/>
                  <a:pt x="2917" y="135"/>
                </a:cubicBezTo>
                <a:cubicBezTo>
                  <a:pt x="2919" y="132"/>
                  <a:pt x="2921" y="130"/>
                  <a:pt x="2923" y="127"/>
                </a:cubicBezTo>
                <a:cubicBezTo>
                  <a:pt x="2923" y="127"/>
                  <a:pt x="2922" y="127"/>
                  <a:pt x="2922" y="127"/>
                </a:cubicBezTo>
                <a:cubicBezTo>
                  <a:pt x="2917" y="128"/>
                  <a:pt x="2912" y="130"/>
                  <a:pt x="2909" y="133"/>
                </a:cubicBezTo>
                <a:cubicBezTo>
                  <a:pt x="2904" y="138"/>
                  <a:pt x="2901" y="143"/>
                  <a:pt x="2901" y="149"/>
                </a:cubicBezTo>
                <a:cubicBezTo>
                  <a:pt x="2900" y="156"/>
                  <a:pt x="2903" y="162"/>
                  <a:pt x="2906" y="168"/>
                </a:cubicBezTo>
                <a:cubicBezTo>
                  <a:pt x="2907" y="169"/>
                  <a:pt x="2907" y="170"/>
                  <a:pt x="2907" y="172"/>
                </a:cubicBezTo>
                <a:cubicBezTo>
                  <a:pt x="2907" y="173"/>
                  <a:pt x="2907" y="175"/>
                  <a:pt x="2906" y="176"/>
                </a:cubicBezTo>
                <a:cubicBezTo>
                  <a:pt x="2905" y="178"/>
                  <a:pt x="2906" y="179"/>
                  <a:pt x="2907" y="179"/>
                </a:cubicBezTo>
                <a:cubicBezTo>
                  <a:pt x="2910" y="180"/>
                  <a:pt x="2913" y="180"/>
                  <a:pt x="2916" y="181"/>
                </a:cubicBezTo>
                <a:cubicBezTo>
                  <a:pt x="2916" y="181"/>
                  <a:pt x="2917" y="180"/>
                  <a:pt x="2917" y="180"/>
                </a:cubicBezTo>
                <a:cubicBezTo>
                  <a:pt x="2918" y="178"/>
                  <a:pt x="2918" y="177"/>
                  <a:pt x="2918" y="176"/>
                </a:cubicBezTo>
                <a:cubicBezTo>
                  <a:pt x="2920" y="174"/>
                  <a:pt x="2920" y="171"/>
                  <a:pt x="2920" y="168"/>
                </a:cubicBezTo>
                <a:cubicBezTo>
                  <a:pt x="2920" y="168"/>
                  <a:pt x="2920" y="167"/>
                  <a:pt x="2920" y="167"/>
                </a:cubicBezTo>
                <a:cubicBezTo>
                  <a:pt x="2920" y="166"/>
                  <a:pt x="2920" y="166"/>
                  <a:pt x="2920" y="166"/>
                </a:cubicBezTo>
                <a:cubicBezTo>
                  <a:pt x="2921" y="169"/>
                  <a:pt x="2922" y="169"/>
                  <a:pt x="2924" y="169"/>
                </a:cubicBezTo>
                <a:cubicBezTo>
                  <a:pt x="2925" y="169"/>
                  <a:pt x="2926" y="169"/>
                  <a:pt x="2927" y="169"/>
                </a:cubicBezTo>
                <a:cubicBezTo>
                  <a:pt x="2929" y="169"/>
                  <a:pt x="2932" y="170"/>
                  <a:pt x="2933" y="165"/>
                </a:cubicBezTo>
                <a:cubicBezTo>
                  <a:pt x="2933" y="168"/>
                  <a:pt x="2933" y="169"/>
                  <a:pt x="2933" y="170"/>
                </a:cubicBezTo>
                <a:cubicBezTo>
                  <a:pt x="2932" y="171"/>
                  <a:pt x="2930" y="172"/>
                  <a:pt x="2929" y="172"/>
                </a:cubicBezTo>
                <a:cubicBezTo>
                  <a:pt x="2928" y="173"/>
                  <a:pt x="2927" y="174"/>
                  <a:pt x="2928" y="175"/>
                </a:cubicBezTo>
                <a:cubicBezTo>
                  <a:pt x="2929" y="178"/>
                  <a:pt x="2930" y="180"/>
                  <a:pt x="2932" y="182"/>
                </a:cubicBezTo>
                <a:cubicBezTo>
                  <a:pt x="2934" y="183"/>
                  <a:pt x="2936" y="182"/>
                  <a:pt x="2937" y="181"/>
                </a:cubicBezTo>
                <a:cubicBezTo>
                  <a:pt x="2938" y="180"/>
                  <a:pt x="2938" y="179"/>
                  <a:pt x="2939" y="179"/>
                </a:cubicBezTo>
                <a:cubicBezTo>
                  <a:pt x="2941" y="177"/>
                  <a:pt x="2942" y="176"/>
                  <a:pt x="2944" y="175"/>
                </a:cubicBezTo>
                <a:cubicBezTo>
                  <a:pt x="2948" y="170"/>
                  <a:pt x="2950" y="164"/>
                  <a:pt x="2952" y="159"/>
                </a:cubicBezTo>
                <a:cubicBezTo>
                  <a:pt x="2952" y="158"/>
                  <a:pt x="2951" y="157"/>
                  <a:pt x="2950" y="157"/>
                </a:cubicBezTo>
                <a:cubicBezTo>
                  <a:pt x="2950" y="156"/>
                  <a:pt x="2949" y="155"/>
                  <a:pt x="2947" y="154"/>
                </a:cubicBezTo>
                <a:close/>
                <a:moveTo>
                  <a:pt x="2900" y="161"/>
                </a:moveTo>
                <a:cubicBezTo>
                  <a:pt x="2899" y="161"/>
                  <a:pt x="2898" y="162"/>
                  <a:pt x="2897" y="163"/>
                </a:cubicBezTo>
                <a:cubicBezTo>
                  <a:pt x="2896" y="164"/>
                  <a:pt x="2896" y="164"/>
                  <a:pt x="2896" y="165"/>
                </a:cubicBezTo>
                <a:cubicBezTo>
                  <a:pt x="2896" y="168"/>
                  <a:pt x="2900" y="172"/>
                  <a:pt x="2903" y="172"/>
                </a:cubicBezTo>
                <a:cubicBezTo>
                  <a:pt x="2905" y="172"/>
                  <a:pt x="2906" y="171"/>
                  <a:pt x="2905" y="169"/>
                </a:cubicBezTo>
                <a:cubicBezTo>
                  <a:pt x="2903" y="166"/>
                  <a:pt x="2902" y="163"/>
                  <a:pt x="2900" y="161"/>
                </a:cubicBezTo>
                <a:close/>
                <a:moveTo>
                  <a:pt x="2953" y="163"/>
                </a:moveTo>
                <a:cubicBezTo>
                  <a:pt x="2950" y="167"/>
                  <a:pt x="2948" y="172"/>
                  <a:pt x="2946" y="176"/>
                </a:cubicBezTo>
                <a:cubicBezTo>
                  <a:pt x="2949" y="176"/>
                  <a:pt x="2951" y="176"/>
                  <a:pt x="2954" y="176"/>
                </a:cubicBezTo>
                <a:cubicBezTo>
                  <a:pt x="2954" y="176"/>
                  <a:pt x="2954" y="175"/>
                  <a:pt x="2954" y="174"/>
                </a:cubicBezTo>
                <a:cubicBezTo>
                  <a:pt x="2954" y="172"/>
                  <a:pt x="2954" y="169"/>
                  <a:pt x="2954" y="167"/>
                </a:cubicBezTo>
                <a:cubicBezTo>
                  <a:pt x="2954" y="165"/>
                  <a:pt x="2953" y="164"/>
                  <a:pt x="2953" y="163"/>
                </a:cubicBezTo>
                <a:close/>
                <a:moveTo>
                  <a:pt x="2900" y="142"/>
                </a:moveTo>
                <a:cubicBezTo>
                  <a:pt x="2899" y="143"/>
                  <a:pt x="2899" y="143"/>
                  <a:pt x="2898" y="143"/>
                </a:cubicBezTo>
                <a:cubicBezTo>
                  <a:pt x="2898" y="143"/>
                  <a:pt x="2897" y="143"/>
                  <a:pt x="2897" y="143"/>
                </a:cubicBezTo>
                <a:cubicBezTo>
                  <a:pt x="2896" y="142"/>
                  <a:pt x="2896" y="142"/>
                  <a:pt x="2896" y="141"/>
                </a:cubicBezTo>
                <a:cubicBezTo>
                  <a:pt x="2897" y="139"/>
                  <a:pt x="2897" y="137"/>
                  <a:pt x="2898" y="135"/>
                </a:cubicBezTo>
                <a:cubicBezTo>
                  <a:pt x="2898" y="135"/>
                  <a:pt x="2898" y="135"/>
                  <a:pt x="2897" y="135"/>
                </a:cubicBezTo>
                <a:cubicBezTo>
                  <a:pt x="2896" y="136"/>
                  <a:pt x="2895" y="136"/>
                  <a:pt x="2894" y="138"/>
                </a:cubicBezTo>
                <a:cubicBezTo>
                  <a:pt x="2894" y="139"/>
                  <a:pt x="2895" y="144"/>
                  <a:pt x="2897" y="145"/>
                </a:cubicBezTo>
                <a:cubicBezTo>
                  <a:pt x="2898" y="145"/>
                  <a:pt x="2900" y="144"/>
                  <a:pt x="2900" y="142"/>
                </a:cubicBezTo>
                <a:close/>
                <a:moveTo>
                  <a:pt x="2900" y="161"/>
                </a:moveTo>
                <a:cubicBezTo>
                  <a:pt x="2900" y="161"/>
                  <a:pt x="2898" y="162"/>
                  <a:pt x="2897" y="163"/>
                </a:cubicBezTo>
                <a:cubicBezTo>
                  <a:pt x="2897" y="164"/>
                  <a:pt x="2896" y="165"/>
                  <a:pt x="2896" y="165"/>
                </a:cubicBezTo>
                <a:cubicBezTo>
                  <a:pt x="2896" y="168"/>
                  <a:pt x="2900" y="173"/>
                  <a:pt x="2903" y="172"/>
                </a:cubicBezTo>
                <a:cubicBezTo>
                  <a:pt x="2905" y="172"/>
                  <a:pt x="2906" y="171"/>
                  <a:pt x="2905" y="169"/>
                </a:cubicBezTo>
                <a:cubicBezTo>
                  <a:pt x="2903" y="166"/>
                  <a:pt x="2902" y="163"/>
                  <a:pt x="2900" y="161"/>
                </a:cubicBezTo>
                <a:close/>
                <a:moveTo>
                  <a:pt x="2953" y="163"/>
                </a:moveTo>
                <a:cubicBezTo>
                  <a:pt x="2951" y="167"/>
                  <a:pt x="2948" y="172"/>
                  <a:pt x="2946" y="176"/>
                </a:cubicBezTo>
                <a:cubicBezTo>
                  <a:pt x="2949" y="176"/>
                  <a:pt x="2951" y="177"/>
                  <a:pt x="2954" y="176"/>
                </a:cubicBezTo>
                <a:cubicBezTo>
                  <a:pt x="2954" y="176"/>
                  <a:pt x="2955" y="175"/>
                  <a:pt x="2955" y="175"/>
                </a:cubicBezTo>
                <a:cubicBezTo>
                  <a:pt x="2955" y="172"/>
                  <a:pt x="2955" y="169"/>
                  <a:pt x="2954" y="167"/>
                </a:cubicBezTo>
                <a:cubicBezTo>
                  <a:pt x="2954" y="165"/>
                  <a:pt x="2954" y="164"/>
                  <a:pt x="2953" y="163"/>
                </a:cubicBezTo>
                <a:close/>
                <a:moveTo>
                  <a:pt x="2900" y="143"/>
                </a:moveTo>
                <a:cubicBezTo>
                  <a:pt x="2900" y="143"/>
                  <a:pt x="2899" y="143"/>
                  <a:pt x="2899" y="143"/>
                </a:cubicBezTo>
                <a:cubicBezTo>
                  <a:pt x="2898" y="143"/>
                  <a:pt x="2897" y="143"/>
                  <a:pt x="2897" y="143"/>
                </a:cubicBezTo>
                <a:cubicBezTo>
                  <a:pt x="2897" y="143"/>
                  <a:pt x="2896" y="142"/>
                  <a:pt x="2896" y="141"/>
                </a:cubicBezTo>
                <a:cubicBezTo>
                  <a:pt x="2897" y="139"/>
                  <a:pt x="2897" y="137"/>
                  <a:pt x="2898" y="135"/>
                </a:cubicBezTo>
                <a:cubicBezTo>
                  <a:pt x="2898" y="135"/>
                  <a:pt x="2898" y="135"/>
                  <a:pt x="2897" y="135"/>
                </a:cubicBezTo>
                <a:cubicBezTo>
                  <a:pt x="2897" y="136"/>
                  <a:pt x="2895" y="136"/>
                  <a:pt x="2895" y="138"/>
                </a:cubicBezTo>
                <a:cubicBezTo>
                  <a:pt x="2894" y="139"/>
                  <a:pt x="2895" y="144"/>
                  <a:pt x="2897" y="145"/>
                </a:cubicBezTo>
                <a:cubicBezTo>
                  <a:pt x="2899" y="146"/>
                  <a:pt x="2900" y="145"/>
                  <a:pt x="2900" y="143"/>
                </a:cubicBezTo>
                <a:close/>
                <a:moveTo>
                  <a:pt x="2952" y="134"/>
                </a:moveTo>
                <a:cubicBezTo>
                  <a:pt x="2956" y="131"/>
                  <a:pt x="2956" y="131"/>
                  <a:pt x="2960" y="129"/>
                </a:cubicBezTo>
                <a:cubicBezTo>
                  <a:pt x="2960" y="131"/>
                  <a:pt x="2961" y="133"/>
                  <a:pt x="2962" y="133"/>
                </a:cubicBezTo>
                <a:cubicBezTo>
                  <a:pt x="2960" y="134"/>
                  <a:pt x="2958" y="135"/>
                  <a:pt x="2956" y="137"/>
                </a:cubicBezTo>
                <a:cubicBezTo>
                  <a:pt x="2955" y="136"/>
                  <a:pt x="2955" y="135"/>
                  <a:pt x="2954" y="134"/>
                </a:cubicBezTo>
                <a:cubicBezTo>
                  <a:pt x="2954" y="134"/>
                  <a:pt x="2953" y="134"/>
                  <a:pt x="2952" y="134"/>
                </a:cubicBezTo>
                <a:close/>
                <a:moveTo>
                  <a:pt x="2958" y="134"/>
                </a:moveTo>
                <a:cubicBezTo>
                  <a:pt x="2958" y="133"/>
                  <a:pt x="2957" y="133"/>
                  <a:pt x="2956" y="133"/>
                </a:cubicBezTo>
                <a:cubicBezTo>
                  <a:pt x="2956" y="133"/>
                  <a:pt x="2955" y="134"/>
                  <a:pt x="2955" y="134"/>
                </a:cubicBezTo>
                <a:cubicBezTo>
                  <a:pt x="2955" y="135"/>
                  <a:pt x="2956" y="135"/>
                  <a:pt x="2956" y="135"/>
                </a:cubicBezTo>
                <a:cubicBezTo>
                  <a:pt x="2957" y="135"/>
                  <a:pt x="2957" y="135"/>
                  <a:pt x="2958" y="134"/>
                </a:cubicBezTo>
                <a:close/>
                <a:moveTo>
                  <a:pt x="2939" y="124"/>
                </a:moveTo>
                <a:cubicBezTo>
                  <a:pt x="2933" y="123"/>
                  <a:pt x="2930" y="126"/>
                  <a:pt x="2929" y="134"/>
                </a:cubicBezTo>
                <a:cubicBezTo>
                  <a:pt x="2930" y="132"/>
                  <a:pt x="2931" y="129"/>
                  <a:pt x="2932" y="127"/>
                </a:cubicBezTo>
                <a:cubicBezTo>
                  <a:pt x="2933" y="127"/>
                  <a:pt x="2933" y="127"/>
                  <a:pt x="2933" y="127"/>
                </a:cubicBezTo>
                <a:cubicBezTo>
                  <a:pt x="2933" y="128"/>
                  <a:pt x="2933" y="129"/>
                  <a:pt x="2933" y="130"/>
                </a:cubicBezTo>
                <a:cubicBezTo>
                  <a:pt x="2934" y="126"/>
                  <a:pt x="2936" y="124"/>
                  <a:pt x="2939" y="124"/>
                </a:cubicBezTo>
                <a:close/>
                <a:moveTo>
                  <a:pt x="2983" y="126"/>
                </a:moveTo>
                <a:cubicBezTo>
                  <a:pt x="2981" y="127"/>
                  <a:pt x="2979" y="128"/>
                  <a:pt x="2978" y="130"/>
                </a:cubicBezTo>
                <a:cubicBezTo>
                  <a:pt x="2980" y="130"/>
                  <a:pt x="2982" y="128"/>
                  <a:pt x="2983" y="126"/>
                </a:cubicBezTo>
                <a:close/>
                <a:moveTo>
                  <a:pt x="2950" y="128"/>
                </a:moveTo>
                <a:cubicBezTo>
                  <a:pt x="2951" y="126"/>
                  <a:pt x="2952" y="125"/>
                  <a:pt x="2953" y="124"/>
                </a:cubicBezTo>
                <a:cubicBezTo>
                  <a:pt x="2950" y="125"/>
                  <a:pt x="2949" y="126"/>
                  <a:pt x="2950" y="128"/>
                </a:cubicBezTo>
                <a:close/>
                <a:moveTo>
                  <a:pt x="2960" y="149"/>
                </a:moveTo>
                <a:cubicBezTo>
                  <a:pt x="2958" y="150"/>
                  <a:pt x="2957" y="150"/>
                  <a:pt x="2957" y="151"/>
                </a:cubicBezTo>
                <a:cubicBezTo>
                  <a:pt x="2958" y="151"/>
                  <a:pt x="2959" y="150"/>
                  <a:pt x="2960" y="149"/>
                </a:cubicBezTo>
                <a:close/>
                <a:moveTo>
                  <a:pt x="2959" y="134"/>
                </a:moveTo>
                <a:cubicBezTo>
                  <a:pt x="2958" y="133"/>
                  <a:pt x="2957" y="133"/>
                  <a:pt x="2956" y="133"/>
                </a:cubicBezTo>
                <a:cubicBezTo>
                  <a:pt x="2956" y="133"/>
                  <a:pt x="2955" y="134"/>
                  <a:pt x="2955" y="134"/>
                </a:cubicBezTo>
                <a:cubicBezTo>
                  <a:pt x="2955" y="134"/>
                  <a:pt x="2956" y="135"/>
                  <a:pt x="2956" y="135"/>
                </a:cubicBezTo>
                <a:cubicBezTo>
                  <a:pt x="2957" y="135"/>
                  <a:pt x="2957" y="134"/>
                  <a:pt x="2959" y="134"/>
                </a:cubicBezTo>
                <a:close/>
                <a:moveTo>
                  <a:pt x="3483" y="255"/>
                </a:moveTo>
                <a:cubicBezTo>
                  <a:pt x="3483" y="256"/>
                  <a:pt x="3484" y="257"/>
                  <a:pt x="3484" y="259"/>
                </a:cubicBezTo>
                <a:cubicBezTo>
                  <a:pt x="3485" y="260"/>
                  <a:pt x="3485" y="262"/>
                  <a:pt x="3485" y="264"/>
                </a:cubicBezTo>
                <a:cubicBezTo>
                  <a:pt x="3485" y="266"/>
                  <a:pt x="3486" y="267"/>
                  <a:pt x="3486" y="269"/>
                </a:cubicBezTo>
                <a:cubicBezTo>
                  <a:pt x="3487" y="272"/>
                  <a:pt x="3485" y="274"/>
                  <a:pt x="3482" y="274"/>
                </a:cubicBezTo>
                <a:cubicBezTo>
                  <a:pt x="3480" y="274"/>
                  <a:pt x="3477" y="273"/>
                  <a:pt x="3474" y="273"/>
                </a:cubicBezTo>
                <a:cubicBezTo>
                  <a:pt x="3474" y="273"/>
                  <a:pt x="3473" y="273"/>
                  <a:pt x="3473" y="274"/>
                </a:cubicBezTo>
                <a:cubicBezTo>
                  <a:pt x="3471" y="275"/>
                  <a:pt x="3469" y="276"/>
                  <a:pt x="3468" y="278"/>
                </a:cubicBezTo>
                <a:cubicBezTo>
                  <a:pt x="3466" y="280"/>
                  <a:pt x="3463" y="281"/>
                  <a:pt x="3461" y="279"/>
                </a:cubicBezTo>
                <a:cubicBezTo>
                  <a:pt x="3459" y="276"/>
                  <a:pt x="3458" y="274"/>
                  <a:pt x="3456" y="271"/>
                </a:cubicBezTo>
                <a:cubicBezTo>
                  <a:pt x="3455" y="270"/>
                  <a:pt x="3456" y="268"/>
                  <a:pt x="3458" y="266"/>
                </a:cubicBezTo>
                <a:cubicBezTo>
                  <a:pt x="3455" y="266"/>
                  <a:pt x="3454" y="266"/>
                  <a:pt x="3452" y="266"/>
                </a:cubicBezTo>
                <a:cubicBezTo>
                  <a:pt x="3451" y="268"/>
                  <a:pt x="3450" y="270"/>
                  <a:pt x="3449" y="272"/>
                </a:cubicBezTo>
                <a:cubicBezTo>
                  <a:pt x="3449" y="273"/>
                  <a:pt x="3449" y="274"/>
                  <a:pt x="3449" y="275"/>
                </a:cubicBezTo>
                <a:cubicBezTo>
                  <a:pt x="3449" y="278"/>
                  <a:pt x="3448" y="279"/>
                  <a:pt x="3445" y="279"/>
                </a:cubicBezTo>
                <a:cubicBezTo>
                  <a:pt x="3442" y="278"/>
                  <a:pt x="3439" y="278"/>
                  <a:pt x="3436" y="276"/>
                </a:cubicBezTo>
                <a:cubicBezTo>
                  <a:pt x="3434" y="276"/>
                  <a:pt x="3433" y="274"/>
                  <a:pt x="3434" y="272"/>
                </a:cubicBezTo>
                <a:cubicBezTo>
                  <a:pt x="3434" y="272"/>
                  <a:pt x="3434" y="271"/>
                  <a:pt x="3434" y="271"/>
                </a:cubicBezTo>
                <a:cubicBezTo>
                  <a:pt x="3432" y="270"/>
                  <a:pt x="3430" y="269"/>
                  <a:pt x="3428" y="267"/>
                </a:cubicBezTo>
                <a:cubicBezTo>
                  <a:pt x="3427" y="266"/>
                  <a:pt x="3425" y="264"/>
                  <a:pt x="3425" y="263"/>
                </a:cubicBezTo>
                <a:cubicBezTo>
                  <a:pt x="3424" y="261"/>
                  <a:pt x="3424" y="259"/>
                  <a:pt x="3426" y="258"/>
                </a:cubicBezTo>
                <a:cubicBezTo>
                  <a:pt x="3429" y="255"/>
                  <a:pt x="3430" y="253"/>
                  <a:pt x="3429" y="249"/>
                </a:cubicBezTo>
                <a:cubicBezTo>
                  <a:pt x="3429" y="247"/>
                  <a:pt x="3429" y="244"/>
                  <a:pt x="3429" y="243"/>
                </a:cubicBezTo>
                <a:cubicBezTo>
                  <a:pt x="3428" y="242"/>
                  <a:pt x="3426" y="241"/>
                  <a:pt x="3425" y="240"/>
                </a:cubicBezTo>
                <a:cubicBezTo>
                  <a:pt x="3424" y="239"/>
                  <a:pt x="3423" y="237"/>
                  <a:pt x="3423" y="235"/>
                </a:cubicBezTo>
                <a:cubicBezTo>
                  <a:pt x="3423" y="232"/>
                  <a:pt x="3426" y="229"/>
                  <a:pt x="3429" y="228"/>
                </a:cubicBezTo>
                <a:cubicBezTo>
                  <a:pt x="3429" y="229"/>
                  <a:pt x="3429" y="230"/>
                  <a:pt x="3430" y="231"/>
                </a:cubicBezTo>
                <a:cubicBezTo>
                  <a:pt x="3430" y="232"/>
                  <a:pt x="3430" y="233"/>
                  <a:pt x="3430" y="234"/>
                </a:cubicBezTo>
                <a:cubicBezTo>
                  <a:pt x="3429" y="234"/>
                  <a:pt x="3429" y="234"/>
                  <a:pt x="3429" y="234"/>
                </a:cubicBezTo>
                <a:cubicBezTo>
                  <a:pt x="3428" y="235"/>
                  <a:pt x="3428" y="236"/>
                  <a:pt x="3427" y="238"/>
                </a:cubicBezTo>
                <a:cubicBezTo>
                  <a:pt x="3428" y="238"/>
                  <a:pt x="3429" y="238"/>
                  <a:pt x="3429" y="237"/>
                </a:cubicBezTo>
                <a:cubicBezTo>
                  <a:pt x="3431" y="236"/>
                  <a:pt x="3431" y="235"/>
                  <a:pt x="3432" y="234"/>
                </a:cubicBezTo>
                <a:cubicBezTo>
                  <a:pt x="3436" y="227"/>
                  <a:pt x="3442" y="223"/>
                  <a:pt x="3450" y="222"/>
                </a:cubicBezTo>
                <a:cubicBezTo>
                  <a:pt x="3453" y="221"/>
                  <a:pt x="3456" y="220"/>
                  <a:pt x="3459" y="217"/>
                </a:cubicBezTo>
                <a:cubicBezTo>
                  <a:pt x="3459" y="217"/>
                  <a:pt x="3460" y="217"/>
                  <a:pt x="3460" y="217"/>
                </a:cubicBezTo>
                <a:cubicBezTo>
                  <a:pt x="3463" y="216"/>
                  <a:pt x="3464" y="214"/>
                  <a:pt x="3466" y="212"/>
                </a:cubicBezTo>
                <a:cubicBezTo>
                  <a:pt x="3474" y="204"/>
                  <a:pt x="3485" y="204"/>
                  <a:pt x="3493" y="211"/>
                </a:cubicBezTo>
                <a:cubicBezTo>
                  <a:pt x="3496" y="213"/>
                  <a:pt x="3498" y="215"/>
                  <a:pt x="3501" y="217"/>
                </a:cubicBezTo>
                <a:cubicBezTo>
                  <a:pt x="3502" y="218"/>
                  <a:pt x="3504" y="219"/>
                  <a:pt x="3505" y="221"/>
                </a:cubicBezTo>
                <a:cubicBezTo>
                  <a:pt x="3505" y="223"/>
                  <a:pt x="3506" y="223"/>
                  <a:pt x="3507" y="222"/>
                </a:cubicBezTo>
                <a:cubicBezTo>
                  <a:pt x="3508" y="221"/>
                  <a:pt x="3509" y="221"/>
                  <a:pt x="3510" y="220"/>
                </a:cubicBezTo>
                <a:cubicBezTo>
                  <a:pt x="3512" y="217"/>
                  <a:pt x="3515" y="217"/>
                  <a:pt x="3516" y="220"/>
                </a:cubicBezTo>
                <a:cubicBezTo>
                  <a:pt x="3517" y="223"/>
                  <a:pt x="3518" y="226"/>
                  <a:pt x="3518" y="229"/>
                </a:cubicBezTo>
                <a:cubicBezTo>
                  <a:pt x="3519" y="234"/>
                  <a:pt x="3519" y="238"/>
                  <a:pt x="3517" y="242"/>
                </a:cubicBezTo>
                <a:cubicBezTo>
                  <a:pt x="3515" y="249"/>
                  <a:pt x="3510" y="252"/>
                  <a:pt x="3504" y="252"/>
                </a:cubicBezTo>
                <a:cubicBezTo>
                  <a:pt x="3503" y="252"/>
                  <a:pt x="3502" y="252"/>
                  <a:pt x="3502" y="252"/>
                </a:cubicBezTo>
                <a:cubicBezTo>
                  <a:pt x="3499" y="252"/>
                  <a:pt x="3498" y="252"/>
                  <a:pt x="3497" y="255"/>
                </a:cubicBezTo>
                <a:cubicBezTo>
                  <a:pt x="3496" y="259"/>
                  <a:pt x="3490" y="260"/>
                  <a:pt x="3487" y="257"/>
                </a:cubicBezTo>
                <a:cubicBezTo>
                  <a:pt x="3485" y="256"/>
                  <a:pt x="3485" y="255"/>
                  <a:pt x="3484" y="254"/>
                </a:cubicBezTo>
                <a:cubicBezTo>
                  <a:pt x="3483" y="255"/>
                  <a:pt x="3483" y="255"/>
                  <a:pt x="3483" y="255"/>
                </a:cubicBezTo>
                <a:close/>
                <a:moveTo>
                  <a:pt x="3477" y="250"/>
                </a:moveTo>
                <a:cubicBezTo>
                  <a:pt x="3481" y="252"/>
                  <a:pt x="3484" y="253"/>
                  <a:pt x="3487" y="256"/>
                </a:cubicBezTo>
                <a:cubicBezTo>
                  <a:pt x="3489" y="257"/>
                  <a:pt x="3491" y="258"/>
                  <a:pt x="3493" y="257"/>
                </a:cubicBezTo>
                <a:cubicBezTo>
                  <a:pt x="3495" y="257"/>
                  <a:pt x="3497" y="255"/>
                  <a:pt x="3497" y="251"/>
                </a:cubicBezTo>
                <a:cubicBezTo>
                  <a:pt x="3496" y="252"/>
                  <a:pt x="3496" y="252"/>
                  <a:pt x="3496" y="252"/>
                </a:cubicBezTo>
                <a:cubicBezTo>
                  <a:pt x="3495" y="254"/>
                  <a:pt x="3494" y="255"/>
                  <a:pt x="3493" y="256"/>
                </a:cubicBezTo>
                <a:cubicBezTo>
                  <a:pt x="3492" y="257"/>
                  <a:pt x="3491" y="257"/>
                  <a:pt x="3490" y="256"/>
                </a:cubicBezTo>
                <a:cubicBezTo>
                  <a:pt x="3489" y="256"/>
                  <a:pt x="3489" y="255"/>
                  <a:pt x="3489" y="254"/>
                </a:cubicBezTo>
                <a:cubicBezTo>
                  <a:pt x="3489" y="252"/>
                  <a:pt x="3489" y="250"/>
                  <a:pt x="3490" y="248"/>
                </a:cubicBezTo>
                <a:cubicBezTo>
                  <a:pt x="3493" y="249"/>
                  <a:pt x="3496" y="250"/>
                  <a:pt x="3500" y="250"/>
                </a:cubicBezTo>
                <a:cubicBezTo>
                  <a:pt x="3507" y="251"/>
                  <a:pt x="3513" y="250"/>
                  <a:pt x="3516" y="241"/>
                </a:cubicBezTo>
                <a:cubicBezTo>
                  <a:pt x="3518" y="236"/>
                  <a:pt x="3517" y="232"/>
                  <a:pt x="3516" y="226"/>
                </a:cubicBezTo>
                <a:cubicBezTo>
                  <a:pt x="3516" y="224"/>
                  <a:pt x="3515" y="223"/>
                  <a:pt x="3515" y="221"/>
                </a:cubicBezTo>
                <a:cubicBezTo>
                  <a:pt x="3514" y="219"/>
                  <a:pt x="3513" y="219"/>
                  <a:pt x="3511" y="221"/>
                </a:cubicBezTo>
                <a:cubicBezTo>
                  <a:pt x="3510" y="222"/>
                  <a:pt x="3508" y="224"/>
                  <a:pt x="3506" y="224"/>
                </a:cubicBezTo>
                <a:cubicBezTo>
                  <a:pt x="3505" y="225"/>
                  <a:pt x="3505" y="226"/>
                  <a:pt x="3505" y="227"/>
                </a:cubicBezTo>
                <a:cubicBezTo>
                  <a:pt x="3506" y="230"/>
                  <a:pt x="3505" y="233"/>
                  <a:pt x="3504" y="236"/>
                </a:cubicBezTo>
                <a:cubicBezTo>
                  <a:pt x="3504" y="234"/>
                  <a:pt x="3504" y="232"/>
                  <a:pt x="3504" y="231"/>
                </a:cubicBezTo>
                <a:cubicBezTo>
                  <a:pt x="3504" y="230"/>
                  <a:pt x="3504" y="230"/>
                  <a:pt x="3504" y="229"/>
                </a:cubicBezTo>
                <a:cubicBezTo>
                  <a:pt x="3503" y="230"/>
                  <a:pt x="3502" y="230"/>
                  <a:pt x="3502" y="230"/>
                </a:cubicBezTo>
                <a:cubicBezTo>
                  <a:pt x="3502" y="231"/>
                  <a:pt x="3501" y="233"/>
                  <a:pt x="3500" y="234"/>
                </a:cubicBezTo>
                <a:cubicBezTo>
                  <a:pt x="3500" y="234"/>
                  <a:pt x="3500" y="234"/>
                  <a:pt x="3500" y="234"/>
                </a:cubicBezTo>
                <a:cubicBezTo>
                  <a:pt x="3500" y="232"/>
                  <a:pt x="3500" y="231"/>
                  <a:pt x="3501" y="228"/>
                </a:cubicBezTo>
                <a:cubicBezTo>
                  <a:pt x="3500" y="229"/>
                  <a:pt x="3499" y="230"/>
                  <a:pt x="3498" y="230"/>
                </a:cubicBezTo>
                <a:cubicBezTo>
                  <a:pt x="3498" y="231"/>
                  <a:pt x="3498" y="232"/>
                  <a:pt x="3497" y="232"/>
                </a:cubicBezTo>
                <a:cubicBezTo>
                  <a:pt x="3498" y="229"/>
                  <a:pt x="3498" y="229"/>
                  <a:pt x="3504" y="228"/>
                </a:cubicBezTo>
                <a:cubicBezTo>
                  <a:pt x="3504" y="227"/>
                  <a:pt x="3503" y="226"/>
                  <a:pt x="3503" y="226"/>
                </a:cubicBezTo>
                <a:cubicBezTo>
                  <a:pt x="3500" y="227"/>
                  <a:pt x="3499" y="226"/>
                  <a:pt x="3499" y="223"/>
                </a:cubicBezTo>
                <a:cubicBezTo>
                  <a:pt x="3500" y="223"/>
                  <a:pt x="3502" y="222"/>
                  <a:pt x="3504" y="222"/>
                </a:cubicBezTo>
                <a:cubicBezTo>
                  <a:pt x="3502" y="220"/>
                  <a:pt x="3500" y="217"/>
                  <a:pt x="3497" y="217"/>
                </a:cubicBezTo>
                <a:cubicBezTo>
                  <a:pt x="3497" y="217"/>
                  <a:pt x="3496" y="216"/>
                  <a:pt x="3496" y="216"/>
                </a:cubicBezTo>
                <a:cubicBezTo>
                  <a:pt x="3494" y="214"/>
                  <a:pt x="3492" y="211"/>
                  <a:pt x="3489" y="209"/>
                </a:cubicBezTo>
                <a:cubicBezTo>
                  <a:pt x="3487" y="208"/>
                  <a:pt x="3484" y="207"/>
                  <a:pt x="3482" y="207"/>
                </a:cubicBezTo>
                <a:cubicBezTo>
                  <a:pt x="3478" y="208"/>
                  <a:pt x="3475" y="209"/>
                  <a:pt x="3472" y="210"/>
                </a:cubicBezTo>
                <a:cubicBezTo>
                  <a:pt x="3469" y="211"/>
                  <a:pt x="3467" y="213"/>
                  <a:pt x="3465" y="216"/>
                </a:cubicBezTo>
                <a:cubicBezTo>
                  <a:pt x="3467" y="216"/>
                  <a:pt x="3468" y="216"/>
                  <a:pt x="3469" y="216"/>
                </a:cubicBezTo>
                <a:cubicBezTo>
                  <a:pt x="3469" y="216"/>
                  <a:pt x="3468" y="217"/>
                  <a:pt x="3467" y="217"/>
                </a:cubicBezTo>
                <a:cubicBezTo>
                  <a:pt x="3465" y="217"/>
                  <a:pt x="3462" y="217"/>
                  <a:pt x="3460" y="219"/>
                </a:cubicBezTo>
                <a:cubicBezTo>
                  <a:pt x="3456" y="223"/>
                  <a:pt x="3453" y="226"/>
                  <a:pt x="3449" y="231"/>
                </a:cubicBezTo>
                <a:cubicBezTo>
                  <a:pt x="3447" y="233"/>
                  <a:pt x="3447" y="235"/>
                  <a:pt x="3445" y="238"/>
                </a:cubicBezTo>
                <a:cubicBezTo>
                  <a:pt x="3445" y="238"/>
                  <a:pt x="3445" y="239"/>
                  <a:pt x="3446" y="239"/>
                </a:cubicBezTo>
                <a:cubicBezTo>
                  <a:pt x="3447" y="241"/>
                  <a:pt x="3448" y="243"/>
                  <a:pt x="3450" y="245"/>
                </a:cubicBezTo>
                <a:cubicBezTo>
                  <a:pt x="3451" y="243"/>
                  <a:pt x="3452" y="242"/>
                  <a:pt x="3453" y="241"/>
                </a:cubicBezTo>
                <a:cubicBezTo>
                  <a:pt x="3453" y="242"/>
                  <a:pt x="3453" y="243"/>
                  <a:pt x="3452" y="245"/>
                </a:cubicBezTo>
                <a:cubicBezTo>
                  <a:pt x="3451" y="246"/>
                  <a:pt x="3450" y="247"/>
                  <a:pt x="3450" y="249"/>
                </a:cubicBezTo>
                <a:cubicBezTo>
                  <a:pt x="3449" y="249"/>
                  <a:pt x="3450" y="251"/>
                  <a:pt x="3450" y="251"/>
                </a:cubicBezTo>
                <a:cubicBezTo>
                  <a:pt x="3453" y="255"/>
                  <a:pt x="3456" y="255"/>
                  <a:pt x="3460" y="253"/>
                </a:cubicBezTo>
                <a:cubicBezTo>
                  <a:pt x="3462" y="251"/>
                  <a:pt x="3465" y="250"/>
                  <a:pt x="3467" y="249"/>
                </a:cubicBezTo>
                <a:cubicBezTo>
                  <a:pt x="3469" y="249"/>
                  <a:pt x="3470" y="248"/>
                  <a:pt x="3470" y="247"/>
                </a:cubicBezTo>
                <a:cubicBezTo>
                  <a:pt x="3470" y="243"/>
                  <a:pt x="3470" y="240"/>
                  <a:pt x="3470" y="237"/>
                </a:cubicBezTo>
                <a:cubicBezTo>
                  <a:pt x="3470" y="234"/>
                  <a:pt x="3470" y="231"/>
                  <a:pt x="3470" y="228"/>
                </a:cubicBezTo>
                <a:cubicBezTo>
                  <a:pt x="3471" y="230"/>
                  <a:pt x="3471" y="233"/>
                  <a:pt x="3472" y="236"/>
                </a:cubicBezTo>
                <a:cubicBezTo>
                  <a:pt x="3473" y="240"/>
                  <a:pt x="3473" y="245"/>
                  <a:pt x="3471" y="249"/>
                </a:cubicBezTo>
                <a:cubicBezTo>
                  <a:pt x="3471" y="250"/>
                  <a:pt x="3470" y="251"/>
                  <a:pt x="3470" y="251"/>
                </a:cubicBezTo>
                <a:cubicBezTo>
                  <a:pt x="3466" y="251"/>
                  <a:pt x="3463" y="253"/>
                  <a:pt x="3460" y="255"/>
                </a:cubicBezTo>
                <a:cubicBezTo>
                  <a:pt x="3455" y="258"/>
                  <a:pt x="3451" y="256"/>
                  <a:pt x="3448" y="252"/>
                </a:cubicBezTo>
                <a:cubicBezTo>
                  <a:pt x="3447" y="251"/>
                  <a:pt x="3447" y="250"/>
                  <a:pt x="3448" y="250"/>
                </a:cubicBezTo>
                <a:cubicBezTo>
                  <a:pt x="3449" y="247"/>
                  <a:pt x="3448" y="245"/>
                  <a:pt x="3446" y="243"/>
                </a:cubicBezTo>
                <a:cubicBezTo>
                  <a:pt x="3445" y="241"/>
                  <a:pt x="3443" y="239"/>
                  <a:pt x="3444" y="236"/>
                </a:cubicBezTo>
                <a:cubicBezTo>
                  <a:pt x="3445" y="234"/>
                  <a:pt x="3446" y="233"/>
                  <a:pt x="3447" y="231"/>
                </a:cubicBezTo>
                <a:cubicBezTo>
                  <a:pt x="3449" y="228"/>
                  <a:pt x="3451" y="226"/>
                  <a:pt x="3453" y="223"/>
                </a:cubicBezTo>
                <a:cubicBezTo>
                  <a:pt x="3453" y="223"/>
                  <a:pt x="3452" y="223"/>
                  <a:pt x="3452" y="223"/>
                </a:cubicBezTo>
                <a:cubicBezTo>
                  <a:pt x="3447" y="224"/>
                  <a:pt x="3442" y="226"/>
                  <a:pt x="3438" y="229"/>
                </a:cubicBezTo>
                <a:cubicBezTo>
                  <a:pt x="3434" y="234"/>
                  <a:pt x="3431" y="239"/>
                  <a:pt x="3431" y="245"/>
                </a:cubicBezTo>
                <a:cubicBezTo>
                  <a:pt x="3430" y="252"/>
                  <a:pt x="3433" y="258"/>
                  <a:pt x="3436" y="264"/>
                </a:cubicBezTo>
                <a:cubicBezTo>
                  <a:pt x="3436" y="265"/>
                  <a:pt x="3437" y="266"/>
                  <a:pt x="3437" y="268"/>
                </a:cubicBezTo>
                <a:cubicBezTo>
                  <a:pt x="3437" y="269"/>
                  <a:pt x="3436" y="271"/>
                  <a:pt x="3436" y="272"/>
                </a:cubicBezTo>
                <a:cubicBezTo>
                  <a:pt x="3435" y="274"/>
                  <a:pt x="3436" y="275"/>
                  <a:pt x="3437" y="275"/>
                </a:cubicBezTo>
                <a:cubicBezTo>
                  <a:pt x="3440" y="276"/>
                  <a:pt x="3443" y="276"/>
                  <a:pt x="3445" y="277"/>
                </a:cubicBezTo>
                <a:cubicBezTo>
                  <a:pt x="3446" y="277"/>
                  <a:pt x="3447" y="276"/>
                  <a:pt x="3447" y="276"/>
                </a:cubicBezTo>
                <a:cubicBezTo>
                  <a:pt x="3447" y="274"/>
                  <a:pt x="3447" y="273"/>
                  <a:pt x="3448" y="272"/>
                </a:cubicBezTo>
                <a:cubicBezTo>
                  <a:pt x="3450" y="270"/>
                  <a:pt x="3450" y="267"/>
                  <a:pt x="3450" y="264"/>
                </a:cubicBezTo>
                <a:cubicBezTo>
                  <a:pt x="3450" y="264"/>
                  <a:pt x="3450" y="263"/>
                  <a:pt x="3450" y="263"/>
                </a:cubicBezTo>
                <a:cubicBezTo>
                  <a:pt x="3450" y="262"/>
                  <a:pt x="3450" y="262"/>
                  <a:pt x="3450" y="262"/>
                </a:cubicBezTo>
                <a:cubicBezTo>
                  <a:pt x="3451" y="265"/>
                  <a:pt x="3452" y="265"/>
                  <a:pt x="3454" y="265"/>
                </a:cubicBezTo>
                <a:cubicBezTo>
                  <a:pt x="3455" y="265"/>
                  <a:pt x="3456" y="265"/>
                  <a:pt x="3457" y="265"/>
                </a:cubicBezTo>
                <a:cubicBezTo>
                  <a:pt x="3459" y="265"/>
                  <a:pt x="3462" y="266"/>
                  <a:pt x="3463" y="261"/>
                </a:cubicBezTo>
                <a:cubicBezTo>
                  <a:pt x="3463" y="264"/>
                  <a:pt x="3463" y="265"/>
                  <a:pt x="3463" y="266"/>
                </a:cubicBezTo>
                <a:cubicBezTo>
                  <a:pt x="3462" y="267"/>
                  <a:pt x="3460" y="268"/>
                  <a:pt x="3459" y="268"/>
                </a:cubicBezTo>
                <a:cubicBezTo>
                  <a:pt x="3458" y="269"/>
                  <a:pt x="3457" y="270"/>
                  <a:pt x="3458" y="271"/>
                </a:cubicBezTo>
                <a:cubicBezTo>
                  <a:pt x="3459" y="274"/>
                  <a:pt x="3460" y="276"/>
                  <a:pt x="3462" y="278"/>
                </a:cubicBezTo>
                <a:cubicBezTo>
                  <a:pt x="3464" y="279"/>
                  <a:pt x="3465" y="278"/>
                  <a:pt x="3467" y="277"/>
                </a:cubicBezTo>
                <a:cubicBezTo>
                  <a:pt x="3467" y="276"/>
                  <a:pt x="3468" y="275"/>
                  <a:pt x="3469" y="275"/>
                </a:cubicBezTo>
                <a:cubicBezTo>
                  <a:pt x="3471" y="273"/>
                  <a:pt x="3472" y="272"/>
                  <a:pt x="3474" y="271"/>
                </a:cubicBezTo>
                <a:cubicBezTo>
                  <a:pt x="3478" y="266"/>
                  <a:pt x="3480" y="260"/>
                  <a:pt x="3482" y="255"/>
                </a:cubicBezTo>
                <a:cubicBezTo>
                  <a:pt x="3482" y="254"/>
                  <a:pt x="3481" y="253"/>
                  <a:pt x="3480" y="253"/>
                </a:cubicBezTo>
                <a:cubicBezTo>
                  <a:pt x="3480" y="252"/>
                  <a:pt x="3478" y="251"/>
                  <a:pt x="3477" y="250"/>
                </a:cubicBezTo>
                <a:close/>
                <a:moveTo>
                  <a:pt x="3430" y="257"/>
                </a:moveTo>
                <a:cubicBezTo>
                  <a:pt x="3429" y="257"/>
                  <a:pt x="3428" y="258"/>
                  <a:pt x="3427" y="259"/>
                </a:cubicBezTo>
                <a:cubicBezTo>
                  <a:pt x="3426" y="260"/>
                  <a:pt x="3426" y="260"/>
                  <a:pt x="3426" y="261"/>
                </a:cubicBezTo>
                <a:cubicBezTo>
                  <a:pt x="3426" y="264"/>
                  <a:pt x="3430" y="268"/>
                  <a:pt x="3433" y="268"/>
                </a:cubicBezTo>
                <a:cubicBezTo>
                  <a:pt x="3435" y="268"/>
                  <a:pt x="3436" y="267"/>
                  <a:pt x="3435" y="265"/>
                </a:cubicBezTo>
                <a:cubicBezTo>
                  <a:pt x="3433" y="262"/>
                  <a:pt x="3432" y="259"/>
                  <a:pt x="3430" y="257"/>
                </a:cubicBezTo>
                <a:close/>
                <a:moveTo>
                  <a:pt x="3483" y="259"/>
                </a:moveTo>
                <a:cubicBezTo>
                  <a:pt x="3480" y="263"/>
                  <a:pt x="3478" y="268"/>
                  <a:pt x="3476" y="272"/>
                </a:cubicBezTo>
                <a:cubicBezTo>
                  <a:pt x="3478" y="272"/>
                  <a:pt x="3481" y="272"/>
                  <a:pt x="3484" y="272"/>
                </a:cubicBezTo>
                <a:cubicBezTo>
                  <a:pt x="3484" y="272"/>
                  <a:pt x="3484" y="271"/>
                  <a:pt x="3484" y="270"/>
                </a:cubicBezTo>
                <a:cubicBezTo>
                  <a:pt x="3484" y="268"/>
                  <a:pt x="3484" y="265"/>
                  <a:pt x="3484" y="263"/>
                </a:cubicBezTo>
                <a:cubicBezTo>
                  <a:pt x="3484" y="261"/>
                  <a:pt x="3483" y="260"/>
                  <a:pt x="3483" y="259"/>
                </a:cubicBezTo>
                <a:close/>
                <a:moveTo>
                  <a:pt x="3430" y="238"/>
                </a:moveTo>
                <a:cubicBezTo>
                  <a:pt x="3429" y="239"/>
                  <a:pt x="3429" y="239"/>
                  <a:pt x="3428" y="239"/>
                </a:cubicBezTo>
                <a:cubicBezTo>
                  <a:pt x="3427" y="239"/>
                  <a:pt x="3427" y="239"/>
                  <a:pt x="3427" y="239"/>
                </a:cubicBezTo>
                <a:cubicBezTo>
                  <a:pt x="3426" y="238"/>
                  <a:pt x="3426" y="238"/>
                  <a:pt x="3426" y="237"/>
                </a:cubicBezTo>
                <a:cubicBezTo>
                  <a:pt x="3427" y="235"/>
                  <a:pt x="3427" y="233"/>
                  <a:pt x="3428" y="231"/>
                </a:cubicBezTo>
                <a:cubicBezTo>
                  <a:pt x="3427" y="231"/>
                  <a:pt x="3427" y="231"/>
                  <a:pt x="3427" y="231"/>
                </a:cubicBezTo>
                <a:cubicBezTo>
                  <a:pt x="3426" y="232"/>
                  <a:pt x="3425" y="232"/>
                  <a:pt x="3424" y="234"/>
                </a:cubicBezTo>
                <a:cubicBezTo>
                  <a:pt x="3424" y="235"/>
                  <a:pt x="3425" y="240"/>
                  <a:pt x="3427" y="241"/>
                </a:cubicBezTo>
                <a:cubicBezTo>
                  <a:pt x="3428" y="241"/>
                  <a:pt x="3430" y="240"/>
                  <a:pt x="3430" y="238"/>
                </a:cubicBezTo>
                <a:close/>
                <a:moveTo>
                  <a:pt x="3430" y="257"/>
                </a:moveTo>
                <a:cubicBezTo>
                  <a:pt x="3430" y="257"/>
                  <a:pt x="3428" y="258"/>
                  <a:pt x="3427" y="259"/>
                </a:cubicBezTo>
                <a:cubicBezTo>
                  <a:pt x="3426" y="260"/>
                  <a:pt x="3426" y="261"/>
                  <a:pt x="3426" y="261"/>
                </a:cubicBezTo>
                <a:cubicBezTo>
                  <a:pt x="3426" y="264"/>
                  <a:pt x="3430" y="268"/>
                  <a:pt x="3433" y="268"/>
                </a:cubicBezTo>
                <a:cubicBezTo>
                  <a:pt x="3435" y="268"/>
                  <a:pt x="3436" y="267"/>
                  <a:pt x="3435" y="265"/>
                </a:cubicBezTo>
                <a:cubicBezTo>
                  <a:pt x="3433" y="262"/>
                  <a:pt x="3432" y="259"/>
                  <a:pt x="3430" y="257"/>
                </a:cubicBezTo>
                <a:close/>
                <a:moveTo>
                  <a:pt x="3483" y="259"/>
                </a:moveTo>
                <a:cubicBezTo>
                  <a:pt x="3481" y="263"/>
                  <a:pt x="3478" y="268"/>
                  <a:pt x="3476" y="272"/>
                </a:cubicBezTo>
                <a:cubicBezTo>
                  <a:pt x="3479" y="272"/>
                  <a:pt x="3481" y="273"/>
                  <a:pt x="3484" y="272"/>
                </a:cubicBezTo>
                <a:cubicBezTo>
                  <a:pt x="3484" y="272"/>
                  <a:pt x="3485" y="271"/>
                  <a:pt x="3485" y="271"/>
                </a:cubicBezTo>
                <a:cubicBezTo>
                  <a:pt x="3485" y="268"/>
                  <a:pt x="3485" y="265"/>
                  <a:pt x="3484" y="263"/>
                </a:cubicBezTo>
                <a:cubicBezTo>
                  <a:pt x="3484" y="261"/>
                  <a:pt x="3483" y="260"/>
                  <a:pt x="3483" y="259"/>
                </a:cubicBezTo>
                <a:close/>
                <a:moveTo>
                  <a:pt x="3430" y="238"/>
                </a:moveTo>
                <a:cubicBezTo>
                  <a:pt x="3430" y="239"/>
                  <a:pt x="3429" y="239"/>
                  <a:pt x="3428" y="239"/>
                </a:cubicBezTo>
                <a:cubicBezTo>
                  <a:pt x="3428" y="239"/>
                  <a:pt x="3427" y="239"/>
                  <a:pt x="3427" y="239"/>
                </a:cubicBezTo>
                <a:cubicBezTo>
                  <a:pt x="3426" y="238"/>
                  <a:pt x="3426" y="237"/>
                  <a:pt x="3426" y="237"/>
                </a:cubicBezTo>
                <a:cubicBezTo>
                  <a:pt x="3427" y="235"/>
                  <a:pt x="3427" y="233"/>
                  <a:pt x="3428" y="231"/>
                </a:cubicBezTo>
                <a:cubicBezTo>
                  <a:pt x="3428" y="231"/>
                  <a:pt x="3428" y="231"/>
                  <a:pt x="3427" y="231"/>
                </a:cubicBezTo>
                <a:cubicBezTo>
                  <a:pt x="3426" y="232"/>
                  <a:pt x="3425" y="232"/>
                  <a:pt x="3424" y="233"/>
                </a:cubicBezTo>
                <a:cubicBezTo>
                  <a:pt x="3424" y="235"/>
                  <a:pt x="3425" y="240"/>
                  <a:pt x="3427" y="241"/>
                </a:cubicBezTo>
                <a:cubicBezTo>
                  <a:pt x="3428" y="241"/>
                  <a:pt x="3430" y="240"/>
                  <a:pt x="3430" y="238"/>
                </a:cubicBezTo>
                <a:close/>
                <a:moveTo>
                  <a:pt x="3482" y="230"/>
                </a:moveTo>
                <a:cubicBezTo>
                  <a:pt x="3485" y="227"/>
                  <a:pt x="3485" y="227"/>
                  <a:pt x="3490" y="225"/>
                </a:cubicBezTo>
                <a:cubicBezTo>
                  <a:pt x="3490" y="227"/>
                  <a:pt x="3491" y="228"/>
                  <a:pt x="3492" y="228"/>
                </a:cubicBezTo>
                <a:cubicBezTo>
                  <a:pt x="3490" y="230"/>
                  <a:pt x="3488" y="231"/>
                  <a:pt x="3486" y="232"/>
                </a:cubicBezTo>
                <a:cubicBezTo>
                  <a:pt x="3485" y="231"/>
                  <a:pt x="3485" y="231"/>
                  <a:pt x="3484" y="230"/>
                </a:cubicBezTo>
                <a:cubicBezTo>
                  <a:pt x="3483" y="230"/>
                  <a:pt x="3483" y="230"/>
                  <a:pt x="3482" y="230"/>
                </a:cubicBezTo>
                <a:close/>
                <a:moveTo>
                  <a:pt x="3488" y="230"/>
                </a:moveTo>
                <a:cubicBezTo>
                  <a:pt x="3487" y="229"/>
                  <a:pt x="3487" y="229"/>
                  <a:pt x="3486" y="229"/>
                </a:cubicBezTo>
                <a:cubicBezTo>
                  <a:pt x="3486" y="229"/>
                  <a:pt x="3485" y="230"/>
                  <a:pt x="3485" y="230"/>
                </a:cubicBezTo>
                <a:cubicBezTo>
                  <a:pt x="3485" y="230"/>
                  <a:pt x="3485" y="231"/>
                  <a:pt x="3486" y="231"/>
                </a:cubicBezTo>
                <a:cubicBezTo>
                  <a:pt x="3487" y="231"/>
                  <a:pt x="3487" y="230"/>
                  <a:pt x="3488" y="230"/>
                </a:cubicBezTo>
                <a:close/>
                <a:moveTo>
                  <a:pt x="3470" y="220"/>
                </a:moveTo>
                <a:cubicBezTo>
                  <a:pt x="3463" y="219"/>
                  <a:pt x="3460" y="222"/>
                  <a:pt x="3459" y="230"/>
                </a:cubicBezTo>
                <a:cubicBezTo>
                  <a:pt x="3460" y="228"/>
                  <a:pt x="3461" y="225"/>
                  <a:pt x="3462" y="223"/>
                </a:cubicBezTo>
                <a:cubicBezTo>
                  <a:pt x="3463" y="223"/>
                  <a:pt x="3463" y="223"/>
                  <a:pt x="3463" y="223"/>
                </a:cubicBezTo>
                <a:cubicBezTo>
                  <a:pt x="3463" y="224"/>
                  <a:pt x="3463" y="225"/>
                  <a:pt x="3463" y="226"/>
                </a:cubicBezTo>
                <a:cubicBezTo>
                  <a:pt x="3464" y="222"/>
                  <a:pt x="3466" y="220"/>
                  <a:pt x="3470" y="220"/>
                </a:cubicBezTo>
                <a:close/>
                <a:moveTo>
                  <a:pt x="3513" y="222"/>
                </a:moveTo>
                <a:cubicBezTo>
                  <a:pt x="3511" y="223"/>
                  <a:pt x="3509" y="224"/>
                  <a:pt x="3508" y="226"/>
                </a:cubicBezTo>
                <a:cubicBezTo>
                  <a:pt x="3510" y="226"/>
                  <a:pt x="3512" y="224"/>
                  <a:pt x="3513" y="222"/>
                </a:cubicBezTo>
                <a:close/>
                <a:moveTo>
                  <a:pt x="3480" y="224"/>
                </a:moveTo>
                <a:cubicBezTo>
                  <a:pt x="3481" y="222"/>
                  <a:pt x="3482" y="221"/>
                  <a:pt x="3483" y="220"/>
                </a:cubicBezTo>
                <a:cubicBezTo>
                  <a:pt x="3480" y="221"/>
                  <a:pt x="3479" y="222"/>
                  <a:pt x="3480" y="224"/>
                </a:cubicBezTo>
                <a:close/>
                <a:moveTo>
                  <a:pt x="3489" y="245"/>
                </a:moveTo>
                <a:cubicBezTo>
                  <a:pt x="3488" y="246"/>
                  <a:pt x="3487" y="246"/>
                  <a:pt x="3487" y="247"/>
                </a:cubicBezTo>
                <a:cubicBezTo>
                  <a:pt x="3487" y="247"/>
                  <a:pt x="3489" y="246"/>
                  <a:pt x="3489" y="245"/>
                </a:cubicBezTo>
                <a:close/>
                <a:moveTo>
                  <a:pt x="3488" y="230"/>
                </a:moveTo>
                <a:cubicBezTo>
                  <a:pt x="3488" y="229"/>
                  <a:pt x="3487" y="229"/>
                  <a:pt x="3486" y="229"/>
                </a:cubicBezTo>
                <a:cubicBezTo>
                  <a:pt x="3486" y="229"/>
                  <a:pt x="3485" y="230"/>
                  <a:pt x="3485" y="230"/>
                </a:cubicBezTo>
                <a:cubicBezTo>
                  <a:pt x="3485" y="230"/>
                  <a:pt x="3486" y="231"/>
                  <a:pt x="3486" y="231"/>
                </a:cubicBezTo>
                <a:cubicBezTo>
                  <a:pt x="3487" y="231"/>
                  <a:pt x="3487" y="230"/>
                  <a:pt x="3488" y="230"/>
                </a:cubicBezTo>
                <a:close/>
                <a:moveTo>
                  <a:pt x="3036" y="111"/>
                </a:moveTo>
                <a:cubicBezTo>
                  <a:pt x="3036" y="111"/>
                  <a:pt x="3036" y="111"/>
                  <a:pt x="3036" y="111"/>
                </a:cubicBezTo>
                <a:cubicBezTo>
                  <a:pt x="3031" y="111"/>
                  <a:pt x="3031" y="111"/>
                  <a:pt x="3031" y="111"/>
                </a:cubicBezTo>
                <a:cubicBezTo>
                  <a:pt x="3029" y="113"/>
                  <a:pt x="3028" y="114"/>
                  <a:pt x="3025" y="115"/>
                </a:cubicBezTo>
                <a:cubicBezTo>
                  <a:pt x="3024" y="116"/>
                  <a:pt x="3022" y="117"/>
                  <a:pt x="3020" y="118"/>
                </a:cubicBezTo>
                <a:cubicBezTo>
                  <a:pt x="3019" y="119"/>
                  <a:pt x="3017" y="120"/>
                  <a:pt x="3015" y="121"/>
                </a:cubicBezTo>
                <a:cubicBezTo>
                  <a:pt x="3013" y="121"/>
                  <a:pt x="3012" y="122"/>
                  <a:pt x="3009" y="122"/>
                </a:cubicBezTo>
                <a:cubicBezTo>
                  <a:pt x="3009" y="122"/>
                  <a:pt x="3009" y="122"/>
                  <a:pt x="3009" y="132"/>
                </a:cubicBezTo>
                <a:cubicBezTo>
                  <a:pt x="3012" y="132"/>
                  <a:pt x="3015" y="131"/>
                  <a:pt x="3017" y="129"/>
                </a:cubicBezTo>
                <a:cubicBezTo>
                  <a:pt x="3020" y="129"/>
                  <a:pt x="3023" y="127"/>
                  <a:pt x="3025" y="126"/>
                </a:cubicBezTo>
                <a:cubicBezTo>
                  <a:pt x="3025" y="126"/>
                  <a:pt x="3025" y="126"/>
                  <a:pt x="3025" y="185"/>
                </a:cubicBezTo>
                <a:cubicBezTo>
                  <a:pt x="3025" y="185"/>
                  <a:pt x="3025" y="185"/>
                  <a:pt x="3036" y="185"/>
                </a:cubicBezTo>
                <a:cubicBezTo>
                  <a:pt x="3036" y="185"/>
                  <a:pt x="3036" y="185"/>
                  <a:pt x="3036" y="111"/>
                </a:cubicBezTo>
                <a:close/>
                <a:moveTo>
                  <a:pt x="3083" y="111"/>
                </a:moveTo>
                <a:cubicBezTo>
                  <a:pt x="3083" y="111"/>
                  <a:pt x="3083" y="111"/>
                  <a:pt x="3083" y="111"/>
                </a:cubicBezTo>
                <a:cubicBezTo>
                  <a:pt x="3078" y="111"/>
                  <a:pt x="3078" y="111"/>
                  <a:pt x="3078" y="111"/>
                </a:cubicBezTo>
                <a:cubicBezTo>
                  <a:pt x="3077" y="113"/>
                  <a:pt x="3075" y="114"/>
                  <a:pt x="3073" y="115"/>
                </a:cubicBezTo>
                <a:cubicBezTo>
                  <a:pt x="3071" y="116"/>
                  <a:pt x="3070" y="117"/>
                  <a:pt x="3067" y="118"/>
                </a:cubicBezTo>
                <a:cubicBezTo>
                  <a:pt x="3066" y="119"/>
                  <a:pt x="3064" y="120"/>
                  <a:pt x="3062" y="121"/>
                </a:cubicBezTo>
                <a:cubicBezTo>
                  <a:pt x="3060" y="121"/>
                  <a:pt x="3059" y="122"/>
                  <a:pt x="3056" y="122"/>
                </a:cubicBezTo>
                <a:cubicBezTo>
                  <a:pt x="3056" y="122"/>
                  <a:pt x="3056" y="122"/>
                  <a:pt x="3056" y="132"/>
                </a:cubicBezTo>
                <a:cubicBezTo>
                  <a:pt x="3059" y="132"/>
                  <a:pt x="3062" y="131"/>
                  <a:pt x="3065" y="129"/>
                </a:cubicBezTo>
                <a:cubicBezTo>
                  <a:pt x="3067" y="129"/>
                  <a:pt x="3070" y="127"/>
                  <a:pt x="3072" y="126"/>
                </a:cubicBezTo>
                <a:cubicBezTo>
                  <a:pt x="3072" y="126"/>
                  <a:pt x="3072" y="126"/>
                  <a:pt x="3072" y="185"/>
                </a:cubicBezTo>
                <a:cubicBezTo>
                  <a:pt x="3072" y="185"/>
                  <a:pt x="3072" y="185"/>
                  <a:pt x="3083" y="185"/>
                </a:cubicBezTo>
                <a:cubicBezTo>
                  <a:pt x="3083" y="185"/>
                  <a:pt x="3083" y="185"/>
                  <a:pt x="3083" y="111"/>
                </a:cubicBezTo>
                <a:close/>
                <a:moveTo>
                  <a:pt x="3129" y="111"/>
                </a:moveTo>
                <a:cubicBezTo>
                  <a:pt x="3129" y="111"/>
                  <a:pt x="3129" y="111"/>
                  <a:pt x="3129" y="111"/>
                </a:cubicBezTo>
                <a:cubicBezTo>
                  <a:pt x="3125" y="111"/>
                  <a:pt x="3125" y="111"/>
                  <a:pt x="3125" y="111"/>
                </a:cubicBezTo>
                <a:cubicBezTo>
                  <a:pt x="3122" y="113"/>
                  <a:pt x="3121" y="114"/>
                  <a:pt x="3119" y="115"/>
                </a:cubicBezTo>
                <a:cubicBezTo>
                  <a:pt x="3117" y="116"/>
                  <a:pt x="3115" y="117"/>
                  <a:pt x="3114" y="118"/>
                </a:cubicBezTo>
                <a:cubicBezTo>
                  <a:pt x="3112" y="119"/>
                  <a:pt x="3110" y="119"/>
                  <a:pt x="3108" y="120"/>
                </a:cubicBezTo>
                <a:cubicBezTo>
                  <a:pt x="3107" y="121"/>
                  <a:pt x="3104" y="121"/>
                  <a:pt x="3103" y="122"/>
                </a:cubicBezTo>
                <a:cubicBezTo>
                  <a:pt x="3103" y="122"/>
                  <a:pt x="3103" y="122"/>
                  <a:pt x="3103" y="132"/>
                </a:cubicBezTo>
                <a:cubicBezTo>
                  <a:pt x="3106" y="132"/>
                  <a:pt x="3109" y="130"/>
                  <a:pt x="3111" y="129"/>
                </a:cubicBezTo>
                <a:cubicBezTo>
                  <a:pt x="3113" y="129"/>
                  <a:pt x="3116" y="127"/>
                  <a:pt x="3117" y="126"/>
                </a:cubicBezTo>
                <a:cubicBezTo>
                  <a:pt x="3117" y="126"/>
                  <a:pt x="3117" y="126"/>
                  <a:pt x="3117" y="185"/>
                </a:cubicBezTo>
                <a:cubicBezTo>
                  <a:pt x="3117" y="185"/>
                  <a:pt x="3117" y="185"/>
                  <a:pt x="3129" y="185"/>
                </a:cubicBezTo>
                <a:cubicBezTo>
                  <a:pt x="3129" y="185"/>
                  <a:pt x="3129" y="185"/>
                  <a:pt x="3129" y="111"/>
                </a:cubicBezTo>
                <a:close/>
                <a:moveTo>
                  <a:pt x="3266" y="144"/>
                </a:moveTo>
                <a:cubicBezTo>
                  <a:pt x="3266" y="144"/>
                  <a:pt x="3266" y="144"/>
                  <a:pt x="3266" y="144"/>
                </a:cubicBezTo>
                <a:cubicBezTo>
                  <a:pt x="3266" y="152"/>
                  <a:pt x="3266" y="152"/>
                  <a:pt x="3266" y="152"/>
                </a:cubicBezTo>
                <a:cubicBezTo>
                  <a:pt x="3272" y="152"/>
                  <a:pt x="3273" y="155"/>
                  <a:pt x="3273" y="158"/>
                </a:cubicBezTo>
                <a:cubicBezTo>
                  <a:pt x="3273" y="160"/>
                  <a:pt x="3272" y="162"/>
                  <a:pt x="3272" y="165"/>
                </a:cubicBezTo>
                <a:cubicBezTo>
                  <a:pt x="3272" y="167"/>
                  <a:pt x="3272" y="170"/>
                  <a:pt x="3272" y="172"/>
                </a:cubicBezTo>
                <a:cubicBezTo>
                  <a:pt x="3272" y="181"/>
                  <a:pt x="3278" y="185"/>
                  <a:pt x="3286" y="185"/>
                </a:cubicBezTo>
                <a:cubicBezTo>
                  <a:pt x="3286" y="185"/>
                  <a:pt x="3286" y="185"/>
                  <a:pt x="3290" y="185"/>
                </a:cubicBezTo>
                <a:cubicBezTo>
                  <a:pt x="3290" y="185"/>
                  <a:pt x="3290" y="185"/>
                  <a:pt x="3290" y="176"/>
                </a:cubicBezTo>
                <a:cubicBezTo>
                  <a:pt x="3290" y="176"/>
                  <a:pt x="3290" y="176"/>
                  <a:pt x="3288" y="176"/>
                </a:cubicBezTo>
                <a:cubicBezTo>
                  <a:pt x="3285" y="176"/>
                  <a:pt x="3283" y="173"/>
                  <a:pt x="3283" y="170"/>
                </a:cubicBezTo>
                <a:cubicBezTo>
                  <a:pt x="3283" y="168"/>
                  <a:pt x="3283" y="167"/>
                  <a:pt x="3284" y="165"/>
                </a:cubicBezTo>
                <a:cubicBezTo>
                  <a:pt x="3284" y="163"/>
                  <a:pt x="3284" y="161"/>
                  <a:pt x="3284" y="159"/>
                </a:cubicBezTo>
                <a:cubicBezTo>
                  <a:pt x="3284" y="151"/>
                  <a:pt x="3281" y="149"/>
                  <a:pt x="3276" y="148"/>
                </a:cubicBezTo>
                <a:cubicBezTo>
                  <a:pt x="3276" y="148"/>
                  <a:pt x="3276" y="148"/>
                  <a:pt x="3276" y="147"/>
                </a:cubicBezTo>
                <a:cubicBezTo>
                  <a:pt x="3281" y="146"/>
                  <a:pt x="3284" y="144"/>
                  <a:pt x="3284" y="136"/>
                </a:cubicBezTo>
                <a:cubicBezTo>
                  <a:pt x="3284" y="134"/>
                  <a:pt x="3284" y="132"/>
                  <a:pt x="3284" y="130"/>
                </a:cubicBezTo>
                <a:cubicBezTo>
                  <a:pt x="3283" y="129"/>
                  <a:pt x="3283" y="127"/>
                  <a:pt x="3283" y="126"/>
                </a:cubicBezTo>
                <a:cubicBezTo>
                  <a:pt x="3283" y="122"/>
                  <a:pt x="3285" y="120"/>
                  <a:pt x="3288" y="120"/>
                </a:cubicBezTo>
                <a:cubicBezTo>
                  <a:pt x="3288" y="120"/>
                  <a:pt x="3288" y="120"/>
                  <a:pt x="3290" y="120"/>
                </a:cubicBezTo>
                <a:cubicBezTo>
                  <a:pt x="3290" y="120"/>
                  <a:pt x="3290" y="120"/>
                  <a:pt x="3290" y="110"/>
                </a:cubicBezTo>
                <a:cubicBezTo>
                  <a:pt x="3290" y="110"/>
                  <a:pt x="3290" y="110"/>
                  <a:pt x="3286" y="110"/>
                </a:cubicBezTo>
                <a:cubicBezTo>
                  <a:pt x="3277" y="110"/>
                  <a:pt x="3272" y="114"/>
                  <a:pt x="3272" y="123"/>
                </a:cubicBezTo>
                <a:cubicBezTo>
                  <a:pt x="3272" y="125"/>
                  <a:pt x="3272" y="128"/>
                  <a:pt x="3272" y="130"/>
                </a:cubicBezTo>
                <a:cubicBezTo>
                  <a:pt x="3272" y="133"/>
                  <a:pt x="3273" y="135"/>
                  <a:pt x="3273" y="137"/>
                </a:cubicBezTo>
                <a:cubicBezTo>
                  <a:pt x="3273" y="140"/>
                  <a:pt x="3272" y="143"/>
                  <a:pt x="3266" y="144"/>
                </a:cubicBezTo>
                <a:close/>
                <a:moveTo>
                  <a:pt x="3320" y="152"/>
                </a:moveTo>
                <a:cubicBezTo>
                  <a:pt x="3320" y="152"/>
                  <a:pt x="3320" y="152"/>
                  <a:pt x="3320" y="152"/>
                </a:cubicBezTo>
                <a:cubicBezTo>
                  <a:pt x="3320" y="144"/>
                  <a:pt x="3320" y="144"/>
                  <a:pt x="3320" y="144"/>
                </a:cubicBezTo>
                <a:cubicBezTo>
                  <a:pt x="3314" y="143"/>
                  <a:pt x="3314" y="140"/>
                  <a:pt x="3314" y="137"/>
                </a:cubicBezTo>
                <a:cubicBezTo>
                  <a:pt x="3314" y="135"/>
                  <a:pt x="3314" y="133"/>
                  <a:pt x="3314" y="130"/>
                </a:cubicBezTo>
                <a:cubicBezTo>
                  <a:pt x="3315" y="128"/>
                  <a:pt x="3315" y="125"/>
                  <a:pt x="3315" y="123"/>
                </a:cubicBezTo>
                <a:cubicBezTo>
                  <a:pt x="3315" y="114"/>
                  <a:pt x="3309" y="110"/>
                  <a:pt x="3300" y="110"/>
                </a:cubicBezTo>
                <a:cubicBezTo>
                  <a:pt x="3300" y="110"/>
                  <a:pt x="3300" y="110"/>
                  <a:pt x="3296" y="110"/>
                </a:cubicBezTo>
                <a:cubicBezTo>
                  <a:pt x="3296" y="110"/>
                  <a:pt x="3296" y="110"/>
                  <a:pt x="3296" y="120"/>
                </a:cubicBezTo>
                <a:cubicBezTo>
                  <a:pt x="3296" y="120"/>
                  <a:pt x="3296" y="120"/>
                  <a:pt x="3298" y="120"/>
                </a:cubicBezTo>
                <a:cubicBezTo>
                  <a:pt x="3302" y="120"/>
                  <a:pt x="3303" y="122"/>
                  <a:pt x="3303" y="126"/>
                </a:cubicBezTo>
                <a:cubicBezTo>
                  <a:pt x="3303" y="127"/>
                  <a:pt x="3303" y="129"/>
                  <a:pt x="3303" y="130"/>
                </a:cubicBezTo>
                <a:cubicBezTo>
                  <a:pt x="3302" y="132"/>
                  <a:pt x="3302" y="134"/>
                  <a:pt x="3302" y="136"/>
                </a:cubicBezTo>
                <a:cubicBezTo>
                  <a:pt x="3302" y="144"/>
                  <a:pt x="3305" y="146"/>
                  <a:pt x="3311" y="147"/>
                </a:cubicBezTo>
                <a:cubicBezTo>
                  <a:pt x="3311" y="147"/>
                  <a:pt x="3311" y="147"/>
                  <a:pt x="3311" y="148"/>
                </a:cubicBezTo>
                <a:cubicBezTo>
                  <a:pt x="3305" y="149"/>
                  <a:pt x="3302" y="151"/>
                  <a:pt x="3302" y="159"/>
                </a:cubicBezTo>
                <a:cubicBezTo>
                  <a:pt x="3302" y="161"/>
                  <a:pt x="3302" y="163"/>
                  <a:pt x="3303" y="165"/>
                </a:cubicBezTo>
                <a:cubicBezTo>
                  <a:pt x="3303" y="167"/>
                  <a:pt x="3303" y="168"/>
                  <a:pt x="3303" y="170"/>
                </a:cubicBezTo>
                <a:cubicBezTo>
                  <a:pt x="3303" y="173"/>
                  <a:pt x="3302" y="176"/>
                  <a:pt x="3298" y="176"/>
                </a:cubicBezTo>
                <a:cubicBezTo>
                  <a:pt x="3298" y="176"/>
                  <a:pt x="3298" y="176"/>
                  <a:pt x="3296" y="176"/>
                </a:cubicBezTo>
                <a:cubicBezTo>
                  <a:pt x="3296" y="176"/>
                  <a:pt x="3296" y="176"/>
                  <a:pt x="3296" y="185"/>
                </a:cubicBezTo>
                <a:cubicBezTo>
                  <a:pt x="3296" y="185"/>
                  <a:pt x="3296" y="185"/>
                  <a:pt x="3300" y="185"/>
                </a:cubicBezTo>
                <a:cubicBezTo>
                  <a:pt x="3309" y="185"/>
                  <a:pt x="3315" y="181"/>
                  <a:pt x="3315" y="172"/>
                </a:cubicBezTo>
                <a:cubicBezTo>
                  <a:pt x="3315" y="170"/>
                  <a:pt x="3315" y="167"/>
                  <a:pt x="3314" y="165"/>
                </a:cubicBezTo>
                <a:cubicBezTo>
                  <a:pt x="3314" y="162"/>
                  <a:pt x="3314" y="160"/>
                  <a:pt x="3314" y="158"/>
                </a:cubicBezTo>
                <a:cubicBezTo>
                  <a:pt x="3314" y="155"/>
                  <a:pt x="3314" y="152"/>
                  <a:pt x="3320" y="152"/>
                </a:cubicBezTo>
                <a:close/>
                <a:moveTo>
                  <a:pt x="3368" y="111"/>
                </a:moveTo>
                <a:cubicBezTo>
                  <a:pt x="3368" y="111"/>
                  <a:pt x="3368" y="111"/>
                  <a:pt x="3368" y="111"/>
                </a:cubicBezTo>
                <a:cubicBezTo>
                  <a:pt x="3362" y="111"/>
                  <a:pt x="3362" y="111"/>
                  <a:pt x="3362" y="111"/>
                </a:cubicBezTo>
                <a:cubicBezTo>
                  <a:pt x="3360" y="113"/>
                  <a:pt x="3359" y="114"/>
                  <a:pt x="3357" y="115"/>
                </a:cubicBezTo>
                <a:cubicBezTo>
                  <a:pt x="3355" y="116"/>
                  <a:pt x="3353" y="117"/>
                  <a:pt x="3352" y="118"/>
                </a:cubicBezTo>
                <a:cubicBezTo>
                  <a:pt x="3349" y="119"/>
                  <a:pt x="3348" y="119"/>
                  <a:pt x="3346" y="120"/>
                </a:cubicBezTo>
                <a:cubicBezTo>
                  <a:pt x="3344" y="121"/>
                  <a:pt x="3343" y="121"/>
                  <a:pt x="3341" y="122"/>
                </a:cubicBezTo>
                <a:cubicBezTo>
                  <a:pt x="3341" y="122"/>
                  <a:pt x="3341" y="122"/>
                  <a:pt x="3341" y="132"/>
                </a:cubicBezTo>
                <a:cubicBezTo>
                  <a:pt x="3344" y="132"/>
                  <a:pt x="3346" y="130"/>
                  <a:pt x="3349" y="129"/>
                </a:cubicBezTo>
                <a:cubicBezTo>
                  <a:pt x="3352" y="129"/>
                  <a:pt x="3354" y="127"/>
                  <a:pt x="3356" y="126"/>
                </a:cubicBezTo>
                <a:cubicBezTo>
                  <a:pt x="3356" y="126"/>
                  <a:pt x="3356" y="126"/>
                  <a:pt x="3356" y="185"/>
                </a:cubicBezTo>
                <a:cubicBezTo>
                  <a:pt x="3356" y="185"/>
                  <a:pt x="3356" y="185"/>
                  <a:pt x="3368" y="185"/>
                </a:cubicBezTo>
                <a:cubicBezTo>
                  <a:pt x="3368" y="185"/>
                  <a:pt x="3368" y="185"/>
                  <a:pt x="3368" y="111"/>
                </a:cubicBezTo>
                <a:close/>
                <a:moveTo>
                  <a:pt x="3414" y="111"/>
                </a:moveTo>
                <a:cubicBezTo>
                  <a:pt x="3414" y="111"/>
                  <a:pt x="3414" y="111"/>
                  <a:pt x="3414" y="111"/>
                </a:cubicBezTo>
                <a:cubicBezTo>
                  <a:pt x="3409" y="111"/>
                  <a:pt x="3409" y="111"/>
                  <a:pt x="3409" y="111"/>
                </a:cubicBezTo>
                <a:cubicBezTo>
                  <a:pt x="3407" y="113"/>
                  <a:pt x="3405" y="114"/>
                  <a:pt x="3403" y="115"/>
                </a:cubicBezTo>
                <a:cubicBezTo>
                  <a:pt x="3402" y="116"/>
                  <a:pt x="3400" y="117"/>
                  <a:pt x="3398" y="118"/>
                </a:cubicBezTo>
                <a:cubicBezTo>
                  <a:pt x="3397" y="119"/>
                  <a:pt x="3394" y="120"/>
                  <a:pt x="3393" y="121"/>
                </a:cubicBezTo>
                <a:cubicBezTo>
                  <a:pt x="3391" y="121"/>
                  <a:pt x="3389" y="122"/>
                  <a:pt x="3387" y="122"/>
                </a:cubicBezTo>
                <a:cubicBezTo>
                  <a:pt x="3387" y="122"/>
                  <a:pt x="3387" y="122"/>
                  <a:pt x="3387" y="132"/>
                </a:cubicBezTo>
                <a:cubicBezTo>
                  <a:pt x="3390" y="132"/>
                  <a:pt x="3393" y="131"/>
                  <a:pt x="3395" y="129"/>
                </a:cubicBezTo>
                <a:cubicBezTo>
                  <a:pt x="3398" y="129"/>
                  <a:pt x="3400" y="127"/>
                  <a:pt x="3402" y="126"/>
                </a:cubicBezTo>
                <a:cubicBezTo>
                  <a:pt x="3402" y="126"/>
                  <a:pt x="3402" y="126"/>
                  <a:pt x="3402" y="185"/>
                </a:cubicBezTo>
                <a:cubicBezTo>
                  <a:pt x="3402" y="185"/>
                  <a:pt x="3402" y="185"/>
                  <a:pt x="3414" y="185"/>
                </a:cubicBezTo>
                <a:cubicBezTo>
                  <a:pt x="3414" y="185"/>
                  <a:pt x="3414" y="185"/>
                  <a:pt x="3414" y="111"/>
                </a:cubicBezTo>
                <a:close/>
                <a:moveTo>
                  <a:pt x="3460" y="111"/>
                </a:moveTo>
                <a:cubicBezTo>
                  <a:pt x="3460" y="111"/>
                  <a:pt x="3460" y="111"/>
                  <a:pt x="3460" y="111"/>
                </a:cubicBezTo>
                <a:cubicBezTo>
                  <a:pt x="3455" y="111"/>
                  <a:pt x="3455" y="111"/>
                  <a:pt x="3455" y="111"/>
                </a:cubicBezTo>
                <a:cubicBezTo>
                  <a:pt x="3453" y="113"/>
                  <a:pt x="3452" y="114"/>
                  <a:pt x="3450" y="115"/>
                </a:cubicBezTo>
                <a:cubicBezTo>
                  <a:pt x="3448" y="116"/>
                  <a:pt x="3446" y="117"/>
                  <a:pt x="3445" y="118"/>
                </a:cubicBezTo>
                <a:cubicBezTo>
                  <a:pt x="3442" y="119"/>
                  <a:pt x="3441" y="120"/>
                  <a:pt x="3439" y="121"/>
                </a:cubicBezTo>
                <a:cubicBezTo>
                  <a:pt x="3437" y="121"/>
                  <a:pt x="3435" y="122"/>
                  <a:pt x="3434" y="122"/>
                </a:cubicBezTo>
                <a:cubicBezTo>
                  <a:pt x="3434" y="122"/>
                  <a:pt x="3434" y="122"/>
                  <a:pt x="3434" y="132"/>
                </a:cubicBezTo>
                <a:cubicBezTo>
                  <a:pt x="3437" y="132"/>
                  <a:pt x="3440" y="131"/>
                  <a:pt x="3442" y="129"/>
                </a:cubicBezTo>
                <a:cubicBezTo>
                  <a:pt x="3444" y="129"/>
                  <a:pt x="3447" y="127"/>
                  <a:pt x="3448" y="126"/>
                </a:cubicBezTo>
                <a:cubicBezTo>
                  <a:pt x="3448" y="126"/>
                  <a:pt x="3448" y="126"/>
                  <a:pt x="3448" y="185"/>
                </a:cubicBezTo>
                <a:cubicBezTo>
                  <a:pt x="3448" y="185"/>
                  <a:pt x="3448" y="185"/>
                  <a:pt x="3460" y="185"/>
                </a:cubicBezTo>
                <a:cubicBezTo>
                  <a:pt x="3460" y="185"/>
                  <a:pt x="3460" y="185"/>
                  <a:pt x="3460" y="111"/>
                </a:cubicBezTo>
                <a:close/>
                <a:moveTo>
                  <a:pt x="3209" y="159"/>
                </a:moveTo>
                <a:cubicBezTo>
                  <a:pt x="3210" y="160"/>
                  <a:pt x="3210" y="161"/>
                  <a:pt x="3211" y="163"/>
                </a:cubicBezTo>
                <a:cubicBezTo>
                  <a:pt x="3211" y="164"/>
                  <a:pt x="3211" y="166"/>
                  <a:pt x="3212" y="168"/>
                </a:cubicBezTo>
                <a:cubicBezTo>
                  <a:pt x="3212" y="170"/>
                  <a:pt x="3212" y="171"/>
                  <a:pt x="3212" y="173"/>
                </a:cubicBezTo>
                <a:cubicBezTo>
                  <a:pt x="3213" y="176"/>
                  <a:pt x="3212" y="178"/>
                  <a:pt x="3209" y="178"/>
                </a:cubicBezTo>
                <a:cubicBezTo>
                  <a:pt x="3206" y="178"/>
                  <a:pt x="3203" y="177"/>
                  <a:pt x="3201" y="177"/>
                </a:cubicBezTo>
                <a:cubicBezTo>
                  <a:pt x="3200" y="177"/>
                  <a:pt x="3199" y="177"/>
                  <a:pt x="3199" y="178"/>
                </a:cubicBezTo>
                <a:cubicBezTo>
                  <a:pt x="3197" y="179"/>
                  <a:pt x="3196" y="180"/>
                  <a:pt x="3195" y="182"/>
                </a:cubicBezTo>
                <a:cubicBezTo>
                  <a:pt x="3193" y="184"/>
                  <a:pt x="3190" y="185"/>
                  <a:pt x="3187" y="183"/>
                </a:cubicBezTo>
                <a:cubicBezTo>
                  <a:pt x="3185" y="180"/>
                  <a:pt x="3184" y="178"/>
                  <a:pt x="3182" y="175"/>
                </a:cubicBezTo>
                <a:cubicBezTo>
                  <a:pt x="3182" y="174"/>
                  <a:pt x="3182" y="172"/>
                  <a:pt x="3184" y="170"/>
                </a:cubicBezTo>
                <a:cubicBezTo>
                  <a:pt x="3182" y="170"/>
                  <a:pt x="3180" y="170"/>
                  <a:pt x="3179" y="170"/>
                </a:cubicBezTo>
                <a:cubicBezTo>
                  <a:pt x="3178" y="172"/>
                  <a:pt x="3177" y="174"/>
                  <a:pt x="3176" y="176"/>
                </a:cubicBezTo>
                <a:cubicBezTo>
                  <a:pt x="3176" y="177"/>
                  <a:pt x="3175" y="178"/>
                  <a:pt x="3175" y="179"/>
                </a:cubicBezTo>
                <a:cubicBezTo>
                  <a:pt x="3175" y="182"/>
                  <a:pt x="3174" y="183"/>
                  <a:pt x="3171" y="183"/>
                </a:cubicBezTo>
                <a:cubicBezTo>
                  <a:pt x="3168" y="182"/>
                  <a:pt x="3165" y="182"/>
                  <a:pt x="3162" y="180"/>
                </a:cubicBezTo>
                <a:cubicBezTo>
                  <a:pt x="3160" y="180"/>
                  <a:pt x="3160" y="178"/>
                  <a:pt x="3160" y="176"/>
                </a:cubicBezTo>
                <a:cubicBezTo>
                  <a:pt x="3161" y="176"/>
                  <a:pt x="3161" y="175"/>
                  <a:pt x="3161" y="175"/>
                </a:cubicBezTo>
                <a:cubicBezTo>
                  <a:pt x="3159" y="174"/>
                  <a:pt x="3156" y="173"/>
                  <a:pt x="3154" y="171"/>
                </a:cubicBezTo>
                <a:cubicBezTo>
                  <a:pt x="3153" y="170"/>
                  <a:pt x="3152" y="168"/>
                  <a:pt x="3151" y="167"/>
                </a:cubicBezTo>
                <a:cubicBezTo>
                  <a:pt x="3150" y="165"/>
                  <a:pt x="3150" y="163"/>
                  <a:pt x="3152" y="162"/>
                </a:cubicBezTo>
                <a:cubicBezTo>
                  <a:pt x="3155" y="159"/>
                  <a:pt x="3156" y="157"/>
                  <a:pt x="3155" y="153"/>
                </a:cubicBezTo>
                <a:cubicBezTo>
                  <a:pt x="3155" y="151"/>
                  <a:pt x="3155" y="148"/>
                  <a:pt x="3155" y="147"/>
                </a:cubicBezTo>
                <a:cubicBezTo>
                  <a:pt x="3154" y="146"/>
                  <a:pt x="3152" y="145"/>
                  <a:pt x="3151" y="144"/>
                </a:cubicBezTo>
                <a:cubicBezTo>
                  <a:pt x="3150" y="143"/>
                  <a:pt x="3150" y="141"/>
                  <a:pt x="3150" y="139"/>
                </a:cubicBezTo>
                <a:cubicBezTo>
                  <a:pt x="3149" y="136"/>
                  <a:pt x="3153" y="133"/>
                  <a:pt x="3155" y="132"/>
                </a:cubicBezTo>
                <a:cubicBezTo>
                  <a:pt x="3156" y="133"/>
                  <a:pt x="3156" y="134"/>
                  <a:pt x="3156" y="135"/>
                </a:cubicBezTo>
                <a:cubicBezTo>
                  <a:pt x="3156" y="136"/>
                  <a:pt x="3156" y="137"/>
                  <a:pt x="3157" y="138"/>
                </a:cubicBezTo>
                <a:cubicBezTo>
                  <a:pt x="3156" y="138"/>
                  <a:pt x="3155" y="138"/>
                  <a:pt x="3155" y="138"/>
                </a:cubicBezTo>
                <a:cubicBezTo>
                  <a:pt x="3155" y="139"/>
                  <a:pt x="3154" y="140"/>
                  <a:pt x="3153" y="142"/>
                </a:cubicBezTo>
                <a:cubicBezTo>
                  <a:pt x="3155" y="142"/>
                  <a:pt x="3155" y="142"/>
                  <a:pt x="3156" y="141"/>
                </a:cubicBezTo>
                <a:cubicBezTo>
                  <a:pt x="3157" y="140"/>
                  <a:pt x="3158" y="139"/>
                  <a:pt x="3159" y="138"/>
                </a:cubicBezTo>
                <a:cubicBezTo>
                  <a:pt x="3163" y="131"/>
                  <a:pt x="3169" y="127"/>
                  <a:pt x="3177" y="126"/>
                </a:cubicBezTo>
                <a:cubicBezTo>
                  <a:pt x="3180" y="125"/>
                  <a:pt x="3183" y="124"/>
                  <a:pt x="3185" y="121"/>
                </a:cubicBezTo>
                <a:cubicBezTo>
                  <a:pt x="3185" y="121"/>
                  <a:pt x="3186" y="121"/>
                  <a:pt x="3186" y="121"/>
                </a:cubicBezTo>
                <a:cubicBezTo>
                  <a:pt x="3189" y="120"/>
                  <a:pt x="3191" y="118"/>
                  <a:pt x="3193" y="116"/>
                </a:cubicBezTo>
                <a:cubicBezTo>
                  <a:pt x="3200" y="108"/>
                  <a:pt x="3212" y="108"/>
                  <a:pt x="3220" y="115"/>
                </a:cubicBezTo>
                <a:cubicBezTo>
                  <a:pt x="3222" y="117"/>
                  <a:pt x="3225" y="119"/>
                  <a:pt x="3227" y="121"/>
                </a:cubicBezTo>
                <a:cubicBezTo>
                  <a:pt x="3229" y="122"/>
                  <a:pt x="3230" y="123"/>
                  <a:pt x="3231" y="125"/>
                </a:cubicBezTo>
                <a:cubicBezTo>
                  <a:pt x="3232" y="127"/>
                  <a:pt x="3233" y="127"/>
                  <a:pt x="3234" y="126"/>
                </a:cubicBezTo>
                <a:cubicBezTo>
                  <a:pt x="3235" y="125"/>
                  <a:pt x="3235" y="125"/>
                  <a:pt x="3236" y="124"/>
                </a:cubicBezTo>
                <a:cubicBezTo>
                  <a:pt x="3238" y="121"/>
                  <a:pt x="3241" y="121"/>
                  <a:pt x="3242" y="124"/>
                </a:cubicBezTo>
                <a:cubicBezTo>
                  <a:pt x="3244" y="127"/>
                  <a:pt x="3244" y="130"/>
                  <a:pt x="3245" y="133"/>
                </a:cubicBezTo>
                <a:cubicBezTo>
                  <a:pt x="3246" y="138"/>
                  <a:pt x="3245" y="142"/>
                  <a:pt x="3244" y="146"/>
                </a:cubicBezTo>
                <a:cubicBezTo>
                  <a:pt x="3241" y="153"/>
                  <a:pt x="3237" y="156"/>
                  <a:pt x="3230" y="156"/>
                </a:cubicBezTo>
                <a:cubicBezTo>
                  <a:pt x="3229" y="156"/>
                  <a:pt x="3229" y="156"/>
                  <a:pt x="3228" y="156"/>
                </a:cubicBezTo>
                <a:cubicBezTo>
                  <a:pt x="3226" y="156"/>
                  <a:pt x="3224" y="156"/>
                  <a:pt x="3224" y="159"/>
                </a:cubicBezTo>
                <a:cubicBezTo>
                  <a:pt x="3222" y="163"/>
                  <a:pt x="3217" y="164"/>
                  <a:pt x="3213" y="161"/>
                </a:cubicBezTo>
                <a:cubicBezTo>
                  <a:pt x="3212" y="160"/>
                  <a:pt x="3211" y="159"/>
                  <a:pt x="3210" y="158"/>
                </a:cubicBezTo>
                <a:cubicBezTo>
                  <a:pt x="3210" y="159"/>
                  <a:pt x="3210" y="159"/>
                  <a:pt x="3209" y="159"/>
                </a:cubicBezTo>
                <a:close/>
                <a:moveTo>
                  <a:pt x="3204" y="154"/>
                </a:moveTo>
                <a:cubicBezTo>
                  <a:pt x="3207" y="156"/>
                  <a:pt x="3211" y="157"/>
                  <a:pt x="3213" y="160"/>
                </a:cubicBezTo>
                <a:cubicBezTo>
                  <a:pt x="3215" y="161"/>
                  <a:pt x="3217" y="162"/>
                  <a:pt x="3219" y="161"/>
                </a:cubicBezTo>
                <a:cubicBezTo>
                  <a:pt x="3222" y="161"/>
                  <a:pt x="3223" y="159"/>
                  <a:pt x="3223" y="155"/>
                </a:cubicBezTo>
                <a:cubicBezTo>
                  <a:pt x="3223" y="156"/>
                  <a:pt x="3222" y="156"/>
                  <a:pt x="3222" y="156"/>
                </a:cubicBezTo>
                <a:cubicBezTo>
                  <a:pt x="3222" y="158"/>
                  <a:pt x="3221" y="159"/>
                  <a:pt x="3220" y="160"/>
                </a:cubicBezTo>
                <a:cubicBezTo>
                  <a:pt x="3219" y="161"/>
                  <a:pt x="3217" y="161"/>
                  <a:pt x="3217" y="160"/>
                </a:cubicBezTo>
                <a:cubicBezTo>
                  <a:pt x="3216" y="160"/>
                  <a:pt x="3215" y="159"/>
                  <a:pt x="3215" y="158"/>
                </a:cubicBezTo>
                <a:cubicBezTo>
                  <a:pt x="3215" y="156"/>
                  <a:pt x="3216" y="154"/>
                  <a:pt x="3216" y="152"/>
                </a:cubicBezTo>
                <a:cubicBezTo>
                  <a:pt x="3219" y="153"/>
                  <a:pt x="3222" y="154"/>
                  <a:pt x="3226" y="154"/>
                </a:cubicBezTo>
                <a:cubicBezTo>
                  <a:pt x="3233" y="155"/>
                  <a:pt x="3239" y="154"/>
                  <a:pt x="3242" y="145"/>
                </a:cubicBezTo>
                <a:cubicBezTo>
                  <a:pt x="3244" y="140"/>
                  <a:pt x="3244" y="136"/>
                  <a:pt x="3243" y="130"/>
                </a:cubicBezTo>
                <a:cubicBezTo>
                  <a:pt x="3242" y="128"/>
                  <a:pt x="3242" y="127"/>
                  <a:pt x="3241" y="125"/>
                </a:cubicBezTo>
                <a:cubicBezTo>
                  <a:pt x="3240" y="123"/>
                  <a:pt x="3239" y="123"/>
                  <a:pt x="3238" y="125"/>
                </a:cubicBezTo>
                <a:cubicBezTo>
                  <a:pt x="3236" y="126"/>
                  <a:pt x="3235" y="128"/>
                  <a:pt x="3233" y="128"/>
                </a:cubicBezTo>
                <a:cubicBezTo>
                  <a:pt x="3232" y="129"/>
                  <a:pt x="3231" y="130"/>
                  <a:pt x="3231" y="131"/>
                </a:cubicBezTo>
                <a:cubicBezTo>
                  <a:pt x="3232" y="134"/>
                  <a:pt x="3231" y="137"/>
                  <a:pt x="3230" y="140"/>
                </a:cubicBezTo>
                <a:cubicBezTo>
                  <a:pt x="3230" y="138"/>
                  <a:pt x="3231" y="136"/>
                  <a:pt x="3231" y="135"/>
                </a:cubicBezTo>
                <a:cubicBezTo>
                  <a:pt x="3231" y="134"/>
                  <a:pt x="3230" y="134"/>
                  <a:pt x="3230" y="133"/>
                </a:cubicBezTo>
                <a:cubicBezTo>
                  <a:pt x="3230" y="134"/>
                  <a:pt x="3229" y="134"/>
                  <a:pt x="3229" y="134"/>
                </a:cubicBezTo>
                <a:cubicBezTo>
                  <a:pt x="3228" y="135"/>
                  <a:pt x="3227" y="137"/>
                  <a:pt x="3226" y="138"/>
                </a:cubicBezTo>
                <a:cubicBezTo>
                  <a:pt x="3226" y="138"/>
                  <a:pt x="3226" y="138"/>
                  <a:pt x="3226" y="138"/>
                </a:cubicBezTo>
                <a:cubicBezTo>
                  <a:pt x="3226" y="136"/>
                  <a:pt x="3227" y="135"/>
                  <a:pt x="3227" y="132"/>
                </a:cubicBezTo>
                <a:cubicBezTo>
                  <a:pt x="3226" y="133"/>
                  <a:pt x="3226" y="134"/>
                  <a:pt x="3225" y="134"/>
                </a:cubicBezTo>
                <a:cubicBezTo>
                  <a:pt x="3224" y="135"/>
                  <a:pt x="3224" y="136"/>
                  <a:pt x="3224" y="136"/>
                </a:cubicBezTo>
                <a:cubicBezTo>
                  <a:pt x="3224" y="133"/>
                  <a:pt x="3224" y="133"/>
                  <a:pt x="3230" y="132"/>
                </a:cubicBezTo>
                <a:cubicBezTo>
                  <a:pt x="3230" y="131"/>
                  <a:pt x="3229" y="130"/>
                  <a:pt x="3229" y="130"/>
                </a:cubicBezTo>
                <a:cubicBezTo>
                  <a:pt x="3226" y="131"/>
                  <a:pt x="3226" y="130"/>
                  <a:pt x="3225" y="127"/>
                </a:cubicBezTo>
                <a:cubicBezTo>
                  <a:pt x="3227" y="127"/>
                  <a:pt x="3228" y="126"/>
                  <a:pt x="3230" y="126"/>
                </a:cubicBezTo>
                <a:cubicBezTo>
                  <a:pt x="3228" y="124"/>
                  <a:pt x="3227" y="121"/>
                  <a:pt x="3224" y="121"/>
                </a:cubicBezTo>
                <a:cubicBezTo>
                  <a:pt x="3223" y="121"/>
                  <a:pt x="3223" y="120"/>
                  <a:pt x="3223" y="120"/>
                </a:cubicBezTo>
                <a:cubicBezTo>
                  <a:pt x="3221" y="118"/>
                  <a:pt x="3218" y="115"/>
                  <a:pt x="3215" y="113"/>
                </a:cubicBezTo>
                <a:cubicBezTo>
                  <a:pt x="3213" y="112"/>
                  <a:pt x="3210" y="111"/>
                  <a:pt x="3208" y="111"/>
                </a:cubicBezTo>
                <a:cubicBezTo>
                  <a:pt x="3205" y="112"/>
                  <a:pt x="3202" y="113"/>
                  <a:pt x="3199" y="114"/>
                </a:cubicBezTo>
                <a:cubicBezTo>
                  <a:pt x="3196" y="115"/>
                  <a:pt x="3193" y="117"/>
                  <a:pt x="3191" y="120"/>
                </a:cubicBezTo>
                <a:cubicBezTo>
                  <a:pt x="3193" y="120"/>
                  <a:pt x="3194" y="120"/>
                  <a:pt x="3195" y="120"/>
                </a:cubicBezTo>
                <a:cubicBezTo>
                  <a:pt x="3195" y="120"/>
                  <a:pt x="3194" y="121"/>
                  <a:pt x="3193" y="121"/>
                </a:cubicBezTo>
                <a:cubicBezTo>
                  <a:pt x="3191" y="121"/>
                  <a:pt x="3188" y="121"/>
                  <a:pt x="3186" y="123"/>
                </a:cubicBezTo>
                <a:cubicBezTo>
                  <a:pt x="3183" y="127"/>
                  <a:pt x="3179" y="130"/>
                  <a:pt x="3175" y="135"/>
                </a:cubicBezTo>
                <a:cubicBezTo>
                  <a:pt x="3174" y="137"/>
                  <a:pt x="3173" y="139"/>
                  <a:pt x="3172" y="142"/>
                </a:cubicBezTo>
                <a:cubicBezTo>
                  <a:pt x="3172" y="142"/>
                  <a:pt x="3172" y="143"/>
                  <a:pt x="3172" y="143"/>
                </a:cubicBezTo>
                <a:cubicBezTo>
                  <a:pt x="3173" y="145"/>
                  <a:pt x="3175" y="147"/>
                  <a:pt x="3176" y="149"/>
                </a:cubicBezTo>
                <a:cubicBezTo>
                  <a:pt x="3177" y="147"/>
                  <a:pt x="3179" y="146"/>
                  <a:pt x="3180" y="145"/>
                </a:cubicBezTo>
                <a:cubicBezTo>
                  <a:pt x="3179" y="146"/>
                  <a:pt x="3179" y="147"/>
                  <a:pt x="3178" y="149"/>
                </a:cubicBezTo>
                <a:cubicBezTo>
                  <a:pt x="3177" y="150"/>
                  <a:pt x="3177" y="151"/>
                  <a:pt x="3176" y="153"/>
                </a:cubicBezTo>
                <a:cubicBezTo>
                  <a:pt x="3176" y="153"/>
                  <a:pt x="3176" y="155"/>
                  <a:pt x="3177" y="155"/>
                </a:cubicBezTo>
                <a:cubicBezTo>
                  <a:pt x="3179" y="159"/>
                  <a:pt x="3182" y="159"/>
                  <a:pt x="3186" y="157"/>
                </a:cubicBezTo>
                <a:cubicBezTo>
                  <a:pt x="3188" y="155"/>
                  <a:pt x="3191" y="154"/>
                  <a:pt x="3194" y="153"/>
                </a:cubicBezTo>
                <a:cubicBezTo>
                  <a:pt x="3195" y="153"/>
                  <a:pt x="3197" y="152"/>
                  <a:pt x="3197" y="151"/>
                </a:cubicBezTo>
                <a:cubicBezTo>
                  <a:pt x="3197" y="147"/>
                  <a:pt x="3197" y="144"/>
                  <a:pt x="3197" y="141"/>
                </a:cubicBezTo>
                <a:cubicBezTo>
                  <a:pt x="3197" y="138"/>
                  <a:pt x="3197" y="135"/>
                  <a:pt x="3197" y="132"/>
                </a:cubicBezTo>
                <a:cubicBezTo>
                  <a:pt x="3197" y="134"/>
                  <a:pt x="3198" y="137"/>
                  <a:pt x="3198" y="140"/>
                </a:cubicBezTo>
                <a:cubicBezTo>
                  <a:pt x="3199" y="144"/>
                  <a:pt x="3199" y="149"/>
                  <a:pt x="3198" y="153"/>
                </a:cubicBezTo>
                <a:cubicBezTo>
                  <a:pt x="3197" y="154"/>
                  <a:pt x="3197" y="155"/>
                  <a:pt x="3196" y="155"/>
                </a:cubicBezTo>
                <a:cubicBezTo>
                  <a:pt x="3193" y="155"/>
                  <a:pt x="3190" y="157"/>
                  <a:pt x="3186" y="159"/>
                </a:cubicBezTo>
                <a:cubicBezTo>
                  <a:pt x="3181" y="162"/>
                  <a:pt x="3178" y="160"/>
                  <a:pt x="3174" y="156"/>
                </a:cubicBezTo>
                <a:cubicBezTo>
                  <a:pt x="3174" y="155"/>
                  <a:pt x="3174" y="154"/>
                  <a:pt x="3174" y="154"/>
                </a:cubicBezTo>
                <a:cubicBezTo>
                  <a:pt x="3175" y="151"/>
                  <a:pt x="3174" y="149"/>
                  <a:pt x="3173" y="147"/>
                </a:cubicBezTo>
                <a:cubicBezTo>
                  <a:pt x="3171" y="145"/>
                  <a:pt x="3170" y="143"/>
                  <a:pt x="3171" y="140"/>
                </a:cubicBezTo>
                <a:cubicBezTo>
                  <a:pt x="3171" y="138"/>
                  <a:pt x="3172" y="137"/>
                  <a:pt x="3173" y="135"/>
                </a:cubicBezTo>
                <a:cubicBezTo>
                  <a:pt x="3175" y="132"/>
                  <a:pt x="3177" y="130"/>
                  <a:pt x="3179" y="127"/>
                </a:cubicBezTo>
                <a:cubicBezTo>
                  <a:pt x="3179" y="127"/>
                  <a:pt x="3178" y="127"/>
                  <a:pt x="3178" y="127"/>
                </a:cubicBezTo>
                <a:cubicBezTo>
                  <a:pt x="3173" y="128"/>
                  <a:pt x="3169" y="130"/>
                  <a:pt x="3165" y="133"/>
                </a:cubicBezTo>
                <a:cubicBezTo>
                  <a:pt x="3160" y="138"/>
                  <a:pt x="3157" y="143"/>
                  <a:pt x="3157" y="149"/>
                </a:cubicBezTo>
                <a:cubicBezTo>
                  <a:pt x="3157" y="156"/>
                  <a:pt x="3159" y="162"/>
                  <a:pt x="3162" y="168"/>
                </a:cubicBezTo>
                <a:cubicBezTo>
                  <a:pt x="3163" y="169"/>
                  <a:pt x="3164" y="170"/>
                  <a:pt x="3163" y="172"/>
                </a:cubicBezTo>
                <a:cubicBezTo>
                  <a:pt x="3163" y="173"/>
                  <a:pt x="3163" y="175"/>
                  <a:pt x="3162" y="176"/>
                </a:cubicBezTo>
                <a:cubicBezTo>
                  <a:pt x="3162" y="178"/>
                  <a:pt x="3162" y="179"/>
                  <a:pt x="3163" y="179"/>
                </a:cubicBezTo>
                <a:cubicBezTo>
                  <a:pt x="3166" y="180"/>
                  <a:pt x="3169" y="180"/>
                  <a:pt x="3172" y="181"/>
                </a:cubicBezTo>
                <a:cubicBezTo>
                  <a:pt x="3173" y="181"/>
                  <a:pt x="3173" y="180"/>
                  <a:pt x="3173" y="180"/>
                </a:cubicBezTo>
                <a:cubicBezTo>
                  <a:pt x="3174" y="178"/>
                  <a:pt x="3174" y="177"/>
                  <a:pt x="3175" y="176"/>
                </a:cubicBezTo>
                <a:cubicBezTo>
                  <a:pt x="3177" y="174"/>
                  <a:pt x="3177" y="171"/>
                  <a:pt x="3177" y="168"/>
                </a:cubicBezTo>
                <a:cubicBezTo>
                  <a:pt x="3177" y="168"/>
                  <a:pt x="3177" y="167"/>
                  <a:pt x="3177" y="167"/>
                </a:cubicBezTo>
                <a:cubicBezTo>
                  <a:pt x="3177" y="166"/>
                  <a:pt x="3177" y="166"/>
                  <a:pt x="3177" y="166"/>
                </a:cubicBezTo>
                <a:cubicBezTo>
                  <a:pt x="3177" y="169"/>
                  <a:pt x="3179" y="169"/>
                  <a:pt x="3181" y="169"/>
                </a:cubicBezTo>
                <a:cubicBezTo>
                  <a:pt x="3181" y="169"/>
                  <a:pt x="3182" y="169"/>
                  <a:pt x="3183" y="169"/>
                </a:cubicBezTo>
                <a:cubicBezTo>
                  <a:pt x="3186" y="169"/>
                  <a:pt x="3189" y="170"/>
                  <a:pt x="3190" y="165"/>
                </a:cubicBezTo>
                <a:cubicBezTo>
                  <a:pt x="3190" y="168"/>
                  <a:pt x="3190" y="169"/>
                  <a:pt x="3190" y="170"/>
                </a:cubicBezTo>
                <a:cubicBezTo>
                  <a:pt x="3188" y="171"/>
                  <a:pt x="3187" y="172"/>
                  <a:pt x="3186" y="172"/>
                </a:cubicBezTo>
                <a:cubicBezTo>
                  <a:pt x="3184" y="173"/>
                  <a:pt x="3184" y="174"/>
                  <a:pt x="3184" y="175"/>
                </a:cubicBezTo>
                <a:cubicBezTo>
                  <a:pt x="3186" y="178"/>
                  <a:pt x="3187" y="180"/>
                  <a:pt x="3188" y="182"/>
                </a:cubicBezTo>
                <a:cubicBezTo>
                  <a:pt x="3190" y="183"/>
                  <a:pt x="3192" y="182"/>
                  <a:pt x="3193" y="181"/>
                </a:cubicBezTo>
                <a:cubicBezTo>
                  <a:pt x="3194" y="180"/>
                  <a:pt x="3195" y="179"/>
                  <a:pt x="3195" y="179"/>
                </a:cubicBezTo>
                <a:cubicBezTo>
                  <a:pt x="3197" y="177"/>
                  <a:pt x="3199" y="176"/>
                  <a:pt x="3200" y="175"/>
                </a:cubicBezTo>
                <a:cubicBezTo>
                  <a:pt x="3204" y="170"/>
                  <a:pt x="3206" y="164"/>
                  <a:pt x="3208" y="159"/>
                </a:cubicBezTo>
                <a:cubicBezTo>
                  <a:pt x="3208" y="158"/>
                  <a:pt x="3207" y="157"/>
                  <a:pt x="3207" y="157"/>
                </a:cubicBezTo>
                <a:cubicBezTo>
                  <a:pt x="3206" y="156"/>
                  <a:pt x="3205" y="155"/>
                  <a:pt x="3204" y="154"/>
                </a:cubicBezTo>
                <a:close/>
                <a:moveTo>
                  <a:pt x="3157" y="161"/>
                </a:moveTo>
                <a:cubicBezTo>
                  <a:pt x="3156" y="161"/>
                  <a:pt x="3154" y="162"/>
                  <a:pt x="3153" y="163"/>
                </a:cubicBezTo>
                <a:cubicBezTo>
                  <a:pt x="3153" y="164"/>
                  <a:pt x="3152" y="164"/>
                  <a:pt x="3152" y="165"/>
                </a:cubicBezTo>
                <a:cubicBezTo>
                  <a:pt x="3152" y="168"/>
                  <a:pt x="3157" y="172"/>
                  <a:pt x="3160" y="172"/>
                </a:cubicBezTo>
                <a:cubicBezTo>
                  <a:pt x="3161" y="172"/>
                  <a:pt x="3162" y="171"/>
                  <a:pt x="3161" y="169"/>
                </a:cubicBezTo>
                <a:cubicBezTo>
                  <a:pt x="3160" y="166"/>
                  <a:pt x="3158" y="163"/>
                  <a:pt x="3157" y="161"/>
                </a:cubicBezTo>
                <a:close/>
                <a:moveTo>
                  <a:pt x="3209" y="163"/>
                </a:moveTo>
                <a:cubicBezTo>
                  <a:pt x="3207" y="167"/>
                  <a:pt x="3204" y="172"/>
                  <a:pt x="3202" y="176"/>
                </a:cubicBezTo>
                <a:cubicBezTo>
                  <a:pt x="3205" y="176"/>
                  <a:pt x="3207" y="176"/>
                  <a:pt x="3210" y="176"/>
                </a:cubicBezTo>
                <a:cubicBezTo>
                  <a:pt x="3210" y="176"/>
                  <a:pt x="3211" y="175"/>
                  <a:pt x="3211" y="174"/>
                </a:cubicBezTo>
                <a:cubicBezTo>
                  <a:pt x="3211" y="172"/>
                  <a:pt x="3211" y="169"/>
                  <a:pt x="3210" y="167"/>
                </a:cubicBezTo>
                <a:cubicBezTo>
                  <a:pt x="3210" y="165"/>
                  <a:pt x="3210" y="164"/>
                  <a:pt x="3209" y="163"/>
                </a:cubicBezTo>
                <a:close/>
                <a:moveTo>
                  <a:pt x="3157" y="142"/>
                </a:moveTo>
                <a:cubicBezTo>
                  <a:pt x="3156" y="143"/>
                  <a:pt x="3155" y="143"/>
                  <a:pt x="3155" y="143"/>
                </a:cubicBezTo>
                <a:cubicBezTo>
                  <a:pt x="3154" y="143"/>
                  <a:pt x="3153" y="143"/>
                  <a:pt x="3153" y="143"/>
                </a:cubicBezTo>
                <a:cubicBezTo>
                  <a:pt x="3153" y="142"/>
                  <a:pt x="3152" y="142"/>
                  <a:pt x="3152" y="141"/>
                </a:cubicBezTo>
                <a:cubicBezTo>
                  <a:pt x="3153" y="139"/>
                  <a:pt x="3153" y="137"/>
                  <a:pt x="3154" y="135"/>
                </a:cubicBezTo>
                <a:cubicBezTo>
                  <a:pt x="3154" y="135"/>
                  <a:pt x="3154" y="135"/>
                  <a:pt x="3153" y="135"/>
                </a:cubicBezTo>
                <a:cubicBezTo>
                  <a:pt x="3153" y="136"/>
                  <a:pt x="3151" y="136"/>
                  <a:pt x="3151" y="138"/>
                </a:cubicBezTo>
                <a:cubicBezTo>
                  <a:pt x="3150" y="139"/>
                  <a:pt x="3151" y="144"/>
                  <a:pt x="3153" y="145"/>
                </a:cubicBezTo>
                <a:cubicBezTo>
                  <a:pt x="3155" y="145"/>
                  <a:pt x="3157" y="144"/>
                  <a:pt x="3157" y="142"/>
                </a:cubicBezTo>
                <a:close/>
                <a:moveTo>
                  <a:pt x="3156" y="161"/>
                </a:moveTo>
                <a:cubicBezTo>
                  <a:pt x="3156" y="161"/>
                  <a:pt x="3154" y="162"/>
                  <a:pt x="3153" y="163"/>
                </a:cubicBezTo>
                <a:cubicBezTo>
                  <a:pt x="3152" y="164"/>
                  <a:pt x="3152" y="165"/>
                  <a:pt x="3152" y="165"/>
                </a:cubicBezTo>
                <a:cubicBezTo>
                  <a:pt x="3152" y="168"/>
                  <a:pt x="3156" y="173"/>
                  <a:pt x="3160" y="172"/>
                </a:cubicBezTo>
                <a:cubicBezTo>
                  <a:pt x="3161" y="172"/>
                  <a:pt x="3162" y="171"/>
                  <a:pt x="3161" y="169"/>
                </a:cubicBezTo>
                <a:cubicBezTo>
                  <a:pt x="3160" y="166"/>
                  <a:pt x="3158" y="163"/>
                  <a:pt x="3156" y="161"/>
                </a:cubicBezTo>
                <a:close/>
                <a:moveTo>
                  <a:pt x="3209" y="163"/>
                </a:moveTo>
                <a:cubicBezTo>
                  <a:pt x="3207" y="167"/>
                  <a:pt x="3204" y="172"/>
                  <a:pt x="3202" y="176"/>
                </a:cubicBezTo>
                <a:cubicBezTo>
                  <a:pt x="3205" y="176"/>
                  <a:pt x="3207" y="177"/>
                  <a:pt x="3210" y="176"/>
                </a:cubicBezTo>
                <a:cubicBezTo>
                  <a:pt x="3210" y="176"/>
                  <a:pt x="3211" y="175"/>
                  <a:pt x="3211" y="175"/>
                </a:cubicBezTo>
                <a:cubicBezTo>
                  <a:pt x="3211" y="172"/>
                  <a:pt x="3211" y="169"/>
                  <a:pt x="3210" y="167"/>
                </a:cubicBezTo>
                <a:cubicBezTo>
                  <a:pt x="3210" y="165"/>
                  <a:pt x="3209" y="164"/>
                  <a:pt x="3209" y="163"/>
                </a:cubicBezTo>
                <a:close/>
                <a:moveTo>
                  <a:pt x="3156" y="143"/>
                </a:moveTo>
                <a:cubicBezTo>
                  <a:pt x="3156" y="143"/>
                  <a:pt x="3155" y="143"/>
                  <a:pt x="3154" y="143"/>
                </a:cubicBezTo>
                <a:cubicBezTo>
                  <a:pt x="3154" y="143"/>
                  <a:pt x="3153" y="143"/>
                  <a:pt x="3153" y="143"/>
                </a:cubicBezTo>
                <a:cubicBezTo>
                  <a:pt x="3153" y="143"/>
                  <a:pt x="3152" y="142"/>
                  <a:pt x="3152" y="141"/>
                </a:cubicBezTo>
                <a:cubicBezTo>
                  <a:pt x="3153" y="139"/>
                  <a:pt x="3153" y="137"/>
                  <a:pt x="3154" y="135"/>
                </a:cubicBezTo>
                <a:cubicBezTo>
                  <a:pt x="3154" y="135"/>
                  <a:pt x="3154" y="135"/>
                  <a:pt x="3153" y="135"/>
                </a:cubicBezTo>
                <a:cubicBezTo>
                  <a:pt x="3153" y="136"/>
                  <a:pt x="3152" y="136"/>
                  <a:pt x="3151" y="138"/>
                </a:cubicBezTo>
                <a:cubicBezTo>
                  <a:pt x="3150" y="139"/>
                  <a:pt x="3152" y="144"/>
                  <a:pt x="3153" y="145"/>
                </a:cubicBezTo>
                <a:cubicBezTo>
                  <a:pt x="3154" y="146"/>
                  <a:pt x="3156" y="145"/>
                  <a:pt x="3156" y="143"/>
                </a:cubicBezTo>
                <a:close/>
                <a:moveTo>
                  <a:pt x="3209" y="134"/>
                </a:moveTo>
                <a:cubicBezTo>
                  <a:pt x="3212" y="131"/>
                  <a:pt x="3212" y="131"/>
                  <a:pt x="3216" y="129"/>
                </a:cubicBezTo>
                <a:cubicBezTo>
                  <a:pt x="3216" y="131"/>
                  <a:pt x="3217" y="133"/>
                  <a:pt x="3219" y="133"/>
                </a:cubicBezTo>
                <a:cubicBezTo>
                  <a:pt x="3216" y="134"/>
                  <a:pt x="3214" y="135"/>
                  <a:pt x="3212" y="137"/>
                </a:cubicBezTo>
                <a:cubicBezTo>
                  <a:pt x="3211" y="136"/>
                  <a:pt x="3211" y="135"/>
                  <a:pt x="3210" y="134"/>
                </a:cubicBezTo>
                <a:cubicBezTo>
                  <a:pt x="3210" y="134"/>
                  <a:pt x="3209" y="134"/>
                  <a:pt x="3209" y="134"/>
                </a:cubicBezTo>
                <a:close/>
                <a:moveTo>
                  <a:pt x="3215" y="134"/>
                </a:moveTo>
                <a:cubicBezTo>
                  <a:pt x="3214" y="133"/>
                  <a:pt x="3213" y="133"/>
                  <a:pt x="3213" y="133"/>
                </a:cubicBezTo>
                <a:cubicBezTo>
                  <a:pt x="3212" y="133"/>
                  <a:pt x="3211" y="134"/>
                  <a:pt x="3211" y="134"/>
                </a:cubicBezTo>
                <a:cubicBezTo>
                  <a:pt x="3211" y="135"/>
                  <a:pt x="3212" y="135"/>
                  <a:pt x="3212" y="135"/>
                </a:cubicBezTo>
                <a:cubicBezTo>
                  <a:pt x="3213" y="135"/>
                  <a:pt x="3213" y="135"/>
                  <a:pt x="3215" y="134"/>
                </a:cubicBezTo>
                <a:close/>
                <a:moveTo>
                  <a:pt x="3196" y="124"/>
                </a:moveTo>
                <a:cubicBezTo>
                  <a:pt x="3189" y="123"/>
                  <a:pt x="3186" y="126"/>
                  <a:pt x="3185" y="134"/>
                </a:cubicBezTo>
                <a:cubicBezTo>
                  <a:pt x="3186" y="132"/>
                  <a:pt x="3187" y="129"/>
                  <a:pt x="3189" y="127"/>
                </a:cubicBezTo>
                <a:cubicBezTo>
                  <a:pt x="3189" y="127"/>
                  <a:pt x="3189" y="127"/>
                  <a:pt x="3189" y="127"/>
                </a:cubicBezTo>
                <a:cubicBezTo>
                  <a:pt x="3189" y="128"/>
                  <a:pt x="3189" y="129"/>
                  <a:pt x="3189" y="130"/>
                </a:cubicBezTo>
                <a:cubicBezTo>
                  <a:pt x="3191" y="126"/>
                  <a:pt x="3192" y="124"/>
                  <a:pt x="3196" y="124"/>
                </a:cubicBezTo>
                <a:close/>
                <a:moveTo>
                  <a:pt x="3239" y="126"/>
                </a:moveTo>
                <a:cubicBezTo>
                  <a:pt x="3237" y="127"/>
                  <a:pt x="3236" y="128"/>
                  <a:pt x="3234" y="130"/>
                </a:cubicBezTo>
                <a:cubicBezTo>
                  <a:pt x="3236" y="130"/>
                  <a:pt x="3238" y="128"/>
                  <a:pt x="3239" y="126"/>
                </a:cubicBezTo>
                <a:close/>
                <a:moveTo>
                  <a:pt x="3206" y="128"/>
                </a:moveTo>
                <a:cubicBezTo>
                  <a:pt x="3207" y="126"/>
                  <a:pt x="3208" y="125"/>
                  <a:pt x="3210" y="124"/>
                </a:cubicBezTo>
                <a:cubicBezTo>
                  <a:pt x="3207" y="125"/>
                  <a:pt x="3206" y="126"/>
                  <a:pt x="3206" y="128"/>
                </a:cubicBezTo>
                <a:close/>
                <a:moveTo>
                  <a:pt x="3216" y="149"/>
                </a:moveTo>
                <a:cubicBezTo>
                  <a:pt x="3214" y="150"/>
                  <a:pt x="3213" y="150"/>
                  <a:pt x="3213" y="151"/>
                </a:cubicBezTo>
                <a:cubicBezTo>
                  <a:pt x="3214" y="151"/>
                  <a:pt x="3215" y="150"/>
                  <a:pt x="3216" y="149"/>
                </a:cubicBezTo>
                <a:close/>
                <a:moveTo>
                  <a:pt x="3215" y="134"/>
                </a:moveTo>
                <a:cubicBezTo>
                  <a:pt x="3214" y="133"/>
                  <a:pt x="3213" y="133"/>
                  <a:pt x="3213" y="133"/>
                </a:cubicBezTo>
                <a:cubicBezTo>
                  <a:pt x="3212" y="133"/>
                  <a:pt x="3212" y="134"/>
                  <a:pt x="3212" y="134"/>
                </a:cubicBezTo>
                <a:cubicBezTo>
                  <a:pt x="3212" y="134"/>
                  <a:pt x="3212" y="135"/>
                  <a:pt x="3212" y="135"/>
                </a:cubicBezTo>
                <a:cubicBezTo>
                  <a:pt x="3213" y="135"/>
                  <a:pt x="3214" y="134"/>
                  <a:pt x="3215" y="134"/>
                </a:cubicBezTo>
                <a:close/>
                <a:moveTo>
                  <a:pt x="3506" y="111"/>
                </a:moveTo>
                <a:cubicBezTo>
                  <a:pt x="3506" y="111"/>
                  <a:pt x="3506" y="111"/>
                  <a:pt x="3506" y="111"/>
                </a:cubicBezTo>
                <a:cubicBezTo>
                  <a:pt x="3501" y="111"/>
                  <a:pt x="3501" y="111"/>
                  <a:pt x="3501" y="111"/>
                </a:cubicBezTo>
                <a:cubicBezTo>
                  <a:pt x="3499" y="113"/>
                  <a:pt x="3498" y="114"/>
                  <a:pt x="3496" y="115"/>
                </a:cubicBezTo>
                <a:cubicBezTo>
                  <a:pt x="3494" y="116"/>
                  <a:pt x="3492" y="117"/>
                  <a:pt x="3490" y="118"/>
                </a:cubicBezTo>
                <a:cubicBezTo>
                  <a:pt x="3488" y="119"/>
                  <a:pt x="3487" y="120"/>
                  <a:pt x="3485" y="121"/>
                </a:cubicBezTo>
                <a:cubicBezTo>
                  <a:pt x="3483" y="121"/>
                  <a:pt x="3481" y="122"/>
                  <a:pt x="3479" y="122"/>
                </a:cubicBezTo>
                <a:cubicBezTo>
                  <a:pt x="3479" y="122"/>
                  <a:pt x="3479" y="122"/>
                  <a:pt x="3479" y="132"/>
                </a:cubicBezTo>
                <a:cubicBezTo>
                  <a:pt x="3482" y="132"/>
                  <a:pt x="3485" y="131"/>
                  <a:pt x="3487" y="129"/>
                </a:cubicBezTo>
                <a:cubicBezTo>
                  <a:pt x="3490" y="129"/>
                  <a:pt x="3493" y="127"/>
                  <a:pt x="3494" y="126"/>
                </a:cubicBezTo>
                <a:cubicBezTo>
                  <a:pt x="3494" y="126"/>
                  <a:pt x="3494" y="126"/>
                  <a:pt x="3494" y="185"/>
                </a:cubicBezTo>
                <a:cubicBezTo>
                  <a:pt x="3494" y="185"/>
                  <a:pt x="3494" y="185"/>
                  <a:pt x="3506" y="185"/>
                </a:cubicBezTo>
                <a:cubicBezTo>
                  <a:pt x="3506" y="185"/>
                  <a:pt x="3506" y="185"/>
                  <a:pt x="3506" y="111"/>
                </a:cubicBezTo>
                <a:close/>
                <a:moveTo>
                  <a:pt x="3627" y="111"/>
                </a:moveTo>
                <a:cubicBezTo>
                  <a:pt x="3627" y="111"/>
                  <a:pt x="3627" y="111"/>
                  <a:pt x="3627" y="111"/>
                </a:cubicBezTo>
                <a:cubicBezTo>
                  <a:pt x="3622" y="111"/>
                  <a:pt x="3622" y="111"/>
                  <a:pt x="3622" y="111"/>
                </a:cubicBezTo>
                <a:cubicBezTo>
                  <a:pt x="3620" y="113"/>
                  <a:pt x="3618" y="114"/>
                  <a:pt x="3616" y="115"/>
                </a:cubicBezTo>
                <a:cubicBezTo>
                  <a:pt x="3615" y="116"/>
                  <a:pt x="3613" y="117"/>
                  <a:pt x="3611" y="118"/>
                </a:cubicBezTo>
                <a:cubicBezTo>
                  <a:pt x="3610" y="119"/>
                  <a:pt x="3608" y="120"/>
                  <a:pt x="3606" y="121"/>
                </a:cubicBezTo>
                <a:cubicBezTo>
                  <a:pt x="3604" y="121"/>
                  <a:pt x="3603" y="122"/>
                  <a:pt x="3600" y="122"/>
                </a:cubicBezTo>
                <a:cubicBezTo>
                  <a:pt x="3600" y="122"/>
                  <a:pt x="3600" y="122"/>
                  <a:pt x="3600" y="132"/>
                </a:cubicBezTo>
                <a:cubicBezTo>
                  <a:pt x="3603" y="132"/>
                  <a:pt x="3606" y="131"/>
                  <a:pt x="3609" y="129"/>
                </a:cubicBezTo>
                <a:cubicBezTo>
                  <a:pt x="3611" y="129"/>
                  <a:pt x="3613" y="127"/>
                  <a:pt x="3616" y="126"/>
                </a:cubicBezTo>
                <a:cubicBezTo>
                  <a:pt x="3616" y="126"/>
                  <a:pt x="3616" y="126"/>
                  <a:pt x="3616" y="185"/>
                </a:cubicBezTo>
                <a:cubicBezTo>
                  <a:pt x="3616" y="185"/>
                  <a:pt x="3616" y="185"/>
                  <a:pt x="3627" y="185"/>
                </a:cubicBezTo>
                <a:cubicBezTo>
                  <a:pt x="3627" y="185"/>
                  <a:pt x="3627" y="185"/>
                  <a:pt x="3627" y="111"/>
                </a:cubicBezTo>
                <a:close/>
                <a:moveTo>
                  <a:pt x="3674" y="111"/>
                </a:moveTo>
                <a:cubicBezTo>
                  <a:pt x="3674" y="111"/>
                  <a:pt x="3674" y="111"/>
                  <a:pt x="3674" y="111"/>
                </a:cubicBezTo>
                <a:cubicBezTo>
                  <a:pt x="3669" y="111"/>
                  <a:pt x="3669" y="111"/>
                  <a:pt x="3669" y="111"/>
                </a:cubicBezTo>
                <a:cubicBezTo>
                  <a:pt x="3667" y="113"/>
                  <a:pt x="3666" y="114"/>
                  <a:pt x="3663" y="115"/>
                </a:cubicBezTo>
                <a:cubicBezTo>
                  <a:pt x="3662" y="116"/>
                  <a:pt x="3660" y="117"/>
                  <a:pt x="3658" y="118"/>
                </a:cubicBezTo>
                <a:cubicBezTo>
                  <a:pt x="3657" y="119"/>
                  <a:pt x="3655" y="120"/>
                  <a:pt x="3653" y="121"/>
                </a:cubicBezTo>
                <a:cubicBezTo>
                  <a:pt x="3651" y="121"/>
                  <a:pt x="3650" y="122"/>
                  <a:pt x="3647" y="122"/>
                </a:cubicBezTo>
                <a:cubicBezTo>
                  <a:pt x="3647" y="122"/>
                  <a:pt x="3647" y="122"/>
                  <a:pt x="3647" y="132"/>
                </a:cubicBezTo>
                <a:cubicBezTo>
                  <a:pt x="3650" y="132"/>
                  <a:pt x="3653" y="131"/>
                  <a:pt x="3655" y="129"/>
                </a:cubicBezTo>
                <a:cubicBezTo>
                  <a:pt x="3658" y="129"/>
                  <a:pt x="3660" y="127"/>
                  <a:pt x="3663" y="126"/>
                </a:cubicBezTo>
                <a:cubicBezTo>
                  <a:pt x="3663" y="126"/>
                  <a:pt x="3663" y="126"/>
                  <a:pt x="3663" y="185"/>
                </a:cubicBezTo>
                <a:cubicBezTo>
                  <a:pt x="3663" y="185"/>
                  <a:pt x="3663" y="185"/>
                  <a:pt x="3674" y="185"/>
                </a:cubicBezTo>
                <a:cubicBezTo>
                  <a:pt x="3674" y="185"/>
                  <a:pt x="3674" y="185"/>
                  <a:pt x="3674" y="111"/>
                </a:cubicBezTo>
                <a:close/>
                <a:moveTo>
                  <a:pt x="3720" y="111"/>
                </a:moveTo>
                <a:cubicBezTo>
                  <a:pt x="3720" y="111"/>
                  <a:pt x="3720" y="111"/>
                  <a:pt x="3720" y="111"/>
                </a:cubicBezTo>
                <a:cubicBezTo>
                  <a:pt x="3716" y="111"/>
                  <a:pt x="3716" y="111"/>
                  <a:pt x="3716" y="111"/>
                </a:cubicBezTo>
                <a:cubicBezTo>
                  <a:pt x="3714" y="113"/>
                  <a:pt x="3712" y="114"/>
                  <a:pt x="3710" y="115"/>
                </a:cubicBezTo>
                <a:cubicBezTo>
                  <a:pt x="3709" y="116"/>
                  <a:pt x="3707" y="117"/>
                  <a:pt x="3705" y="118"/>
                </a:cubicBezTo>
                <a:cubicBezTo>
                  <a:pt x="3703" y="119"/>
                  <a:pt x="3702" y="119"/>
                  <a:pt x="3699" y="120"/>
                </a:cubicBezTo>
                <a:cubicBezTo>
                  <a:pt x="3698" y="121"/>
                  <a:pt x="3696" y="121"/>
                  <a:pt x="3694" y="122"/>
                </a:cubicBezTo>
                <a:cubicBezTo>
                  <a:pt x="3694" y="122"/>
                  <a:pt x="3694" y="122"/>
                  <a:pt x="3694" y="132"/>
                </a:cubicBezTo>
                <a:cubicBezTo>
                  <a:pt x="3697" y="132"/>
                  <a:pt x="3700" y="130"/>
                  <a:pt x="3702" y="129"/>
                </a:cubicBezTo>
                <a:cubicBezTo>
                  <a:pt x="3704" y="129"/>
                  <a:pt x="3707" y="127"/>
                  <a:pt x="3709" y="126"/>
                </a:cubicBezTo>
                <a:cubicBezTo>
                  <a:pt x="3709" y="126"/>
                  <a:pt x="3709" y="126"/>
                  <a:pt x="3709" y="185"/>
                </a:cubicBezTo>
                <a:cubicBezTo>
                  <a:pt x="3709" y="185"/>
                  <a:pt x="3709" y="185"/>
                  <a:pt x="3720" y="185"/>
                </a:cubicBezTo>
                <a:cubicBezTo>
                  <a:pt x="3720" y="185"/>
                  <a:pt x="3720" y="185"/>
                  <a:pt x="3720" y="111"/>
                </a:cubicBezTo>
                <a:close/>
                <a:moveTo>
                  <a:pt x="3526" y="144"/>
                </a:moveTo>
                <a:cubicBezTo>
                  <a:pt x="3526" y="144"/>
                  <a:pt x="3526" y="144"/>
                  <a:pt x="3526" y="144"/>
                </a:cubicBezTo>
                <a:cubicBezTo>
                  <a:pt x="3525" y="152"/>
                  <a:pt x="3525" y="152"/>
                  <a:pt x="3525" y="152"/>
                </a:cubicBezTo>
                <a:cubicBezTo>
                  <a:pt x="3532" y="152"/>
                  <a:pt x="3532" y="155"/>
                  <a:pt x="3532" y="158"/>
                </a:cubicBezTo>
                <a:cubicBezTo>
                  <a:pt x="3532" y="160"/>
                  <a:pt x="3532" y="162"/>
                  <a:pt x="3532" y="165"/>
                </a:cubicBezTo>
                <a:cubicBezTo>
                  <a:pt x="3532" y="167"/>
                  <a:pt x="3531" y="170"/>
                  <a:pt x="3531" y="172"/>
                </a:cubicBezTo>
                <a:cubicBezTo>
                  <a:pt x="3531" y="181"/>
                  <a:pt x="3537" y="185"/>
                  <a:pt x="3546" y="185"/>
                </a:cubicBezTo>
                <a:cubicBezTo>
                  <a:pt x="3546" y="185"/>
                  <a:pt x="3546" y="185"/>
                  <a:pt x="3549" y="185"/>
                </a:cubicBezTo>
                <a:cubicBezTo>
                  <a:pt x="3549" y="185"/>
                  <a:pt x="3549" y="185"/>
                  <a:pt x="3549" y="176"/>
                </a:cubicBezTo>
                <a:cubicBezTo>
                  <a:pt x="3549" y="176"/>
                  <a:pt x="3549" y="176"/>
                  <a:pt x="3548" y="176"/>
                </a:cubicBezTo>
                <a:cubicBezTo>
                  <a:pt x="3544" y="176"/>
                  <a:pt x="3543" y="173"/>
                  <a:pt x="3543" y="170"/>
                </a:cubicBezTo>
                <a:cubicBezTo>
                  <a:pt x="3543" y="168"/>
                  <a:pt x="3543" y="167"/>
                  <a:pt x="3544" y="165"/>
                </a:cubicBezTo>
                <a:cubicBezTo>
                  <a:pt x="3544" y="163"/>
                  <a:pt x="3544" y="161"/>
                  <a:pt x="3544" y="159"/>
                </a:cubicBezTo>
                <a:cubicBezTo>
                  <a:pt x="3544" y="151"/>
                  <a:pt x="3541" y="149"/>
                  <a:pt x="3535" y="148"/>
                </a:cubicBezTo>
                <a:cubicBezTo>
                  <a:pt x="3535" y="148"/>
                  <a:pt x="3535" y="148"/>
                  <a:pt x="3535" y="147"/>
                </a:cubicBezTo>
                <a:cubicBezTo>
                  <a:pt x="3541" y="146"/>
                  <a:pt x="3544" y="144"/>
                  <a:pt x="3544" y="136"/>
                </a:cubicBezTo>
                <a:cubicBezTo>
                  <a:pt x="3544" y="134"/>
                  <a:pt x="3544" y="132"/>
                  <a:pt x="3544" y="130"/>
                </a:cubicBezTo>
                <a:cubicBezTo>
                  <a:pt x="3543" y="129"/>
                  <a:pt x="3543" y="127"/>
                  <a:pt x="3543" y="126"/>
                </a:cubicBezTo>
                <a:cubicBezTo>
                  <a:pt x="3543" y="122"/>
                  <a:pt x="3544" y="120"/>
                  <a:pt x="3548" y="120"/>
                </a:cubicBezTo>
                <a:cubicBezTo>
                  <a:pt x="3548" y="120"/>
                  <a:pt x="3548" y="120"/>
                  <a:pt x="3549" y="120"/>
                </a:cubicBezTo>
                <a:cubicBezTo>
                  <a:pt x="3549" y="120"/>
                  <a:pt x="3549" y="120"/>
                  <a:pt x="3549" y="110"/>
                </a:cubicBezTo>
                <a:cubicBezTo>
                  <a:pt x="3549" y="110"/>
                  <a:pt x="3549" y="110"/>
                  <a:pt x="3546" y="110"/>
                </a:cubicBezTo>
                <a:cubicBezTo>
                  <a:pt x="3537" y="110"/>
                  <a:pt x="3531" y="114"/>
                  <a:pt x="3531" y="123"/>
                </a:cubicBezTo>
                <a:cubicBezTo>
                  <a:pt x="3531" y="125"/>
                  <a:pt x="3532" y="128"/>
                  <a:pt x="3532" y="130"/>
                </a:cubicBezTo>
                <a:cubicBezTo>
                  <a:pt x="3532" y="133"/>
                  <a:pt x="3532" y="135"/>
                  <a:pt x="3532" y="137"/>
                </a:cubicBezTo>
                <a:cubicBezTo>
                  <a:pt x="3532" y="140"/>
                  <a:pt x="3532" y="143"/>
                  <a:pt x="3526" y="144"/>
                </a:cubicBezTo>
                <a:close/>
                <a:moveTo>
                  <a:pt x="3581" y="152"/>
                </a:moveTo>
                <a:cubicBezTo>
                  <a:pt x="3581" y="152"/>
                  <a:pt x="3581" y="152"/>
                  <a:pt x="3581" y="152"/>
                </a:cubicBezTo>
                <a:cubicBezTo>
                  <a:pt x="3581" y="144"/>
                  <a:pt x="3581" y="144"/>
                  <a:pt x="3581" y="144"/>
                </a:cubicBezTo>
                <a:cubicBezTo>
                  <a:pt x="3574" y="143"/>
                  <a:pt x="3574" y="140"/>
                  <a:pt x="3574" y="137"/>
                </a:cubicBezTo>
                <a:cubicBezTo>
                  <a:pt x="3574" y="135"/>
                  <a:pt x="3574" y="133"/>
                  <a:pt x="3574" y="130"/>
                </a:cubicBezTo>
                <a:cubicBezTo>
                  <a:pt x="3575" y="128"/>
                  <a:pt x="3575" y="125"/>
                  <a:pt x="3575" y="123"/>
                </a:cubicBezTo>
                <a:cubicBezTo>
                  <a:pt x="3575" y="114"/>
                  <a:pt x="3569" y="110"/>
                  <a:pt x="3560" y="110"/>
                </a:cubicBezTo>
                <a:cubicBezTo>
                  <a:pt x="3560" y="110"/>
                  <a:pt x="3560" y="110"/>
                  <a:pt x="3556" y="110"/>
                </a:cubicBezTo>
                <a:cubicBezTo>
                  <a:pt x="3556" y="110"/>
                  <a:pt x="3556" y="110"/>
                  <a:pt x="3556" y="120"/>
                </a:cubicBezTo>
                <a:cubicBezTo>
                  <a:pt x="3556" y="120"/>
                  <a:pt x="3556" y="120"/>
                  <a:pt x="3558" y="120"/>
                </a:cubicBezTo>
                <a:cubicBezTo>
                  <a:pt x="3561" y="120"/>
                  <a:pt x="3563" y="122"/>
                  <a:pt x="3563" y="126"/>
                </a:cubicBezTo>
                <a:cubicBezTo>
                  <a:pt x="3563" y="127"/>
                  <a:pt x="3563" y="129"/>
                  <a:pt x="3563" y="130"/>
                </a:cubicBezTo>
                <a:cubicBezTo>
                  <a:pt x="3562" y="132"/>
                  <a:pt x="3562" y="134"/>
                  <a:pt x="3562" y="136"/>
                </a:cubicBezTo>
                <a:cubicBezTo>
                  <a:pt x="3562" y="144"/>
                  <a:pt x="3565" y="146"/>
                  <a:pt x="3571" y="147"/>
                </a:cubicBezTo>
                <a:cubicBezTo>
                  <a:pt x="3571" y="147"/>
                  <a:pt x="3571" y="147"/>
                  <a:pt x="3571" y="148"/>
                </a:cubicBezTo>
                <a:cubicBezTo>
                  <a:pt x="3565" y="149"/>
                  <a:pt x="3562" y="151"/>
                  <a:pt x="3562" y="159"/>
                </a:cubicBezTo>
                <a:cubicBezTo>
                  <a:pt x="3562" y="161"/>
                  <a:pt x="3562" y="163"/>
                  <a:pt x="3563" y="165"/>
                </a:cubicBezTo>
                <a:cubicBezTo>
                  <a:pt x="3563" y="167"/>
                  <a:pt x="3563" y="168"/>
                  <a:pt x="3563" y="170"/>
                </a:cubicBezTo>
                <a:cubicBezTo>
                  <a:pt x="3563" y="173"/>
                  <a:pt x="3562" y="176"/>
                  <a:pt x="3558" y="176"/>
                </a:cubicBezTo>
                <a:cubicBezTo>
                  <a:pt x="3558" y="176"/>
                  <a:pt x="3558" y="176"/>
                  <a:pt x="3556" y="176"/>
                </a:cubicBezTo>
                <a:cubicBezTo>
                  <a:pt x="3556" y="176"/>
                  <a:pt x="3556" y="176"/>
                  <a:pt x="3556" y="185"/>
                </a:cubicBezTo>
                <a:cubicBezTo>
                  <a:pt x="3556" y="185"/>
                  <a:pt x="3556" y="185"/>
                  <a:pt x="3560" y="185"/>
                </a:cubicBezTo>
                <a:cubicBezTo>
                  <a:pt x="3569" y="185"/>
                  <a:pt x="3575" y="181"/>
                  <a:pt x="3575" y="172"/>
                </a:cubicBezTo>
                <a:cubicBezTo>
                  <a:pt x="3575" y="170"/>
                  <a:pt x="3575" y="167"/>
                  <a:pt x="3574" y="165"/>
                </a:cubicBezTo>
                <a:cubicBezTo>
                  <a:pt x="3574" y="162"/>
                  <a:pt x="3574" y="160"/>
                  <a:pt x="3574" y="158"/>
                </a:cubicBezTo>
                <a:cubicBezTo>
                  <a:pt x="3574" y="155"/>
                  <a:pt x="3574" y="152"/>
                  <a:pt x="3581" y="152"/>
                </a:cubicBezTo>
                <a:close/>
                <a:moveTo>
                  <a:pt x="3764" y="185"/>
                </a:moveTo>
                <a:cubicBezTo>
                  <a:pt x="3757" y="185"/>
                  <a:pt x="3750" y="182"/>
                  <a:pt x="3746" y="176"/>
                </a:cubicBezTo>
                <a:cubicBezTo>
                  <a:pt x="3742" y="169"/>
                  <a:pt x="3740" y="161"/>
                  <a:pt x="3740" y="148"/>
                </a:cubicBezTo>
                <a:cubicBezTo>
                  <a:pt x="3740" y="135"/>
                  <a:pt x="3742" y="126"/>
                  <a:pt x="3747" y="119"/>
                </a:cubicBezTo>
                <a:cubicBezTo>
                  <a:pt x="3751" y="112"/>
                  <a:pt x="3758" y="109"/>
                  <a:pt x="3766" y="109"/>
                </a:cubicBezTo>
                <a:cubicBezTo>
                  <a:pt x="3782" y="109"/>
                  <a:pt x="3790" y="121"/>
                  <a:pt x="3790" y="147"/>
                </a:cubicBezTo>
                <a:cubicBezTo>
                  <a:pt x="3790" y="159"/>
                  <a:pt x="3788" y="169"/>
                  <a:pt x="3783" y="175"/>
                </a:cubicBezTo>
                <a:cubicBezTo>
                  <a:pt x="3779" y="182"/>
                  <a:pt x="3772" y="185"/>
                  <a:pt x="3764" y="185"/>
                </a:cubicBezTo>
                <a:close/>
                <a:moveTo>
                  <a:pt x="3766" y="118"/>
                </a:moveTo>
                <a:cubicBezTo>
                  <a:pt x="3756" y="118"/>
                  <a:pt x="3752" y="129"/>
                  <a:pt x="3752" y="148"/>
                </a:cubicBezTo>
                <a:cubicBezTo>
                  <a:pt x="3752" y="166"/>
                  <a:pt x="3756" y="175"/>
                  <a:pt x="3765" y="175"/>
                </a:cubicBezTo>
                <a:cubicBezTo>
                  <a:pt x="3774" y="175"/>
                  <a:pt x="3778" y="166"/>
                  <a:pt x="3778" y="147"/>
                </a:cubicBezTo>
                <a:cubicBezTo>
                  <a:pt x="3778" y="128"/>
                  <a:pt x="3774" y="118"/>
                  <a:pt x="3766" y="118"/>
                </a:cubicBezTo>
                <a:close/>
                <a:moveTo>
                  <a:pt x="3835" y="185"/>
                </a:moveTo>
                <a:cubicBezTo>
                  <a:pt x="3827" y="185"/>
                  <a:pt x="3821" y="182"/>
                  <a:pt x="3817" y="176"/>
                </a:cubicBezTo>
                <a:cubicBezTo>
                  <a:pt x="3813" y="169"/>
                  <a:pt x="3811" y="161"/>
                  <a:pt x="3811" y="148"/>
                </a:cubicBezTo>
                <a:cubicBezTo>
                  <a:pt x="3811" y="135"/>
                  <a:pt x="3813" y="126"/>
                  <a:pt x="3817" y="119"/>
                </a:cubicBezTo>
                <a:cubicBezTo>
                  <a:pt x="3822" y="112"/>
                  <a:pt x="3828" y="109"/>
                  <a:pt x="3837" y="109"/>
                </a:cubicBezTo>
                <a:cubicBezTo>
                  <a:pt x="3853" y="109"/>
                  <a:pt x="3861" y="121"/>
                  <a:pt x="3861" y="147"/>
                </a:cubicBezTo>
                <a:cubicBezTo>
                  <a:pt x="3861" y="159"/>
                  <a:pt x="3859" y="169"/>
                  <a:pt x="3854" y="175"/>
                </a:cubicBezTo>
                <a:cubicBezTo>
                  <a:pt x="3849" y="182"/>
                  <a:pt x="3843" y="185"/>
                  <a:pt x="3835" y="185"/>
                </a:cubicBezTo>
                <a:close/>
                <a:moveTo>
                  <a:pt x="3836" y="118"/>
                </a:moveTo>
                <a:cubicBezTo>
                  <a:pt x="3827" y="118"/>
                  <a:pt x="3822" y="129"/>
                  <a:pt x="3822" y="148"/>
                </a:cubicBezTo>
                <a:cubicBezTo>
                  <a:pt x="3822" y="166"/>
                  <a:pt x="3827" y="175"/>
                  <a:pt x="3835" y="175"/>
                </a:cubicBezTo>
                <a:cubicBezTo>
                  <a:pt x="3844" y="175"/>
                  <a:pt x="3849" y="166"/>
                  <a:pt x="3849" y="147"/>
                </a:cubicBezTo>
                <a:cubicBezTo>
                  <a:pt x="3849" y="128"/>
                  <a:pt x="3844" y="118"/>
                  <a:pt x="3836" y="118"/>
                </a:cubicBezTo>
                <a:close/>
                <a:moveTo>
                  <a:pt x="1980" y="207"/>
                </a:moveTo>
                <a:cubicBezTo>
                  <a:pt x="1980" y="207"/>
                  <a:pt x="1980" y="207"/>
                  <a:pt x="1980" y="207"/>
                </a:cubicBezTo>
                <a:cubicBezTo>
                  <a:pt x="1975" y="207"/>
                  <a:pt x="1975" y="207"/>
                  <a:pt x="1975" y="207"/>
                </a:cubicBezTo>
                <a:cubicBezTo>
                  <a:pt x="1973" y="209"/>
                  <a:pt x="1971" y="210"/>
                  <a:pt x="1969" y="211"/>
                </a:cubicBezTo>
                <a:cubicBezTo>
                  <a:pt x="1968" y="212"/>
                  <a:pt x="1966" y="213"/>
                  <a:pt x="1964" y="214"/>
                </a:cubicBezTo>
                <a:cubicBezTo>
                  <a:pt x="1962" y="215"/>
                  <a:pt x="1960" y="216"/>
                  <a:pt x="1959" y="217"/>
                </a:cubicBezTo>
                <a:cubicBezTo>
                  <a:pt x="1957" y="217"/>
                  <a:pt x="1955" y="218"/>
                  <a:pt x="1953" y="218"/>
                </a:cubicBezTo>
                <a:cubicBezTo>
                  <a:pt x="1953" y="218"/>
                  <a:pt x="1953" y="218"/>
                  <a:pt x="1953" y="228"/>
                </a:cubicBezTo>
                <a:cubicBezTo>
                  <a:pt x="1956" y="228"/>
                  <a:pt x="1959" y="227"/>
                  <a:pt x="1962" y="225"/>
                </a:cubicBezTo>
                <a:cubicBezTo>
                  <a:pt x="1964" y="225"/>
                  <a:pt x="1966" y="223"/>
                  <a:pt x="1968" y="222"/>
                </a:cubicBezTo>
                <a:cubicBezTo>
                  <a:pt x="1968" y="222"/>
                  <a:pt x="1968" y="222"/>
                  <a:pt x="1968" y="281"/>
                </a:cubicBezTo>
                <a:cubicBezTo>
                  <a:pt x="1968" y="281"/>
                  <a:pt x="1968" y="281"/>
                  <a:pt x="1980" y="281"/>
                </a:cubicBezTo>
                <a:cubicBezTo>
                  <a:pt x="1980" y="281"/>
                  <a:pt x="1980" y="281"/>
                  <a:pt x="1980" y="207"/>
                </a:cubicBezTo>
                <a:close/>
                <a:moveTo>
                  <a:pt x="2027" y="207"/>
                </a:moveTo>
                <a:cubicBezTo>
                  <a:pt x="2027" y="207"/>
                  <a:pt x="2027" y="207"/>
                  <a:pt x="2027" y="207"/>
                </a:cubicBezTo>
                <a:cubicBezTo>
                  <a:pt x="2022" y="207"/>
                  <a:pt x="2022" y="207"/>
                  <a:pt x="2022" y="207"/>
                </a:cubicBezTo>
                <a:cubicBezTo>
                  <a:pt x="2020" y="209"/>
                  <a:pt x="2019" y="210"/>
                  <a:pt x="2016" y="211"/>
                </a:cubicBezTo>
                <a:cubicBezTo>
                  <a:pt x="2015" y="212"/>
                  <a:pt x="2013" y="213"/>
                  <a:pt x="2011" y="214"/>
                </a:cubicBezTo>
                <a:cubicBezTo>
                  <a:pt x="2010" y="215"/>
                  <a:pt x="2008" y="216"/>
                  <a:pt x="2006" y="217"/>
                </a:cubicBezTo>
                <a:cubicBezTo>
                  <a:pt x="2004" y="217"/>
                  <a:pt x="2003" y="218"/>
                  <a:pt x="2000" y="218"/>
                </a:cubicBezTo>
                <a:cubicBezTo>
                  <a:pt x="2000" y="218"/>
                  <a:pt x="2000" y="218"/>
                  <a:pt x="2000" y="228"/>
                </a:cubicBezTo>
                <a:cubicBezTo>
                  <a:pt x="2003" y="228"/>
                  <a:pt x="2006" y="227"/>
                  <a:pt x="2008" y="225"/>
                </a:cubicBezTo>
                <a:cubicBezTo>
                  <a:pt x="2011" y="225"/>
                  <a:pt x="2014" y="223"/>
                  <a:pt x="2016" y="222"/>
                </a:cubicBezTo>
                <a:cubicBezTo>
                  <a:pt x="2016" y="222"/>
                  <a:pt x="2016" y="222"/>
                  <a:pt x="2016" y="281"/>
                </a:cubicBezTo>
                <a:cubicBezTo>
                  <a:pt x="2016" y="281"/>
                  <a:pt x="2016" y="281"/>
                  <a:pt x="2027" y="281"/>
                </a:cubicBezTo>
                <a:cubicBezTo>
                  <a:pt x="2027" y="281"/>
                  <a:pt x="2027" y="281"/>
                  <a:pt x="2027" y="207"/>
                </a:cubicBezTo>
                <a:close/>
                <a:moveTo>
                  <a:pt x="2074" y="207"/>
                </a:moveTo>
                <a:cubicBezTo>
                  <a:pt x="2074" y="207"/>
                  <a:pt x="2074" y="207"/>
                  <a:pt x="2074" y="207"/>
                </a:cubicBezTo>
                <a:cubicBezTo>
                  <a:pt x="2070" y="207"/>
                  <a:pt x="2070" y="207"/>
                  <a:pt x="2070" y="207"/>
                </a:cubicBezTo>
                <a:cubicBezTo>
                  <a:pt x="2067" y="209"/>
                  <a:pt x="2066" y="210"/>
                  <a:pt x="2064" y="211"/>
                </a:cubicBezTo>
                <a:cubicBezTo>
                  <a:pt x="2062" y="212"/>
                  <a:pt x="2060" y="213"/>
                  <a:pt x="2059" y="214"/>
                </a:cubicBezTo>
                <a:cubicBezTo>
                  <a:pt x="2057" y="215"/>
                  <a:pt x="2055" y="215"/>
                  <a:pt x="2053" y="216"/>
                </a:cubicBezTo>
                <a:cubicBezTo>
                  <a:pt x="2052" y="217"/>
                  <a:pt x="2049" y="217"/>
                  <a:pt x="2048" y="218"/>
                </a:cubicBezTo>
                <a:cubicBezTo>
                  <a:pt x="2048" y="218"/>
                  <a:pt x="2048" y="218"/>
                  <a:pt x="2048" y="228"/>
                </a:cubicBezTo>
                <a:cubicBezTo>
                  <a:pt x="2051" y="228"/>
                  <a:pt x="2054" y="226"/>
                  <a:pt x="2056" y="225"/>
                </a:cubicBezTo>
                <a:cubicBezTo>
                  <a:pt x="2058" y="225"/>
                  <a:pt x="2061" y="223"/>
                  <a:pt x="2062" y="222"/>
                </a:cubicBezTo>
                <a:cubicBezTo>
                  <a:pt x="2062" y="222"/>
                  <a:pt x="2062" y="222"/>
                  <a:pt x="2062" y="281"/>
                </a:cubicBezTo>
                <a:cubicBezTo>
                  <a:pt x="2062" y="281"/>
                  <a:pt x="2062" y="281"/>
                  <a:pt x="2074" y="281"/>
                </a:cubicBezTo>
                <a:cubicBezTo>
                  <a:pt x="2074" y="281"/>
                  <a:pt x="2074" y="281"/>
                  <a:pt x="2074" y="207"/>
                </a:cubicBezTo>
                <a:close/>
                <a:moveTo>
                  <a:pt x="2119" y="281"/>
                </a:moveTo>
                <a:cubicBezTo>
                  <a:pt x="2111" y="281"/>
                  <a:pt x="2105" y="278"/>
                  <a:pt x="2100" y="272"/>
                </a:cubicBezTo>
                <a:cubicBezTo>
                  <a:pt x="2097" y="265"/>
                  <a:pt x="2095" y="257"/>
                  <a:pt x="2095" y="244"/>
                </a:cubicBezTo>
                <a:cubicBezTo>
                  <a:pt x="2095" y="231"/>
                  <a:pt x="2097" y="222"/>
                  <a:pt x="2101" y="215"/>
                </a:cubicBezTo>
                <a:cubicBezTo>
                  <a:pt x="2106" y="208"/>
                  <a:pt x="2112" y="205"/>
                  <a:pt x="2121" y="205"/>
                </a:cubicBezTo>
                <a:cubicBezTo>
                  <a:pt x="2137" y="205"/>
                  <a:pt x="2145" y="217"/>
                  <a:pt x="2145" y="243"/>
                </a:cubicBezTo>
                <a:cubicBezTo>
                  <a:pt x="2145" y="255"/>
                  <a:pt x="2143" y="265"/>
                  <a:pt x="2138" y="271"/>
                </a:cubicBezTo>
                <a:cubicBezTo>
                  <a:pt x="2133" y="278"/>
                  <a:pt x="2127" y="281"/>
                  <a:pt x="2119" y="281"/>
                </a:cubicBezTo>
                <a:close/>
                <a:moveTo>
                  <a:pt x="2120" y="214"/>
                </a:moveTo>
                <a:cubicBezTo>
                  <a:pt x="2111" y="214"/>
                  <a:pt x="2106" y="225"/>
                  <a:pt x="2106" y="244"/>
                </a:cubicBezTo>
                <a:cubicBezTo>
                  <a:pt x="2106" y="262"/>
                  <a:pt x="2111" y="271"/>
                  <a:pt x="2119" y="271"/>
                </a:cubicBezTo>
                <a:cubicBezTo>
                  <a:pt x="2128" y="271"/>
                  <a:pt x="2133" y="262"/>
                  <a:pt x="2133" y="243"/>
                </a:cubicBezTo>
                <a:cubicBezTo>
                  <a:pt x="2133" y="224"/>
                  <a:pt x="2128" y="214"/>
                  <a:pt x="2120" y="214"/>
                </a:cubicBezTo>
                <a:close/>
                <a:moveTo>
                  <a:pt x="2190" y="281"/>
                </a:moveTo>
                <a:cubicBezTo>
                  <a:pt x="2182" y="281"/>
                  <a:pt x="2176" y="278"/>
                  <a:pt x="2172" y="272"/>
                </a:cubicBezTo>
                <a:cubicBezTo>
                  <a:pt x="2168" y="265"/>
                  <a:pt x="2166" y="257"/>
                  <a:pt x="2166" y="244"/>
                </a:cubicBezTo>
                <a:cubicBezTo>
                  <a:pt x="2166" y="231"/>
                  <a:pt x="2168" y="222"/>
                  <a:pt x="2172" y="215"/>
                </a:cubicBezTo>
                <a:cubicBezTo>
                  <a:pt x="2177" y="208"/>
                  <a:pt x="2183" y="205"/>
                  <a:pt x="2192" y="205"/>
                </a:cubicBezTo>
                <a:cubicBezTo>
                  <a:pt x="2208" y="205"/>
                  <a:pt x="2216" y="217"/>
                  <a:pt x="2216" y="243"/>
                </a:cubicBezTo>
                <a:cubicBezTo>
                  <a:pt x="2216" y="255"/>
                  <a:pt x="2214" y="265"/>
                  <a:pt x="2209" y="271"/>
                </a:cubicBezTo>
                <a:cubicBezTo>
                  <a:pt x="2204" y="278"/>
                  <a:pt x="2198" y="281"/>
                  <a:pt x="2190" y="281"/>
                </a:cubicBezTo>
                <a:close/>
                <a:moveTo>
                  <a:pt x="2191" y="214"/>
                </a:moveTo>
                <a:cubicBezTo>
                  <a:pt x="2182" y="214"/>
                  <a:pt x="2177" y="225"/>
                  <a:pt x="2177" y="244"/>
                </a:cubicBezTo>
                <a:cubicBezTo>
                  <a:pt x="2177" y="262"/>
                  <a:pt x="2182" y="271"/>
                  <a:pt x="2190" y="271"/>
                </a:cubicBezTo>
                <a:cubicBezTo>
                  <a:pt x="2199" y="271"/>
                  <a:pt x="2204" y="262"/>
                  <a:pt x="2204" y="243"/>
                </a:cubicBezTo>
                <a:cubicBezTo>
                  <a:pt x="2204" y="224"/>
                  <a:pt x="2199" y="214"/>
                  <a:pt x="2191" y="214"/>
                </a:cubicBezTo>
                <a:close/>
                <a:moveTo>
                  <a:pt x="2403" y="281"/>
                </a:moveTo>
                <a:cubicBezTo>
                  <a:pt x="2395" y="281"/>
                  <a:pt x="2389" y="278"/>
                  <a:pt x="2385" y="271"/>
                </a:cubicBezTo>
                <a:cubicBezTo>
                  <a:pt x="2380" y="265"/>
                  <a:pt x="2378" y="256"/>
                  <a:pt x="2378" y="244"/>
                </a:cubicBezTo>
                <a:cubicBezTo>
                  <a:pt x="2378" y="231"/>
                  <a:pt x="2380" y="222"/>
                  <a:pt x="2385" y="214"/>
                </a:cubicBezTo>
                <a:cubicBezTo>
                  <a:pt x="2389" y="208"/>
                  <a:pt x="2396" y="205"/>
                  <a:pt x="2405" y="205"/>
                </a:cubicBezTo>
                <a:cubicBezTo>
                  <a:pt x="2421" y="205"/>
                  <a:pt x="2429" y="217"/>
                  <a:pt x="2429" y="242"/>
                </a:cubicBezTo>
                <a:cubicBezTo>
                  <a:pt x="2429" y="255"/>
                  <a:pt x="2427" y="265"/>
                  <a:pt x="2422" y="271"/>
                </a:cubicBezTo>
                <a:cubicBezTo>
                  <a:pt x="2417" y="278"/>
                  <a:pt x="2411" y="281"/>
                  <a:pt x="2403" y="281"/>
                </a:cubicBezTo>
                <a:close/>
                <a:moveTo>
                  <a:pt x="2404" y="214"/>
                </a:moveTo>
                <a:cubicBezTo>
                  <a:pt x="2395" y="214"/>
                  <a:pt x="2391" y="224"/>
                  <a:pt x="2391" y="243"/>
                </a:cubicBezTo>
                <a:cubicBezTo>
                  <a:pt x="2391" y="262"/>
                  <a:pt x="2395" y="271"/>
                  <a:pt x="2404" y="271"/>
                </a:cubicBezTo>
                <a:cubicBezTo>
                  <a:pt x="2412" y="271"/>
                  <a:pt x="2417" y="262"/>
                  <a:pt x="2417" y="243"/>
                </a:cubicBezTo>
                <a:cubicBezTo>
                  <a:pt x="2417" y="224"/>
                  <a:pt x="2413" y="214"/>
                  <a:pt x="2404" y="214"/>
                </a:cubicBezTo>
                <a:close/>
                <a:moveTo>
                  <a:pt x="2521" y="281"/>
                </a:moveTo>
                <a:cubicBezTo>
                  <a:pt x="2513" y="281"/>
                  <a:pt x="2507" y="278"/>
                  <a:pt x="2503" y="271"/>
                </a:cubicBezTo>
                <a:cubicBezTo>
                  <a:pt x="2499" y="265"/>
                  <a:pt x="2496" y="256"/>
                  <a:pt x="2496" y="244"/>
                </a:cubicBezTo>
                <a:cubicBezTo>
                  <a:pt x="2496" y="231"/>
                  <a:pt x="2499" y="222"/>
                  <a:pt x="2503" y="214"/>
                </a:cubicBezTo>
                <a:cubicBezTo>
                  <a:pt x="2507" y="208"/>
                  <a:pt x="2514" y="205"/>
                  <a:pt x="2523" y="205"/>
                </a:cubicBezTo>
                <a:cubicBezTo>
                  <a:pt x="2539" y="205"/>
                  <a:pt x="2547" y="217"/>
                  <a:pt x="2547" y="242"/>
                </a:cubicBezTo>
                <a:cubicBezTo>
                  <a:pt x="2547" y="255"/>
                  <a:pt x="2545" y="265"/>
                  <a:pt x="2541" y="271"/>
                </a:cubicBezTo>
                <a:cubicBezTo>
                  <a:pt x="2535" y="278"/>
                  <a:pt x="2530" y="281"/>
                  <a:pt x="2521" y="281"/>
                </a:cubicBezTo>
                <a:close/>
                <a:moveTo>
                  <a:pt x="2522" y="214"/>
                </a:moveTo>
                <a:cubicBezTo>
                  <a:pt x="2513" y="214"/>
                  <a:pt x="2509" y="224"/>
                  <a:pt x="2509" y="243"/>
                </a:cubicBezTo>
                <a:cubicBezTo>
                  <a:pt x="2509" y="262"/>
                  <a:pt x="2513" y="271"/>
                  <a:pt x="2522" y="271"/>
                </a:cubicBezTo>
                <a:cubicBezTo>
                  <a:pt x="2530" y="271"/>
                  <a:pt x="2535" y="262"/>
                  <a:pt x="2535" y="243"/>
                </a:cubicBezTo>
                <a:cubicBezTo>
                  <a:pt x="2535" y="224"/>
                  <a:pt x="2531" y="214"/>
                  <a:pt x="2522" y="214"/>
                </a:cubicBezTo>
                <a:close/>
                <a:moveTo>
                  <a:pt x="2476" y="207"/>
                </a:moveTo>
                <a:cubicBezTo>
                  <a:pt x="2476" y="207"/>
                  <a:pt x="2476" y="207"/>
                  <a:pt x="2476" y="207"/>
                </a:cubicBezTo>
                <a:cubicBezTo>
                  <a:pt x="2471" y="207"/>
                  <a:pt x="2471" y="207"/>
                  <a:pt x="2471" y="207"/>
                </a:cubicBezTo>
                <a:cubicBezTo>
                  <a:pt x="2469" y="209"/>
                  <a:pt x="2467" y="210"/>
                  <a:pt x="2465" y="211"/>
                </a:cubicBezTo>
                <a:cubicBezTo>
                  <a:pt x="2464" y="212"/>
                  <a:pt x="2462" y="213"/>
                  <a:pt x="2460" y="214"/>
                </a:cubicBezTo>
                <a:cubicBezTo>
                  <a:pt x="2459" y="215"/>
                  <a:pt x="2457" y="215"/>
                  <a:pt x="2455" y="216"/>
                </a:cubicBezTo>
                <a:cubicBezTo>
                  <a:pt x="2453" y="217"/>
                  <a:pt x="2451" y="217"/>
                  <a:pt x="2449" y="218"/>
                </a:cubicBezTo>
                <a:cubicBezTo>
                  <a:pt x="2449" y="218"/>
                  <a:pt x="2449" y="218"/>
                  <a:pt x="2449" y="228"/>
                </a:cubicBezTo>
                <a:cubicBezTo>
                  <a:pt x="2452" y="228"/>
                  <a:pt x="2455" y="226"/>
                  <a:pt x="2457" y="225"/>
                </a:cubicBezTo>
                <a:cubicBezTo>
                  <a:pt x="2460" y="225"/>
                  <a:pt x="2462" y="223"/>
                  <a:pt x="2465" y="222"/>
                </a:cubicBezTo>
                <a:cubicBezTo>
                  <a:pt x="2465" y="222"/>
                  <a:pt x="2465" y="222"/>
                  <a:pt x="2465" y="281"/>
                </a:cubicBezTo>
                <a:cubicBezTo>
                  <a:pt x="2465" y="281"/>
                  <a:pt x="2465" y="281"/>
                  <a:pt x="2476" y="281"/>
                </a:cubicBezTo>
                <a:cubicBezTo>
                  <a:pt x="2476" y="281"/>
                  <a:pt x="2476" y="281"/>
                  <a:pt x="2476" y="207"/>
                </a:cubicBezTo>
                <a:close/>
                <a:moveTo>
                  <a:pt x="2592" y="281"/>
                </a:moveTo>
                <a:cubicBezTo>
                  <a:pt x="2584" y="281"/>
                  <a:pt x="2578" y="278"/>
                  <a:pt x="2574" y="272"/>
                </a:cubicBezTo>
                <a:cubicBezTo>
                  <a:pt x="2570" y="265"/>
                  <a:pt x="2567" y="257"/>
                  <a:pt x="2567" y="244"/>
                </a:cubicBezTo>
                <a:cubicBezTo>
                  <a:pt x="2567" y="231"/>
                  <a:pt x="2570" y="222"/>
                  <a:pt x="2574" y="215"/>
                </a:cubicBezTo>
                <a:cubicBezTo>
                  <a:pt x="2578" y="208"/>
                  <a:pt x="2585" y="205"/>
                  <a:pt x="2594" y="205"/>
                </a:cubicBezTo>
                <a:cubicBezTo>
                  <a:pt x="2610" y="205"/>
                  <a:pt x="2618" y="217"/>
                  <a:pt x="2618" y="243"/>
                </a:cubicBezTo>
                <a:cubicBezTo>
                  <a:pt x="2618" y="255"/>
                  <a:pt x="2616" y="265"/>
                  <a:pt x="2612" y="271"/>
                </a:cubicBezTo>
                <a:cubicBezTo>
                  <a:pt x="2606" y="278"/>
                  <a:pt x="2601" y="281"/>
                  <a:pt x="2592" y="281"/>
                </a:cubicBezTo>
                <a:close/>
                <a:moveTo>
                  <a:pt x="2593" y="214"/>
                </a:moveTo>
                <a:cubicBezTo>
                  <a:pt x="2584" y="214"/>
                  <a:pt x="2579" y="225"/>
                  <a:pt x="2579" y="244"/>
                </a:cubicBezTo>
                <a:cubicBezTo>
                  <a:pt x="2579" y="262"/>
                  <a:pt x="2584" y="271"/>
                  <a:pt x="2592" y="271"/>
                </a:cubicBezTo>
                <a:cubicBezTo>
                  <a:pt x="2601" y="271"/>
                  <a:pt x="2606" y="262"/>
                  <a:pt x="2606" y="243"/>
                </a:cubicBezTo>
                <a:cubicBezTo>
                  <a:pt x="2606" y="224"/>
                  <a:pt x="2601" y="214"/>
                  <a:pt x="2593" y="214"/>
                </a:cubicBezTo>
                <a:close/>
                <a:moveTo>
                  <a:pt x="2639" y="240"/>
                </a:moveTo>
                <a:cubicBezTo>
                  <a:pt x="2639" y="240"/>
                  <a:pt x="2639" y="240"/>
                  <a:pt x="2639" y="240"/>
                </a:cubicBezTo>
                <a:cubicBezTo>
                  <a:pt x="2638" y="248"/>
                  <a:pt x="2638" y="248"/>
                  <a:pt x="2638" y="248"/>
                </a:cubicBezTo>
                <a:cubicBezTo>
                  <a:pt x="2645" y="248"/>
                  <a:pt x="2646" y="251"/>
                  <a:pt x="2646" y="254"/>
                </a:cubicBezTo>
                <a:cubicBezTo>
                  <a:pt x="2646" y="256"/>
                  <a:pt x="2645" y="258"/>
                  <a:pt x="2645" y="261"/>
                </a:cubicBezTo>
                <a:cubicBezTo>
                  <a:pt x="2645" y="263"/>
                  <a:pt x="2644" y="266"/>
                  <a:pt x="2644" y="268"/>
                </a:cubicBezTo>
                <a:cubicBezTo>
                  <a:pt x="2644" y="277"/>
                  <a:pt x="2650" y="281"/>
                  <a:pt x="2659" y="281"/>
                </a:cubicBezTo>
                <a:cubicBezTo>
                  <a:pt x="2659" y="281"/>
                  <a:pt x="2659" y="281"/>
                  <a:pt x="2663" y="281"/>
                </a:cubicBezTo>
                <a:cubicBezTo>
                  <a:pt x="2663" y="281"/>
                  <a:pt x="2663" y="281"/>
                  <a:pt x="2663" y="272"/>
                </a:cubicBezTo>
                <a:cubicBezTo>
                  <a:pt x="2663" y="272"/>
                  <a:pt x="2663" y="272"/>
                  <a:pt x="2661" y="272"/>
                </a:cubicBezTo>
                <a:cubicBezTo>
                  <a:pt x="2658" y="272"/>
                  <a:pt x="2656" y="269"/>
                  <a:pt x="2656" y="266"/>
                </a:cubicBezTo>
                <a:cubicBezTo>
                  <a:pt x="2656" y="264"/>
                  <a:pt x="2656" y="263"/>
                  <a:pt x="2657" y="261"/>
                </a:cubicBezTo>
                <a:cubicBezTo>
                  <a:pt x="2657" y="259"/>
                  <a:pt x="2657" y="257"/>
                  <a:pt x="2657" y="255"/>
                </a:cubicBezTo>
                <a:cubicBezTo>
                  <a:pt x="2657" y="247"/>
                  <a:pt x="2654" y="245"/>
                  <a:pt x="2649" y="244"/>
                </a:cubicBezTo>
                <a:cubicBezTo>
                  <a:pt x="2649" y="244"/>
                  <a:pt x="2649" y="244"/>
                  <a:pt x="2649" y="243"/>
                </a:cubicBezTo>
                <a:cubicBezTo>
                  <a:pt x="2654" y="242"/>
                  <a:pt x="2657" y="240"/>
                  <a:pt x="2657" y="232"/>
                </a:cubicBezTo>
                <a:cubicBezTo>
                  <a:pt x="2657" y="230"/>
                  <a:pt x="2657" y="228"/>
                  <a:pt x="2657" y="226"/>
                </a:cubicBezTo>
                <a:cubicBezTo>
                  <a:pt x="2656" y="225"/>
                  <a:pt x="2656" y="223"/>
                  <a:pt x="2656" y="222"/>
                </a:cubicBezTo>
                <a:cubicBezTo>
                  <a:pt x="2656" y="218"/>
                  <a:pt x="2658" y="216"/>
                  <a:pt x="2661" y="216"/>
                </a:cubicBezTo>
                <a:cubicBezTo>
                  <a:pt x="2661" y="216"/>
                  <a:pt x="2661" y="216"/>
                  <a:pt x="2663" y="216"/>
                </a:cubicBezTo>
                <a:cubicBezTo>
                  <a:pt x="2663" y="216"/>
                  <a:pt x="2663" y="216"/>
                  <a:pt x="2663" y="206"/>
                </a:cubicBezTo>
                <a:cubicBezTo>
                  <a:pt x="2663" y="206"/>
                  <a:pt x="2663" y="206"/>
                  <a:pt x="2659" y="206"/>
                </a:cubicBezTo>
                <a:cubicBezTo>
                  <a:pt x="2650" y="206"/>
                  <a:pt x="2644" y="210"/>
                  <a:pt x="2644" y="219"/>
                </a:cubicBezTo>
                <a:cubicBezTo>
                  <a:pt x="2644" y="221"/>
                  <a:pt x="2645" y="224"/>
                  <a:pt x="2645" y="226"/>
                </a:cubicBezTo>
                <a:cubicBezTo>
                  <a:pt x="2645" y="229"/>
                  <a:pt x="2646" y="231"/>
                  <a:pt x="2646" y="233"/>
                </a:cubicBezTo>
                <a:cubicBezTo>
                  <a:pt x="2646" y="236"/>
                  <a:pt x="2645" y="239"/>
                  <a:pt x="2639" y="240"/>
                </a:cubicBezTo>
                <a:close/>
                <a:moveTo>
                  <a:pt x="2694" y="248"/>
                </a:moveTo>
                <a:cubicBezTo>
                  <a:pt x="2694" y="248"/>
                  <a:pt x="2694" y="248"/>
                  <a:pt x="2694" y="248"/>
                </a:cubicBezTo>
                <a:cubicBezTo>
                  <a:pt x="2694" y="240"/>
                  <a:pt x="2694" y="240"/>
                  <a:pt x="2694" y="240"/>
                </a:cubicBezTo>
                <a:cubicBezTo>
                  <a:pt x="2687" y="239"/>
                  <a:pt x="2687" y="236"/>
                  <a:pt x="2687" y="233"/>
                </a:cubicBezTo>
                <a:cubicBezTo>
                  <a:pt x="2687" y="231"/>
                  <a:pt x="2687" y="229"/>
                  <a:pt x="2687" y="226"/>
                </a:cubicBezTo>
                <a:cubicBezTo>
                  <a:pt x="2688" y="224"/>
                  <a:pt x="2688" y="221"/>
                  <a:pt x="2688" y="219"/>
                </a:cubicBezTo>
                <a:cubicBezTo>
                  <a:pt x="2688" y="210"/>
                  <a:pt x="2683" y="206"/>
                  <a:pt x="2673" y="206"/>
                </a:cubicBezTo>
                <a:cubicBezTo>
                  <a:pt x="2673" y="206"/>
                  <a:pt x="2673" y="206"/>
                  <a:pt x="2670" y="206"/>
                </a:cubicBezTo>
                <a:cubicBezTo>
                  <a:pt x="2670" y="206"/>
                  <a:pt x="2670" y="206"/>
                  <a:pt x="2670" y="216"/>
                </a:cubicBezTo>
                <a:cubicBezTo>
                  <a:pt x="2670" y="216"/>
                  <a:pt x="2670" y="216"/>
                  <a:pt x="2671" y="216"/>
                </a:cubicBezTo>
                <a:cubicBezTo>
                  <a:pt x="2675" y="216"/>
                  <a:pt x="2676" y="218"/>
                  <a:pt x="2676" y="222"/>
                </a:cubicBezTo>
                <a:cubicBezTo>
                  <a:pt x="2676" y="223"/>
                  <a:pt x="2676" y="225"/>
                  <a:pt x="2676" y="226"/>
                </a:cubicBezTo>
                <a:cubicBezTo>
                  <a:pt x="2676" y="228"/>
                  <a:pt x="2676" y="230"/>
                  <a:pt x="2676" y="232"/>
                </a:cubicBezTo>
                <a:cubicBezTo>
                  <a:pt x="2676" y="240"/>
                  <a:pt x="2678" y="242"/>
                  <a:pt x="2684" y="243"/>
                </a:cubicBezTo>
                <a:cubicBezTo>
                  <a:pt x="2684" y="243"/>
                  <a:pt x="2684" y="243"/>
                  <a:pt x="2684" y="244"/>
                </a:cubicBezTo>
                <a:cubicBezTo>
                  <a:pt x="2678" y="245"/>
                  <a:pt x="2676" y="247"/>
                  <a:pt x="2676" y="255"/>
                </a:cubicBezTo>
                <a:cubicBezTo>
                  <a:pt x="2676" y="257"/>
                  <a:pt x="2676" y="259"/>
                  <a:pt x="2676" y="261"/>
                </a:cubicBezTo>
                <a:cubicBezTo>
                  <a:pt x="2676" y="263"/>
                  <a:pt x="2676" y="264"/>
                  <a:pt x="2676" y="266"/>
                </a:cubicBezTo>
                <a:cubicBezTo>
                  <a:pt x="2676" y="269"/>
                  <a:pt x="2675" y="272"/>
                  <a:pt x="2671" y="272"/>
                </a:cubicBezTo>
                <a:cubicBezTo>
                  <a:pt x="2671" y="272"/>
                  <a:pt x="2671" y="272"/>
                  <a:pt x="2670" y="272"/>
                </a:cubicBezTo>
                <a:cubicBezTo>
                  <a:pt x="2670" y="272"/>
                  <a:pt x="2670" y="272"/>
                  <a:pt x="2670" y="281"/>
                </a:cubicBezTo>
                <a:cubicBezTo>
                  <a:pt x="2670" y="281"/>
                  <a:pt x="2670" y="281"/>
                  <a:pt x="2673" y="281"/>
                </a:cubicBezTo>
                <a:cubicBezTo>
                  <a:pt x="2682" y="281"/>
                  <a:pt x="2688" y="277"/>
                  <a:pt x="2688" y="268"/>
                </a:cubicBezTo>
                <a:cubicBezTo>
                  <a:pt x="2688" y="266"/>
                  <a:pt x="2688" y="263"/>
                  <a:pt x="2687" y="261"/>
                </a:cubicBezTo>
                <a:cubicBezTo>
                  <a:pt x="2687" y="258"/>
                  <a:pt x="2687" y="256"/>
                  <a:pt x="2687" y="254"/>
                </a:cubicBezTo>
                <a:cubicBezTo>
                  <a:pt x="2687" y="251"/>
                  <a:pt x="2687" y="248"/>
                  <a:pt x="2694" y="248"/>
                </a:cubicBezTo>
                <a:close/>
                <a:moveTo>
                  <a:pt x="2814" y="281"/>
                </a:moveTo>
                <a:cubicBezTo>
                  <a:pt x="2807" y="281"/>
                  <a:pt x="2800" y="278"/>
                  <a:pt x="2796" y="272"/>
                </a:cubicBezTo>
                <a:cubicBezTo>
                  <a:pt x="2792" y="265"/>
                  <a:pt x="2790" y="257"/>
                  <a:pt x="2790" y="244"/>
                </a:cubicBezTo>
                <a:cubicBezTo>
                  <a:pt x="2790" y="231"/>
                  <a:pt x="2792" y="222"/>
                  <a:pt x="2796" y="215"/>
                </a:cubicBezTo>
                <a:cubicBezTo>
                  <a:pt x="2801" y="208"/>
                  <a:pt x="2807" y="205"/>
                  <a:pt x="2816" y="205"/>
                </a:cubicBezTo>
                <a:cubicBezTo>
                  <a:pt x="2832" y="205"/>
                  <a:pt x="2840" y="217"/>
                  <a:pt x="2840" y="243"/>
                </a:cubicBezTo>
                <a:cubicBezTo>
                  <a:pt x="2840" y="255"/>
                  <a:pt x="2838" y="265"/>
                  <a:pt x="2833" y="271"/>
                </a:cubicBezTo>
                <a:cubicBezTo>
                  <a:pt x="2829" y="278"/>
                  <a:pt x="2822" y="281"/>
                  <a:pt x="2814" y="281"/>
                </a:cubicBezTo>
                <a:close/>
                <a:moveTo>
                  <a:pt x="2815" y="214"/>
                </a:moveTo>
                <a:cubicBezTo>
                  <a:pt x="2806" y="214"/>
                  <a:pt x="2801" y="225"/>
                  <a:pt x="2801" y="244"/>
                </a:cubicBezTo>
                <a:cubicBezTo>
                  <a:pt x="2801" y="262"/>
                  <a:pt x="2806" y="271"/>
                  <a:pt x="2815" y="271"/>
                </a:cubicBezTo>
                <a:cubicBezTo>
                  <a:pt x="2824" y="271"/>
                  <a:pt x="2828" y="262"/>
                  <a:pt x="2828" y="243"/>
                </a:cubicBezTo>
                <a:cubicBezTo>
                  <a:pt x="2828" y="224"/>
                  <a:pt x="2824" y="214"/>
                  <a:pt x="2815" y="214"/>
                </a:cubicBezTo>
                <a:close/>
                <a:moveTo>
                  <a:pt x="2888" y="207"/>
                </a:moveTo>
                <a:cubicBezTo>
                  <a:pt x="2888" y="207"/>
                  <a:pt x="2888" y="207"/>
                  <a:pt x="2888" y="207"/>
                </a:cubicBezTo>
                <a:cubicBezTo>
                  <a:pt x="2883" y="207"/>
                  <a:pt x="2883" y="207"/>
                  <a:pt x="2883" y="207"/>
                </a:cubicBezTo>
                <a:cubicBezTo>
                  <a:pt x="2881" y="209"/>
                  <a:pt x="2879" y="210"/>
                  <a:pt x="2877" y="211"/>
                </a:cubicBezTo>
                <a:cubicBezTo>
                  <a:pt x="2875" y="212"/>
                  <a:pt x="2873" y="213"/>
                  <a:pt x="2872" y="214"/>
                </a:cubicBezTo>
                <a:cubicBezTo>
                  <a:pt x="2870" y="215"/>
                  <a:pt x="2868" y="215"/>
                  <a:pt x="2867" y="216"/>
                </a:cubicBezTo>
                <a:cubicBezTo>
                  <a:pt x="2864" y="217"/>
                  <a:pt x="2863" y="217"/>
                  <a:pt x="2861" y="218"/>
                </a:cubicBezTo>
                <a:cubicBezTo>
                  <a:pt x="2861" y="218"/>
                  <a:pt x="2861" y="218"/>
                  <a:pt x="2861" y="228"/>
                </a:cubicBezTo>
                <a:cubicBezTo>
                  <a:pt x="2864" y="228"/>
                  <a:pt x="2867" y="226"/>
                  <a:pt x="2869" y="225"/>
                </a:cubicBezTo>
                <a:cubicBezTo>
                  <a:pt x="2872" y="225"/>
                  <a:pt x="2874" y="223"/>
                  <a:pt x="2876" y="222"/>
                </a:cubicBezTo>
                <a:cubicBezTo>
                  <a:pt x="2876" y="222"/>
                  <a:pt x="2876" y="222"/>
                  <a:pt x="2876" y="281"/>
                </a:cubicBezTo>
                <a:cubicBezTo>
                  <a:pt x="2876" y="281"/>
                  <a:pt x="2876" y="281"/>
                  <a:pt x="2888" y="281"/>
                </a:cubicBezTo>
                <a:cubicBezTo>
                  <a:pt x="2888" y="281"/>
                  <a:pt x="2888" y="281"/>
                  <a:pt x="2888" y="207"/>
                </a:cubicBezTo>
                <a:close/>
                <a:moveTo>
                  <a:pt x="2720" y="281"/>
                </a:moveTo>
                <a:cubicBezTo>
                  <a:pt x="2723" y="262"/>
                  <a:pt x="2723" y="262"/>
                  <a:pt x="2723" y="262"/>
                </a:cubicBezTo>
                <a:cubicBezTo>
                  <a:pt x="2714" y="262"/>
                  <a:pt x="2714" y="262"/>
                  <a:pt x="2714" y="262"/>
                </a:cubicBezTo>
                <a:cubicBezTo>
                  <a:pt x="2714" y="249"/>
                  <a:pt x="2714" y="249"/>
                  <a:pt x="2714" y="249"/>
                </a:cubicBezTo>
                <a:cubicBezTo>
                  <a:pt x="2725" y="249"/>
                  <a:pt x="2725" y="249"/>
                  <a:pt x="2725" y="249"/>
                </a:cubicBezTo>
                <a:cubicBezTo>
                  <a:pt x="2727" y="239"/>
                  <a:pt x="2727" y="239"/>
                  <a:pt x="2727" y="239"/>
                </a:cubicBezTo>
                <a:cubicBezTo>
                  <a:pt x="2717" y="239"/>
                  <a:pt x="2717" y="239"/>
                  <a:pt x="2717" y="239"/>
                </a:cubicBezTo>
                <a:cubicBezTo>
                  <a:pt x="2717" y="227"/>
                  <a:pt x="2717" y="227"/>
                  <a:pt x="2717" y="227"/>
                </a:cubicBezTo>
                <a:cubicBezTo>
                  <a:pt x="2729" y="227"/>
                  <a:pt x="2729" y="227"/>
                  <a:pt x="2729" y="227"/>
                </a:cubicBezTo>
                <a:cubicBezTo>
                  <a:pt x="2731" y="208"/>
                  <a:pt x="2731" y="208"/>
                  <a:pt x="2731" y="208"/>
                </a:cubicBezTo>
                <a:cubicBezTo>
                  <a:pt x="2743" y="208"/>
                  <a:pt x="2743" y="208"/>
                  <a:pt x="2743" y="208"/>
                </a:cubicBezTo>
                <a:cubicBezTo>
                  <a:pt x="2740" y="227"/>
                  <a:pt x="2740" y="227"/>
                  <a:pt x="2740" y="227"/>
                </a:cubicBezTo>
                <a:cubicBezTo>
                  <a:pt x="2749" y="227"/>
                  <a:pt x="2749" y="227"/>
                  <a:pt x="2749" y="227"/>
                </a:cubicBezTo>
                <a:cubicBezTo>
                  <a:pt x="2752" y="208"/>
                  <a:pt x="2752" y="208"/>
                  <a:pt x="2752" y="208"/>
                </a:cubicBezTo>
                <a:cubicBezTo>
                  <a:pt x="2764" y="208"/>
                  <a:pt x="2764" y="208"/>
                  <a:pt x="2764" y="208"/>
                </a:cubicBezTo>
                <a:cubicBezTo>
                  <a:pt x="2760" y="227"/>
                  <a:pt x="2760" y="227"/>
                  <a:pt x="2760" y="227"/>
                </a:cubicBezTo>
                <a:cubicBezTo>
                  <a:pt x="2769" y="227"/>
                  <a:pt x="2769" y="227"/>
                  <a:pt x="2769" y="227"/>
                </a:cubicBezTo>
                <a:cubicBezTo>
                  <a:pt x="2769" y="239"/>
                  <a:pt x="2769" y="239"/>
                  <a:pt x="2769" y="239"/>
                </a:cubicBezTo>
                <a:cubicBezTo>
                  <a:pt x="2759" y="239"/>
                  <a:pt x="2759" y="239"/>
                  <a:pt x="2759" y="239"/>
                </a:cubicBezTo>
                <a:cubicBezTo>
                  <a:pt x="2757" y="249"/>
                  <a:pt x="2757" y="249"/>
                  <a:pt x="2757" y="249"/>
                </a:cubicBezTo>
                <a:cubicBezTo>
                  <a:pt x="2766" y="249"/>
                  <a:pt x="2766" y="249"/>
                  <a:pt x="2766" y="249"/>
                </a:cubicBezTo>
                <a:cubicBezTo>
                  <a:pt x="2766" y="262"/>
                  <a:pt x="2766" y="262"/>
                  <a:pt x="2766" y="262"/>
                </a:cubicBezTo>
                <a:cubicBezTo>
                  <a:pt x="2755" y="262"/>
                  <a:pt x="2755" y="262"/>
                  <a:pt x="2755" y="262"/>
                </a:cubicBezTo>
                <a:cubicBezTo>
                  <a:pt x="2753" y="281"/>
                  <a:pt x="2753" y="281"/>
                  <a:pt x="2753" y="281"/>
                </a:cubicBezTo>
                <a:cubicBezTo>
                  <a:pt x="2741" y="281"/>
                  <a:pt x="2741" y="281"/>
                  <a:pt x="2741" y="281"/>
                </a:cubicBezTo>
                <a:cubicBezTo>
                  <a:pt x="2744" y="262"/>
                  <a:pt x="2744" y="262"/>
                  <a:pt x="2744" y="262"/>
                </a:cubicBezTo>
                <a:cubicBezTo>
                  <a:pt x="2734" y="262"/>
                  <a:pt x="2734" y="262"/>
                  <a:pt x="2734" y="262"/>
                </a:cubicBezTo>
                <a:cubicBezTo>
                  <a:pt x="2732" y="281"/>
                  <a:pt x="2732" y="281"/>
                  <a:pt x="2732" y="281"/>
                </a:cubicBezTo>
                <a:cubicBezTo>
                  <a:pt x="2720" y="281"/>
                  <a:pt x="2720" y="281"/>
                  <a:pt x="2720" y="281"/>
                </a:cubicBezTo>
                <a:cubicBezTo>
                  <a:pt x="2720" y="281"/>
                  <a:pt x="2720" y="281"/>
                  <a:pt x="2720" y="281"/>
                </a:cubicBezTo>
                <a:close/>
                <a:moveTo>
                  <a:pt x="2746" y="249"/>
                </a:moveTo>
                <a:cubicBezTo>
                  <a:pt x="2747" y="239"/>
                  <a:pt x="2747" y="239"/>
                  <a:pt x="2747" y="239"/>
                </a:cubicBezTo>
                <a:cubicBezTo>
                  <a:pt x="2738" y="239"/>
                  <a:pt x="2738" y="239"/>
                  <a:pt x="2738" y="239"/>
                </a:cubicBezTo>
                <a:cubicBezTo>
                  <a:pt x="2736" y="249"/>
                  <a:pt x="2736" y="249"/>
                  <a:pt x="2736" y="249"/>
                </a:cubicBezTo>
                <a:cubicBezTo>
                  <a:pt x="2746" y="249"/>
                  <a:pt x="2746" y="249"/>
                  <a:pt x="2746" y="249"/>
                </a:cubicBezTo>
                <a:cubicBezTo>
                  <a:pt x="2746" y="249"/>
                  <a:pt x="2746" y="249"/>
                  <a:pt x="2746" y="249"/>
                </a:cubicBezTo>
                <a:close/>
                <a:moveTo>
                  <a:pt x="2264" y="207"/>
                </a:moveTo>
                <a:cubicBezTo>
                  <a:pt x="2264" y="207"/>
                  <a:pt x="2264" y="207"/>
                  <a:pt x="2264" y="207"/>
                </a:cubicBezTo>
                <a:cubicBezTo>
                  <a:pt x="2258" y="207"/>
                  <a:pt x="2258" y="207"/>
                  <a:pt x="2258" y="207"/>
                </a:cubicBezTo>
                <a:cubicBezTo>
                  <a:pt x="2256" y="209"/>
                  <a:pt x="2255" y="210"/>
                  <a:pt x="2253" y="211"/>
                </a:cubicBezTo>
                <a:cubicBezTo>
                  <a:pt x="2251" y="212"/>
                  <a:pt x="2250" y="213"/>
                  <a:pt x="2248" y="214"/>
                </a:cubicBezTo>
                <a:cubicBezTo>
                  <a:pt x="2246" y="215"/>
                  <a:pt x="2244" y="216"/>
                  <a:pt x="2242" y="217"/>
                </a:cubicBezTo>
                <a:cubicBezTo>
                  <a:pt x="2240" y="217"/>
                  <a:pt x="2239" y="218"/>
                  <a:pt x="2237" y="218"/>
                </a:cubicBezTo>
                <a:cubicBezTo>
                  <a:pt x="2237" y="218"/>
                  <a:pt x="2237" y="218"/>
                  <a:pt x="2237" y="228"/>
                </a:cubicBezTo>
                <a:cubicBezTo>
                  <a:pt x="2240" y="228"/>
                  <a:pt x="2242" y="227"/>
                  <a:pt x="2245" y="225"/>
                </a:cubicBezTo>
                <a:cubicBezTo>
                  <a:pt x="2248" y="225"/>
                  <a:pt x="2250" y="223"/>
                  <a:pt x="2252" y="222"/>
                </a:cubicBezTo>
                <a:cubicBezTo>
                  <a:pt x="2252" y="222"/>
                  <a:pt x="2252" y="222"/>
                  <a:pt x="2252" y="281"/>
                </a:cubicBezTo>
                <a:cubicBezTo>
                  <a:pt x="2252" y="281"/>
                  <a:pt x="2252" y="281"/>
                  <a:pt x="2264" y="281"/>
                </a:cubicBezTo>
                <a:cubicBezTo>
                  <a:pt x="2264" y="281"/>
                  <a:pt x="2264" y="281"/>
                  <a:pt x="2264" y="207"/>
                </a:cubicBezTo>
                <a:close/>
                <a:moveTo>
                  <a:pt x="2312" y="207"/>
                </a:moveTo>
                <a:cubicBezTo>
                  <a:pt x="2312" y="207"/>
                  <a:pt x="2312" y="207"/>
                  <a:pt x="2312" y="207"/>
                </a:cubicBezTo>
                <a:cubicBezTo>
                  <a:pt x="2306" y="207"/>
                  <a:pt x="2306" y="207"/>
                  <a:pt x="2306" y="207"/>
                </a:cubicBezTo>
                <a:cubicBezTo>
                  <a:pt x="2304" y="209"/>
                  <a:pt x="2303" y="210"/>
                  <a:pt x="2300" y="211"/>
                </a:cubicBezTo>
                <a:cubicBezTo>
                  <a:pt x="2299" y="212"/>
                  <a:pt x="2297" y="213"/>
                  <a:pt x="2295" y="214"/>
                </a:cubicBezTo>
                <a:cubicBezTo>
                  <a:pt x="2294" y="215"/>
                  <a:pt x="2292" y="216"/>
                  <a:pt x="2290" y="217"/>
                </a:cubicBezTo>
                <a:cubicBezTo>
                  <a:pt x="2288" y="217"/>
                  <a:pt x="2286" y="218"/>
                  <a:pt x="2284" y="218"/>
                </a:cubicBezTo>
                <a:cubicBezTo>
                  <a:pt x="2284" y="218"/>
                  <a:pt x="2284" y="218"/>
                  <a:pt x="2284" y="228"/>
                </a:cubicBezTo>
                <a:cubicBezTo>
                  <a:pt x="2287" y="228"/>
                  <a:pt x="2290" y="227"/>
                  <a:pt x="2292" y="225"/>
                </a:cubicBezTo>
                <a:cubicBezTo>
                  <a:pt x="2295" y="225"/>
                  <a:pt x="2297" y="223"/>
                  <a:pt x="2300" y="222"/>
                </a:cubicBezTo>
                <a:cubicBezTo>
                  <a:pt x="2300" y="222"/>
                  <a:pt x="2300" y="222"/>
                  <a:pt x="2300" y="281"/>
                </a:cubicBezTo>
                <a:cubicBezTo>
                  <a:pt x="2300" y="281"/>
                  <a:pt x="2300" y="281"/>
                  <a:pt x="2312" y="281"/>
                </a:cubicBezTo>
                <a:cubicBezTo>
                  <a:pt x="2312" y="281"/>
                  <a:pt x="2312" y="281"/>
                  <a:pt x="2312" y="207"/>
                </a:cubicBezTo>
                <a:close/>
                <a:moveTo>
                  <a:pt x="2358" y="207"/>
                </a:moveTo>
                <a:cubicBezTo>
                  <a:pt x="2358" y="207"/>
                  <a:pt x="2358" y="207"/>
                  <a:pt x="2358" y="207"/>
                </a:cubicBezTo>
                <a:cubicBezTo>
                  <a:pt x="2354" y="207"/>
                  <a:pt x="2354" y="207"/>
                  <a:pt x="2354" y="207"/>
                </a:cubicBezTo>
                <a:cubicBezTo>
                  <a:pt x="2351" y="209"/>
                  <a:pt x="2350" y="210"/>
                  <a:pt x="2348" y="211"/>
                </a:cubicBezTo>
                <a:cubicBezTo>
                  <a:pt x="2346" y="212"/>
                  <a:pt x="2344" y="213"/>
                  <a:pt x="2343" y="214"/>
                </a:cubicBezTo>
                <a:cubicBezTo>
                  <a:pt x="2340" y="215"/>
                  <a:pt x="2339" y="215"/>
                  <a:pt x="2337" y="216"/>
                </a:cubicBezTo>
                <a:cubicBezTo>
                  <a:pt x="2335" y="217"/>
                  <a:pt x="2333" y="217"/>
                  <a:pt x="2332" y="218"/>
                </a:cubicBezTo>
                <a:cubicBezTo>
                  <a:pt x="2332" y="218"/>
                  <a:pt x="2332" y="218"/>
                  <a:pt x="2332" y="228"/>
                </a:cubicBezTo>
                <a:cubicBezTo>
                  <a:pt x="2335" y="228"/>
                  <a:pt x="2338" y="226"/>
                  <a:pt x="2340" y="225"/>
                </a:cubicBezTo>
                <a:cubicBezTo>
                  <a:pt x="2342" y="225"/>
                  <a:pt x="2345" y="223"/>
                  <a:pt x="2346" y="222"/>
                </a:cubicBezTo>
                <a:cubicBezTo>
                  <a:pt x="2346" y="222"/>
                  <a:pt x="2346" y="222"/>
                  <a:pt x="2346" y="281"/>
                </a:cubicBezTo>
                <a:cubicBezTo>
                  <a:pt x="2346" y="281"/>
                  <a:pt x="2346" y="281"/>
                  <a:pt x="2358" y="281"/>
                </a:cubicBezTo>
                <a:cubicBezTo>
                  <a:pt x="2358" y="281"/>
                  <a:pt x="2358" y="281"/>
                  <a:pt x="2358" y="207"/>
                </a:cubicBezTo>
                <a:close/>
                <a:moveTo>
                  <a:pt x="2565" y="111"/>
                </a:moveTo>
                <a:cubicBezTo>
                  <a:pt x="2565" y="111"/>
                  <a:pt x="2565" y="111"/>
                  <a:pt x="2565" y="111"/>
                </a:cubicBezTo>
                <a:cubicBezTo>
                  <a:pt x="2560" y="111"/>
                  <a:pt x="2560" y="111"/>
                  <a:pt x="2560" y="111"/>
                </a:cubicBezTo>
                <a:cubicBezTo>
                  <a:pt x="2558" y="113"/>
                  <a:pt x="2556" y="114"/>
                  <a:pt x="2554" y="115"/>
                </a:cubicBezTo>
                <a:cubicBezTo>
                  <a:pt x="2553" y="116"/>
                  <a:pt x="2550" y="117"/>
                  <a:pt x="2549" y="118"/>
                </a:cubicBezTo>
                <a:cubicBezTo>
                  <a:pt x="2547" y="119"/>
                  <a:pt x="2545" y="119"/>
                  <a:pt x="2544" y="120"/>
                </a:cubicBezTo>
                <a:cubicBezTo>
                  <a:pt x="2542" y="121"/>
                  <a:pt x="2540" y="121"/>
                  <a:pt x="2538" y="122"/>
                </a:cubicBezTo>
                <a:cubicBezTo>
                  <a:pt x="2538" y="122"/>
                  <a:pt x="2538" y="122"/>
                  <a:pt x="2538" y="132"/>
                </a:cubicBezTo>
                <a:cubicBezTo>
                  <a:pt x="2541" y="132"/>
                  <a:pt x="2544" y="130"/>
                  <a:pt x="2546" y="129"/>
                </a:cubicBezTo>
                <a:cubicBezTo>
                  <a:pt x="2549" y="129"/>
                  <a:pt x="2551" y="127"/>
                  <a:pt x="2553" y="126"/>
                </a:cubicBezTo>
                <a:cubicBezTo>
                  <a:pt x="2553" y="126"/>
                  <a:pt x="2553" y="126"/>
                  <a:pt x="2553" y="185"/>
                </a:cubicBezTo>
                <a:cubicBezTo>
                  <a:pt x="2553" y="185"/>
                  <a:pt x="2553" y="185"/>
                  <a:pt x="2565" y="185"/>
                </a:cubicBezTo>
                <a:cubicBezTo>
                  <a:pt x="2565" y="185"/>
                  <a:pt x="2565" y="185"/>
                  <a:pt x="2565" y="111"/>
                </a:cubicBezTo>
                <a:close/>
                <a:moveTo>
                  <a:pt x="2612" y="111"/>
                </a:moveTo>
                <a:cubicBezTo>
                  <a:pt x="2612" y="111"/>
                  <a:pt x="2612" y="111"/>
                  <a:pt x="2612" y="111"/>
                </a:cubicBezTo>
                <a:cubicBezTo>
                  <a:pt x="2607" y="111"/>
                  <a:pt x="2607" y="111"/>
                  <a:pt x="2607" y="111"/>
                </a:cubicBezTo>
                <a:cubicBezTo>
                  <a:pt x="2604" y="113"/>
                  <a:pt x="2603" y="114"/>
                  <a:pt x="2601" y="115"/>
                </a:cubicBezTo>
                <a:cubicBezTo>
                  <a:pt x="2599" y="116"/>
                  <a:pt x="2597" y="117"/>
                  <a:pt x="2596" y="118"/>
                </a:cubicBezTo>
                <a:cubicBezTo>
                  <a:pt x="2594" y="119"/>
                  <a:pt x="2592" y="120"/>
                  <a:pt x="2591" y="121"/>
                </a:cubicBezTo>
                <a:cubicBezTo>
                  <a:pt x="2589" y="121"/>
                  <a:pt x="2587" y="122"/>
                  <a:pt x="2585" y="122"/>
                </a:cubicBezTo>
                <a:cubicBezTo>
                  <a:pt x="2585" y="122"/>
                  <a:pt x="2585" y="122"/>
                  <a:pt x="2585" y="132"/>
                </a:cubicBezTo>
                <a:cubicBezTo>
                  <a:pt x="2588" y="132"/>
                  <a:pt x="2591" y="131"/>
                  <a:pt x="2593" y="129"/>
                </a:cubicBezTo>
                <a:cubicBezTo>
                  <a:pt x="2596" y="129"/>
                  <a:pt x="2598" y="127"/>
                  <a:pt x="2600" y="126"/>
                </a:cubicBezTo>
                <a:cubicBezTo>
                  <a:pt x="2600" y="126"/>
                  <a:pt x="2600" y="126"/>
                  <a:pt x="2600" y="185"/>
                </a:cubicBezTo>
                <a:cubicBezTo>
                  <a:pt x="2600" y="185"/>
                  <a:pt x="2600" y="185"/>
                  <a:pt x="2612" y="185"/>
                </a:cubicBezTo>
                <a:cubicBezTo>
                  <a:pt x="2612" y="185"/>
                  <a:pt x="2612" y="185"/>
                  <a:pt x="2612" y="111"/>
                </a:cubicBezTo>
                <a:close/>
                <a:moveTo>
                  <a:pt x="2658" y="111"/>
                </a:moveTo>
                <a:cubicBezTo>
                  <a:pt x="2658" y="111"/>
                  <a:pt x="2658" y="111"/>
                  <a:pt x="2658" y="111"/>
                </a:cubicBezTo>
                <a:cubicBezTo>
                  <a:pt x="2653" y="111"/>
                  <a:pt x="2653" y="111"/>
                  <a:pt x="2653" y="111"/>
                </a:cubicBezTo>
                <a:cubicBezTo>
                  <a:pt x="2651" y="113"/>
                  <a:pt x="2650" y="114"/>
                  <a:pt x="2647" y="115"/>
                </a:cubicBezTo>
                <a:cubicBezTo>
                  <a:pt x="2646" y="116"/>
                  <a:pt x="2644" y="117"/>
                  <a:pt x="2642" y="118"/>
                </a:cubicBezTo>
                <a:cubicBezTo>
                  <a:pt x="2640" y="119"/>
                  <a:pt x="2639" y="120"/>
                  <a:pt x="2636" y="121"/>
                </a:cubicBezTo>
                <a:cubicBezTo>
                  <a:pt x="2635" y="121"/>
                  <a:pt x="2633" y="122"/>
                  <a:pt x="2631" y="122"/>
                </a:cubicBezTo>
                <a:cubicBezTo>
                  <a:pt x="2631" y="122"/>
                  <a:pt x="2631" y="122"/>
                  <a:pt x="2631" y="132"/>
                </a:cubicBezTo>
                <a:cubicBezTo>
                  <a:pt x="2634" y="132"/>
                  <a:pt x="2637" y="131"/>
                  <a:pt x="2639" y="129"/>
                </a:cubicBezTo>
                <a:cubicBezTo>
                  <a:pt x="2641" y="129"/>
                  <a:pt x="2644" y="127"/>
                  <a:pt x="2646" y="126"/>
                </a:cubicBezTo>
                <a:cubicBezTo>
                  <a:pt x="2646" y="126"/>
                  <a:pt x="2646" y="126"/>
                  <a:pt x="2646" y="185"/>
                </a:cubicBezTo>
                <a:cubicBezTo>
                  <a:pt x="2646" y="185"/>
                  <a:pt x="2646" y="185"/>
                  <a:pt x="2658" y="185"/>
                </a:cubicBezTo>
                <a:cubicBezTo>
                  <a:pt x="2658" y="185"/>
                  <a:pt x="2658" y="185"/>
                  <a:pt x="2658" y="111"/>
                </a:cubicBezTo>
                <a:close/>
                <a:moveTo>
                  <a:pt x="2704" y="111"/>
                </a:moveTo>
                <a:cubicBezTo>
                  <a:pt x="2704" y="111"/>
                  <a:pt x="2704" y="111"/>
                  <a:pt x="2704" y="111"/>
                </a:cubicBezTo>
                <a:cubicBezTo>
                  <a:pt x="2699" y="111"/>
                  <a:pt x="2699" y="111"/>
                  <a:pt x="2699" y="111"/>
                </a:cubicBezTo>
                <a:cubicBezTo>
                  <a:pt x="2697" y="113"/>
                  <a:pt x="2695" y="114"/>
                  <a:pt x="2693" y="115"/>
                </a:cubicBezTo>
                <a:cubicBezTo>
                  <a:pt x="2692" y="116"/>
                  <a:pt x="2690" y="117"/>
                  <a:pt x="2688" y="118"/>
                </a:cubicBezTo>
                <a:cubicBezTo>
                  <a:pt x="2687" y="119"/>
                  <a:pt x="2685" y="120"/>
                  <a:pt x="2683" y="121"/>
                </a:cubicBezTo>
                <a:cubicBezTo>
                  <a:pt x="2681" y="121"/>
                  <a:pt x="2679" y="122"/>
                  <a:pt x="2677" y="122"/>
                </a:cubicBezTo>
                <a:cubicBezTo>
                  <a:pt x="2677" y="122"/>
                  <a:pt x="2677" y="122"/>
                  <a:pt x="2677" y="132"/>
                </a:cubicBezTo>
                <a:cubicBezTo>
                  <a:pt x="2680" y="132"/>
                  <a:pt x="2683" y="131"/>
                  <a:pt x="2685" y="129"/>
                </a:cubicBezTo>
                <a:cubicBezTo>
                  <a:pt x="2688" y="129"/>
                  <a:pt x="2690" y="127"/>
                  <a:pt x="2693" y="126"/>
                </a:cubicBezTo>
                <a:cubicBezTo>
                  <a:pt x="2693" y="126"/>
                  <a:pt x="2693" y="126"/>
                  <a:pt x="2693" y="185"/>
                </a:cubicBezTo>
                <a:cubicBezTo>
                  <a:pt x="2693" y="185"/>
                  <a:pt x="2693" y="185"/>
                  <a:pt x="2704" y="185"/>
                </a:cubicBezTo>
                <a:cubicBezTo>
                  <a:pt x="2704" y="185"/>
                  <a:pt x="2704" y="185"/>
                  <a:pt x="2704" y="111"/>
                </a:cubicBezTo>
                <a:close/>
                <a:moveTo>
                  <a:pt x="2826" y="111"/>
                </a:moveTo>
                <a:cubicBezTo>
                  <a:pt x="2826" y="111"/>
                  <a:pt x="2826" y="111"/>
                  <a:pt x="2826" y="111"/>
                </a:cubicBezTo>
                <a:cubicBezTo>
                  <a:pt x="2821" y="111"/>
                  <a:pt x="2821" y="111"/>
                  <a:pt x="2821" y="111"/>
                </a:cubicBezTo>
                <a:cubicBezTo>
                  <a:pt x="2819" y="113"/>
                  <a:pt x="2817" y="114"/>
                  <a:pt x="2815" y="115"/>
                </a:cubicBezTo>
                <a:cubicBezTo>
                  <a:pt x="2814" y="116"/>
                  <a:pt x="2812" y="117"/>
                  <a:pt x="2810" y="118"/>
                </a:cubicBezTo>
                <a:cubicBezTo>
                  <a:pt x="2809" y="119"/>
                  <a:pt x="2806" y="120"/>
                  <a:pt x="2805" y="121"/>
                </a:cubicBezTo>
                <a:cubicBezTo>
                  <a:pt x="2803" y="121"/>
                  <a:pt x="2801" y="122"/>
                  <a:pt x="2799" y="122"/>
                </a:cubicBezTo>
                <a:cubicBezTo>
                  <a:pt x="2799" y="122"/>
                  <a:pt x="2799" y="122"/>
                  <a:pt x="2799" y="132"/>
                </a:cubicBezTo>
                <a:cubicBezTo>
                  <a:pt x="2802" y="132"/>
                  <a:pt x="2805" y="131"/>
                  <a:pt x="2808" y="129"/>
                </a:cubicBezTo>
                <a:cubicBezTo>
                  <a:pt x="2810" y="129"/>
                  <a:pt x="2812" y="127"/>
                  <a:pt x="2814" y="126"/>
                </a:cubicBezTo>
                <a:cubicBezTo>
                  <a:pt x="2814" y="126"/>
                  <a:pt x="2814" y="126"/>
                  <a:pt x="2814" y="185"/>
                </a:cubicBezTo>
                <a:cubicBezTo>
                  <a:pt x="2814" y="185"/>
                  <a:pt x="2814" y="185"/>
                  <a:pt x="2826" y="185"/>
                </a:cubicBezTo>
                <a:cubicBezTo>
                  <a:pt x="2826" y="185"/>
                  <a:pt x="2826" y="185"/>
                  <a:pt x="2826" y="111"/>
                </a:cubicBezTo>
                <a:close/>
                <a:moveTo>
                  <a:pt x="2873" y="111"/>
                </a:moveTo>
                <a:cubicBezTo>
                  <a:pt x="2873" y="111"/>
                  <a:pt x="2873" y="111"/>
                  <a:pt x="2873" y="111"/>
                </a:cubicBezTo>
                <a:cubicBezTo>
                  <a:pt x="2868" y="111"/>
                  <a:pt x="2868" y="111"/>
                  <a:pt x="2868" y="111"/>
                </a:cubicBezTo>
                <a:cubicBezTo>
                  <a:pt x="2866" y="113"/>
                  <a:pt x="2864" y="114"/>
                  <a:pt x="2862" y="115"/>
                </a:cubicBezTo>
                <a:cubicBezTo>
                  <a:pt x="2861" y="116"/>
                  <a:pt x="2858" y="117"/>
                  <a:pt x="2857" y="118"/>
                </a:cubicBezTo>
                <a:cubicBezTo>
                  <a:pt x="2855" y="119"/>
                  <a:pt x="2853" y="120"/>
                  <a:pt x="2852" y="121"/>
                </a:cubicBezTo>
                <a:cubicBezTo>
                  <a:pt x="2849" y="121"/>
                  <a:pt x="2848" y="122"/>
                  <a:pt x="2846" y="122"/>
                </a:cubicBezTo>
                <a:cubicBezTo>
                  <a:pt x="2846" y="122"/>
                  <a:pt x="2846" y="122"/>
                  <a:pt x="2846" y="132"/>
                </a:cubicBezTo>
                <a:cubicBezTo>
                  <a:pt x="2849" y="132"/>
                  <a:pt x="2852" y="131"/>
                  <a:pt x="2854" y="129"/>
                </a:cubicBezTo>
                <a:cubicBezTo>
                  <a:pt x="2857" y="129"/>
                  <a:pt x="2859" y="127"/>
                  <a:pt x="2861" y="126"/>
                </a:cubicBezTo>
                <a:cubicBezTo>
                  <a:pt x="2861" y="126"/>
                  <a:pt x="2861" y="126"/>
                  <a:pt x="2861" y="185"/>
                </a:cubicBezTo>
                <a:cubicBezTo>
                  <a:pt x="2861" y="185"/>
                  <a:pt x="2861" y="185"/>
                  <a:pt x="2873" y="185"/>
                </a:cubicBezTo>
                <a:cubicBezTo>
                  <a:pt x="2873" y="185"/>
                  <a:pt x="2873" y="185"/>
                  <a:pt x="2873" y="111"/>
                </a:cubicBezTo>
                <a:close/>
                <a:moveTo>
                  <a:pt x="2725" y="144"/>
                </a:moveTo>
                <a:cubicBezTo>
                  <a:pt x="2725" y="144"/>
                  <a:pt x="2725" y="144"/>
                  <a:pt x="2725" y="144"/>
                </a:cubicBezTo>
                <a:cubicBezTo>
                  <a:pt x="2724" y="152"/>
                  <a:pt x="2724" y="152"/>
                  <a:pt x="2724" y="152"/>
                </a:cubicBezTo>
                <a:cubicBezTo>
                  <a:pt x="2731" y="152"/>
                  <a:pt x="2731" y="155"/>
                  <a:pt x="2731" y="158"/>
                </a:cubicBezTo>
                <a:cubicBezTo>
                  <a:pt x="2731" y="160"/>
                  <a:pt x="2731" y="162"/>
                  <a:pt x="2731" y="165"/>
                </a:cubicBezTo>
                <a:cubicBezTo>
                  <a:pt x="2731" y="167"/>
                  <a:pt x="2730" y="170"/>
                  <a:pt x="2730" y="172"/>
                </a:cubicBezTo>
                <a:cubicBezTo>
                  <a:pt x="2730" y="181"/>
                  <a:pt x="2736" y="185"/>
                  <a:pt x="2745" y="185"/>
                </a:cubicBezTo>
                <a:cubicBezTo>
                  <a:pt x="2745" y="185"/>
                  <a:pt x="2745" y="185"/>
                  <a:pt x="2748" y="185"/>
                </a:cubicBezTo>
                <a:cubicBezTo>
                  <a:pt x="2748" y="185"/>
                  <a:pt x="2748" y="185"/>
                  <a:pt x="2748" y="176"/>
                </a:cubicBezTo>
                <a:cubicBezTo>
                  <a:pt x="2748" y="176"/>
                  <a:pt x="2748" y="176"/>
                  <a:pt x="2747" y="176"/>
                </a:cubicBezTo>
                <a:cubicBezTo>
                  <a:pt x="2743" y="176"/>
                  <a:pt x="2742" y="173"/>
                  <a:pt x="2742" y="170"/>
                </a:cubicBezTo>
                <a:cubicBezTo>
                  <a:pt x="2742" y="168"/>
                  <a:pt x="2742" y="167"/>
                  <a:pt x="2742" y="165"/>
                </a:cubicBezTo>
                <a:cubicBezTo>
                  <a:pt x="2742" y="163"/>
                  <a:pt x="2743" y="161"/>
                  <a:pt x="2743" y="159"/>
                </a:cubicBezTo>
                <a:cubicBezTo>
                  <a:pt x="2743" y="151"/>
                  <a:pt x="2740" y="149"/>
                  <a:pt x="2734" y="148"/>
                </a:cubicBezTo>
                <a:cubicBezTo>
                  <a:pt x="2734" y="148"/>
                  <a:pt x="2734" y="148"/>
                  <a:pt x="2734" y="147"/>
                </a:cubicBezTo>
                <a:cubicBezTo>
                  <a:pt x="2740" y="146"/>
                  <a:pt x="2743" y="144"/>
                  <a:pt x="2743" y="136"/>
                </a:cubicBezTo>
                <a:cubicBezTo>
                  <a:pt x="2743" y="134"/>
                  <a:pt x="2742" y="132"/>
                  <a:pt x="2742" y="130"/>
                </a:cubicBezTo>
                <a:cubicBezTo>
                  <a:pt x="2742" y="129"/>
                  <a:pt x="2742" y="127"/>
                  <a:pt x="2742" y="126"/>
                </a:cubicBezTo>
                <a:cubicBezTo>
                  <a:pt x="2742" y="122"/>
                  <a:pt x="2743" y="120"/>
                  <a:pt x="2747" y="120"/>
                </a:cubicBezTo>
                <a:cubicBezTo>
                  <a:pt x="2747" y="120"/>
                  <a:pt x="2747" y="120"/>
                  <a:pt x="2748" y="120"/>
                </a:cubicBezTo>
                <a:cubicBezTo>
                  <a:pt x="2748" y="120"/>
                  <a:pt x="2748" y="120"/>
                  <a:pt x="2748" y="110"/>
                </a:cubicBezTo>
                <a:cubicBezTo>
                  <a:pt x="2748" y="110"/>
                  <a:pt x="2748" y="110"/>
                  <a:pt x="2745" y="110"/>
                </a:cubicBezTo>
                <a:cubicBezTo>
                  <a:pt x="2736" y="110"/>
                  <a:pt x="2730" y="114"/>
                  <a:pt x="2730" y="123"/>
                </a:cubicBezTo>
                <a:cubicBezTo>
                  <a:pt x="2730" y="125"/>
                  <a:pt x="2731" y="128"/>
                  <a:pt x="2731" y="130"/>
                </a:cubicBezTo>
                <a:cubicBezTo>
                  <a:pt x="2731" y="133"/>
                  <a:pt x="2731" y="135"/>
                  <a:pt x="2731" y="137"/>
                </a:cubicBezTo>
                <a:cubicBezTo>
                  <a:pt x="2731" y="140"/>
                  <a:pt x="2731" y="143"/>
                  <a:pt x="2725" y="144"/>
                </a:cubicBezTo>
                <a:close/>
                <a:moveTo>
                  <a:pt x="2779" y="152"/>
                </a:moveTo>
                <a:cubicBezTo>
                  <a:pt x="2779" y="152"/>
                  <a:pt x="2779" y="152"/>
                  <a:pt x="2779" y="152"/>
                </a:cubicBezTo>
                <a:cubicBezTo>
                  <a:pt x="2779" y="144"/>
                  <a:pt x="2779" y="144"/>
                  <a:pt x="2779" y="144"/>
                </a:cubicBezTo>
                <a:cubicBezTo>
                  <a:pt x="2773" y="143"/>
                  <a:pt x="2772" y="140"/>
                  <a:pt x="2772" y="137"/>
                </a:cubicBezTo>
                <a:cubicBezTo>
                  <a:pt x="2772" y="135"/>
                  <a:pt x="2772" y="133"/>
                  <a:pt x="2773" y="130"/>
                </a:cubicBezTo>
                <a:cubicBezTo>
                  <a:pt x="2773" y="128"/>
                  <a:pt x="2773" y="125"/>
                  <a:pt x="2773" y="123"/>
                </a:cubicBezTo>
                <a:cubicBezTo>
                  <a:pt x="2773" y="114"/>
                  <a:pt x="2768" y="110"/>
                  <a:pt x="2759" y="110"/>
                </a:cubicBezTo>
                <a:cubicBezTo>
                  <a:pt x="2759" y="110"/>
                  <a:pt x="2759" y="110"/>
                  <a:pt x="2755" y="110"/>
                </a:cubicBezTo>
                <a:cubicBezTo>
                  <a:pt x="2755" y="110"/>
                  <a:pt x="2755" y="110"/>
                  <a:pt x="2755" y="120"/>
                </a:cubicBezTo>
                <a:cubicBezTo>
                  <a:pt x="2755" y="120"/>
                  <a:pt x="2755" y="120"/>
                  <a:pt x="2757" y="120"/>
                </a:cubicBezTo>
                <a:cubicBezTo>
                  <a:pt x="2760" y="120"/>
                  <a:pt x="2762" y="122"/>
                  <a:pt x="2762" y="126"/>
                </a:cubicBezTo>
                <a:cubicBezTo>
                  <a:pt x="2762" y="127"/>
                  <a:pt x="2761" y="129"/>
                  <a:pt x="2761" y="130"/>
                </a:cubicBezTo>
                <a:cubicBezTo>
                  <a:pt x="2761" y="132"/>
                  <a:pt x="2761" y="134"/>
                  <a:pt x="2761" y="136"/>
                </a:cubicBezTo>
                <a:cubicBezTo>
                  <a:pt x="2761" y="144"/>
                  <a:pt x="2764" y="146"/>
                  <a:pt x="2769" y="147"/>
                </a:cubicBezTo>
                <a:cubicBezTo>
                  <a:pt x="2769" y="147"/>
                  <a:pt x="2769" y="147"/>
                  <a:pt x="2769" y="148"/>
                </a:cubicBezTo>
                <a:cubicBezTo>
                  <a:pt x="2764" y="149"/>
                  <a:pt x="2761" y="151"/>
                  <a:pt x="2761" y="159"/>
                </a:cubicBezTo>
                <a:cubicBezTo>
                  <a:pt x="2761" y="161"/>
                  <a:pt x="2761" y="163"/>
                  <a:pt x="2761" y="165"/>
                </a:cubicBezTo>
                <a:cubicBezTo>
                  <a:pt x="2761" y="167"/>
                  <a:pt x="2762" y="168"/>
                  <a:pt x="2762" y="170"/>
                </a:cubicBezTo>
                <a:cubicBezTo>
                  <a:pt x="2762" y="173"/>
                  <a:pt x="2761" y="176"/>
                  <a:pt x="2757" y="176"/>
                </a:cubicBezTo>
                <a:cubicBezTo>
                  <a:pt x="2757" y="176"/>
                  <a:pt x="2757" y="176"/>
                  <a:pt x="2755" y="176"/>
                </a:cubicBezTo>
                <a:cubicBezTo>
                  <a:pt x="2755" y="176"/>
                  <a:pt x="2755" y="176"/>
                  <a:pt x="2755" y="185"/>
                </a:cubicBezTo>
                <a:cubicBezTo>
                  <a:pt x="2755" y="185"/>
                  <a:pt x="2755" y="185"/>
                  <a:pt x="2759" y="185"/>
                </a:cubicBezTo>
                <a:cubicBezTo>
                  <a:pt x="2768" y="185"/>
                  <a:pt x="2773" y="181"/>
                  <a:pt x="2773" y="172"/>
                </a:cubicBezTo>
                <a:cubicBezTo>
                  <a:pt x="2773" y="170"/>
                  <a:pt x="2773" y="167"/>
                  <a:pt x="2773" y="165"/>
                </a:cubicBezTo>
                <a:cubicBezTo>
                  <a:pt x="2772" y="162"/>
                  <a:pt x="2772" y="160"/>
                  <a:pt x="2772" y="158"/>
                </a:cubicBezTo>
                <a:cubicBezTo>
                  <a:pt x="2772" y="155"/>
                  <a:pt x="2773" y="152"/>
                  <a:pt x="2779" y="152"/>
                </a:cubicBezTo>
                <a:close/>
                <a:moveTo>
                  <a:pt x="2165" y="185"/>
                </a:moveTo>
                <a:cubicBezTo>
                  <a:pt x="2158" y="185"/>
                  <a:pt x="2151" y="182"/>
                  <a:pt x="2147" y="176"/>
                </a:cubicBezTo>
                <a:cubicBezTo>
                  <a:pt x="2143" y="169"/>
                  <a:pt x="2141" y="161"/>
                  <a:pt x="2141" y="148"/>
                </a:cubicBezTo>
                <a:cubicBezTo>
                  <a:pt x="2141" y="135"/>
                  <a:pt x="2143" y="126"/>
                  <a:pt x="2148" y="119"/>
                </a:cubicBezTo>
                <a:cubicBezTo>
                  <a:pt x="2152" y="112"/>
                  <a:pt x="2159" y="109"/>
                  <a:pt x="2167" y="109"/>
                </a:cubicBezTo>
                <a:cubicBezTo>
                  <a:pt x="2183" y="109"/>
                  <a:pt x="2192" y="121"/>
                  <a:pt x="2192" y="147"/>
                </a:cubicBezTo>
                <a:cubicBezTo>
                  <a:pt x="2192" y="159"/>
                  <a:pt x="2189" y="169"/>
                  <a:pt x="2184" y="175"/>
                </a:cubicBezTo>
                <a:cubicBezTo>
                  <a:pt x="2180" y="182"/>
                  <a:pt x="2173" y="185"/>
                  <a:pt x="2165" y="185"/>
                </a:cubicBezTo>
                <a:close/>
                <a:moveTo>
                  <a:pt x="2167" y="118"/>
                </a:moveTo>
                <a:cubicBezTo>
                  <a:pt x="2157" y="118"/>
                  <a:pt x="2153" y="129"/>
                  <a:pt x="2153" y="148"/>
                </a:cubicBezTo>
                <a:cubicBezTo>
                  <a:pt x="2153" y="166"/>
                  <a:pt x="2157" y="175"/>
                  <a:pt x="2166" y="175"/>
                </a:cubicBezTo>
                <a:cubicBezTo>
                  <a:pt x="2175" y="175"/>
                  <a:pt x="2179" y="166"/>
                  <a:pt x="2179" y="147"/>
                </a:cubicBezTo>
                <a:cubicBezTo>
                  <a:pt x="2179" y="128"/>
                  <a:pt x="2175" y="118"/>
                  <a:pt x="2167" y="118"/>
                </a:cubicBezTo>
                <a:close/>
                <a:moveTo>
                  <a:pt x="2235" y="185"/>
                </a:moveTo>
                <a:cubicBezTo>
                  <a:pt x="2228" y="185"/>
                  <a:pt x="2221" y="182"/>
                  <a:pt x="2218" y="176"/>
                </a:cubicBezTo>
                <a:cubicBezTo>
                  <a:pt x="2213" y="169"/>
                  <a:pt x="2211" y="161"/>
                  <a:pt x="2211" y="148"/>
                </a:cubicBezTo>
                <a:cubicBezTo>
                  <a:pt x="2211" y="135"/>
                  <a:pt x="2213" y="126"/>
                  <a:pt x="2218" y="119"/>
                </a:cubicBezTo>
                <a:cubicBezTo>
                  <a:pt x="2222" y="112"/>
                  <a:pt x="2229" y="109"/>
                  <a:pt x="2238" y="109"/>
                </a:cubicBezTo>
                <a:cubicBezTo>
                  <a:pt x="2254" y="109"/>
                  <a:pt x="2262" y="121"/>
                  <a:pt x="2262" y="147"/>
                </a:cubicBezTo>
                <a:cubicBezTo>
                  <a:pt x="2262" y="159"/>
                  <a:pt x="2259" y="169"/>
                  <a:pt x="2255" y="175"/>
                </a:cubicBezTo>
                <a:cubicBezTo>
                  <a:pt x="2250" y="182"/>
                  <a:pt x="2244" y="185"/>
                  <a:pt x="2235" y="185"/>
                </a:cubicBezTo>
                <a:close/>
                <a:moveTo>
                  <a:pt x="2237" y="118"/>
                </a:moveTo>
                <a:cubicBezTo>
                  <a:pt x="2228" y="118"/>
                  <a:pt x="2223" y="129"/>
                  <a:pt x="2223" y="148"/>
                </a:cubicBezTo>
                <a:cubicBezTo>
                  <a:pt x="2223" y="166"/>
                  <a:pt x="2227" y="175"/>
                  <a:pt x="2236" y="175"/>
                </a:cubicBezTo>
                <a:cubicBezTo>
                  <a:pt x="2245" y="175"/>
                  <a:pt x="2249" y="166"/>
                  <a:pt x="2249" y="147"/>
                </a:cubicBezTo>
                <a:cubicBezTo>
                  <a:pt x="2249" y="128"/>
                  <a:pt x="2245" y="118"/>
                  <a:pt x="2237" y="118"/>
                </a:cubicBezTo>
                <a:close/>
                <a:moveTo>
                  <a:pt x="2446" y="185"/>
                </a:moveTo>
                <a:cubicBezTo>
                  <a:pt x="2438" y="185"/>
                  <a:pt x="2432" y="182"/>
                  <a:pt x="2428" y="175"/>
                </a:cubicBezTo>
                <a:cubicBezTo>
                  <a:pt x="2424" y="169"/>
                  <a:pt x="2421" y="160"/>
                  <a:pt x="2421" y="148"/>
                </a:cubicBezTo>
                <a:cubicBezTo>
                  <a:pt x="2421" y="135"/>
                  <a:pt x="2424" y="126"/>
                  <a:pt x="2428" y="118"/>
                </a:cubicBezTo>
                <a:cubicBezTo>
                  <a:pt x="2432" y="112"/>
                  <a:pt x="2439" y="109"/>
                  <a:pt x="2448" y="109"/>
                </a:cubicBezTo>
                <a:cubicBezTo>
                  <a:pt x="2464" y="109"/>
                  <a:pt x="2472" y="121"/>
                  <a:pt x="2472" y="146"/>
                </a:cubicBezTo>
                <a:cubicBezTo>
                  <a:pt x="2472" y="159"/>
                  <a:pt x="2470" y="169"/>
                  <a:pt x="2465" y="175"/>
                </a:cubicBezTo>
                <a:cubicBezTo>
                  <a:pt x="2460" y="182"/>
                  <a:pt x="2454" y="185"/>
                  <a:pt x="2446" y="185"/>
                </a:cubicBezTo>
                <a:close/>
                <a:moveTo>
                  <a:pt x="2447" y="118"/>
                </a:moveTo>
                <a:cubicBezTo>
                  <a:pt x="2438" y="118"/>
                  <a:pt x="2434" y="128"/>
                  <a:pt x="2434" y="147"/>
                </a:cubicBezTo>
                <a:cubicBezTo>
                  <a:pt x="2434" y="166"/>
                  <a:pt x="2438" y="175"/>
                  <a:pt x="2447" y="175"/>
                </a:cubicBezTo>
                <a:cubicBezTo>
                  <a:pt x="2455" y="175"/>
                  <a:pt x="2459" y="166"/>
                  <a:pt x="2459" y="147"/>
                </a:cubicBezTo>
                <a:cubicBezTo>
                  <a:pt x="2459" y="128"/>
                  <a:pt x="2456" y="118"/>
                  <a:pt x="2447" y="118"/>
                </a:cubicBezTo>
                <a:close/>
                <a:moveTo>
                  <a:pt x="2518" y="111"/>
                </a:moveTo>
                <a:cubicBezTo>
                  <a:pt x="2518" y="111"/>
                  <a:pt x="2518" y="111"/>
                  <a:pt x="2518" y="111"/>
                </a:cubicBezTo>
                <a:cubicBezTo>
                  <a:pt x="2513" y="111"/>
                  <a:pt x="2513" y="111"/>
                  <a:pt x="2513" y="111"/>
                </a:cubicBezTo>
                <a:cubicBezTo>
                  <a:pt x="2511" y="113"/>
                  <a:pt x="2510" y="114"/>
                  <a:pt x="2508" y="115"/>
                </a:cubicBezTo>
                <a:cubicBezTo>
                  <a:pt x="2506" y="116"/>
                  <a:pt x="2504" y="117"/>
                  <a:pt x="2502" y="118"/>
                </a:cubicBezTo>
                <a:cubicBezTo>
                  <a:pt x="2501" y="119"/>
                  <a:pt x="2499" y="119"/>
                  <a:pt x="2497" y="120"/>
                </a:cubicBezTo>
                <a:cubicBezTo>
                  <a:pt x="2495" y="121"/>
                  <a:pt x="2494" y="121"/>
                  <a:pt x="2492" y="122"/>
                </a:cubicBezTo>
                <a:cubicBezTo>
                  <a:pt x="2492" y="122"/>
                  <a:pt x="2492" y="122"/>
                  <a:pt x="2492" y="132"/>
                </a:cubicBezTo>
                <a:cubicBezTo>
                  <a:pt x="2494" y="132"/>
                  <a:pt x="2497" y="130"/>
                  <a:pt x="2500" y="129"/>
                </a:cubicBezTo>
                <a:cubicBezTo>
                  <a:pt x="2502" y="129"/>
                  <a:pt x="2505" y="127"/>
                  <a:pt x="2507" y="126"/>
                </a:cubicBezTo>
                <a:cubicBezTo>
                  <a:pt x="2507" y="126"/>
                  <a:pt x="2507" y="126"/>
                  <a:pt x="2507" y="185"/>
                </a:cubicBezTo>
                <a:cubicBezTo>
                  <a:pt x="2507" y="185"/>
                  <a:pt x="2507" y="185"/>
                  <a:pt x="2518" y="185"/>
                </a:cubicBezTo>
                <a:cubicBezTo>
                  <a:pt x="2518" y="185"/>
                  <a:pt x="2518" y="185"/>
                  <a:pt x="2518" y="111"/>
                </a:cubicBezTo>
                <a:close/>
                <a:moveTo>
                  <a:pt x="2309" y="111"/>
                </a:moveTo>
                <a:cubicBezTo>
                  <a:pt x="2309" y="111"/>
                  <a:pt x="2309" y="111"/>
                  <a:pt x="2309" y="111"/>
                </a:cubicBezTo>
                <a:cubicBezTo>
                  <a:pt x="2304" y="111"/>
                  <a:pt x="2304" y="111"/>
                  <a:pt x="2304" y="111"/>
                </a:cubicBezTo>
                <a:cubicBezTo>
                  <a:pt x="2301" y="113"/>
                  <a:pt x="2300" y="114"/>
                  <a:pt x="2298" y="115"/>
                </a:cubicBezTo>
                <a:cubicBezTo>
                  <a:pt x="2296" y="116"/>
                  <a:pt x="2295" y="117"/>
                  <a:pt x="2293" y="118"/>
                </a:cubicBezTo>
                <a:cubicBezTo>
                  <a:pt x="2291" y="119"/>
                  <a:pt x="2289" y="120"/>
                  <a:pt x="2288" y="121"/>
                </a:cubicBezTo>
                <a:cubicBezTo>
                  <a:pt x="2285" y="121"/>
                  <a:pt x="2284" y="122"/>
                  <a:pt x="2282" y="122"/>
                </a:cubicBezTo>
                <a:cubicBezTo>
                  <a:pt x="2282" y="122"/>
                  <a:pt x="2282" y="122"/>
                  <a:pt x="2282" y="132"/>
                </a:cubicBezTo>
                <a:cubicBezTo>
                  <a:pt x="2285" y="132"/>
                  <a:pt x="2288" y="131"/>
                  <a:pt x="2290" y="129"/>
                </a:cubicBezTo>
                <a:cubicBezTo>
                  <a:pt x="2293" y="129"/>
                  <a:pt x="2295" y="127"/>
                  <a:pt x="2297" y="126"/>
                </a:cubicBezTo>
                <a:cubicBezTo>
                  <a:pt x="2297" y="126"/>
                  <a:pt x="2297" y="126"/>
                  <a:pt x="2297" y="185"/>
                </a:cubicBezTo>
                <a:cubicBezTo>
                  <a:pt x="2297" y="185"/>
                  <a:pt x="2297" y="185"/>
                  <a:pt x="2309" y="185"/>
                </a:cubicBezTo>
                <a:cubicBezTo>
                  <a:pt x="2309" y="185"/>
                  <a:pt x="2309" y="185"/>
                  <a:pt x="2309" y="111"/>
                </a:cubicBezTo>
                <a:close/>
                <a:moveTo>
                  <a:pt x="2356" y="111"/>
                </a:moveTo>
                <a:cubicBezTo>
                  <a:pt x="2356" y="111"/>
                  <a:pt x="2356" y="111"/>
                  <a:pt x="2356" y="111"/>
                </a:cubicBezTo>
                <a:cubicBezTo>
                  <a:pt x="2351" y="111"/>
                  <a:pt x="2351" y="111"/>
                  <a:pt x="2351" y="111"/>
                </a:cubicBezTo>
                <a:cubicBezTo>
                  <a:pt x="2348" y="113"/>
                  <a:pt x="2347" y="114"/>
                  <a:pt x="2345" y="115"/>
                </a:cubicBezTo>
                <a:cubicBezTo>
                  <a:pt x="2343" y="116"/>
                  <a:pt x="2341" y="117"/>
                  <a:pt x="2339" y="118"/>
                </a:cubicBezTo>
                <a:cubicBezTo>
                  <a:pt x="2338" y="119"/>
                  <a:pt x="2336" y="120"/>
                  <a:pt x="2334" y="121"/>
                </a:cubicBezTo>
                <a:cubicBezTo>
                  <a:pt x="2332" y="121"/>
                  <a:pt x="2331" y="122"/>
                  <a:pt x="2328" y="122"/>
                </a:cubicBezTo>
                <a:cubicBezTo>
                  <a:pt x="2328" y="122"/>
                  <a:pt x="2328" y="122"/>
                  <a:pt x="2328" y="132"/>
                </a:cubicBezTo>
                <a:cubicBezTo>
                  <a:pt x="2331" y="132"/>
                  <a:pt x="2334" y="131"/>
                  <a:pt x="2336" y="129"/>
                </a:cubicBezTo>
                <a:cubicBezTo>
                  <a:pt x="2339" y="129"/>
                  <a:pt x="2342" y="127"/>
                  <a:pt x="2344" y="126"/>
                </a:cubicBezTo>
                <a:cubicBezTo>
                  <a:pt x="2344" y="126"/>
                  <a:pt x="2344" y="126"/>
                  <a:pt x="2344" y="185"/>
                </a:cubicBezTo>
                <a:cubicBezTo>
                  <a:pt x="2344" y="185"/>
                  <a:pt x="2344" y="185"/>
                  <a:pt x="2356" y="185"/>
                </a:cubicBezTo>
                <a:cubicBezTo>
                  <a:pt x="2356" y="185"/>
                  <a:pt x="2356" y="185"/>
                  <a:pt x="2356" y="111"/>
                </a:cubicBezTo>
                <a:close/>
                <a:moveTo>
                  <a:pt x="2401" y="111"/>
                </a:moveTo>
                <a:cubicBezTo>
                  <a:pt x="2401" y="111"/>
                  <a:pt x="2401" y="111"/>
                  <a:pt x="2401" y="111"/>
                </a:cubicBezTo>
                <a:cubicBezTo>
                  <a:pt x="2397" y="111"/>
                  <a:pt x="2397" y="111"/>
                  <a:pt x="2397" y="111"/>
                </a:cubicBezTo>
                <a:cubicBezTo>
                  <a:pt x="2395" y="113"/>
                  <a:pt x="2393" y="114"/>
                  <a:pt x="2391" y="115"/>
                </a:cubicBezTo>
                <a:cubicBezTo>
                  <a:pt x="2390" y="116"/>
                  <a:pt x="2388" y="117"/>
                  <a:pt x="2386" y="118"/>
                </a:cubicBezTo>
                <a:cubicBezTo>
                  <a:pt x="2384" y="119"/>
                  <a:pt x="2383" y="119"/>
                  <a:pt x="2380" y="120"/>
                </a:cubicBezTo>
                <a:cubicBezTo>
                  <a:pt x="2379" y="121"/>
                  <a:pt x="2377" y="121"/>
                  <a:pt x="2375" y="122"/>
                </a:cubicBezTo>
                <a:cubicBezTo>
                  <a:pt x="2375" y="122"/>
                  <a:pt x="2375" y="122"/>
                  <a:pt x="2375" y="132"/>
                </a:cubicBezTo>
                <a:cubicBezTo>
                  <a:pt x="2378" y="132"/>
                  <a:pt x="2381" y="130"/>
                  <a:pt x="2383" y="129"/>
                </a:cubicBezTo>
                <a:cubicBezTo>
                  <a:pt x="2385" y="129"/>
                  <a:pt x="2388" y="127"/>
                  <a:pt x="2390" y="126"/>
                </a:cubicBezTo>
                <a:cubicBezTo>
                  <a:pt x="2390" y="126"/>
                  <a:pt x="2390" y="126"/>
                  <a:pt x="2390" y="185"/>
                </a:cubicBezTo>
                <a:cubicBezTo>
                  <a:pt x="2390" y="185"/>
                  <a:pt x="2390" y="185"/>
                  <a:pt x="2401" y="185"/>
                </a:cubicBezTo>
                <a:cubicBezTo>
                  <a:pt x="2401" y="185"/>
                  <a:pt x="2401" y="185"/>
                  <a:pt x="2401" y="111"/>
                </a:cubicBezTo>
                <a:close/>
                <a:moveTo>
                  <a:pt x="1967" y="185"/>
                </a:moveTo>
                <a:cubicBezTo>
                  <a:pt x="1960" y="185"/>
                  <a:pt x="1953" y="182"/>
                  <a:pt x="1949" y="176"/>
                </a:cubicBezTo>
                <a:cubicBezTo>
                  <a:pt x="1945" y="169"/>
                  <a:pt x="1943" y="161"/>
                  <a:pt x="1943" y="148"/>
                </a:cubicBezTo>
                <a:cubicBezTo>
                  <a:pt x="1943" y="135"/>
                  <a:pt x="1945" y="126"/>
                  <a:pt x="1949" y="119"/>
                </a:cubicBezTo>
                <a:cubicBezTo>
                  <a:pt x="1954" y="112"/>
                  <a:pt x="1960" y="109"/>
                  <a:pt x="1969" y="109"/>
                </a:cubicBezTo>
                <a:cubicBezTo>
                  <a:pt x="1985" y="109"/>
                  <a:pt x="1993" y="121"/>
                  <a:pt x="1993" y="147"/>
                </a:cubicBezTo>
                <a:cubicBezTo>
                  <a:pt x="1993" y="159"/>
                  <a:pt x="1991" y="169"/>
                  <a:pt x="1987" y="175"/>
                </a:cubicBezTo>
                <a:cubicBezTo>
                  <a:pt x="1982" y="182"/>
                  <a:pt x="1976" y="185"/>
                  <a:pt x="1967" y="185"/>
                </a:cubicBezTo>
                <a:close/>
                <a:moveTo>
                  <a:pt x="1968" y="118"/>
                </a:moveTo>
                <a:cubicBezTo>
                  <a:pt x="1960" y="118"/>
                  <a:pt x="1955" y="129"/>
                  <a:pt x="1955" y="148"/>
                </a:cubicBezTo>
                <a:cubicBezTo>
                  <a:pt x="1955" y="166"/>
                  <a:pt x="1959" y="175"/>
                  <a:pt x="1968" y="175"/>
                </a:cubicBezTo>
                <a:cubicBezTo>
                  <a:pt x="1976" y="175"/>
                  <a:pt x="1981" y="166"/>
                  <a:pt x="1981" y="147"/>
                </a:cubicBezTo>
                <a:cubicBezTo>
                  <a:pt x="1981" y="128"/>
                  <a:pt x="1976" y="118"/>
                  <a:pt x="1968" y="118"/>
                </a:cubicBezTo>
                <a:close/>
                <a:moveTo>
                  <a:pt x="2028" y="111"/>
                </a:moveTo>
                <a:cubicBezTo>
                  <a:pt x="2028" y="111"/>
                  <a:pt x="2028" y="111"/>
                  <a:pt x="2028" y="111"/>
                </a:cubicBezTo>
                <a:cubicBezTo>
                  <a:pt x="2023" y="111"/>
                  <a:pt x="2023" y="111"/>
                  <a:pt x="2023" y="111"/>
                </a:cubicBezTo>
                <a:cubicBezTo>
                  <a:pt x="2021" y="113"/>
                  <a:pt x="2020" y="114"/>
                  <a:pt x="2017" y="115"/>
                </a:cubicBezTo>
                <a:cubicBezTo>
                  <a:pt x="2016" y="116"/>
                  <a:pt x="2015" y="117"/>
                  <a:pt x="2012" y="118"/>
                </a:cubicBezTo>
                <a:cubicBezTo>
                  <a:pt x="2011" y="119"/>
                  <a:pt x="2009" y="120"/>
                  <a:pt x="2007" y="121"/>
                </a:cubicBezTo>
                <a:cubicBezTo>
                  <a:pt x="2005" y="121"/>
                  <a:pt x="2004" y="122"/>
                  <a:pt x="2001" y="122"/>
                </a:cubicBezTo>
                <a:cubicBezTo>
                  <a:pt x="2001" y="122"/>
                  <a:pt x="2001" y="122"/>
                  <a:pt x="2001" y="132"/>
                </a:cubicBezTo>
                <a:cubicBezTo>
                  <a:pt x="2004" y="132"/>
                  <a:pt x="2007" y="131"/>
                  <a:pt x="2010" y="129"/>
                </a:cubicBezTo>
                <a:cubicBezTo>
                  <a:pt x="2012" y="129"/>
                  <a:pt x="2015" y="127"/>
                  <a:pt x="2017" y="126"/>
                </a:cubicBezTo>
                <a:cubicBezTo>
                  <a:pt x="2017" y="126"/>
                  <a:pt x="2017" y="126"/>
                  <a:pt x="2017" y="185"/>
                </a:cubicBezTo>
                <a:cubicBezTo>
                  <a:pt x="2017" y="185"/>
                  <a:pt x="2017" y="185"/>
                  <a:pt x="2028" y="185"/>
                </a:cubicBezTo>
                <a:cubicBezTo>
                  <a:pt x="2028" y="185"/>
                  <a:pt x="2028" y="185"/>
                  <a:pt x="2028" y="111"/>
                </a:cubicBezTo>
                <a:close/>
                <a:moveTo>
                  <a:pt x="2075" y="111"/>
                </a:moveTo>
                <a:cubicBezTo>
                  <a:pt x="2075" y="111"/>
                  <a:pt x="2075" y="111"/>
                  <a:pt x="2075" y="111"/>
                </a:cubicBezTo>
                <a:cubicBezTo>
                  <a:pt x="2070" y="111"/>
                  <a:pt x="2070" y="111"/>
                  <a:pt x="2070" y="111"/>
                </a:cubicBezTo>
                <a:cubicBezTo>
                  <a:pt x="2068" y="113"/>
                  <a:pt x="2066" y="114"/>
                  <a:pt x="2064" y="115"/>
                </a:cubicBezTo>
                <a:cubicBezTo>
                  <a:pt x="2063" y="116"/>
                  <a:pt x="2061" y="117"/>
                  <a:pt x="2059" y="118"/>
                </a:cubicBezTo>
                <a:cubicBezTo>
                  <a:pt x="2058" y="119"/>
                  <a:pt x="2055" y="120"/>
                  <a:pt x="2054" y="121"/>
                </a:cubicBezTo>
                <a:cubicBezTo>
                  <a:pt x="2052" y="121"/>
                  <a:pt x="2050" y="122"/>
                  <a:pt x="2048" y="122"/>
                </a:cubicBezTo>
                <a:cubicBezTo>
                  <a:pt x="2048" y="122"/>
                  <a:pt x="2048" y="122"/>
                  <a:pt x="2048" y="132"/>
                </a:cubicBezTo>
                <a:cubicBezTo>
                  <a:pt x="2051" y="132"/>
                  <a:pt x="2054" y="131"/>
                  <a:pt x="2056" y="129"/>
                </a:cubicBezTo>
                <a:cubicBezTo>
                  <a:pt x="2059" y="129"/>
                  <a:pt x="2061" y="127"/>
                  <a:pt x="2064" y="126"/>
                </a:cubicBezTo>
                <a:cubicBezTo>
                  <a:pt x="2064" y="126"/>
                  <a:pt x="2064" y="126"/>
                  <a:pt x="2064" y="185"/>
                </a:cubicBezTo>
                <a:cubicBezTo>
                  <a:pt x="2064" y="185"/>
                  <a:pt x="2064" y="185"/>
                  <a:pt x="2075" y="185"/>
                </a:cubicBezTo>
                <a:cubicBezTo>
                  <a:pt x="2075" y="185"/>
                  <a:pt x="2075" y="185"/>
                  <a:pt x="2075" y="111"/>
                </a:cubicBezTo>
                <a:close/>
                <a:moveTo>
                  <a:pt x="2121" y="111"/>
                </a:moveTo>
                <a:cubicBezTo>
                  <a:pt x="2121" y="111"/>
                  <a:pt x="2121" y="111"/>
                  <a:pt x="2121" y="111"/>
                </a:cubicBezTo>
                <a:cubicBezTo>
                  <a:pt x="2117" y="111"/>
                  <a:pt x="2117" y="111"/>
                  <a:pt x="2117" y="111"/>
                </a:cubicBezTo>
                <a:cubicBezTo>
                  <a:pt x="2114" y="113"/>
                  <a:pt x="2113" y="114"/>
                  <a:pt x="2111" y="115"/>
                </a:cubicBezTo>
                <a:cubicBezTo>
                  <a:pt x="2109" y="116"/>
                  <a:pt x="2107" y="117"/>
                  <a:pt x="2106" y="118"/>
                </a:cubicBezTo>
                <a:cubicBezTo>
                  <a:pt x="2104" y="119"/>
                  <a:pt x="2102" y="119"/>
                  <a:pt x="2100" y="120"/>
                </a:cubicBezTo>
                <a:cubicBezTo>
                  <a:pt x="2099" y="121"/>
                  <a:pt x="2096" y="121"/>
                  <a:pt x="2095" y="122"/>
                </a:cubicBezTo>
                <a:cubicBezTo>
                  <a:pt x="2095" y="122"/>
                  <a:pt x="2095" y="122"/>
                  <a:pt x="2095" y="132"/>
                </a:cubicBezTo>
                <a:cubicBezTo>
                  <a:pt x="2098" y="132"/>
                  <a:pt x="2101" y="130"/>
                  <a:pt x="2103" y="129"/>
                </a:cubicBezTo>
                <a:cubicBezTo>
                  <a:pt x="2105" y="129"/>
                  <a:pt x="2108" y="127"/>
                  <a:pt x="2109" y="126"/>
                </a:cubicBezTo>
                <a:cubicBezTo>
                  <a:pt x="2109" y="126"/>
                  <a:pt x="2109" y="126"/>
                  <a:pt x="2109" y="185"/>
                </a:cubicBezTo>
                <a:cubicBezTo>
                  <a:pt x="2109" y="185"/>
                  <a:pt x="2109" y="185"/>
                  <a:pt x="2121" y="185"/>
                </a:cubicBezTo>
                <a:cubicBezTo>
                  <a:pt x="2121" y="185"/>
                  <a:pt x="2121" y="185"/>
                  <a:pt x="2121" y="111"/>
                </a:cubicBezTo>
                <a:close/>
                <a:moveTo>
                  <a:pt x="2036" y="77"/>
                </a:moveTo>
                <a:cubicBezTo>
                  <a:pt x="2029" y="77"/>
                  <a:pt x="2022" y="74"/>
                  <a:pt x="2018" y="68"/>
                </a:cubicBezTo>
                <a:cubicBezTo>
                  <a:pt x="2014" y="62"/>
                  <a:pt x="2012" y="53"/>
                  <a:pt x="2012" y="41"/>
                </a:cubicBezTo>
                <a:cubicBezTo>
                  <a:pt x="2012" y="28"/>
                  <a:pt x="2014" y="18"/>
                  <a:pt x="2019" y="12"/>
                </a:cubicBezTo>
                <a:cubicBezTo>
                  <a:pt x="2023" y="5"/>
                  <a:pt x="2030" y="1"/>
                  <a:pt x="2038" y="1"/>
                </a:cubicBezTo>
                <a:cubicBezTo>
                  <a:pt x="2054" y="1"/>
                  <a:pt x="2062" y="14"/>
                  <a:pt x="2062" y="39"/>
                </a:cubicBezTo>
                <a:cubicBezTo>
                  <a:pt x="2062" y="52"/>
                  <a:pt x="2060" y="61"/>
                  <a:pt x="2055" y="68"/>
                </a:cubicBezTo>
                <a:cubicBezTo>
                  <a:pt x="2051" y="74"/>
                  <a:pt x="2044" y="77"/>
                  <a:pt x="2036" y="77"/>
                </a:cubicBezTo>
                <a:close/>
                <a:moveTo>
                  <a:pt x="2038" y="11"/>
                </a:moveTo>
                <a:cubicBezTo>
                  <a:pt x="2028" y="11"/>
                  <a:pt x="2024" y="21"/>
                  <a:pt x="2024" y="41"/>
                </a:cubicBezTo>
                <a:cubicBezTo>
                  <a:pt x="2024" y="59"/>
                  <a:pt x="2028" y="68"/>
                  <a:pt x="2037" y="68"/>
                </a:cubicBezTo>
                <a:cubicBezTo>
                  <a:pt x="2046" y="68"/>
                  <a:pt x="2050" y="59"/>
                  <a:pt x="2050" y="40"/>
                </a:cubicBezTo>
                <a:cubicBezTo>
                  <a:pt x="2050" y="20"/>
                  <a:pt x="2046" y="11"/>
                  <a:pt x="2038" y="11"/>
                </a:cubicBezTo>
                <a:close/>
                <a:moveTo>
                  <a:pt x="2110" y="4"/>
                </a:moveTo>
                <a:cubicBezTo>
                  <a:pt x="2110" y="4"/>
                  <a:pt x="2110" y="4"/>
                  <a:pt x="2110" y="4"/>
                </a:cubicBezTo>
                <a:cubicBezTo>
                  <a:pt x="2105" y="4"/>
                  <a:pt x="2105" y="4"/>
                  <a:pt x="2105" y="4"/>
                </a:cubicBezTo>
                <a:cubicBezTo>
                  <a:pt x="2103" y="5"/>
                  <a:pt x="2101" y="7"/>
                  <a:pt x="2099" y="7"/>
                </a:cubicBezTo>
                <a:cubicBezTo>
                  <a:pt x="2098" y="9"/>
                  <a:pt x="2095" y="10"/>
                  <a:pt x="2094" y="10"/>
                </a:cubicBezTo>
                <a:cubicBezTo>
                  <a:pt x="2092" y="11"/>
                  <a:pt x="2090" y="12"/>
                  <a:pt x="2089" y="12"/>
                </a:cubicBezTo>
                <a:cubicBezTo>
                  <a:pt x="2087" y="13"/>
                  <a:pt x="2085" y="14"/>
                  <a:pt x="2083" y="15"/>
                </a:cubicBezTo>
                <a:cubicBezTo>
                  <a:pt x="2083" y="15"/>
                  <a:pt x="2083" y="15"/>
                  <a:pt x="2083" y="25"/>
                </a:cubicBezTo>
                <a:cubicBezTo>
                  <a:pt x="2086" y="24"/>
                  <a:pt x="2089" y="23"/>
                  <a:pt x="2091" y="22"/>
                </a:cubicBezTo>
                <a:cubicBezTo>
                  <a:pt x="2094" y="21"/>
                  <a:pt x="2096" y="20"/>
                  <a:pt x="2098" y="18"/>
                </a:cubicBezTo>
                <a:cubicBezTo>
                  <a:pt x="2098" y="18"/>
                  <a:pt x="2098" y="18"/>
                  <a:pt x="2098" y="77"/>
                </a:cubicBezTo>
                <a:cubicBezTo>
                  <a:pt x="2098" y="77"/>
                  <a:pt x="2098" y="77"/>
                  <a:pt x="2110" y="77"/>
                </a:cubicBezTo>
                <a:cubicBezTo>
                  <a:pt x="2110" y="77"/>
                  <a:pt x="2110" y="77"/>
                  <a:pt x="2110" y="4"/>
                </a:cubicBezTo>
                <a:close/>
                <a:moveTo>
                  <a:pt x="2157" y="4"/>
                </a:moveTo>
                <a:cubicBezTo>
                  <a:pt x="2157" y="4"/>
                  <a:pt x="2157" y="4"/>
                  <a:pt x="2157" y="4"/>
                </a:cubicBezTo>
                <a:cubicBezTo>
                  <a:pt x="2152" y="4"/>
                  <a:pt x="2152" y="4"/>
                  <a:pt x="2152" y="4"/>
                </a:cubicBezTo>
                <a:cubicBezTo>
                  <a:pt x="2150" y="5"/>
                  <a:pt x="2148" y="7"/>
                  <a:pt x="2146" y="7"/>
                </a:cubicBezTo>
                <a:cubicBezTo>
                  <a:pt x="2145" y="9"/>
                  <a:pt x="2143" y="10"/>
                  <a:pt x="2141" y="10"/>
                </a:cubicBezTo>
                <a:cubicBezTo>
                  <a:pt x="2140" y="12"/>
                  <a:pt x="2138" y="12"/>
                  <a:pt x="2136" y="13"/>
                </a:cubicBezTo>
                <a:cubicBezTo>
                  <a:pt x="2134" y="14"/>
                  <a:pt x="2133" y="15"/>
                  <a:pt x="2131" y="15"/>
                </a:cubicBezTo>
                <a:cubicBezTo>
                  <a:pt x="2131" y="15"/>
                  <a:pt x="2131" y="15"/>
                  <a:pt x="2131" y="25"/>
                </a:cubicBezTo>
                <a:cubicBezTo>
                  <a:pt x="2133" y="24"/>
                  <a:pt x="2136" y="23"/>
                  <a:pt x="2138" y="22"/>
                </a:cubicBezTo>
                <a:cubicBezTo>
                  <a:pt x="2141" y="21"/>
                  <a:pt x="2143" y="20"/>
                  <a:pt x="2146" y="18"/>
                </a:cubicBezTo>
                <a:cubicBezTo>
                  <a:pt x="2146" y="18"/>
                  <a:pt x="2146" y="18"/>
                  <a:pt x="2146" y="77"/>
                </a:cubicBezTo>
                <a:cubicBezTo>
                  <a:pt x="2146" y="77"/>
                  <a:pt x="2146" y="77"/>
                  <a:pt x="2157" y="77"/>
                </a:cubicBezTo>
                <a:cubicBezTo>
                  <a:pt x="2157" y="77"/>
                  <a:pt x="2157" y="77"/>
                  <a:pt x="2157" y="4"/>
                </a:cubicBezTo>
                <a:close/>
                <a:moveTo>
                  <a:pt x="2204" y="4"/>
                </a:moveTo>
                <a:cubicBezTo>
                  <a:pt x="2204" y="4"/>
                  <a:pt x="2204" y="4"/>
                  <a:pt x="2204" y="4"/>
                </a:cubicBezTo>
                <a:cubicBezTo>
                  <a:pt x="2199" y="4"/>
                  <a:pt x="2199" y="4"/>
                  <a:pt x="2199" y="4"/>
                </a:cubicBezTo>
                <a:cubicBezTo>
                  <a:pt x="2197" y="5"/>
                  <a:pt x="2195" y="7"/>
                  <a:pt x="2193" y="7"/>
                </a:cubicBezTo>
                <a:cubicBezTo>
                  <a:pt x="2192" y="9"/>
                  <a:pt x="2190" y="10"/>
                  <a:pt x="2188" y="10"/>
                </a:cubicBezTo>
                <a:cubicBezTo>
                  <a:pt x="2186" y="12"/>
                  <a:pt x="2184" y="12"/>
                  <a:pt x="2182" y="13"/>
                </a:cubicBezTo>
                <a:cubicBezTo>
                  <a:pt x="2181" y="14"/>
                  <a:pt x="2179" y="15"/>
                  <a:pt x="2177" y="15"/>
                </a:cubicBezTo>
                <a:cubicBezTo>
                  <a:pt x="2177" y="15"/>
                  <a:pt x="2177" y="15"/>
                  <a:pt x="2177" y="25"/>
                </a:cubicBezTo>
                <a:cubicBezTo>
                  <a:pt x="2180" y="24"/>
                  <a:pt x="2183" y="23"/>
                  <a:pt x="2185" y="22"/>
                </a:cubicBezTo>
                <a:cubicBezTo>
                  <a:pt x="2187" y="21"/>
                  <a:pt x="2190" y="20"/>
                  <a:pt x="2192" y="18"/>
                </a:cubicBezTo>
                <a:cubicBezTo>
                  <a:pt x="2192" y="18"/>
                  <a:pt x="2192" y="18"/>
                  <a:pt x="2192" y="77"/>
                </a:cubicBezTo>
                <a:cubicBezTo>
                  <a:pt x="2192" y="77"/>
                  <a:pt x="2192" y="77"/>
                  <a:pt x="2204" y="77"/>
                </a:cubicBezTo>
                <a:cubicBezTo>
                  <a:pt x="2204" y="77"/>
                  <a:pt x="2204" y="77"/>
                  <a:pt x="2204" y="4"/>
                </a:cubicBezTo>
                <a:close/>
                <a:moveTo>
                  <a:pt x="2251" y="4"/>
                </a:moveTo>
                <a:cubicBezTo>
                  <a:pt x="2251" y="4"/>
                  <a:pt x="2251" y="4"/>
                  <a:pt x="2251" y="4"/>
                </a:cubicBezTo>
                <a:cubicBezTo>
                  <a:pt x="2246" y="4"/>
                  <a:pt x="2246" y="4"/>
                  <a:pt x="2246" y="4"/>
                </a:cubicBezTo>
                <a:cubicBezTo>
                  <a:pt x="2244" y="5"/>
                  <a:pt x="2242" y="7"/>
                  <a:pt x="2240" y="7"/>
                </a:cubicBezTo>
                <a:cubicBezTo>
                  <a:pt x="2238" y="9"/>
                  <a:pt x="2237" y="10"/>
                  <a:pt x="2235" y="10"/>
                </a:cubicBezTo>
                <a:cubicBezTo>
                  <a:pt x="2233" y="12"/>
                  <a:pt x="2231" y="12"/>
                  <a:pt x="2230" y="13"/>
                </a:cubicBezTo>
                <a:cubicBezTo>
                  <a:pt x="2227" y="14"/>
                  <a:pt x="2226" y="15"/>
                  <a:pt x="2224" y="15"/>
                </a:cubicBezTo>
                <a:cubicBezTo>
                  <a:pt x="2224" y="15"/>
                  <a:pt x="2224" y="15"/>
                  <a:pt x="2224" y="25"/>
                </a:cubicBezTo>
                <a:cubicBezTo>
                  <a:pt x="2227" y="24"/>
                  <a:pt x="2230" y="23"/>
                  <a:pt x="2232" y="22"/>
                </a:cubicBezTo>
                <a:cubicBezTo>
                  <a:pt x="2235" y="21"/>
                  <a:pt x="2237" y="20"/>
                  <a:pt x="2239" y="18"/>
                </a:cubicBezTo>
                <a:cubicBezTo>
                  <a:pt x="2239" y="18"/>
                  <a:pt x="2239" y="18"/>
                  <a:pt x="2239" y="77"/>
                </a:cubicBezTo>
                <a:cubicBezTo>
                  <a:pt x="2239" y="77"/>
                  <a:pt x="2239" y="77"/>
                  <a:pt x="2251" y="77"/>
                </a:cubicBezTo>
                <a:cubicBezTo>
                  <a:pt x="2251" y="77"/>
                  <a:pt x="2251" y="77"/>
                  <a:pt x="2251" y="4"/>
                </a:cubicBezTo>
                <a:close/>
                <a:moveTo>
                  <a:pt x="2374" y="4"/>
                </a:moveTo>
                <a:cubicBezTo>
                  <a:pt x="2374" y="4"/>
                  <a:pt x="2374" y="4"/>
                  <a:pt x="2374" y="4"/>
                </a:cubicBezTo>
                <a:cubicBezTo>
                  <a:pt x="2369" y="4"/>
                  <a:pt x="2369" y="4"/>
                  <a:pt x="2369" y="4"/>
                </a:cubicBezTo>
                <a:cubicBezTo>
                  <a:pt x="2367" y="5"/>
                  <a:pt x="2365" y="7"/>
                  <a:pt x="2363" y="7"/>
                </a:cubicBezTo>
                <a:cubicBezTo>
                  <a:pt x="2362" y="9"/>
                  <a:pt x="2360" y="10"/>
                  <a:pt x="2358" y="10"/>
                </a:cubicBezTo>
                <a:cubicBezTo>
                  <a:pt x="2356" y="12"/>
                  <a:pt x="2354" y="12"/>
                  <a:pt x="2353" y="13"/>
                </a:cubicBezTo>
                <a:cubicBezTo>
                  <a:pt x="2351" y="14"/>
                  <a:pt x="2349" y="15"/>
                  <a:pt x="2347" y="15"/>
                </a:cubicBezTo>
                <a:cubicBezTo>
                  <a:pt x="2347" y="15"/>
                  <a:pt x="2347" y="15"/>
                  <a:pt x="2347" y="25"/>
                </a:cubicBezTo>
                <a:cubicBezTo>
                  <a:pt x="2350" y="24"/>
                  <a:pt x="2353" y="23"/>
                  <a:pt x="2356" y="22"/>
                </a:cubicBezTo>
                <a:cubicBezTo>
                  <a:pt x="2358" y="21"/>
                  <a:pt x="2360" y="20"/>
                  <a:pt x="2362" y="18"/>
                </a:cubicBezTo>
                <a:cubicBezTo>
                  <a:pt x="2362" y="18"/>
                  <a:pt x="2362" y="18"/>
                  <a:pt x="2362" y="77"/>
                </a:cubicBezTo>
                <a:cubicBezTo>
                  <a:pt x="2362" y="77"/>
                  <a:pt x="2362" y="77"/>
                  <a:pt x="2374" y="77"/>
                </a:cubicBezTo>
                <a:cubicBezTo>
                  <a:pt x="2374" y="77"/>
                  <a:pt x="2374" y="77"/>
                  <a:pt x="2374" y="4"/>
                </a:cubicBezTo>
                <a:close/>
                <a:moveTo>
                  <a:pt x="2421" y="4"/>
                </a:moveTo>
                <a:cubicBezTo>
                  <a:pt x="2421" y="4"/>
                  <a:pt x="2421" y="4"/>
                  <a:pt x="2421" y="4"/>
                </a:cubicBezTo>
                <a:cubicBezTo>
                  <a:pt x="2416" y="4"/>
                  <a:pt x="2416" y="4"/>
                  <a:pt x="2416" y="4"/>
                </a:cubicBezTo>
                <a:cubicBezTo>
                  <a:pt x="2414" y="5"/>
                  <a:pt x="2413" y="7"/>
                  <a:pt x="2411" y="7"/>
                </a:cubicBezTo>
                <a:cubicBezTo>
                  <a:pt x="2409" y="9"/>
                  <a:pt x="2407" y="10"/>
                  <a:pt x="2405" y="10"/>
                </a:cubicBezTo>
                <a:cubicBezTo>
                  <a:pt x="2404" y="12"/>
                  <a:pt x="2402" y="12"/>
                  <a:pt x="2400" y="13"/>
                </a:cubicBezTo>
                <a:cubicBezTo>
                  <a:pt x="2398" y="14"/>
                  <a:pt x="2397" y="15"/>
                  <a:pt x="2395" y="15"/>
                </a:cubicBezTo>
                <a:cubicBezTo>
                  <a:pt x="2395" y="15"/>
                  <a:pt x="2395" y="15"/>
                  <a:pt x="2395" y="25"/>
                </a:cubicBezTo>
                <a:cubicBezTo>
                  <a:pt x="2397" y="24"/>
                  <a:pt x="2400" y="23"/>
                  <a:pt x="2403" y="22"/>
                </a:cubicBezTo>
                <a:cubicBezTo>
                  <a:pt x="2405" y="21"/>
                  <a:pt x="2408" y="20"/>
                  <a:pt x="2410" y="18"/>
                </a:cubicBezTo>
                <a:cubicBezTo>
                  <a:pt x="2410" y="18"/>
                  <a:pt x="2410" y="18"/>
                  <a:pt x="2410" y="77"/>
                </a:cubicBezTo>
                <a:cubicBezTo>
                  <a:pt x="2410" y="77"/>
                  <a:pt x="2410" y="77"/>
                  <a:pt x="2421" y="77"/>
                </a:cubicBezTo>
                <a:cubicBezTo>
                  <a:pt x="2421" y="77"/>
                  <a:pt x="2421" y="77"/>
                  <a:pt x="2421" y="4"/>
                </a:cubicBezTo>
                <a:close/>
                <a:moveTo>
                  <a:pt x="2469" y="4"/>
                </a:moveTo>
                <a:cubicBezTo>
                  <a:pt x="2469" y="4"/>
                  <a:pt x="2469" y="4"/>
                  <a:pt x="2469" y="4"/>
                </a:cubicBezTo>
                <a:cubicBezTo>
                  <a:pt x="2464" y="4"/>
                  <a:pt x="2464" y="4"/>
                  <a:pt x="2464" y="4"/>
                </a:cubicBezTo>
                <a:cubicBezTo>
                  <a:pt x="2462" y="5"/>
                  <a:pt x="2460" y="7"/>
                  <a:pt x="2459" y="7"/>
                </a:cubicBezTo>
                <a:cubicBezTo>
                  <a:pt x="2457" y="9"/>
                  <a:pt x="2455" y="10"/>
                  <a:pt x="2453" y="10"/>
                </a:cubicBezTo>
                <a:cubicBezTo>
                  <a:pt x="2452" y="12"/>
                  <a:pt x="2449" y="12"/>
                  <a:pt x="2448" y="13"/>
                </a:cubicBezTo>
                <a:cubicBezTo>
                  <a:pt x="2446" y="14"/>
                  <a:pt x="2444" y="15"/>
                  <a:pt x="2442" y="15"/>
                </a:cubicBezTo>
                <a:cubicBezTo>
                  <a:pt x="2442" y="15"/>
                  <a:pt x="2442" y="15"/>
                  <a:pt x="2442" y="25"/>
                </a:cubicBezTo>
                <a:cubicBezTo>
                  <a:pt x="2445" y="24"/>
                  <a:pt x="2448" y="23"/>
                  <a:pt x="2451" y="22"/>
                </a:cubicBezTo>
                <a:cubicBezTo>
                  <a:pt x="2453" y="21"/>
                  <a:pt x="2455" y="20"/>
                  <a:pt x="2457" y="18"/>
                </a:cubicBezTo>
                <a:cubicBezTo>
                  <a:pt x="2457" y="18"/>
                  <a:pt x="2457" y="18"/>
                  <a:pt x="2457" y="77"/>
                </a:cubicBezTo>
                <a:cubicBezTo>
                  <a:pt x="2457" y="77"/>
                  <a:pt x="2457" y="77"/>
                  <a:pt x="2469" y="77"/>
                </a:cubicBezTo>
                <a:cubicBezTo>
                  <a:pt x="2469" y="77"/>
                  <a:pt x="2469" y="77"/>
                  <a:pt x="2469" y="4"/>
                </a:cubicBezTo>
                <a:close/>
                <a:moveTo>
                  <a:pt x="2516" y="4"/>
                </a:moveTo>
                <a:cubicBezTo>
                  <a:pt x="2516" y="4"/>
                  <a:pt x="2516" y="4"/>
                  <a:pt x="2516" y="4"/>
                </a:cubicBezTo>
                <a:cubicBezTo>
                  <a:pt x="2511" y="4"/>
                  <a:pt x="2511" y="4"/>
                  <a:pt x="2511" y="4"/>
                </a:cubicBezTo>
                <a:cubicBezTo>
                  <a:pt x="2509" y="5"/>
                  <a:pt x="2508" y="7"/>
                  <a:pt x="2505" y="7"/>
                </a:cubicBezTo>
                <a:cubicBezTo>
                  <a:pt x="2504" y="9"/>
                  <a:pt x="2502" y="10"/>
                  <a:pt x="2500" y="10"/>
                </a:cubicBezTo>
                <a:cubicBezTo>
                  <a:pt x="2498" y="11"/>
                  <a:pt x="2497" y="12"/>
                  <a:pt x="2495" y="12"/>
                </a:cubicBezTo>
                <a:cubicBezTo>
                  <a:pt x="2493" y="13"/>
                  <a:pt x="2491" y="14"/>
                  <a:pt x="2490" y="15"/>
                </a:cubicBezTo>
                <a:cubicBezTo>
                  <a:pt x="2490" y="15"/>
                  <a:pt x="2490" y="15"/>
                  <a:pt x="2490" y="25"/>
                </a:cubicBezTo>
                <a:cubicBezTo>
                  <a:pt x="2492" y="24"/>
                  <a:pt x="2495" y="23"/>
                  <a:pt x="2498" y="22"/>
                </a:cubicBezTo>
                <a:cubicBezTo>
                  <a:pt x="2500" y="21"/>
                  <a:pt x="2503" y="20"/>
                  <a:pt x="2504" y="18"/>
                </a:cubicBezTo>
                <a:cubicBezTo>
                  <a:pt x="2504" y="18"/>
                  <a:pt x="2504" y="18"/>
                  <a:pt x="2504" y="77"/>
                </a:cubicBezTo>
                <a:cubicBezTo>
                  <a:pt x="2504" y="77"/>
                  <a:pt x="2504" y="77"/>
                  <a:pt x="2516" y="77"/>
                </a:cubicBezTo>
                <a:cubicBezTo>
                  <a:pt x="2516" y="77"/>
                  <a:pt x="2516" y="77"/>
                  <a:pt x="2516" y="4"/>
                </a:cubicBezTo>
                <a:close/>
                <a:moveTo>
                  <a:pt x="2272" y="36"/>
                </a:moveTo>
                <a:cubicBezTo>
                  <a:pt x="2272" y="36"/>
                  <a:pt x="2272" y="36"/>
                  <a:pt x="2272" y="36"/>
                </a:cubicBezTo>
                <a:cubicBezTo>
                  <a:pt x="2271" y="44"/>
                  <a:pt x="2271" y="44"/>
                  <a:pt x="2271" y="44"/>
                </a:cubicBezTo>
                <a:cubicBezTo>
                  <a:pt x="2278" y="45"/>
                  <a:pt x="2278" y="48"/>
                  <a:pt x="2278" y="50"/>
                </a:cubicBezTo>
                <a:cubicBezTo>
                  <a:pt x="2278" y="53"/>
                  <a:pt x="2278" y="55"/>
                  <a:pt x="2278" y="57"/>
                </a:cubicBezTo>
                <a:cubicBezTo>
                  <a:pt x="2278" y="60"/>
                  <a:pt x="2277" y="62"/>
                  <a:pt x="2277" y="65"/>
                </a:cubicBezTo>
                <a:cubicBezTo>
                  <a:pt x="2277" y="74"/>
                  <a:pt x="2283" y="77"/>
                  <a:pt x="2292" y="77"/>
                </a:cubicBezTo>
                <a:cubicBezTo>
                  <a:pt x="2292" y="77"/>
                  <a:pt x="2292" y="77"/>
                  <a:pt x="2296" y="77"/>
                </a:cubicBezTo>
                <a:cubicBezTo>
                  <a:pt x="2296" y="77"/>
                  <a:pt x="2296" y="77"/>
                  <a:pt x="2296" y="68"/>
                </a:cubicBezTo>
                <a:cubicBezTo>
                  <a:pt x="2296" y="68"/>
                  <a:pt x="2296" y="68"/>
                  <a:pt x="2294" y="68"/>
                </a:cubicBezTo>
                <a:cubicBezTo>
                  <a:pt x="2290" y="68"/>
                  <a:pt x="2289" y="66"/>
                  <a:pt x="2289" y="62"/>
                </a:cubicBezTo>
                <a:cubicBezTo>
                  <a:pt x="2289" y="61"/>
                  <a:pt x="2289" y="59"/>
                  <a:pt x="2290" y="57"/>
                </a:cubicBezTo>
                <a:cubicBezTo>
                  <a:pt x="2290" y="56"/>
                  <a:pt x="2290" y="54"/>
                  <a:pt x="2290" y="52"/>
                </a:cubicBezTo>
                <a:cubicBezTo>
                  <a:pt x="2290" y="44"/>
                  <a:pt x="2287" y="42"/>
                  <a:pt x="2281" y="40"/>
                </a:cubicBezTo>
                <a:cubicBezTo>
                  <a:pt x="2281" y="40"/>
                  <a:pt x="2281" y="40"/>
                  <a:pt x="2281" y="40"/>
                </a:cubicBezTo>
                <a:cubicBezTo>
                  <a:pt x="2287" y="39"/>
                  <a:pt x="2290" y="37"/>
                  <a:pt x="2290" y="29"/>
                </a:cubicBezTo>
                <a:cubicBezTo>
                  <a:pt x="2290" y="27"/>
                  <a:pt x="2290" y="25"/>
                  <a:pt x="2290" y="23"/>
                </a:cubicBezTo>
                <a:cubicBezTo>
                  <a:pt x="2289" y="21"/>
                  <a:pt x="2289" y="20"/>
                  <a:pt x="2289" y="18"/>
                </a:cubicBezTo>
                <a:cubicBezTo>
                  <a:pt x="2289" y="15"/>
                  <a:pt x="2290" y="13"/>
                  <a:pt x="2294" y="13"/>
                </a:cubicBezTo>
                <a:cubicBezTo>
                  <a:pt x="2294" y="13"/>
                  <a:pt x="2294" y="13"/>
                  <a:pt x="2296" y="13"/>
                </a:cubicBezTo>
                <a:cubicBezTo>
                  <a:pt x="2296" y="13"/>
                  <a:pt x="2296" y="13"/>
                  <a:pt x="2296" y="3"/>
                </a:cubicBezTo>
                <a:cubicBezTo>
                  <a:pt x="2296" y="3"/>
                  <a:pt x="2296" y="3"/>
                  <a:pt x="2292" y="3"/>
                </a:cubicBezTo>
                <a:cubicBezTo>
                  <a:pt x="2283" y="3"/>
                  <a:pt x="2277" y="7"/>
                  <a:pt x="2277" y="16"/>
                </a:cubicBezTo>
                <a:cubicBezTo>
                  <a:pt x="2277" y="18"/>
                  <a:pt x="2278" y="21"/>
                  <a:pt x="2278" y="23"/>
                </a:cubicBezTo>
                <a:cubicBezTo>
                  <a:pt x="2278" y="26"/>
                  <a:pt x="2278" y="28"/>
                  <a:pt x="2278" y="30"/>
                </a:cubicBezTo>
                <a:cubicBezTo>
                  <a:pt x="2278" y="33"/>
                  <a:pt x="2278" y="36"/>
                  <a:pt x="2272" y="36"/>
                </a:cubicBezTo>
                <a:close/>
                <a:moveTo>
                  <a:pt x="2326" y="44"/>
                </a:moveTo>
                <a:cubicBezTo>
                  <a:pt x="2326" y="44"/>
                  <a:pt x="2326" y="44"/>
                  <a:pt x="2326" y="44"/>
                </a:cubicBezTo>
                <a:cubicBezTo>
                  <a:pt x="2326" y="36"/>
                  <a:pt x="2326" y="36"/>
                  <a:pt x="2326" y="36"/>
                </a:cubicBezTo>
                <a:cubicBezTo>
                  <a:pt x="2320" y="36"/>
                  <a:pt x="2320" y="33"/>
                  <a:pt x="2320" y="30"/>
                </a:cubicBezTo>
                <a:cubicBezTo>
                  <a:pt x="2320" y="28"/>
                  <a:pt x="2320" y="26"/>
                  <a:pt x="2320" y="23"/>
                </a:cubicBezTo>
                <a:cubicBezTo>
                  <a:pt x="2321" y="21"/>
                  <a:pt x="2321" y="18"/>
                  <a:pt x="2321" y="16"/>
                </a:cubicBezTo>
                <a:cubicBezTo>
                  <a:pt x="2321" y="7"/>
                  <a:pt x="2315" y="3"/>
                  <a:pt x="2306" y="3"/>
                </a:cubicBezTo>
                <a:cubicBezTo>
                  <a:pt x="2306" y="3"/>
                  <a:pt x="2306" y="3"/>
                  <a:pt x="2302" y="3"/>
                </a:cubicBezTo>
                <a:cubicBezTo>
                  <a:pt x="2302" y="3"/>
                  <a:pt x="2302" y="3"/>
                  <a:pt x="2302" y="13"/>
                </a:cubicBezTo>
                <a:cubicBezTo>
                  <a:pt x="2302" y="13"/>
                  <a:pt x="2302" y="13"/>
                  <a:pt x="2304" y="13"/>
                </a:cubicBezTo>
                <a:cubicBezTo>
                  <a:pt x="2308" y="13"/>
                  <a:pt x="2309" y="15"/>
                  <a:pt x="2309" y="18"/>
                </a:cubicBezTo>
                <a:cubicBezTo>
                  <a:pt x="2309" y="20"/>
                  <a:pt x="2309" y="21"/>
                  <a:pt x="2309" y="23"/>
                </a:cubicBezTo>
                <a:cubicBezTo>
                  <a:pt x="2308" y="25"/>
                  <a:pt x="2308" y="27"/>
                  <a:pt x="2308" y="29"/>
                </a:cubicBezTo>
                <a:cubicBezTo>
                  <a:pt x="2308" y="37"/>
                  <a:pt x="2311" y="39"/>
                  <a:pt x="2317" y="40"/>
                </a:cubicBezTo>
                <a:cubicBezTo>
                  <a:pt x="2317" y="40"/>
                  <a:pt x="2317" y="40"/>
                  <a:pt x="2317" y="40"/>
                </a:cubicBezTo>
                <a:cubicBezTo>
                  <a:pt x="2311" y="42"/>
                  <a:pt x="2308" y="44"/>
                  <a:pt x="2308" y="52"/>
                </a:cubicBezTo>
                <a:cubicBezTo>
                  <a:pt x="2308" y="54"/>
                  <a:pt x="2308" y="56"/>
                  <a:pt x="2309" y="57"/>
                </a:cubicBezTo>
                <a:cubicBezTo>
                  <a:pt x="2309" y="59"/>
                  <a:pt x="2309" y="61"/>
                  <a:pt x="2309" y="62"/>
                </a:cubicBezTo>
                <a:cubicBezTo>
                  <a:pt x="2309" y="66"/>
                  <a:pt x="2308" y="68"/>
                  <a:pt x="2304" y="68"/>
                </a:cubicBezTo>
                <a:cubicBezTo>
                  <a:pt x="2304" y="68"/>
                  <a:pt x="2304" y="68"/>
                  <a:pt x="2302" y="68"/>
                </a:cubicBezTo>
                <a:cubicBezTo>
                  <a:pt x="2302" y="68"/>
                  <a:pt x="2302" y="68"/>
                  <a:pt x="2302" y="77"/>
                </a:cubicBezTo>
                <a:cubicBezTo>
                  <a:pt x="2302" y="77"/>
                  <a:pt x="2302" y="77"/>
                  <a:pt x="2306" y="77"/>
                </a:cubicBezTo>
                <a:cubicBezTo>
                  <a:pt x="2315" y="77"/>
                  <a:pt x="2321" y="74"/>
                  <a:pt x="2321" y="65"/>
                </a:cubicBezTo>
                <a:cubicBezTo>
                  <a:pt x="2321" y="62"/>
                  <a:pt x="2321" y="60"/>
                  <a:pt x="2320" y="57"/>
                </a:cubicBezTo>
                <a:cubicBezTo>
                  <a:pt x="2320" y="55"/>
                  <a:pt x="2320" y="53"/>
                  <a:pt x="2320" y="50"/>
                </a:cubicBezTo>
                <a:cubicBezTo>
                  <a:pt x="2320" y="48"/>
                  <a:pt x="2320" y="45"/>
                  <a:pt x="2326" y="44"/>
                </a:cubicBezTo>
                <a:close/>
                <a:moveTo>
                  <a:pt x="2653" y="36"/>
                </a:moveTo>
                <a:cubicBezTo>
                  <a:pt x="2653" y="36"/>
                  <a:pt x="2653" y="36"/>
                  <a:pt x="2653" y="36"/>
                </a:cubicBezTo>
                <a:cubicBezTo>
                  <a:pt x="2653" y="44"/>
                  <a:pt x="2653" y="44"/>
                  <a:pt x="2653" y="44"/>
                </a:cubicBezTo>
                <a:cubicBezTo>
                  <a:pt x="2659" y="45"/>
                  <a:pt x="2660" y="48"/>
                  <a:pt x="2660" y="50"/>
                </a:cubicBezTo>
                <a:cubicBezTo>
                  <a:pt x="2660" y="53"/>
                  <a:pt x="2660" y="55"/>
                  <a:pt x="2660" y="57"/>
                </a:cubicBezTo>
                <a:cubicBezTo>
                  <a:pt x="2659" y="60"/>
                  <a:pt x="2659" y="62"/>
                  <a:pt x="2659" y="65"/>
                </a:cubicBezTo>
                <a:cubicBezTo>
                  <a:pt x="2659" y="74"/>
                  <a:pt x="2665" y="77"/>
                  <a:pt x="2674" y="77"/>
                </a:cubicBezTo>
                <a:cubicBezTo>
                  <a:pt x="2674" y="77"/>
                  <a:pt x="2674" y="77"/>
                  <a:pt x="2677" y="77"/>
                </a:cubicBezTo>
                <a:cubicBezTo>
                  <a:pt x="2677" y="77"/>
                  <a:pt x="2677" y="77"/>
                  <a:pt x="2677" y="68"/>
                </a:cubicBezTo>
                <a:cubicBezTo>
                  <a:pt x="2677" y="68"/>
                  <a:pt x="2677" y="68"/>
                  <a:pt x="2676" y="68"/>
                </a:cubicBezTo>
                <a:cubicBezTo>
                  <a:pt x="2672" y="68"/>
                  <a:pt x="2671" y="66"/>
                  <a:pt x="2671" y="62"/>
                </a:cubicBezTo>
                <a:cubicBezTo>
                  <a:pt x="2671" y="61"/>
                  <a:pt x="2671" y="59"/>
                  <a:pt x="2671" y="57"/>
                </a:cubicBezTo>
                <a:cubicBezTo>
                  <a:pt x="2671" y="56"/>
                  <a:pt x="2672" y="54"/>
                  <a:pt x="2672" y="52"/>
                </a:cubicBezTo>
                <a:cubicBezTo>
                  <a:pt x="2672" y="44"/>
                  <a:pt x="2669" y="42"/>
                  <a:pt x="2663" y="40"/>
                </a:cubicBezTo>
                <a:cubicBezTo>
                  <a:pt x="2663" y="40"/>
                  <a:pt x="2663" y="40"/>
                  <a:pt x="2663" y="40"/>
                </a:cubicBezTo>
                <a:cubicBezTo>
                  <a:pt x="2669" y="39"/>
                  <a:pt x="2672" y="37"/>
                  <a:pt x="2672" y="29"/>
                </a:cubicBezTo>
                <a:cubicBezTo>
                  <a:pt x="2672" y="27"/>
                  <a:pt x="2671" y="25"/>
                  <a:pt x="2671" y="23"/>
                </a:cubicBezTo>
                <a:cubicBezTo>
                  <a:pt x="2671" y="21"/>
                  <a:pt x="2671" y="20"/>
                  <a:pt x="2671" y="18"/>
                </a:cubicBezTo>
                <a:cubicBezTo>
                  <a:pt x="2671" y="15"/>
                  <a:pt x="2672" y="13"/>
                  <a:pt x="2676" y="13"/>
                </a:cubicBezTo>
                <a:cubicBezTo>
                  <a:pt x="2676" y="13"/>
                  <a:pt x="2676" y="13"/>
                  <a:pt x="2677" y="13"/>
                </a:cubicBezTo>
                <a:cubicBezTo>
                  <a:pt x="2677" y="13"/>
                  <a:pt x="2677" y="13"/>
                  <a:pt x="2677" y="3"/>
                </a:cubicBezTo>
                <a:cubicBezTo>
                  <a:pt x="2677" y="3"/>
                  <a:pt x="2677" y="3"/>
                  <a:pt x="2674" y="3"/>
                </a:cubicBezTo>
                <a:cubicBezTo>
                  <a:pt x="2664" y="3"/>
                  <a:pt x="2659" y="7"/>
                  <a:pt x="2659" y="16"/>
                </a:cubicBezTo>
                <a:cubicBezTo>
                  <a:pt x="2659" y="18"/>
                  <a:pt x="2659" y="21"/>
                  <a:pt x="2659" y="23"/>
                </a:cubicBezTo>
                <a:cubicBezTo>
                  <a:pt x="2660" y="26"/>
                  <a:pt x="2660" y="28"/>
                  <a:pt x="2660" y="30"/>
                </a:cubicBezTo>
                <a:cubicBezTo>
                  <a:pt x="2660" y="33"/>
                  <a:pt x="2659" y="36"/>
                  <a:pt x="2653" y="36"/>
                </a:cubicBezTo>
                <a:close/>
                <a:moveTo>
                  <a:pt x="2708" y="44"/>
                </a:moveTo>
                <a:cubicBezTo>
                  <a:pt x="2708" y="44"/>
                  <a:pt x="2708" y="44"/>
                  <a:pt x="2708" y="44"/>
                </a:cubicBezTo>
                <a:cubicBezTo>
                  <a:pt x="2708" y="36"/>
                  <a:pt x="2708" y="36"/>
                  <a:pt x="2708" y="36"/>
                </a:cubicBezTo>
                <a:cubicBezTo>
                  <a:pt x="2702" y="36"/>
                  <a:pt x="2701" y="33"/>
                  <a:pt x="2701" y="30"/>
                </a:cubicBezTo>
                <a:cubicBezTo>
                  <a:pt x="2701" y="28"/>
                  <a:pt x="2701" y="26"/>
                  <a:pt x="2702" y="23"/>
                </a:cubicBezTo>
                <a:cubicBezTo>
                  <a:pt x="2702" y="21"/>
                  <a:pt x="2702" y="18"/>
                  <a:pt x="2702" y="16"/>
                </a:cubicBezTo>
                <a:cubicBezTo>
                  <a:pt x="2702" y="7"/>
                  <a:pt x="2697" y="3"/>
                  <a:pt x="2688" y="3"/>
                </a:cubicBezTo>
                <a:cubicBezTo>
                  <a:pt x="2688" y="3"/>
                  <a:pt x="2688" y="3"/>
                  <a:pt x="2684" y="3"/>
                </a:cubicBezTo>
                <a:cubicBezTo>
                  <a:pt x="2684" y="3"/>
                  <a:pt x="2684" y="3"/>
                  <a:pt x="2684" y="13"/>
                </a:cubicBezTo>
                <a:cubicBezTo>
                  <a:pt x="2684" y="13"/>
                  <a:pt x="2684" y="13"/>
                  <a:pt x="2685" y="13"/>
                </a:cubicBezTo>
                <a:cubicBezTo>
                  <a:pt x="2689" y="13"/>
                  <a:pt x="2691" y="15"/>
                  <a:pt x="2691" y="18"/>
                </a:cubicBezTo>
                <a:cubicBezTo>
                  <a:pt x="2691" y="20"/>
                  <a:pt x="2690" y="21"/>
                  <a:pt x="2690" y="23"/>
                </a:cubicBezTo>
                <a:cubicBezTo>
                  <a:pt x="2690" y="25"/>
                  <a:pt x="2690" y="27"/>
                  <a:pt x="2690" y="29"/>
                </a:cubicBezTo>
                <a:cubicBezTo>
                  <a:pt x="2690" y="37"/>
                  <a:pt x="2693" y="39"/>
                  <a:pt x="2698" y="40"/>
                </a:cubicBezTo>
                <a:cubicBezTo>
                  <a:pt x="2698" y="40"/>
                  <a:pt x="2698" y="40"/>
                  <a:pt x="2698" y="40"/>
                </a:cubicBezTo>
                <a:cubicBezTo>
                  <a:pt x="2693" y="42"/>
                  <a:pt x="2690" y="44"/>
                  <a:pt x="2690" y="52"/>
                </a:cubicBezTo>
                <a:cubicBezTo>
                  <a:pt x="2690" y="54"/>
                  <a:pt x="2690" y="56"/>
                  <a:pt x="2690" y="57"/>
                </a:cubicBezTo>
                <a:cubicBezTo>
                  <a:pt x="2690" y="59"/>
                  <a:pt x="2691" y="61"/>
                  <a:pt x="2691" y="62"/>
                </a:cubicBezTo>
                <a:cubicBezTo>
                  <a:pt x="2691" y="66"/>
                  <a:pt x="2690" y="68"/>
                  <a:pt x="2685" y="68"/>
                </a:cubicBezTo>
                <a:cubicBezTo>
                  <a:pt x="2685" y="68"/>
                  <a:pt x="2685" y="68"/>
                  <a:pt x="2684" y="68"/>
                </a:cubicBezTo>
                <a:cubicBezTo>
                  <a:pt x="2684" y="68"/>
                  <a:pt x="2684" y="68"/>
                  <a:pt x="2684" y="77"/>
                </a:cubicBezTo>
                <a:cubicBezTo>
                  <a:pt x="2684" y="77"/>
                  <a:pt x="2684" y="77"/>
                  <a:pt x="2688" y="77"/>
                </a:cubicBezTo>
                <a:cubicBezTo>
                  <a:pt x="2697" y="77"/>
                  <a:pt x="2702" y="74"/>
                  <a:pt x="2702" y="65"/>
                </a:cubicBezTo>
                <a:cubicBezTo>
                  <a:pt x="2702" y="62"/>
                  <a:pt x="2702" y="60"/>
                  <a:pt x="2702" y="57"/>
                </a:cubicBezTo>
                <a:cubicBezTo>
                  <a:pt x="2701" y="55"/>
                  <a:pt x="2701" y="53"/>
                  <a:pt x="2701" y="50"/>
                </a:cubicBezTo>
                <a:cubicBezTo>
                  <a:pt x="2701" y="48"/>
                  <a:pt x="2702" y="45"/>
                  <a:pt x="2708" y="44"/>
                </a:cubicBezTo>
                <a:close/>
                <a:moveTo>
                  <a:pt x="2756" y="4"/>
                </a:moveTo>
                <a:cubicBezTo>
                  <a:pt x="2756" y="4"/>
                  <a:pt x="2756" y="4"/>
                  <a:pt x="2756" y="4"/>
                </a:cubicBezTo>
                <a:cubicBezTo>
                  <a:pt x="2750" y="4"/>
                  <a:pt x="2750" y="4"/>
                  <a:pt x="2750" y="4"/>
                </a:cubicBezTo>
                <a:cubicBezTo>
                  <a:pt x="2748" y="5"/>
                  <a:pt x="2747" y="7"/>
                  <a:pt x="2745" y="7"/>
                </a:cubicBezTo>
                <a:cubicBezTo>
                  <a:pt x="2743" y="9"/>
                  <a:pt x="2741" y="10"/>
                  <a:pt x="2740" y="10"/>
                </a:cubicBezTo>
                <a:cubicBezTo>
                  <a:pt x="2737" y="11"/>
                  <a:pt x="2736" y="12"/>
                  <a:pt x="2734" y="12"/>
                </a:cubicBezTo>
                <a:cubicBezTo>
                  <a:pt x="2732" y="13"/>
                  <a:pt x="2731" y="14"/>
                  <a:pt x="2729" y="15"/>
                </a:cubicBezTo>
                <a:cubicBezTo>
                  <a:pt x="2729" y="15"/>
                  <a:pt x="2729" y="15"/>
                  <a:pt x="2729" y="25"/>
                </a:cubicBezTo>
                <a:cubicBezTo>
                  <a:pt x="2732" y="24"/>
                  <a:pt x="2734" y="23"/>
                  <a:pt x="2737" y="22"/>
                </a:cubicBezTo>
                <a:cubicBezTo>
                  <a:pt x="2740" y="21"/>
                  <a:pt x="2742" y="20"/>
                  <a:pt x="2744" y="18"/>
                </a:cubicBezTo>
                <a:cubicBezTo>
                  <a:pt x="2744" y="18"/>
                  <a:pt x="2744" y="18"/>
                  <a:pt x="2744" y="77"/>
                </a:cubicBezTo>
                <a:cubicBezTo>
                  <a:pt x="2744" y="77"/>
                  <a:pt x="2744" y="77"/>
                  <a:pt x="2756" y="77"/>
                </a:cubicBezTo>
                <a:cubicBezTo>
                  <a:pt x="2756" y="77"/>
                  <a:pt x="2756" y="77"/>
                  <a:pt x="2756" y="4"/>
                </a:cubicBezTo>
                <a:close/>
                <a:moveTo>
                  <a:pt x="2803" y="4"/>
                </a:moveTo>
                <a:cubicBezTo>
                  <a:pt x="2803" y="4"/>
                  <a:pt x="2803" y="4"/>
                  <a:pt x="2803" y="4"/>
                </a:cubicBezTo>
                <a:cubicBezTo>
                  <a:pt x="2798" y="4"/>
                  <a:pt x="2798" y="4"/>
                  <a:pt x="2798" y="4"/>
                </a:cubicBezTo>
                <a:cubicBezTo>
                  <a:pt x="2795" y="5"/>
                  <a:pt x="2794" y="7"/>
                  <a:pt x="2792" y="7"/>
                </a:cubicBezTo>
                <a:cubicBezTo>
                  <a:pt x="2790" y="9"/>
                  <a:pt x="2788" y="10"/>
                  <a:pt x="2787" y="10"/>
                </a:cubicBezTo>
                <a:cubicBezTo>
                  <a:pt x="2785" y="12"/>
                  <a:pt x="2783" y="12"/>
                  <a:pt x="2782" y="13"/>
                </a:cubicBezTo>
                <a:cubicBezTo>
                  <a:pt x="2780" y="14"/>
                  <a:pt x="2778" y="15"/>
                  <a:pt x="2776" y="15"/>
                </a:cubicBezTo>
                <a:cubicBezTo>
                  <a:pt x="2776" y="15"/>
                  <a:pt x="2776" y="15"/>
                  <a:pt x="2776" y="25"/>
                </a:cubicBezTo>
                <a:cubicBezTo>
                  <a:pt x="2779" y="24"/>
                  <a:pt x="2782" y="23"/>
                  <a:pt x="2784" y="22"/>
                </a:cubicBezTo>
                <a:cubicBezTo>
                  <a:pt x="2787" y="21"/>
                  <a:pt x="2789" y="20"/>
                  <a:pt x="2791" y="18"/>
                </a:cubicBezTo>
                <a:cubicBezTo>
                  <a:pt x="2791" y="18"/>
                  <a:pt x="2791" y="18"/>
                  <a:pt x="2791" y="77"/>
                </a:cubicBezTo>
                <a:cubicBezTo>
                  <a:pt x="2791" y="77"/>
                  <a:pt x="2791" y="77"/>
                  <a:pt x="2803" y="77"/>
                </a:cubicBezTo>
                <a:cubicBezTo>
                  <a:pt x="2803" y="77"/>
                  <a:pt x="2803" y="77"/>
                  <a:pt x="2803" y="4"/>
                </a:cubicBezTo>
                <a:close/>
                <a:moveTo>
                  <a:pt x="2849" y="4"/>
                </a:moveTo>
                <a:cubicBezTo>
                  <a:pt x="2849" y="4"/>
                  <a:pt x="2849" y="4"/>
                  <a:pt x="2849" y="4"/>
                </a:cubicBezTo>
                <a:cubicBezTo>
                  <a:pt x="2845" y="4"/>
                  <a:pt x="2845" y="4"/>
                  <a:pt x="2845" y="4"/>
                </a:cubicBezTo>
                <a:cubicBezTo>
                  <a:pt x="2843" y="5"/>
                  <a:pt x="2841" y="7"/>
                  <a:pt x="2839" y="7"/>
                </a:cubicBezTo>
                <a:cubicBezTo>
                  <a:pt x="2838" y="9"/>
                  <a:pt x="2835" y="10"/>
                  <a:pt x="2834" y="10"/>
                </a:cubicBezTo>
                <a:cubicBezTo>
                  <a:pt x="2832" y="12"/>
                  <a:pt x="2830" y="12"/>
                  <a:pt x="2828" y="13"/>
                </a:cubicBezTo>
                <a:cubicBezTo>
                  <a:pt x="2827" y="14"/>
                  <a:pt x="2825" y="15"/>
                  <a:pt x="2823" y="15"/>
                </a:cubicBezTo>
                <a:cubicBezTo>
                  <a:pt x="2823" y="15"/>
                  <a:pt x="2823" y="15"/>
                  <a:pt x="2823" y="25"/>
                </a:cubicBezTo>
                <a:cubicBezTo>
                  <a:pt x="2826" y="24"/>
                  <a:pt x="2829" y="23"/>
                  <a:pt x="2831" y="22"/>
                </a:cubicBezTo>
                <a:cubicBezTo>
                  <a:pt x="2833" y="21"/>
                  <a:pt x="2836" y="20"/>
                  <a:pt x="2838" y="18"/>
                </a:cubicBezTo>
                <a:cubicBezTo>
                  <a:pt x="2838" y="18"/>
                  <a:pt x="2838" y="18"/>
                  <a:pt x="2838" y="77"/>
                </a:cubicBezTo>
                <a:cubicBezTo>
                  <a:pt x="2838" y="77"/>
                  <a:pt x="2838" y="77"/>
                  <a:pt x="2849" y="77"/>
                </a:cubicBezTo>
                <a:cubicBezTo>
                  <a:pt x="2849" y="77"/>
                  <a:pt x="2849" y="77"/>
                  <a:pt x="2849" y="4"/>
                </a:cubicBezTo>
                <a:close/>
                <a:moveTo>
                  <a:pt x="2972" y="4"/>
                </a:moveTo>
                <a:cubicBezTo>
                  <a:pt x="2972" y="4"/>
                  <a:pt x="2972" y="4"/>
                  <a:pt x="2972" y="4"/>
                </a:cubicBezTo>
                <a:cubicBezTo>
                  <a:pt x="2967" y="4"/>
                  <a:pt x="2967" y="4"/>
                  <a:pt x="2967" y="4"/>
                </a:cubicBezTo>
                <a:cubicBezTo>
                  <a:pt x="2965" y="5"/>
                  <a:pt x="2963" y="7"/>
                  <a:pt x="2961" y="7"/>
                </a:cubicBezTo>
                <a:cubicBezTo>
                  <a:pt x="2960" y="9"/>
                  <a:pt x="2958" y="10"/>
                  <a:pt x="2956" y="10"/>
                </a:cubicBezTo>
                <a:cubicBezTo>
                  <a:pt x="2955" y="12"/>
                  <a:pt x="2952" y="12"/>
                  <a:pt x="2951" y="13"/>
                </a:cubicBezTo>
                <a:cubicBezTo>
                  <a:pt x="2949" y="14"/>
                  <a:pt x="2947" y="15"/>
                  <a:pt x="2945" y="15"/>
                </a:cubicBezTo>
                <a:cubicBezTo>
                  <a:pt x="2945" y="15"/>
                  <a:pt x="2945" y="15"/>
                  <a:pt x="2945" y="25"/>
                </a:cubicBezTo>
                <a:cubicBezTo>
                  <a:pt x="2948" y="24"/>
                  <a:pt x="2951" y="23"/>
                  <a:pt x="2954" y="22"/>
                </a:cubicBezTo>
                <a:cubicBezTo>
                  <a:pt x="2956" y="21"/>
                  <a:pt x="2958" y="20"/>
                  <a:pt x="2960" y="18"/>
                </a:cubicBezTo>
                <a:cubicBezTo>
                  <a:pt x="2960" y="18"/>
                  <a:pt x="2960" y="18"/>
                  <a:pt x="2960" y="77"/>
                </a:cubicBezTo>
                <a:cubicBezTo>
                  <a:pt x="2960" y="77"/>
                  <a:pt x="2960" y="77"/>
                  <a:pt x="2972" y="77"/>
                </a:cubicBezTo>
                <a:cubicBezTo>
                  <a:pt x="2972" y="77"/>
                  <a:pt x="2972" y="77"/>
                  <a:pt x="2972" y="4"/>
                </a:cubicBezTo>
                <a:close/>
                <a:moveTo>
                  <a:pt x="3020" y="4"/>
                </a:moveTo>
                <a:cubicBezTo>
                  <a:pt x="3020" y="4"/>
                  <a:pt x="3020" y="4"/>
                  <a:pt x="3020" y="4"/>
                </a:cubicBezTo>
                <a:cubicBezTo>
                  <a:pt x="3014" y="4"/>
                  <a:pt x="3014" y="4"/>
                  <a:pt x="3014" y="4"/>
                </a:cubicBezTo>
                <a:cubicBezTo>
                  <a:pt x="3012" y="5"/>
                  <a:pt x="3011" y="7"/>
                  <a:pt x="3009" y="7"/>
                </a:cubicBezTo>
                <a:cubicBezTo>
                  <a:pt x="3007" y="9"/>
                  <a:pt x="3005" y="10"/>
                  <a:pt x="3004" y="10"/>
                </a:cubicBezTo>
                <a:cubicBezTo>
                  <a:pt x="3002" y="12"/>
                  <a:pt x="3000" y="12"/>
                  <a:pt x="2998" y="13"/>
                </a:cubicBezTo>
                <a:cubicBezTo>
                  <a:pt x="2996" y="14"/>
                  <a:pt x="2995" y="15"/>
                  <a:pt x="2993" y="15"/>
                </a:cubicBezTo>
                <a:cubicBezTo>
                  <a:pt x="2993" y="15"/>
                  <a:pt x="2993" y="15"/>
                  <a:pt x="2993" y="25"/>
                </a:cubicBezTo>
                <a:cubicBezTo>
                  <a:pt x="2996" y="24"/>
                  <a:pt x="2998" y="23"/>
                  <a:pt x="3001" y="22"/>
                </a:cubicBezTo>
                <a:cubicBezTo>
                  <a:pt x="3004" y="21"/>
                  <a:pt x="3006" y="20"/>
                  <a:pt x="3008" y="18"/>
                </a:cubicBezTo>
                <a:cubicBezTo>
                  <a:pt x="3008" y="18"/>
                  <a:pt x="3008" y="18"/>
                  <a:pt x="3008" y="77"/>
                </a:cubicBezTo>
                <a:cubicBezTo>
                  <a:pt x="3008" y="77"/>
                  <a:pt x="3008" y="77"/>
                  <a:pt x="3020" y="77"/>
                </a:cubicBezTo>
                <a:cubicBezTo>
                  <a:pt x="3020" y="77"/>
                  <a:pt x="3020" y="77"/>
                  <a:pt x="3020" y="4"/>
                </a:cubicBezTo>
                <a:close/>
                <a:moveTo>
                  <a:pt x="3066" y="4"/>
                </a:moveTo>
                <a:cubicBezTo>
                  <a:pt x="3066" y="4"/>
                  <a:pt x="3066" y="4"/>
                  <a:pt x="3066" y="4"/>
                </a:cubicBezTo>
                <a:cubicBezTo>
                  <a:pt x="3062" y="4"/>
                  <a:pt x="3062" y="4"/>
                  <a:pt x="3062" y="4"/>
                </a:cubicBezTo>
                <a:cubicBezTo>
                  <a:pt x="3060" y="5"/>
                  <a:pt x="3058" y="7"/>
                  <a:pt x="3056" y="7"/>
                </a:cubicBezTo>
                <a:cubicBezTo>
                  <a:pt x="3055" y="9"/>
                  <a:pt x="3052" y="10"/>
                  <a:pt x="3051" y="10"/>
                </a:cubicBezTo>
                <a:cubicBezTo>
                  <a:pt x="3049" y="11"/>
                  <a:pt x="3047" y="12"/>
                  <a:pt x="3045" y="12"/>
                </a:cubicBezTo>
                <a:cubicBezTo>
                  <a:pt x="3044" y="13"/>
                  <a:pt x="3042" y="14"/>
                  <a:pt x="3040" y="15"/>
                </a:cubicBezTo>
                <a:cubicBezTo>
                  <a:pt x="3040" y="15"/>
                  <a:pt x="3040" y="15"/>
                  <a:pt x="3040" y="25"/>
                </a:cubicBezTo>
                <a:cubicBezTo>
                  <a:pt x="3043" y="24"/>
                  <a:pt x="3046" y="23"/>
                  <a:pt x="3048" y="22"/>
                </a:cubicBezTo>
                <a:cubicBezTo>
                  <a:pt x="3050" y="21"/>
                  <a:pt x="3053" y="20"/>
                  <a:pt x="3055" y="18"/>
                </a:cubicBezTo>
                <a:cubicBezTo>
                  <a:pt x="3055" y="18"/>
                  <a:pt x="3055" y="18"/>
                  <a:pt x="3055" y="77"/>
                </a:cubicBezTo>
                <a:cubicBezTo>
                  <a:pt x="3055" y="77"/>
                  <a:pt x="3055" y="77"/>
                  <a:pt x="3066" y="77"/>
                </a:cubicBezTo>
                <a:cubicBezTo>
                  <a:pt x="3066" y="77"/>
                  <a:pt x="3066" y="77"/>
                  <a:pt x="3066" y="4"/>
                </a:cubicBezTo>
                <a:close/>
                <a:moveTo>
                  <a:pt x="3111" y="77"/>
                </a:moveTo>
                <a:cubicBezTo>
                  <a:pt x="3104" y="77"/>
                  <a:pt x="3097" y="74"/>
                  <a:pt x="3093" y="68"/>
                </a:cubicBezTo>
                <a:cubicBezTo>
                  <a:pt x="3089" y="62"/>
                  <a:pt x="3087" y="53"/>
                  <a:pt x="3087" y="41"/>
                </a:cubicBezTo>
                <a:cubicBezTo>
                  <a:pt x="3087" y="28"/>
                  <a:pt x="3089" y="18"/>
                  <a:pt x="3093" y="12"/>
                </a:cubicBezTo>
                <a:cubicBezTo>
                  <a:pt x="3098" y="5"/>
                  <a:pt x="3104" y="1"/>
                  <a:pt x="3113" y="1"/>
                </a:cubicBezTo>
                <a:cubicBezTo>
                  <a:pt x="3129" y="1"/>
                  <a:pt x="3137" y="14"/>
                  <a:pt x="3137" y="39"/>
                </a:cubicBezTo>
                <a:cubicBezTo>
                  <a:pt x="3137" y="52"/>
                  <a:pt x="3135" y="61"/>
                  <a:pt x="3130" y="68"/>
                </a:cubicBezTo>
                <a:cubicBezTo>
                  <a:pt x="3125" y="74"/>
                  <a:pt x="3119" y="77"/>
                  <a:pt x="3111" y="77"/>
                </a:cubicBezTo>
                <a:close/>
                <a:moveTo>
                  <a:pt x="3112" y="11"/>
                </a:moveTo>
                <a:cubicBezTo>
                  <a:pt x="3103" y="11"/>
                  <a:pt x="3098" y="21"/>
                  <a:pt x="3098" y="41"/>
                </a:cubicBezTo>
                <a:cubicBezTo>
                  <a:pt x="3098" y="59"/>
                  <a:pt x="3103" y="68"/>
                  <a:pt x="3112" y="68"/>
                </a:cubicBezTo>
                <a:cubicBezTo>
                  <a:pt x="3120" y="68"/>
                  <a:pt x="3125" y="59"/>
                  <a:pt x="3125" y="40"/>
                </a:cubicBezTo>
                <a:cubicBezTo>
                  <a:pt x="3125" y="20"/>
                  <a:pt x="3120" y="11"/>
                  <a:pt x="3112" y="11"/>
                </a:cubicBezTo>
                <a:close/>
                <a:moveTo>
                  <a:pt x="3182" y="77"/>
                </a:moveTo>
                <a:cubicBezTo>
                  <a:pt x="3174" y="77"/>
                  <a:pt x="3168" y="74"/>
                  <a:pt x="3164" y="68"/>
                </a:cubicBezTo>
                <a:cubicBezTo>
                  <a:pt x="3160" y="62"/>
                  <a:pt x="3157" y="53"/>
                  <a:pt x="3157" y="41"/>
                </a:cubicBezTo>
                <a:cubicBezTo>
                  <a:pt x="3157" y="28"/>
                  <a:pt x="3160" y="18"/>
                  <a:pt x="3164" y="12"/>
                </a:cubicBezTo>
                <a:cubicBezTo>
                  <a:pt x="3168" y="5"/>
                  <a:pt x="3175" y="1"/>
                  <a:pt x="3184" y="1"/>
                </a:cubicBezTo>
                <a:cubicBezTo>
                  <a:pt x="3200" y="1"/>
                  <a:pt x="3208" y="14"/>
                  <a:pt x="3208" y="39"/>
                </a:cubicBezTo>
                <a:cubicBezTo>
                  <a:pt x="3208" y="52"/>
                  <a:pt x="3206" y="61"/>
                  <a:pt x="3202" y="68"/>
                </a:cubicBezTo>
                <a:cubicBezTo>
                  <a:pt x="3196" y="74"/>
                  <a:pt x="3190" y="77"/>
                  <a:pt x="3182" y="77"/>
                </a:cubicBezTo>
                <a:close/>
                <a:moveTo>
                  <a:pt x="3183" y="11"/>
                </a:moveTo>
                <a:cubicBezTo>
                  <a:pt x="3174" y="11"/>
                  <a:pt x="3169" y="21"/>
                  <a:pt x="3169" y="41"/>
                </a:cubicBezTo>
                <a:cubicBezTo>
                  <a:pt x="3169" y="59"/>
                  <a:pt x="3174" y="68"/>
                  <a:pt x="3182" y="68"/>
                </a:cubicBezTo>
                <a:cubicBezTo>
                  <a:pt x="3191" y="68"/>
                  <a:pt x="3196" y="59"/>
                  <a:pt x="3196" y="40"/>
                </a:cubicBezTo>
                <a:cubicBezTo>
                  <a:pt x="3196" y="20"/>
                  <a:pt x="3191" y="11"/>
                  <a:pt x="3183" y="11"/>
                </a:cubicBezTo>
                <a:close/>
                <a:moveTo>
                  <a:pt x="2870" y="36"/>
                </a:moveTo>
                <a:cubicBezTo>
                  <a:pt x="2870" y="36"/>
                  <a:pt x="2870" y="36"/>
                  <a:pt x="2870" y="36"/>
                </a:cubicBezTo>
                <a:cubicBezTo>
                  <a:pt x="2869" y="44"/>
                  <a:pt x="2869" y="44"/>
                  <a:pt x="2869" y="44"/>
                </a:cubicBezTo>
                <a:cubicBezTo>
                  <a:pt x="2876" y="45"/>
                  <a:pt x="2876" y="48"/>
                  <a:pt x="2876" y="50"/>
                </a:cubicBezTo>
                <a:cubicBezTo>
                  <a:pt x="2876" y="53"/>
                  <a:pt x="2876" y="55"/>
                  <a:pt x="2876" y="57"/>
                </a:cubicBezTo>
                <a:cubicBezTo>
                  <a:pt x="2876" y="60"/>
                  <a:pt x="2875" y="62"/>
                  <a:pt x="2875" y="65"/>
                </a:cubicBezTo>
                <a:cubicBezTo>
                  <a:pt x="2875" y="74"/>
                  <a:pt x="2881" y="77"/>
                  <a:pt x="2890" y="77"/>
                </a:cubicBezTo>
                <a:cubicBezTo>
                  <a:pt x="2890" y="77"/>
                  <a:pt x="2890" y="77"/>
                  <a:pt x="2894" y="77"/>
                </a:cubicBezTo>
                <a:cubicBezTo>
                  <a:pt x="2894" y="77"/>
                  <a:pt x="2894" y="77"/>
                  <a:pt x="2894" y="68"/>
                </a:cubicBezTo>
                <a:cubicBezTo>
                  <a:pt x="2894" y="68"/>
                  <a:pt x="2894" y="68"/>
                  <a:pt x="2892" y="68"/>
                </a:cubicBezTo>
                <a:cubicBezTo>
                  <a:pt x="2889" y="68"/>
                  <a:pt x="2887" y="66"/>
                  <a:pt x="2887" y="62"/>
                </a:cubicBezTo>
                <a:cubicBezTo>
                  <a:pt x="2887" y="61"/>
                  <a:pt x="2887" y="59"/>
                  <a:pt x="2888" y="57"/>
                </a:cubicBezTo>
                <a:cubicBezTo>
                  <a:pt x="2888" y="56"/>
                  <a:pt x="2888" y="54"/>
                  <a:pt x="2888" y="52"/>
                </a:cubicBezTo>
                <a:cubicBezTo>
                  <a:pt x="2888" y="44"/>
                  <a:pt x="2885" y="42"/>
                  <a:pt x="2879" y="40"/>
                </a:cubicBezTo>
                <a:cubicBezTo>
                  <a:pt x="2879" y="40"/>
                  <a:pt x="2879" y="40"/>
                  <a:pt x="2879" y="40"/>
                </a:cubicBezTo>
                <a:cubicBezTo>
                  <a:pt x="2885" y="39"/>
                  <a:pt x="2888" y="37"/>
                  <a:pt x="2888" y="29"/>
                </a:cubicBezTo>
                <a:cubicBezTo>
                  <a:pt x="2888" y="27"/>
                  <a:pt x="2888" y="25"/>
                  <a:pt x="2888" y="23"/>
                </a:cubicBezTo>
                <a:cubicBezTo>
                  <a:pt x="2887" y="21"/>
                  <a:pt x="2887" y="20"/>
                  <a:pt x="2887" y="18"/>
                </a:cubicBezTo>
                <a:cubicBezTo>
                  <a:pt x="2887" y="15"/>
                  <a:pt x="2889" y="13"/>
                  <a:pt x="2892" y="13"/>
                </a:cubicBezTo>
                <a:cubicBezTo>
                  <a:pt x="2892" y="13"/>
                  <a:pt x="2892" y="13"/>
                  <a:pt x="2894" y="13"/>
                </a:cubicBezTo>
                <a:cubicBezTo>
                  <a:pt x="2894" y="13"/>
                  <a:pt x="2894" y="13"/>
                  <a:pt x="2894" y="3"/>
                </a:cubicBezTo>
                <a:cubicBezTo>
                  <a:pt x="2894" y="3"/>
                  <a:pt x="2894" y="3"/>
                  <a:pt x="2890" y="3"/>
                </a:cubicBezTo>
                <a:cubicBezTo>
                  <a:pt x="2881" y="3"/>
                  <a:pt x="2875" y="7"/>
                  <a:pt x="2875" y="16"/>
                </a:cubicBezTo>
                <a:cubicBezTo>
                  <a:pt x="2875" y="18"/>
                  <a:pt x="2876" y="21"/>
                  <a:pt x="2876" y="23"/>
                </a:cubicBezTo>
                <a:cubicBezTo>
                  <a:pt x="2876" y="26"/>
                  <a:pt x="2876" y="28"/>
                  <a:pt x="2876" y="30"/>
                </a:cubicBezTo>
                <a:cubicBezTo>
                  <a:pt x="2876" y="33"/>
                  <a:pt x="2876" y="36"/>
                  <a:pt x="2870" y="36"/>
                </a:cubicBezTo>
                <a:close/>
                <a:moveTo>
                  <a:pt x="2924" y="44"/>
                </a:moveTo>
                <a:cubicBezTo>
                  <a:pt x="2924" y="44"/>
                  <a:pt x="2924" y="44"/>
                  <a:pt x="2924" y="44"/>
                </a:cubicBezTo>
                <a:cubicBezTo>
                  <a:pt x="2924" y="36"/>
                  <a:pt x="2924" y="36"/>
                  <a:pt x="2924" y="36"/>
                </a:cubicBezTo>
                <a:cubicBezTo>
                  <a:pt x="2918" y="36"/>
                  <a:pt x="2918" y="33"/>
                  <a:pt x="2918" y="30"/>
                </a:cubicBezTo>
                <a:cubicBezTo>
                  <a:pt x="2918" y="28"/>
                  <a:pt x="2918" y="26"/>
                  <a:pt x="2918" y="23"/>
                </a:cubicBezTo>
                <a:cubicBezTo>
                  <a:pt x="2919" y="21"/>
                  <a:pt x="2919" y="18"/>
                  <a:pt x="2919" y="16"/>
                </a:cubicBezTo>
                <a:cubicBezTo>
                  <a:pt x="2919" y="7"/>
                  <a:pt x="2913" y="3"/>
                  <a:pt x="2904" y="3"/>
                </a:cubicBezTo>
                <a:cubicBezTo>
                  <a:pt x="2904" y="3"/>
                  <a:pt x="2904" y="3"/>
                  <a:pt x="2900" y="3"/>
                </a:cubicBezTo>
                <a:cubicBezTo>
                  <a:pt x="2900" y="3"/>
                  <a:pt x="2900" y="3"/>
                  <a:pt x="2900" y="13"/>
                </a:cubicBezTo>
                <a:cubicBezTo>
                  <a:pt x="2900" y="13"/>
                  <a:pt x="2900" y="13"/>
                  <a:pt x="2902" y="13"/>
                </a:cubicBezTo>
                <a:cubicBezTo>
                  <a:pt x="2906" y="13"/>
                  <a:pt x="2907" y="15"/>
                  <a:pt x="2907" y="18"/>
                </a:cubicBezTo>
                <a:cubicBezTo>
                  <a:pt x="2907" y="20"/>
                  <a:pt x="2907" y="21"/>
                  <a:pt x="2907" y="23"/>
                </a:cubicBezTo>
                <a:cubicBezTo>
                  <a:pt x="2906" y="25"/>
                  <a:pt x="2906" y="27"/>
                  <a:pt x="2906" y="29"/>
                </a:cubicBezTo>
                <a:cubicBezTo>
                  <a:pt x="2906" y="37"/>
                  <a:pt x="2909" y="39"/>
                  <a:pt x="2915" y="40"/>
                </a:cubicBezTo>
                <a:cubicBezTo>
                  <a:pt x="2915" y="40"/>
                  <a:pt x="2915" y="40"/>
                  <a:pt x="2915" y="40"/>
                </a:cubicBezTo>
                <a:cubicBezTo>
                  <a:pt x="2909" y="42"/>
                  <a:pt x="2906" y="44"/>
                  <a:pt x="2906" y="52"/>
                </a:cubicBezTo>
                <a:cubicBezTo>
                  <a:pt x="2906" y="54"/>
                  <a:pt x="2906" y="56"/>
                  <a:pt x="2907" y="57"/>
                </a:cubicBezTo>
                <a:cubicBezTo>
                  <a:pt x="2907" y="59"/>
                  <a:pt x="2907" y="61"/>
                  <a:pt x="2907" y="62"/>
                </a:cubicBezTo>
                <a:cubicBezTo>
                  <a:pt x="2907" y="66"/>
                  <a:pt x="2906" y="68"/>
                  <a:pt x="2902" y="68"/>
                </a:cubicBezTo>
                <a:cubicBezTo>
                  <a:pt x="2902" y="68"/>
                  <a:pt x="2902" y="68"/>
                  <a:pt x="2900" y="68"/>
                </a:cubicBezTo>
                <a:cubicBezTo>
                  <a:pt x="2900" y="68"/>
                  <a:pt x="2900" y="68"/>
                  <a:pt x="2900" y="77"/>
                </a:cubicBezTo>
                <a:cubicBezTo>
                  <a:pt x="2900" y="77"/>
                  <a:pt x="2900" y="77"/>
                  <a:pt x="2904" y="77"/>
                </a:cubicBezTo>
                <a:cubicBezTo>
                  <a:pt x="2913" y="77"/>
                  <a:pt x="2919" y="74"/>
                  <a:pt x="2919" y="65"/>
                </a:cubicBezTo>
                <a:cubicBezTo>
                  <a:pt x="2919" y="62"/>
                  <a:pt x="2919" y="60"/>
                  <a:pt x="2918" y="57"/>
                </a:cubicBezTo>
                <a:cubicBezTo>
                  <a:pt x="2918" y="55"/>
                  <a:pt x="2918" y="53"/>
                  <a:pt x="2918" y="50"/>
                </a:cubicBezTo>
                <a:cubicBezTo>
                  <a:pt x="2918" y="48"/>
                  <a:pt x="2918" y="45"/>
                  <a:pt x="2924" y="44"/>
                </a:cubicBezTo>
                <a:close/>
                <a:moveTo>
                  <a:pt x="3685" y="44"/>
                </a:moveTo>
                <a:cubicBezTo>
                  <a:pt x="3685" y="44"/>
                  <a:pt x="3685" y="44"/>
                  <a:pt x="3685" y="44"/>
                </a:cubicBezTo>
                <a:cubicBezTo>
                  <a:pt x="3685" y="36"/>
                  <a:pt x="3685" y="36"/>
                  <a:pt x="3685" y="36"/>
                </a:cubicBezTo>
                <a:cubicBezTo>
                  <a:pt x="3679" y="36"/>
                  <a:pt x="3678" y="33"/>
                  <a:pt x="3678" y="30"/>
                </a:cubicBezTo>
                <a:cubicBezTo>
                  <a:pt x="3678" y="28"/>
                  <a:pt x="3678" y="26"/>
                  <a:pt x="3679" y="23"/>
                </a:cubicBezTo>
                <a:cubicBezTo>
                  <a:pt x="3679" y="21"/>
                  <a:pt x="3679" y="18"/>
                  <a:pt x="3679" y="16"/>
                </a:cubicBezTo>
                <a:cubicBezTo>
                  <a:pt x="3679" y="7"/>
                  <a:pt x="3674" y="3"/>
                  <a:pt x="3665" y="3"/>
                </a:cubicBezTo>
                <a:cubicBezTo>
                  <a:pt x="3665" y="3"/>
                  <a:pt x="3665" y="3"/>
                  <a:pt x="3661" y="3"/>
                </a:cubicBezTo>
                <a:cubicBezTo>
                  <a:pt x="3661" y="3"/>
                  <a:pt x="3661" y="3"/>
                  <a:pt x="3661" y="13"/>
                </a:cubicBezTo>
                <a:cubicBezTo>
                  <a:pt x="3661" y="13"/>
                  <a:pt x="3661" y="13"/>
                  <a:pt x="3662" y="13"/>
                </a:cubicBezTo>
                <a:cubicBezTo>
                  <a:pt x="3666" y="13"/>
                  <a:pt x="3667" y="15"/>
                  <a:pt x="3667" y="18"/>
                </a:cubicBezTo>
                <a:cubicBezTo>
                  <a:pt x="3667" y="20"/>
                  <a:pt x="3667" y="21"/>
                  <a:pt x="3667" y="23"/>
                </a:cubicBezTo>
                <a:cubicBezTo>
                  <a:pt x="3667" y="25"/>
                  <a:pt x="3667" y="27"/>
                  <a:pt x="3667" y="29"/>
                </a:cubicBezTo>
                <a:cubicBezTo>
                  <a:pt x="3667" y="37"/>
                  <a:pt x="3669" y="39"/>
                  <a:pt x="3675" y="40"/>
                </a:cubicBezTo>
                <a:cubicBezTo>
                  <a:pt x="3675" y="40"/>
                  <a:pt x="3675" y="40"/>
                  <a:pt x="3675" y="40"/>
                </a:cubicBezTo>
                <a:cubicBezTo>
                  <a:pt x="3669" y="42"/>
                  <a:pt x="3667" y="44"/>
                  <a:pt x="3667" y="52"/>
                </a:cubicBezTo>
                <a:cubicBezTo>
                  <a:pt x="3667" y="54"/>
                  <a:pt x="3667" y="56"/>
                  <a:pt x="3667" y="57"/>
                </a:cubicBezTo>
                <a:cubicBezTo>
                  <a:pt x="3667" y="59"/>
                  <a:pt x="3667" y="61"/>
                  <a:pt x="3667" y="62"/>
                </a:cubicBezTo>
                <a:cubicBezTo>
                  <a:pt x="3667" y="66"/>
                  <a:pt x="3666" y="68"/>
                  <a:pt x="3662" y="68"/>
                </a:cubicBezTo>
                <a:cubicBezTo>
                  <a:pt x="3662" y="68"/>
                  <a:pt x="3662" y="68"/>
                  <a:pt x="3661" y="68"/>
                </a:cubicBezTo>
                <a:cubicBezTo>
                  <a:pt x="3661" y="68"/>
                  <a:pt x="3661" y="68"/>
                  <a:pt x="3661" y="77"/>
                </a:cubicBezTo>
                <a:cubicBezTo>
                  <a:pt x="3661" y="77"/>
                  <a:pt x="3661" y="77"/>
                  <a:pt x="3665" y="77"/>
                </a:cubicBezTo>
                <a:cubicBezTo>
                  <a:pt x="3673" y="77"/>
                  <a:pt x="3679" y="74"/>
                  <a:pt x="3679" y="65"/>
                </a:cubicBezTo>
                <a:cubicBezTo>
                  <a:pt x="3679" y="62"/>
                  <a:pt x="3679" y="60"/>
                  <a:pt x="3679" y="57"/>
                </a:cubicBezTo>
                <a:cubicBezTo>
                  <a:pt x="3678" y="55"/>
                  <a:pt x="3678" y="53"/>
                  <a:pt x="3678" y="50"/>
                </a:cubicBezTo>
                <a:cubicBezTo>
                  <a:pt x="3678" y="48"/>
                  <a:pt x="3679" y="45"/>
                  <a:pt x="3685" y="44"/>
                </a:cubicBezTo>
                <a:close/>
                <a:moveTo>
                  <a:pt x="3805" y="77"/>
                </a:moveTo>
                <a:cubicBezTo>
                  <a:pt x="3798" y="77"/>
                  <a:pt x="3791" y="74"/>
                  <a:pt x="3787" y="68"/>
                </a:cubicBezTo>
                <a:cubicBezTo>
                  <a:pt x="3783" y="62"/>
                  <a:pt x="3781" y="53"/>
                  <a:pt x="3781" y="41"/>
                </a:cubicBezTo>
                <a:cubicBezTo>
                  <a:pt x="3781" y="28"/>
                  <a:pt x="3783" y="18"/>
                  <a:pt x="3787" y="12"/>
                </a:cubicBezTo>
                <a:cubicBezTo>
                  <a:pt x="3792" y="5"/>
                  <a:pt x="3798" y="1"/>
                  <a:pt x="3807" y="1"/>
                </a:cubicBezTo>
                <a:cubicBezTo>
                  <a:pt x="3823" y="1"/>
                  <a:pt x="3831" y="14"/>
                  <a:pt x="3831" y="39"/>
                </a:cubicBezTo>
                <a:cubicBezTo>
                  <a:pt x="3831" y="52"/>
                  <a:pt x="3829" y="61"/>
                  <a:pt x="3824" y="68"/>
                </a:cubicBezTo>
                <a:cubicBezTo>
                  <a:pt x="3820" y="74"/>
                  <a:pt x="3813" y="77"/>
                  <a:pt x="3805" y="77"/>
                </a:cubicBezTo>
                <a:close/>
                <a:moveTo>
                  <a:pt x="3806" y="11"/>
                </a:moveTo>
                <a:cubicBezTo>
                  <a:pt x="3797" y="11"/>
                  <a:pt x="3793" y="21"/>
                  <a:pt x="3793" y="41"/>
                </a:cubicBezTo>
                <a:cubicBezTo>
                  <a:pt x="3793" y="59"/>
                  <a:pt x="3797" y="68"/>
                  <a:pt x="3806" y="68"/>
                </a:cubicBezTo>
                <a:cubicBezTo>
                  <a:pt x="3814" y="68"/>
                  <a:pt x="3819" y="59"/>
                  <a:pt x="3819" y="40"/>
                </a:cubicBezTo>
                <a:cubicBezTo>
                  <a:pt x="3819" y="20"/>
                  <a:pt x="3814" y="11"/>
                  <a:pt x="3806" y="11"/>
                </a:cubicBezTo>
                <a:close/>
                <a:moveTo>
                  <a:pt x="3711" y="77"/>
                </a:moveTo>
                <a:cubicBezTo>
                  <a:pt x="3714" y="58"/>
                  <a:pt x="3714" y="58"/>
                  <a:pt x="3714" y="58"/>
                </a:cubicBezTo>
                <a:cubicBezTo>
                  <a:pt x="3705" y="58"/>
                  <a:pt x="3705" y="58"/>
                  <a:pt x="3705" y="58"/>
                </a:cubicBezTo>
                <a:cubicBezTo>
                  <a:pt x="3705" y="46"/>
                  <a:pt x="3705" y="46"/>
                  <a:pt x="3705" y="46"/>
                </a:cubicBezTo>
                <a:cubicBezTo>
                  <a:pt x="3716" y="46"/>
                  <a:pt x="3716" y="46"/>
                  <a:pt x="3716" y="46"/>
                </a:cubicBezTo>
                <a:cubicBezTo>
                  <a:pt x="3718" y="35"/>
                  <a:pt x="3718" y="35"/>
                  <a:pt x="3718" y="35"/>
                </a:cubicBezTo>
                <a:cubicBezTo>
                  <a:pt x="3708" y="35"/>
                  <a:pt x="3708" y="35"/>
                  <a:pt x="3708" y="35"/>
                </a:cubicBezTo>
                <a:cubicBezTo>
                  <a:pt x="3708" y="23"/>
                  <a:pt x="3708" y="23"/>
                  <a:pt x="3708" y="23"/>
                </a:cubicBezTo>
                <a:cubicBezTo>
                  <a:pt x="3720" y="23"/>
                  <a:pt x="3720" y="23"/>
                  <a:pt x="3720" y="23"/>
                </a:cubicBezTo>
                <a:cubicBezTo>
                  <a:pt x="3722" y="5"/>
                  <a:pt x="3722" y="5"/>
                  <a:pt x="3722" y="5"/>
                </a:cubicBezTo>
                <a:cubicBezTo>
                  <a:pt x="3734" y="5"/>
                  <a:pt x="3734" y="5"/>
                  <a:pt x="3734" y="5"/>
                </a:cubicBezTo>
                <a:cubicBezTo>
                  <a:pt x="3731" y="23"/>
                  <a:pt x="3731" y="23"/>
                  <a:pt x="3731" y="23"/>
                </a:cubicBezTo>
                <a:cubicBezTo>
                  <a:pt x="3740" y="23"/>
                  <a:pt x="3740" y="23"/>
                  <a:pt x="3740" y="23"/>
                </a:cubicBezTo>
                <a:cubicBezTo>
                  <a:pt x="3743" y="5"/>
                  <a:pt x="3743" y="5"/>
                  <a:pt x="3743" y="5"/>
                </a:cubicBezTo>
                <a:cubicBezTo>
                  <a:pt x="3754" y="5"/>
                  <a:pt x="3754" y="5"/>
                  <a:pt x="3754" y="5"/>
                </a:cubicBezTo>
                <a:cubicBezTo>
                  <a:pt x="3751" y="23"/>
                  <a:pt x="3751" y="23"/>
                  <a:pt x="3751" y="23"/>
                </a:cubicBezTo>
                <a:cubicBezTo>
                  <a:pt x="3760" y="23"/>
                  <a:pt x="3760" y="23"/>
                  <a:pt x="3760" y="23"/>
                </a:cubicBezTo>
                <a:cubicBezTo>
                  <a:pt x="3760" y="35"/>
                  <a:pt x="3760" y="35"/>
                  <a:pt x="3760" y="35"/>
                </a:cubicBezTo>
                <a:cubicBezTo>
                  <a:pt x="3750" y="35"/>
                  <a:pt x="3750" y="35"/>
                  <a:pt x="3750" y="35"/>
                </a:cubicBezTo>
                <a:cubicBezTo>
                  <a:pt x="3748" y="46"/>
                  <a:pt x="3748" y="46"/>
                  <a:pt x="3748" y="46"/>
                </a:cubicBezTo>
                <a:cubicBezTo>
                  <a:pt x="3757" y="46"/>
                  <a:pt x="3757" y="46"/>
                  <a:pt x="3757" y="46"/>
                </a:cubicBezTo>
                <a:cubicBezTo>
                  <a:pt x="3757" y="58"/>
                  <a:pt x="3757" y="58"/>
                  <a:pt x="3757" y="58"/>
                </a:cubicBezTo>
                <a:cubicBezTo>
                  <a:pt x="3746" y="58"/>
                  <a:pt x="3746" y="58"/>
                  <a:pt x="3746" y="58"/>
                </a:cubicBezTo>
                <a:cubicBezTo>
                  <a:pt x="3743" y="77"/>
                  <a:pt x="3743" y="77"/>
                  <a:pt x="3743" y="77"/>
                </a:cubicBezTo>
                <a:cubicBezTo>
                  <a:pt x="3732" y="77"/>
                  <a:pt x="3732" y="77"/>
                  <a:pt x="3732" y="77"/>
                </a:cubicBezTo>
                <a:cubicBezTo>
                  <a:pt x="3735" y="58"/>
                  <a:pt x="3735" y="58"/>
                  <a:pt x="3735" y="58"/>
                </a:cubicBezTo>
                <a:cubicBezTo>
                  <a:pt x="3725" y="58"/>
                  <a:pt x="3725" y="58"/>
                  <a:pt x="3725" y="58"/>
                </a:cubicBezTo>
                <a:cubicBezTo>
                  <a:pt x="3723" y="77"/>
                  <a:pt x="3723" y="77"/>
                  <a:pt x="3723" y="77"/>
                </a:cubicBezTo>
                <a:cubicBezTo>
                  <a:pt x="3711" y="77"/>
                  <a:pt x="3711" y="77"/>
                  <a:pt x="3711" y="77"/>
                </a:cubicBezTo>
                <a:cubicBezTo>
                  <a:pt x="3711" y="77"/>
                  <a:pt x="3711" y="77"/>
                  <a:pt x="3711" y="77"/>
                </a:cubicBezTo>
                <a:close/>
                <a:moveTo>
                  <a:pt x="3737" y="46"/>
                </a:moveTo>
                <a:cubicBezTo>
                  <a:pt x="3738" y="35"/>
                  <a:pt x="3738" y="35"/>
                  <a:pt x="3738" y="35"/>
                </a:cubicBezTo>
                <a:cubicBezTo>
                  <a:pt x="3729" y="35"/>
                  <a:pt x="3729" y="35"/>
                  <a:pt x="3729" y="35"/>
                </a:cubicBezTo>
                <a:cubicBezTo>
                  <a:pt x="3727" y="46"/>
                  <a:pt x="3727" y="46"/>
                  <a:pt x="3727" y="46"/>
                </a:cubicBezTo>
                <a:cubicBezTo>
                  <a:pt x="3737" y="46"/>
                  <a:pt x="3737" y="46"/>
                  <a:pt x="3737" y="46"/>
                </a:cubicBezTo>
                <a:cubicBezTo>
                  <a:pt x="3737" y="46"/>
                  <a:pt x="3737" y="46"/>
                  <a:pt x="3737" y="46"/>
                </a:cubicBezTo>
                <a:close/>
                <a:moveTo>
                  <a:pt x="2596" y="51"/>
                </a:moveTo>
                <a:cubicBezTo>
                  <a:pt x="2596" y="53"/>
                  <a:pt x="2597" y="54"/>
                  <a:pt x="2598" y="55"/>
                </a:cubicBezTo>
                <a:cubicBezTo>
                  <a:pt x="2598" y="57"/>
                  <a:pt x="2598" y="59"/>
                  <a:pt x="2599" y="61"/>
                </a:cubicBezTo>
                <a:cubicBezTo>
                  <a:pt x="2599" y="62"/>
                  <a:pt x="2599" y="64"/>
                  <a:pt x="2599" y="65"/>
                </a:cubicBezTo>
                <a:cubicBezTo>
                  <a:pt x="2600" y="68"/>
                  <a:pt x="2599" y="70"/>
                  <a:pt x="2596" y="70"/>
                </a:cubicBezTo>
                <a:cubicBezTo>
                  <a:pt x="2593" y="70"/>
                  <a:pt x="2590" y="70"/>
                  <a:pt x="2587" y="70"/>
                </a:cubicBezTo>
                <a:cubicBezTo>
                  <a:pt x="2587" y="70"/>
                  <a:pt x="2586" y="70"/>
                  <a:pt x="2586" y="70"/>
                </a:cubicBezTo>
                <a:cubicBezTo>
                  <a:pt x="2584" y="72"/>
                  <a:pt x="2583" y="73"/>
                  <a:pt x="2581" y="74"/>
                </a:cubicBezTo>
                <a:cubicBezTo>
                  <a:pt x="2579" y="77"/>
                  <a:pt x="2576" y="77"/>
                  <a:pt x="2574" y="75"/>
                </a:cubicBezTo>
                <a:cubicBezTo>
                  <a:pt x="2572" y="73"/>
                  <a:pt x="2571" y="70"/>
                  <a:pt x="2569" y="68"/>
                </a:cubicBezTo>
                <a:cubicBezTo>
                  <a:pt x="2568" y="66"/>
                  <a:pt x="2569" y="64"/>
                  <a:pt x="2571" y="63"/>
                </a:cubicBezTo>
                <a:cubicBezTo>
                  <a:pt x="2568" y="63"/>
                  <a:pt x="2567" y="63"/>
                  <a:pt x="2565" y="63"/>
                </a:cubicBezTo>
                <a:cubicBezTo>
                  <a:pt x="2564" y="65"/>
                  <a:pt x="2563" y="67"/>
                  <a:pt x="2562" y="69"/>
                </a:cubicBezTo>
                <a:cubicBezTo>
                  <a:pt x="2562" y="70"/>
                  <a:pt x="2562" y="70"/>
                  <a:pt x="2562" y="71"/>
                </a:cubicBezTo>
                <a:cubicBezTo>
                  <a:pt x="2562" y="74"/>
                  <a:pt x="2561" y="76"/>
                  <a:pt x="2558" y="75"/>
                </a:cubicBezTo>
                <a:cubicBezTo>
                  <a:pt x="2555" y="75"/>
                  <a:pt x="2552" y="74"/>
                  <a:pt x="2549" y="73"/>
                </a:cubicBezTo>
                <a:cubicBezTo>
                  <a:pt x="2547" y="72"/>
                  <a:pt x="2546" y="71"/>
                  <a:pt x="2547" y="69"/>
                </a:cubicBezTo>
                <a:cubicBezTo>
                  <a:pt x="2547" y="68"/>
                  <a:pt x="2547" y="67"/>
                  <a:pt x="2548" y="67"/>
                </a:cubicBezTo>
                <a:cubicBezTo>
                  <a:pt x="2545" y="66"/>
                  <a:pt x="2543" y="65"/>
                  <a:pt x="2541" y="64"/>
                </a:cubicBezTo>
                <a:cubicBezTo>
                  <a:pt x="2540" y="63"/>
                  <a:pt x="2538" y="61"/>
                  <a:pt x="2538" y="59"/>
                </a:cubicBezTo>
                <a:cubicBezTo>
                  <a:pt x="2537" y="57"/>
                  <a:pt x="2537" y="56"/>
                  <a:pt x="2539" y="54"/>
                </a:cubicBezTo>
                <a:cubicBezTo>
                  <a:pt x="2542" y="52"/>
                  <a:pt x="2543" y="49"/>
                  <a:pt x="2542" y="45"/>
                </a:cubicBezTo>
                <a:cubicBezTo>
                  <a:pt x="2542" y="43"/>
                  <a:pt x="2542" y="41"/>
                  <a:pt x="2542" y="39"/>
                </a:cubicBezTo>
                <a:cubicBezTo>
                  <a:pt x="2541" y="38"/>
                  <a:pt x="2539" y="38"/>
                  <a:pt x="2538" y="37"/>
                </a:cubicBezTo>
                <a:cubicBezTo>
                  <a:pt x="2537" y="35"/>
                  <a:pt x="2536" y="33"/>
                  <a:pt x="2536" y="31"/>
                </a:cubicBezTo>
                <a:cubicBezTo>
                  <a:pt x="2536" y="28"/>
                  <a:pt x="2539" y="26"/>
                  <a:pt x="2542" y="25"/>
                </a:cubicBezTo>
                <a:cubicBezTo>
                  <a:pt x="2542" y="26"/>
                  <a:pt x="2542" y="26"/>
                  <a:pt x="2543" y="27"/>
                </a:cubicBezTo>
                <a:cubicBezTo>
                  <a:pt x="2543" y="28"/>
                  <a:pt x="2543" y="29"/>
                  <a:pt x="2543" y="30"/>
                </a:cubicBezTo>
                <a:cubicBezTo>
                  <a:pt x="2542" y="30"/>
                  <a:pt x="2542" y="30"/>
                  <a:pt x="2542" y="30"/>
                </a:cubicBezTo>
                <a:cubicBezTo>
                  <a:pt x="2541" y="31"/>
                  <a:pt x="2541" y="32"/>
                  <a:pt x="2540" y="34"/>
                </a:cubicBezTo>
                <a:cubicBezTo>
                  <a:pt x="2541" y="34"/>
                  <a:pt x="2542" y="34"/>
                  <a:pt x="2542" y="34"/>
                </a:cubicBezTo>
                <a:cubicBezTo>
                  <a:pt x="2544" y="32"/>
                  <a:pt x="2544" y="32"/>
                  <a:pt x="2545" y="30"/>
                </a:cubicBezTo>
                <a:cubicBezTo>
                  <a:pt x="2549" y="24"/>
                  <a:pt x="2555" y="20"/>
                  <a:pt x="2563" y="18"/>
                </a:cubicBezTo>
                <a:cubicBezTo>
                  <a:pt x="2566" y="18"/>
                  <a:pt x="2570" y="17"/>
                  <a:pt x="2572" y="14"/>
                </a:cubicBezTo>
                <a:cubicBezTo>
                  <a:pt x="2572" y="13"/>
                  <a:pt x="2573" y="13"/>
                  <a:pt x="2573" y="13"/>
                </a:cubicBezTo>
                <a:cubicBezTo>
                  <a:pt x="2576" y="13"/>
                  <a:pt x="2577" y="10"/>
                  <a:pt x="2579" y="8"/>
                </a:cubicBezTo>
                <a:cubicBezTo>
                  <a:pt x="2587" y="1"/>
                  <a:pt x="2599" y="0"/>
                  <a:pt x="2607" y="7"/>
                </a:cubicBezTo>
                <a:cubicBezTo>
                  <a:pt x="2609" y="9"/>
                  <a:pt x="2612" y="11"/>
                  <a:pt x="2614" y="13"/>
                </a:cubicBezTo>
                <a:cubicBezTo>
                  <a:pt x="2616" y="14"/>
                  <a:pt x="2617" y="16"/>
                  <a:pt x="2618" y="18"/>
                </a:cubicBezTo>
                <a:cubicBezTo>
                  <a:pt x="2619" y="19"/>
                  <a:pt x="2620" y="19"/>
                  <a:pt x="2621" y="18"/>
                </a:cubicBezTo>
                <a:cubicBezTo>
                  <a:pt x="2622" y="18"/>
                  <a:pt x="2622" y="17"/>
                  <a:pt x="2623" y="16"/>
                </a:cubicBezTo>
                <a:cubicBezTo>
                  <a:pt x="2625" y="13"/>
                  <a:pt x="2628" y="13"/>
                  <a:pt x="2630" y="17"/>
                </a:cubicBezTo>
                <a:cubicBezTo>
                  <a:pt x="2631" y="20"/>
                  <a:pt x="2631" y="23"/>
                  <a:pt x="2632" y="26"/>
                </a:cubicBezTo>
                <a:cubicBezTo>
                  <a:pt x="2633" y="30"/>
                  <a:pt x="2632" y="34"/>
                  <a:pt x="2631" y="39"/>
                </a:cubicBezTo>
                <a:cubicBezTo>
                  <a:pt x="2628" y="45"/>
                  <a:pt x="2624" y="49"/>
                  <a:pt x="2617" y="49"/>
                </a:cubicBezTo>
                <a:cubicBezTo>
                  <a:pt x="2616" y="49"/>
                  <a:pt x="2616" y="49"/>
                  <a:pt x="2615" y="49"/>
                </a:cubicBezTo>
                <a:cubicBezTo>
                  <a:pt x="2613" y="48"/>
                  <a:pt x="2611" y="49"/>
                  <a:pt x="2611" y="51"/>
                </a:cubicBezTo>
                <a:cubicBezTo>
                  <a:pt x="2609" y="55"/>
                  <a:pt x="2603" y="57"/>
                  <a:pt x="2600" y="54"/>
                </a:cubicBezTo>
                <a:cubicBezTo>
                  <a:pt x="2599" y="53"/>
                  <a:pt x="2598" y="52"/>
                  <a:pt x="2597" y="51"/>
                </a:cubicBezTo>
                <a:cubicBezTo>
                  <a:pt x="2596" y="51"/>
                  <a:pt x="2596" y="51"/>
                  <a:pt x="2596" y="51"/>
                </a:cubicBezTo>
                <a:close/>
                <a:moveTo>
                  <a:pt x="2590" y="47"/>
                </a:moveTo>
                <a:cubicBezTo>
                  <a:pt x="2594" y="48"/>
                  <a:pt x="2598" y="49"/>
                  <a:pt x="2600" y="52"/>
                </a:cubicBezTo>
                <a:cubicBezTo>
                  <a:pt x="2602" y="54"/>
                  <a:pt x="2604" y="55"/>
                  <a:pt x="2606" y="54"/>
                </a:cubicBezTo>
                <a:cubicBezTo>
                  <a:pt x="2609" y="53"/>
                  <a:pt x="2610" y="51"/>
                  <a:pt x="2610" y="48"/>
                </a:cubicBezTo>
                <a:cubicBezTo>
                  <a:pt x="2610" y="48"/>
                  <a:pt x="2609" y="48"/>
                  <a:pt x="2609" y="49"/>
                </a:cubicBezTo>
                <a:cubicBezTo>
                  <a:pt x="2609" y="50"/>
                  <a:pt x="2607" y="51"/>
                  <a:pt x="2607" y="52"/>
                </a:cubicBezTo>
                <a:cubicBezTo>
                  <a:pt x="2605" y="53"/>
                  <a:pt x="2604" y="53"/>
                  <a:pt x="2603" y="53"/>
                </a:cubicBezTo>
                <a:cubicBezTo>
                  <a:pt x="2603" y="53"/>
                  <a:pt x="2602" y="51"/>
                  <a:pt x="2602" y="51"/>
                </a:cubicBezTo>
                <a:cubicBezTo>
                  <a:pt x="2602" y="48"/>
                  <a:pt x="2603" y="46"/>
                  <a:pt x="2603" y="44"/>
                </a:cubicBezTo>
                <a:cubicBezTo>
                  <a:pt x="2606" y="45"/>
                  <a:pt x="2609" y="46"/>
                  <a:pt x="2613" y="47"/>
                </a:cubicBezTo>
                <a:cubicBezTo>
                  <a:pt x="2620" y="48"/>
                  <a:pt x="2626" y="46"/>
                  <a:pt x="2630" y="38"/>
                </a:cubicBezTo>
                <a:cubicBezTo>
                  <a:pt x="2631" y="33"/>
                  <a:pt x="2631" y="28"/>
                  <a:pt x="2630" y="23"/>
                </a:cubicBezTo>
                <a:cubicBezTo>
                  <a:pt x="2630" y="21"/>
                  <a:pt x="2629" y="19"/>
                  <a:pt x="2628" y="17"/>
                </a:cubicBezTo>
                <a:cubicBezTo>
                  <a:pt x="2627" y="16"/>
                  <a:pt x="2626" y="15"/>
                  <a:pt x="2625" y="17"/>
                </a:cubicBezTo>
                <a:cubicBezTo>
                  <a:pt x="2623" y="19"/>
                  <a:pt x="2622" y="20"/>
                  <a:pt x="2620" y="21"/>
                </a:cubicBezTo>
                <a:cubicBezTo>
                  <a:pt x="2619" y="21"/>
                  <a:pt x="2618" y="22"/>
                  <a:pt x="2618" y="23"/>
                </a:cubicBezTo>
                <a:cubicBezTo>
                  <a:pt x="2619" y="26"/>
                  <a:pt x="2618" y="30"/>
                  <a:pt x="2617" y="33"/>
                </a:cubicBezTo>
                <a:cubicBezTo>
                  <a:pt x="2617" y="31"/>
                  <a:pt x="2618" y="29"/>
                  <a:pt x="2618" y="27"/>
                </a:cubicBezTo>
                <a:cubicBezTo>
                  <a:pt x="2618" y="26"/>
                  <a:pt x="2617" y="26"/>
                  <a:pt x="2617" y="26"/>
                </a:cubicBezTo>
                <a:cubicBezTo>
                  <a:pt x="2616" y="26"/>
                  <a:pt x="2616" y="26"/>
                  <a:pt x="2616" y="26"/>
                </a:cubicBezTo>
                <a:cubicBezTo>
                  <a:pt x="2615" y="28"/>
                  <a:pt x="2614" y="29"/>
                  <a:pt x="2613" y="30"/>
                </a:cubicBezTo>
                <a:cubicBezTo>
                  <a:pt x="2613" y="30"/>
                  <a:pt x="2613" y="30"/>
                  <a:pt x="2613" y="30"/>
                </a:cubicBezTo>
                <a:cubicBezTo>
                  <a:pt x="2613" y="29"/>
                  <a:pt x="2614" y="27"/>
                  <a:pt x="2614" y="25"/>
                </a:cubicBezTo>
                <a:cubicBezTo>
                  <a:pt x="2613" y="26"/>
                  <a:pt x="2613" y="26"/>
                  <a:pt x="2612" y="27"/>
                </a:cubicBezTo>
                <a:cubicBezTo>
                  <a:pt x="2611" y="27"/>
                  <a:pt x="2611" y="28"/>
                  <a:pt x="2611" y="29"/>
                </a:cubicBezTo>
                <a:cubicBezTo>
                  <a:pt x="2611" y="25"/>
                  <a:pt x="2611" y="25"/>
                  <a:pt x="2617" y="24"/>
                </a:cubicBezTo>
                <a:cubicBezTo>
                  <a:pt x="2617" y="24"/>
                  <a:pt x="2616" y="23"/>
                  <a:pt x="2616" y="23"/>
                </a:cubicBezTo>
                <a:cubicBezTo>
                  <a:pt x="2613" y="24"/>
                  <a:pt x="2613" y="22"/>
                  <a:pt x="2612" y="20"/>
                </a:cubicBezTo>
                <a:cubicBezTo>
                  <a:pt x="2614" y="19"/>
                  <a:pt x="2615" y="19"/>
                  <a:pt x="2617" y="19"/>
                </a:cubicBezTo>
                <a:cubicBezTo>
                  <a:pt x="2615" y="16"/>
                  <a:pt x="2614" y="13"/>
                  <a:pt x="2611" y="13"/>
                </a:cubicBezTo>
                <a:cubicBezTo>
                  <a:pt x="2610" y="13"/>
                  <a:pt x="2610" y="13"/>
                  <a:pt x="2610" y="12"/>
                </a:cubicBezTo>
                <a:cubicBezTo>
                  <a:pt x="2607" y="10"/>
                  <a:pt x="2605" y="8"/>
                  <a:pt x="2602" y="6"/>
                </a:cubicBezTo>
                <a:cubicBezTo>
                  <a:pt x="2600" y="5"/>
                  <a:pt x="2597" y="4"/>
                  <a:pt x="2595" y="4"/>
                </a:cubicBezTo>
                <a:cubicBezTo>
                  <a:pt x="2592" y="4"/>
                  <a:pt x="2589" y="6"/>
                  <a:pt x="2585" y="6"/>
                </a:cubicBezTo>
                <a:cubicBezTo>
                  <a:pt x="2583" y="7"/>
                  <a:pt x="2580" y="9"/>
                  <a:pt x="2578" y="12"/>
                </a:cubicBezTo>
                <a:cubicBezTo>
                  <a:pt x="2580" y="12"/>
                  <a:pt x="2581" y="12"/>
                  <a:pt x="2582" y="12"/>
                </a:cubicBezTo>
                <a:cubicBezTo>
                  <a:pt x="2582" y="13"/>
                  <a:pt x="2581" y="13"/>
                  <a:pt x="2580" y="13"/>
                </a:cubicBezTo>
                <a:cubicBezTo>
                  <a:pt x="2578" y="14"/>
                  <a:pt x="2575" y="13"/>
                  <a:pt x="2573" y="15"/>
                </a:cubicBezTo>
                <a:cubicBezTo>
                  <a:pt x="2570" y="19"/>
                  <a:pt x="2566" y="23"/>
                  <a:pt x="2562" y="27"/>
                </a:cubicBezTo>
                <a:cubicBezTo>
                  <a:pt x="2561" y="29"/>
                  <a:pt x="2560" y="32"/>
                  <a:pt x="2559" y="34"/>
                </a:cubicBezTo>
                <a:cubicBezTo>
                  <a:pt x="2559" y="34"/>
                  <a:pt x="2559" y="35"/>
                  <a:pt x="2559" y="36"/>
                </a:cubicBezTo>
                <a:cubicBezTo>
                  <a:pt x="2560" y="38"/>
                  <a:pt x="2561" y="40"/>
                  <a:pt x="2563" y="42"/>
                </a:cubicBezTo>
                <a:cubicBezTo>
                  <a:pt x="2564" y="40"/>
                  <a:pt x="2565" y="38"/>
                  <a:pt x="2566" y="37"/>
                </a:cubicBezTo>
                <a:cubicBezTo>
                  <a:pt x="2566" y="38"/>
                  <a:pt x="2566" y="40"/>
                  <a:pt x="2565" y="41"/>
                </a:cubicBezTo>
                <a:cubicBezTo>
                  <a:pt x="2564" y="42"/>
                  <a:pt x="2563" y="44"/>
                  <a:pt x="2563" y="45"/>
                </a:cubicBezTo>
                <a:cubicBezTo>
                  <a:pt x="2562" y="46"/>
                  <a:pt x="2563" y="47"/>
                  <a:pt x="2563" y="48"/>
                </a:cubicBezTo>
                <a:cubicBezTo>
                  <a:pt x="2566" y="51"/>
                  <a:pt x="2569" y="51"/>
                  <a:pt x="2573" y="49"/>
                </a:cubicBezTo>
                <a:cubicBezTo>
                  <a:pt x="2575" y="48"/>
                  <a:pt x="2578" y="47"/>
                  <a:pt x="2581" y="46"/>
                </a:cubicBezTo>
                <a:cubicBezTo>
                  <a:pt x="2582" y="45"/>
                  <a:pt x="2583" y="45"/>
                  <a:pt x="2583" y="43"/>
                </a:cubicBezTo>
                <a:cubicBezTo>
                  <a:pt x="2583" y="40"/>
                  <a:pt x="2583" y="36"/>
                  <a:pt x="2583" y="33"/>
                </a:cubicBezTo>
                <a:cubicBezTo>
                  <a:pt x="2583" y="30"/>
                  <a:pt x="2583" y="27"/>
                  <a:pt x="2583" y="24"/>
                </a:cubicBezTo>
                <a:cubicBezTo>
                  <a:pt x="2584" y="27"/>
                  <a:pt x="2585" y="30"/>
                  <a:pt x="2585" y="32"/>
                </a:cubicBezTo>
                <a:cubicBezTo>
                  <a:pt x="2586" y="37"/>
                  <a:pt x="2586" y="41"/>
                  <a:pt x="2585" y="45"/>
                </a:cubicBezTo>
                <a:cubicBezTo>
                  <a:pt x="2584" y="46"/>
                  <a:pt x="2583" y="47"/>
                  <a:pt x="2583" y="47"/>
                </a:cubicBezTo>
                <a:cubicBezTo>
                  <a:pt x="2579" y="47"/>
                  <a:pt x="2576" y="49"/>
                  <a:pt x="2573" y="51"/>
                </a:cubicBezTo>
                <a:cubicBezTo>
                  <a:pt x="2568" y="54"/>
                  <a:pt x="2564" y="52"/>
                  <a:pt x="2561" y="48"/>
                </a:cubicBezTo>
                <a:cubicBezTo>
                  <a:pt x="2561" y="48"/>
                  <a:pt x="2561" y="47"/>
                  <a:pt x="2561" y="46"/>
                </a:cubicBezTo>
                <a:cubicBezTo>
                  <a:pt x="2562" y="44"/>
                  <a:pt x="2561" y="42"/>
                  <a:pt x="2559" y="40"/>
                </a:cubicBezTo>
                <a:cubicBezTo>
                  <a:pt x="2558" y="38"/>
                  <a:pt x="2556" y="36"/>
                  <a:pt x="2557" y="33"/>
                </a:cubicBezTo>
                <a:cubicBezTo>
                  <a:pt x="2558" y="31"/>
                  <a:pt x="2559" y="29"/>
                  <a:pt x="2560" y="28"/>
                </a:cubicBezTo>
                <a:cubicBezTo>
                  <a:pt x="2562" y="25"/>
                  <a:pt x="2564" y="23"/>
                  <a:pt x="2566" y="20"/>
                </a:cubicBezTo>
                <a:cubicBezTo>
                  <a:pt x="2566" y="20"/>
                  <a:pt x="2565" y="20"/>
                  <a:pt x="2565" y="20"/>
                </a:cubicBezTo>
                <a:cubicBezTo>
                  <a:pt x="2560" y="21"/>
                  <a:pt x="2555" y="23"/>
                  <a:pt x="2551" y="26"/>
                </a:cubicBezTo>
                <a:cubicBezTo>
                  <a:pt x="2547" y="30"/>
                  <a:pt x="2544" y="35"/>
                  <a:pt x="2544" y="42"/>
                </a:cubicBezTo>
                <a:cubicBezTo>
                  <a:pt x="2543" y="49"/>
                  <a:pt x="2546" y="55"/>
                  <a:pt x="2549" y="61"/>
                </a:cubicBezTo>
                <a:cubicBezTo>
                  <a:pt x="2549" y="61"/>
                  <a:pt x="2550" y="63"/>
                  <a:pt x="2550" y="64"/>
                </a:cubicBezTo>
                <a:cubicBezTo>
                  <a:pt x="2550" y="66"/>
                  <a:pt x="2549" y="67"/>
                  <a:pt x="2549" y="68"/>
                </a:cubicBezTo>
                <a:cubicBezTo>
                  <a:pt x="2548" y="70"/>
                  <a:pt x="2549" y="71"/>
                  <a:pt x="2550" y="72"/>
                </a:cubicBezTo>
                <a:cubicBezTo>
                  <a:pt x="2553" y="72"/>
                  <a:pt x="2556" y="73"/>
                  <a:pt x="2559" y="73"/>
                </a:cubicBezTo>
                <a:cubicBezTo>
                  <a:pt x="2559" y="73"/>
                  <a:pt x="2560" y="72"/>
                  <a:pt x="2560" y="72"/>
                </a:cubicBezTo>
                <a:cubicBezTo>
                  <a:pt x="2561" y="71"/>
                  <a:pt x="2561" y="69"/>
                  <a:pt x="2561" y="68"/>
                </a:cubicBezTo>
                <a:cubicBezTo>
                  <a:pt x="2563" y="66"/>
                  <a:pt x="2563" y="63"/>
                  <a:pt x="2563" y="61"/>
                </a:cubicBezTo>
                <a:cubicBezTo>
                  <a:pt x="2563" y="60"/>
                  <a:pt x="2563" y="60"/>
                  <a:pt x="2563" y="59"/>
                </a:cubicBezTo>
                <a:cubicBezTo>
                  <a:pt x="2563" y="59"/>
                  <a:pt x="2563" y="59"/>
                  <a:pt x="2563" y="59"/>
                </a:cubicBezTo>
                <a:cubicBezTo>
                  <a:pt x="2564" y="61"/>
                  <a:pt x="2565" y="61"/>
                  <a:pt x="2567" y="61"/>
                </a:cubicBezTo>
                <a:cubicBezTo>
                  <a:pt x="2568" y="61"/>
                  <a:pt x="2569" y="61"/>
                  <a:pt x="2570" y="61"/>
                </a:cubicBezTo>
                <a:cubicBezTo>
                  <a:pt x="2572" y="61"/>
                  <a:pt x="2576" y="62"/>
                  <a:pt x="2576" y="58"/>
                </a:cubicBezTo>
                <a:cubicBezTo>
                  <a:pt x="2576" y="60"/>
                  <a:pt x="2576" y="62"/>
                  <a:pt x="2576" y="63"/>
                </a:cubicBezTo>
                <a:cubicBezTo>
                  <a:pt x="2575" y="63"/>
                  <a:pt x="2574" y="64"/>
                  <a:pt x="2572" y="64"/>
                </a:cubicBezTo>
                <a:cubicBezTo>
                  <a:pt x="2571" y="65"/>
                  <a:pt x="2570" y="67"/>
                  <a:pt x="2571" y="68"/>
                </a:cubicBezTo>
                <a:cubicBezTo>
                  <a:pt x="2572" y="70"/>
                  <a:pt x="2574" y="72"/>
                  <a:pt x="2575" y="74"/>
                </a:cubicBezTo>
                <a:cubicBezTo>
                  <a:pt x="2577" y="75"/>
                  <a:pt x="2579" y="75"/>
                  <a:pt x="2580" y="73"/>
                </a:cubicBezTo>
                <a:cubicBezTo>
                  <a:pt x="2581" y="72"/>
                  <a:pt x="2581" y="72"/>
                  <a:pt x="2582" y="71"/>
                </a:cubicBezTo>
                <a:cubicBezTo>
                  <a:pt x="2584" y="70"/>
                  <a:pt x="2585" y="68"/>
                  <a:pt x="2587" y="67"/>
                </a:cubicBezTo>
                <a:cubicBezTo>
                  <a:pt x="2591" y="63"/>
                  <a:pt x="2593" y="57"/>
                  <a:pt x="2595" y="51"/>
                </a:cubicBezTo>
                <a:cubicBezTo>
                  <a:pt x="2595" y="51"/>
                  <a:pt x="2594" y="50"/>
                  <a:pt x="2594" y="49"/>
                </a:cubicBezTo>
                <a:cubicBezTo>
                  <a:pt x="2593" y="48"/>
                  <a:pt x="2592" y="47"/>
                  <a:pt x="2590" y="47"/>
                </a:cubicBezTo>
                <a:close/>
                <a:moveTo>
                  <a:pt x="2543" y="53"/>
                </a:moveTo>
                <a:cubicBezTo>
                  <a:pt x="2542" y="54"/>
                  <a:pt x="2541" y="55"/>
                  <a:pt x="2540" y="56"/>
                </a:cubicBezTo>
                <a:cubicBezTo>
                  <a:pt x="2539" y="56"/>
                  <a:pt x="2539" y="57"/>
                  <a:pt x="2539" y="58"/>
                </a:cubicBezTo>
                <a:cubicBezTo>
                  <a:pt x="2539" y="61"/>
                  <a:pt x="2543" y="65"/>
                  <a:pt x="2546" y="64"/>
                </a:cubicBezTo>
                <a:cubicBezTo>
                  <a:pt x="2548" y="64"/>
                  <a:pt x="2549" y="63"/>
                  <a:pt x="2548" y="62"/>
                </a:cubicBezTo>
                <a:cubicBezTo>
                  <a:pt x="2546" y="59"/>
                  <a:pt x="2545" y="56"/>
                  <a:pt x="2543" y="53"/>
                </a:cubicBezTo>
                <a:close/>
                <a:moveTo>
                  <a:pt x="2596" y="55"/>
                </a:moveTo>
                <a:cubicBezTo>
                  <a:pt x="2594" y="60"/>
                  <a:pt x="2591" y="64"/>
                  <a:pt x="2589" y="68"/>
                </a:cubicBezTo>
                <a:cubicBezTo>
                  <a:pt x="2592" y="68"/>
                  <a:pt x="2594" y="69"/>
                  <a:pt x="2597" y="68"/>
                </a:cubicBezTo>
                <a:cubicBezTo>
                  <a:pt x="2597" y="68"/>
                  <a:pt x="2598" y="67"/>
                  <a:pt x="2598" y="67"/>
                </a:cubicBezTo>
                <a:cubicBezTo>
                  <a:pt x="2598" y="64"/>
                  <a:pt x="2598" y="62"/>
                  <a:pt x="2597" y="59"/>
                </a:cubicBezTo>
                <a:cubicBezTo>
                  <a:pt x="2597" y="58"/>
                  <a:pt x="2596" y="57"/>
                  <a:pt x="2596" y="55"/>
                </a:cubicBezTo>
                <a:close/>
                <a:moveTo>
                  <a:pt x="2543" y="35"/>
                </a:moveTo>
                <a:cubicBezTo>
                  <a:pt x="2542" y="35"/>
                  <a:pt x="2542" y="36"/>
                  <a:pt x="2541" y="36"/>
                </a:cubicBezTo>
                <a:cubicBezTo>
                  <a:pt x="2540" y="36"/>
                  <a:pt x="2540" y="36"/>
                  <a:pt x="2540" y="35"/>
                </a:cubicBezTo>
                <a:cubicBezTo>
                  <a:pt x="2539" y="35"/>
                  <a:pt x="2539" y="34"/>
                  <a:pt x="2539" y="33"/>
                </a:cubicBezTo>
                <a:cubicBezTo>
                  <a:pt x="2540" y="31"/>
                  <a:pt x="2540" y="29"/>
                  <a:pt x="2541" y="27"/>
                </a:cubicBezTo>
                <a:cubicBezTo>
                  <a:pt x="2540" y="27"/>
                  <a:pt x="2540" y="27"/>
                  <a:pt x="2540" y="27"/>
                </a:cubicBezTo>
                <a:cubicBezTo>
                  <a:pt x="2539" y="28"/>
                  <a:pt x="2538" y="29"/>
                  <a:pt x="2537" y="30"/>
                </a:cubicBezTo>
                <a:cubicBezTo>
                  <a:pt x="2536" y="31"/>
                  <a:pt x="2538" y="36"/>
                  <a:pt x="2540" y="37"/>
                </a:cubicBezTo>
                <a:cubicBezTo>
                  <a:pt x="2541" y="38"/>
                  <a:pt x="2543" y="37"/>
                  <a:pt x="2543" y="35"/>
                </a:cubicBezTo>
                <a:close/>
                <a:moveTo>
                  <a:pt x="2543" y="53"/>
                </a:moveTo>
                <a:cubicBezTo>
                  <a:pt x="2543" y="54"/>
                  <a:pt x="2541" y="55"/>
                  <a:pt x="2540" y="56"/>
                </a:cubicBezTo>
                <a:cubicBezTo>
                  <a:pt x="2539" y="56"/>
                  <a:pt x="2539" y="57"/>
                  <a:pt x="2539" y="58"/>
                </a:cubicBezTo>
                <a:cubicBezTo>
                  <a:pt x="2539" y="61"/>
                  <a:pt x="2543" y="65"/>
                  <a:pt x="2546" y="65"/>
                </a:cubicBezTo>
                <a:cubicBezTo>
                  <a:pt x="2548" y="65"/>
                  <a:pt x="2549" y="64"/>
                  <a:pt x="2548" y="62"/>
                </a:cubicBezTo>
                <a:cubicBezTo>
                  <a:pt x="2546" y="59"/>
                  <a:pt x="2545" y="56"/>
                  <a:pt x="2543" y="53"/>
                </a:cubicBezTo>
                <a:close/>
                <a:moveTo>
                  <a:pt x="2596" y="55"/>
                </a:moveTo>
                <a:cubicBezTo>
                  <a:pt x="2594" y="60"/>
                  <a:pt x="2591" y="64"/>
                  <a:pt x="2589" y="69"/>
                </a:cubicBezTo>
                <a:cubicBezTo>
                  <a:pt x="2592" y="69"/>
                  <a:pt x="2594" y="69"/>
                  <a:pt x="2597" y="69"/>
                </a:cubicBezTo>
                <a:cubicBezTo>
                  <a:pt x="2597" y="69"/>
                  <a:pt x="2598" y="67"/>
                  <a:pt x="2598" y="67"/>
                </a:cubicBezTo>
                <a:cubicBezTo>
                  <a:pt x="2598" y="64"/>
                  <a:pt x="2598" y="62"/>
                  <a:pt x="2597" y="59"/>
                </a:cubicBezTo>
                <a:cubicBezTo>
                  <a:pt x="2597" y="58"/>
                  <a:pt x="2596" y="57"/>
                  <a:pt x="2596" y="55"/>
                </a:cubicBezTo>
                <a:close/>
                <a:moveTo>
                  <a:pt x="2543" y="35"/>
                </a:moveTo>
                <a:cubicBezTo>
                  <a:pt x="2543" y="35"/>
                  <a:pt x="2542" y="36"/>
                  <a:pt x="2541" y="36"/>
                </a:cubicBezTo>
                <a:cubicBezTo>
                  <a:pt x="2541" y="36"/>
                  <a:pt x="2540" y="36"/>
                  <a:pt x="2540" y="35"/>
                </a:cubicBezTo>
                <a:cubicBezTo>
                  <a:pt x="2539" y="35"/>
                  <a:pt x="2539" y="34"/>
                  <a:pt x="2539" y="33"/>
                </a:cubicBezTo>
                <a:cubicBezTo>
                  <a:pt x="2540" y="31"/>
                  <a:pt x="2540" y="29"/>
                  <a:pt x="2541" y="27"/>
                </a:cubicBezTo>
                <a:cubicBezTo>
                  <a:pt x="2541" y="27"/>
                  <a:pt x="2541" y="27"/>
                  <a:pt x="2540" y="27"/>
                </a:cubicBezTo>
                <a:cubicBezTo>
                  <a:pt x="2539" y="28"/>
                  <a:pt x="2538" y="29"/>
                  <a:pt x="2537" y="30"/>
                </a:cubicBezTo>
                <a:cubicBezTo>
                  <a:pt x="2537" y="31"/>
                  <a:pt x="2538" y="37"/>
                  <a:pt x="2540" y="37"/>
                </a:cubicBezTo>
                <a:cubicBezTo>
                  <a:pt x="2541" y="38"/>
                  <a:pt x="2543" y="37"/>
                  <a:pt x="2543" y="35"/>
                </a:cubicBezTo>
                <a:close/>
                <a:moveTo>
                  <a:pt x="2596" y="27"/>
                </a:moveTo>
                <a:cubicBezTo>
                  <a:pt x="2599" y="23"/>
                  <a:pt x="2599" y="23"/>
                  <a:pt x="2603" y="22"/>
                </a:cubicBezTo>
                <a:cubicBezTo>
                  <a:pt x="2603" y="24"/>
                  <a:pt x="2604" y="25"/>
                  <a:pt x="2605" y="25"/>
                </a:cubicBezTo>
                <a:cubicBezTo>
                  <a:pt x="2603" y="26"/>
                  <a:pt x="2601" y="28"/>
                  <a:pt x="2599" y="29"/>
                </a:cubicBezTo>
                <a:cubicBezTo>
                  <a:pt x="2598" y="28"/>
                  <a:pt x="2598" y="28"/>
                  <a:pt x="2597" y="26"/>
                </a:cubicBezTo>
                <a:cubicBezTo>
                  <a:pt x="2597" y="26"/>
                  <a:pt x="2596" y="26"/>
                  <a:pt x="2596" y="27"/>
                </a:cubicBezTo>
                <a:close/>
                <a:moveTo>
                  <a:pt x="2601" y="26"/>
                </a:moveTo>
                <a:cubicBezTo>
                  <a:pt x="2601" y="26"/>
                  <a:pt x="2600" y="26"/>
                  <a:pt x="2600" y="26"/>
                </a:cubicBezTo>
                <a:cubicBezTo>
                  <a:pt x="2599" y="26"/>
                  <a:pt x="2598" y="26"/>
                  <a:pt x="2598" y="27"/>
                </a:cubicBezTo>
                <a:cubicBezTo>
                  <a:pt x="2598" y="27"/>
                  <a:pt x="2599" y="28"/>
                  <a:pt x="2599" y="28"/>
                </a:cubicBezTo>
                <a:cubicBezTo>
                  <a:pt x="2600" y="28"/>
                  <a:pt x="2600" y="27"/>
                  <a:pt x="2601" y="26"/>
                </a:cubicBezTo>
                <a:close/>
                <a:moveTo>
                  <a:pt x="2583" y="17"/>
                </a:moveTo>
                <a:cubicBezTo>
                  <a:pt x="2576" y="16"/>
                  <a:pt x="2573" y="19"/>
                  <a:pt x="2572" y="26"/>
                </a:cubicBezTo>
                <a:cubicBezTo>
                  <a:pt x="2573" y="24"/>
                  <a:pt x="2575" y="22"/>
                  <a:pt x="2576" y="20"/>
                </a:cubicBezTo>
                <a:cubicBezTo>
                  <a:pt x="2576" y="20"/>
                  <a:pt x="2576" y="20"/>
                  <a:pt x="2576" y="20"/>
                </a:cubicBezTo>
                <a:cubicBezTo>
                  <a:pt x="2576" y="21"/>
                  <a:pt x="2576" y="22"/>
                  <a:pt x="2576" y="22"/>
                </a:cubicBezTo>
                <a:cubicBezTo>
                  <a:pt x="2578" y="19"/>
                  <a:pt x="2579" y="17"/>
                  <a:pt x="2583" y="17"/>
                </a:cubicBezTo>
                <a:close/>
                <a:moveTo>
                  <a:pt x="2626" y="18"/>
                </a:moveTo>
                <a:cubicBezTo>
                  <a:pt x="2624" y="19"/>
                  <a:pt x="2622" y="21"/>
                  <a:pt x="2621" y="22"/>
                </a:cubicBezTo>
                <a:cubicBezTo>
                  <a:pt x="2623" y="23"/>
                  <a:pt x="2625" y="21"/>
                  <a:pt x="2626" y="18"/>
                </a:cubicBezTo>
                <a:close/>
                <a:moveTo>
                  <a:pt x="2593" y="21"/>
                </a:moveTo>
                <a:cubicBezTo>
                  <a:pt x="2594" y="19"/>
                  <a:pt x="2595" y="18"/>
                  <a:pt x="2596" y="17"/>
                </a:cubicBezTo>
                <a:cubicBezTo>
                  <a:pt x="2593" y="18"/>
                  <a:pt x="2592" y="19"/>
                  <a:pt x="2593" y="21"/>
                </a:cubicBezTo>
                <a:close/>
                <a:moveTo>
                  <a:pt x="2603" y="42"/>
                </a:moveTo>
                <a:cubicBezTo>
                  <a:pt x="2601" y="42"/>
                  <a:pt x="2600" y="43"/>
                  <a:pt x="2600" y="44"/>
                </a:cubicBezTo>
                <a:cubicBezTo>
                  <a:pt x="2600" y="43"/>
                  <a:pt x="2602" y="42"/>
                  <a:pt x="2603" y="42"/>
                </a:cubicBezTo>
                <a:close/>
                <a:moveTo>
                  <a:pt x="2601" y="26"/>
                </a:moveTo>
                <a:cubicBezTo>
                  <a:pt x="2601" y="26"/>
                  <a:pt x="2600" y="25"/>
                  <a:pt x="2600" y="25"/>
                </a:cubicBezTo>
                <a:cubicBezTo>
                  <a:pt x="2599" y="25"/>
                  <a:pt x="2599" y="26"/>
                  <a:pt x="2599" y="27"/>
                </a:cubicBezTo>
                <a:cubicBezTo>
                  <a:pt x="2599" y="27"/>
                  <a:pt x="2599" y="27"/>
                  <a:pt x="2599" y="28"/>
                </a:cubicBezTo>
                <a:cubicBezTo>
                  <a:pt x="2600" y="27"/>
                  <a:pt x="2600" y="27"/>
                  <a:pt x="2601" y="26"/>
                </a:cubicBezTo>
                <a:close/>
                <a:moveTo>
                  <a:pt x="3256" y="4"/>
                </a:moveTo>
                <a:cubicBezTo>
                  <a:pt x="3256" y="4"/>
                  <a:pt x="3256" y="4"/>
                  <a:pt x="3256" y="4"/>
                </a:cubicBezTo>
                <a:cubicBezTo>
                  <a:pt x="3251" y="4"/>
                  <a:pt x="3251" y="4"/>
                  <a:pt x="3251" y="4"/>
                </a:cubicBezTo>
                <a:cubicBezTo>
                  <a:pt x="3248" y="5"/>
                  <a:pt x="3247" y="7"/>
                  <a:pt x="3245" y="7"/>
                </a:cubicBezTo>
                <a:cubicBezTo>
                  <a:pt x="3243" y="9"/>
                  <a:pt x="3242" y="10"/>
                  <a:pt x="3239" y="10"/>
                </a:cubicBezTo>
                <a:cubicBezTo>
                  <a:pt x="3238" y="12"/>
                  <a:pt x="3236" y="12"/>
                  <a:pt x="3234" y="13"/>
                </a:cubicBezTo>
                <a:cubicBezTo>
                  <a:pt x="3232" y="14"/>
                  <a:pt x="3231" y="15"/>
                  <a:pt x="3228" y="15"/>
                </a:cubicBezTo>
                <a:cubicBezTo>
                  <a:pt x="3228" y="15"/>
                  <a:pt x="3228" y="15"/>
                  <a:pt x="3228" y="25"/>
                </a:cubicBezTo>
                <a:cubicBezTo>
                  <a:pt x="3231" y="24"/>
                  <a:pt x="3234" y="23"/>
                  <a:pt x="3237" y="22"/>
                </a:cubicBezTo>
                <a:cubicBezTo>
                  <a:pt x="3239" y="21"/>
                  <a:pt x="3242" y="20"/>
                  <a:pt x="3244" y="18"/>
                </a:cubicBezTo>
                <a:cubicBezTo>
                  <a:pt x="3244" y="18"/>
                  <a:pt x="3244" y="18"/>
                  <a:pt x="3244" y="77"/>
                </a:cubicBezTo>
                <a:cubicBezTo>
                  <a:pt x="3244" y="77"/>
                  <a:pt x="3244" y="77"/>
                  <a:pt x="3256" y="77"/>
                </a:cubicBezTo>
                <a:cubicBezTo>
                  <a:pt x="3256" y="77"/>
                  <a:pt x="3256" y="77"/>
                  <a:pt x="3256" y="4"/>
                </a:cubicBezTo>
                <a:close/>
                <a:moveTo>
                  <a:pt x="3303" y="4"/>
                </a:moveTo>
                <a:cubicBezTo>
                  <a:pt x="3303" y="4"/>
                  <a:pt x="3303" y="4"/>
                  <a:pt x="3303" y="4"/>
                </a:cubicBezTo>
                <a:cubicBezTo>
                  <a:pt x="3298" y="4"/>
                  <a:pt x="3298" y="4"/>
                  <a:pt x="3298" y="4"/>
                </a:cubicBezTo>
                <a:cubicBezTo>
                  <a:pt x="3296" y="5"/>
                  <a:pt x="3294" y="7"/>
                  <a:pt x="3292" y="7"/>
                </a:cubicBezTo>
                <a:cubicBezTo>
                  <a:pt x="3291" y="9"/>
                  <a:pt x="3288" y="10"/>
                  <a:pt x="3287" y="10"/>
                </a:cubicBezTo>
                <a:cubicBezTo>
                  <a:pt x="3285" y="12"/>
                  <a:pt x="3283" y="12"/>
                  <a:pt x="3282" y="13"/>
                </a:cubicBezTo>
                <a:cubicBezTo>
                  <a:pt x="3280" y="14"/>
                  <a:pt x="3278" y="15"/>
                  <a:pt x="3276" y="15"/>
                </a:cubicBezTo>
                <a:cubicBezTo>
                  <a:pt x="3276" y="15"/>
                  <a:pt x="3276" y="15"/>
                  <a:pt x="3276" y="25"/>
                </a:cubicBezTo>
                <a:cubicBezTo>
                  <a:pt x="3279" y="24"/>
                  <a:pt x="3282" y="23"/>
                  <a:pt x="3284" y="22"/>
                </a:cubicBezTo>
                <a:cubicBezTo>
                  <a:pt x="3287" y="21"/>
                  <a:pt x="3289" y="20"/>
                  <a:pt x="3291" y="18"/>
                </a:cubicBezTo>
                <a:cubicBezTo>
                  <a:pt x="3291" y="18"/>
                  <a:pt x="3291" y="18"/>
                  <a:pt x="3291" y="77"/>
                </a:cubicBezTo>
                <a:cubicBezTo>
                  <a:pt x="3291" y="77"/>
                  <a:pt x="3291" y="77"/>
                  <a:pt x="3303" y="77"/>
                </a:cubicBezTo>
                <a:cubicBezTo>
                  <a:pt x="3303" y="77"/>
                  <a:pt x="3303" y="77"/>
                  <a:pt x="3303" y="4"/>
                </a:cubicBezTo>
                <a:close/>
                <a:moveTo>
                  <a:pt x="3349" y="4"/>
                </a:moveTo>
                <a:cubicBezTo>
                  <a:pt x="3349" y="4"/>
                  <a:pt x="3349" y="4"/>
                  <a:pt x="3349" y="4"/>
                </a:cubicBezTo>
                <a:cubicBezTo>
                  <a:pt x="3345" y="4"/>
                  <a:pt x="3345" y="4"/>
                  <a:pt x="3345" y="4"/>
                </a:cubicBezTo>
                <a:cubicBezTo>
                  <a:pt x="3343" y="5"/>
                  <a:pt x="3341" y="7"/>
                  <a:pt x="3339" y="7"/>
                </a:cubicBezTo>
                <a:cubicBezTo>
                  <a:pt x="3338" y="9"/>
                  <a:pt x="3336" y="10"/>
                  <a:pt x="3334" y="10"/>
                </a:cubicBezTo>
                <a:cubicBezTo>
                  <a:pt x="3332" y="11"/>
                  <a:pt x="3331" y="12"/>
                  <a:pt x="3328" y="12"/>
                </a:cubicBezTo>
                <a:cubicBezTo>
                  <a:pt x="3327" y="13"/>
                  <a:pt x="3325" y="14"/>
                  <a:pt x="3323" y="15"/>
                </a:cubicBezTo>
                <a:cubicBezTo>
                  <a:pt x="3323" y="15"/>
                  <a:pt x="3323" y="15"/>
                  <a:pt x="3323" y="25"/>
                </a:cubicBezTo>
                <a:cubicBezTo>
                  <a:pt x="3326" y="24"/>
                  <a:pt x="3329" y="23"/>
                  <a:pt x="3331" y="22"/>
                </a:cubicBezTo>
                <a:cubicBezTo>
                  <a:pt x="3333" y="21"/>
                  <a:pt x="3336" y="20"/>
                  <a:pt x="3338" y="18"/>
                </a:cubicBezTo>
                <a:cubicBezTo>
                  <a:pt x="3338" y="18"/>
                  <a:pt x="3338" y="18"/>
                  <a:pt x="3338" y="77"/>
                </a:cubicBezTo>
                <a:cubicBezTo>
                  <a:pt x="3338" y="77"/>
                  <a:pt x="3338" y="77"/>
                  <a:pt x="3349" y="77"/>
                </a:cubicBezTo>
                <a:cubicBezTo>
                  <a:pt x="3349" y="77"/>
                  <a:pt x="3349" y="77"/>
                  <a:pt x="3349" y="4"/>
                </a:cubicBezTo>
                <a:close/>
                <a:moveTo>
                  <a:pt x="1984" y="3"/>
                </a:moveTo>
                <a:cubicBezTo>
                  <a:pt x="1984" y="3"/>
                  <a:pt x="1984" y="3"/>
                  <a:pt x="1984" y="3"/>
                </a:cubicBezTo>
                <a:cubicBezTo>
                  <a:pt x="1979" y="3"/>
                  <a:pt x="1979" y="3"/>
                  <a:pt x="1979" y="3"/>
                </a:cubicBezTo>
                <a:cubicBezTo>
                  <a:pt x="1977" y="5"/>
                  <a:pt x="1975" y="6"/>
                  <a:pt x="1973" y="7"/>
                </a:cubicBezTo>
                <a:cubicBezTo>
                  <a:pt x="1972" y="8"/>
                  <a:pt x="1970" y="9"/>
                  <a:pt x="1968" y="10"/>
                </a:cubicBezTo>
                <a:cubicBezTo>
                  <a:pt x="1967" y="11"/>
                  <a:pt x="1965" y="12"/>
                  <a:pt x="1963" y="13"/>
                </a:cubicBezTo>
                <a:cubicBezTo>
                  <a:pt x="1961" y="13"/>
                  <a:pt x="1959" y="14"/>
                  <a:pt x="1957" y="14"/>
                </a:cubicBezTo>
                <a:cubicBezTo>
                  <a:pt x="1957" y="14"/>
                  <a:pt x="1957" y="14"/>
                  <a:pt x="1957" y="24"/>
                </a:cubicBezTo>
                <a:cubicBezTo>
                  <a:pt x="1960" y="23"/>
                  <a:pt x="1963" y="23"/>
                  <a:pt x="1965" y="21"/>
                </a:cubicBezTo>
                <a:cubicBezTo>
                  <a:pt x="1968" y="21"/>
                  <a:pt x="1970" y="19"/>
                  <a:pt x="1973" y="18"/>
                </a:cubicBezTo>
                <a:cubicBezTo>
                  <a:pt x="1973" y="18"/>
                  <a:pt x="1973" y="18"/>
                  <a:pt x="1973" y="76"/>
                </a:cubicBezTo>
                <a:cubicBezTo>
                  <a:pt x="1973" y="76"/>
                  <a:pt x="1973" y="76"/>
                  <a:pt x="1984" y="76"/>
                </a:cubicBezTo>
                <a:cubicBezTo>
                  <a:pt x="1984" y="76"/>
                  <a:pt x="1984" y="76"/>
                  <a:pt x="1984" y="3"/>
                </a:cubicBezTo>
                <a:close/>
                <a:moveTo>
                  <a:pt x="1582" y="5"/>
                </a:moveTo>
                <a:cubicBezTo>
                  <a:pt x="1582" y="5"/>
                  <a:pt x="1582" y="5"/>
                  <a:pt x="1582" y="5"/>
                </a:cubicBezTo>
                <a:cubicBezTo>
                  <a:pt x="1577" y="5"/>
                  <a:pt x="1577" y="5"/>
                  <a:pt x="1577" y="5"/>
                </a:cubicBezTo>
                <a:cubicBezTo>
                  <a:pt x="1575" y="7"/>
                  <a:pt x="1574" y="8"/>
                  <a:pt x="1571" y="9"/>
                </a:cubicBezTo>
                <a:cubicBezTo>
                  <a:pt x="1570" y="10"/>
                  <a:pt x="1568" y="11"/>
                  <a:pt x="1566" y="12"/>
                </a:cubicBezTo>
                <a:cubicBezTo>
                  <a:pt x="1564" y="12"/>
                  <a:pt x="1562" y="13"/>
                  <a:pt x="1561" y="14"/>
                </a:cubicBezTo>
                <a:cubicBezTo>
                  <a:pt x="1559" y="15"/>
                  <a:pt x="1557" y="15"/>
                  <a:pt x="1555" y="16"/>
                </a:cubicBezTo>
                <a:cubicBezTo>
                  <a:pt x="1555" y="16"/>
                  <a:pt x="1555" y="16"/>
                  <a:pt x="1555" y="26"/>
                </a:cubicBezTo>
                <a:cubicBezTo>
                  <a:pt x="1558" y="26"/>
                  <a:pt x="1561" y="24"/>
                  <a:pt x="1563" y="23"/>
                </a:cubicBezTo>
                <a:cubicBezTo>
                  <a:pt x="1566" y="23"/>
                  <a:pt x="1568" y="21"/>
                  <a:pt x="1571" y="20"/>
                </a:cubicBezTo>
                <a:cubicBezTo>
                  <a:pt x="1571" y="20"/>
                  <a:pt x="1571" y="20"/>
                  <a:pt x="1571" y="79"/>
                </a:cubicBezTo>
                <a:cubicBezTo>
                  <a:pt x="1571" y="79"/>
                  <a:pt x="1571" y="79"/>
                  <a:pt x="1582" y="79"/>
                </a:cubicBezTo>
                <a:cubicBezTo>
                  <a:pt x="1582" y="79"/>
                  <a:pt x="1582" y="79"/>
                  <a:pt x="1582" y="5"/>
                </a:cubicBezTo>
                <a:close/>
                <a:moveTo>
                  <a:pt x="1680" y="79"/>
                </a:moveTo>
                <a:cubicBezTo>
                  <a:pt x="1673" y="79"/>
                  <a:pt x="1667" y="76"/>
                  <a:pt x="1662" y="70"/>
                </a:cubicBezTo>
                <a:cubicBezTo>
                  <a:pt x="1659" y="63"/>
                  <a:pt x="1656" y="54"/>
                  <a:pt x="1656" y="42"/>
                </a:cubicBezTo>
                <a:cubicBezTo>
                  <a:pt x="1656" y="29"/>
                  <a:pt x="1659" y="19"/>
                  <a:pt x="1663" y="13"/>
                </a:cubicBezTo>
                <a:cubicBezTo>
                  <a:pt x="1667" y="6"/>
                  <a:pt x="1674" y="2"/>
                  <a:pt x="1683" y="2"/>
                </a:cubicBezTo>
                <a:cubicBezTo>
                  <a:pt x="1699" y="2"/>
                  <a:pt x="1707" y="15"/>
                  <a:pt x="1707" y="40"/>
                </a:cubicBezTo>
                <a:cubicBezTo>
                  <a:pt x="1707" y="53"/>
                  <a:pt x="1705" y="62"/>
                  <a:pt x="1699" y="69"/>
                </a:cubicBezTo>
                <a:cubicBezTo>
                  <a:pt x="1695" y="76"/>
                  <a:pt x="1688" y="79"/>
                  <a:pt x="1680" y="79"/>
                </a:cubicBezTo>
                <a:close/>
                <a:moveTo>
                  <a:pt x="1682" y="12"/>
                </a:moveTo>
                <a:cubicBezTo>
                  <a:pt x="1672" y="12"/>
                  <a:pt x="1668" y="22"/>
                  <a:pt x="1668" y="42"/>
                </a:cubicBezTo>
                <a:cubicBezTo>
                  <a:pt x="1668" y="60"/>
                  <a:pt x="1672" y="69"/>
                  <a:pt x="1681" y="69"/>
                </a:cubicBezTo>
                <a:cubicBezTo>
                  <a:pt x="1690" y="69"/>
                  <a:pt x="1694" y="60"/>
                  <a:pt x="1694" y="41"/>
                </a:cubicBezTo>
                <a:cubicBezTo>
                  <a:pt x="1694" y="21"/>
                  <a:pt x="1690" y="12"/>
                  <a:pt x="1682" y="12"/>
                </a:cubicBezTo>
                <a:close/>
                <a:moveTo>
                  <a:pt x="1754" y="5"/>
                </a:moveTo>
                <a:cubicBezTo>
                  <a:pt x="1754" y="5"/>
                  <a:pt x="1754" y="5"/>
                  <a:pt x="1754" y="5"/>
                </a:cubicBezTo>
                <a:cubicBezTo>
                  <a:pt x="1749" y="5"/>
                  <a:pt x="1749" y="5"/>
                  <a:pt x="1749" y="5"/>
                </a:cubicBezTo>
                <a:cubicBezTo>
                  <a:pt x="1747" y="7"/>
                  <a:pt x="1746" y="8"/>
                  <a:pt x="1743" y="9"/>
                </a:cubicBezTo>
                <a:cubicBezTo>
                  <a:pt x="1742" y="10"/>
                  <a:pt x="1740" y="11"/>
                  <a:pt x="1738" y="12"/>
                </a:cubicBezTo>
                <a:cubicBezTo>
                  <a:pt x="1736" y="12"/>
                  <a:pt x="1735" y="13"/>
                  <a:pt x="1733" y="14"/>
                </a:cubicBezTo>
                <a:cubicBezTo>
                  <a:pt x="1731" y="15"/>
                  <a:pt x="1730" y="15"/>
                  <a:pt x="1727" y="16"/>
                </a:cubicBezTo>
                <a:cubicBezTo>
                  <a:pt x="1727" y="16"/>
                  <a:pt x="1727" y="16"/>
                  <a:pt x="1727" y="26"/>
                </a:cubicBezTo>
                <a:cubicBezTo>
                  <a:pt x="1730" y="26"/>
                  <a:pt x="1733" y="24"/>
                  <a:pt x="1735" y="23"/>
                </a:cubicBezTo>
                <a:cubicBezTo>
                  <a:pt x="1738" y="23"/>
                  <a:pt x="1740" y="21"/>
                  <a:pt x="1743" y="20"/>
                </a:cubicBezTo>
                <a:cubicBezTo>
                  <a:pt x="1743" y="20"/>
                  <a:pt x="1743" y="20"/>
                  <a:pt x="1743" y="79"/>
                </a:cubicBezTo>
                <a:cubicBezTo>
                  <a:pt x="1743" y="79"/>
                  <a:pt x="1743" y="79"/>
                  <a:pt x="1754" y="79"/>
                </a:cubicBezTo>
                <a:cubicBezTo>
                  <a:pt x="1754" y="79"/>
                  <a:pt x="1754" y="79"/>
                  <a:pt x="1754" y="5"/>
                </a:cubicBezTo>
                <a:close/>
                <a:moveTo>
                  <a:pt x="1628" y="4"/>
                </a:moveTo>
                <a:cubicBezTo>
                  <a:pt x="1628" y="4"/>
                  <a:pt x="1628" y="4"/>
                  <a:pt x="1628" y="4"/>
                </a:cubicBezTo>
                <a:cubicBezTo>
                  <a:pt x="1623" y="4"/>
                  <a:pt x="1623" y="4"/>
                  <a:pt x="1623" y="4"/>
                </a:cubicBezTo>
                <a:cubicBezTo>
                  <a:pt x="1621" y="6"/>
                  <a:pt x="1620" y="7"/>
                  <a:pt x="1618" y="8"/>
                </a:cubicBezTo>
                <a:cubicBezTo>
                  <a:pt x="1616" y="9"/>
                  <a:pt x="1614" y="10"/>
                  <a:pt x="1613" y="11"/>
                </a:cubicBezTo>
                <a:cubicBezTo>
                  <a:pt x="1611" y="12"/>
                  <a:pt x="1609" y="13"/>
                  <a:pt x="1607" y="14"/>
                </a:cubicBezTo>
                <a:cubicBezTo>
                  <a:pt x="1605" y="14"/>
                  <a:pt x="1604" y="15"/>
                  <a:pt x="1602" y="15"/>
                </a:cubicBezTo>
                <a:cubicBezTo>
                  <a:pt x="1602" y="15"/>
                  <a:pt x="1602" y="15"/>
                  <a:pt x="1602" y="25"/>
                </a:cubicBezTo>
                <a:cubicBezTo>
                  <a:pt x="1605" y="25"/>
                  <a:pt x="1607" y="24"/>
                  <a:pt x="1610" y="22"/>
                </a:cubicBezTo>
                <a:cubicBezTo>
                  <a:pt x="1613" y="22"/>
                  <a:pt x="1615" y="20"/>
                  <a:pt x="1617" y="19"/>
                </a:cubicBezTo>
                <a:cubicBezTo>
                  <a:pt x="1617" y="19"/>
                  <a:pt x="1617" y="19"/>
                  <a:pt x="1617" y="78"/>
                </a:cubicBezTo>
                <a:cubicBezTo>
                  <a:pt x="1617" y="78"/>
                  <a:pt x="1617" y="78"/>
                  <a:pt x="1628" y="78"/>
                </a:cubicBezTo>
                <a:cubicBezTo>
                  <a:pt x="1628" y="78"/>
                  <a:pt x="1628" y="78"/>
                  <a:pt x="1628" y="4"/>
                </a:cubicBezTo>
                <a:close/>
                <a:moveTo>
                  <a:pt x="3370" y="38"/>
                </a:moveTo>
                <a:cubicBezTo>
                  <a:pt x="3370" y="38"/>
                  <a:pt x="3370" y="38"/>
                  <a:pt x="3370" y="38"/>
                </a:cubicBezTo>
                <a:cubicBezTo>
                  <a:pt x="3369" y="47"/>
                  <a:pt x="3369" y="47"/>
                  <a:pt x="3369" y="47"/>
                </a:cubicBezTo>
                <a:cubicBezTo>
                  <a:pt x="3376" y="47"/>
                  <a:pt x="3377" y="50"/>
                  <a:pt x="3377" y="53"/>
                </a:cubicBezTo>
                <a:cubicBezTo>
                  <a:pt x="3377" y="55"/>
                  <a:pt x="3376" y="57"/>
                  <a:pt x="3376" y="60"/>
                </a:cubicBezTo>
                <a:cubicBezTo>
                  <a:pt x="3376" y="62"/>
                  <a:pt x="3375" y="65"/>
                  <a:pt x="3375" y="67"/>
                </a:cubicBezTo>
                <a:cubicBezTo>
                  <a:pt x="3375" y="76"/>
                  <a:pt x="3382" y="80"/>
                  <a:pt x="3390" y="80"/>
                </a:cubicBezTo>
                <a:cubicBezTo>
                  <a:pt x="3390" y="80"/>
                  <a:pt x="3390" y="80"/>
                  <a:pt x="3394" y="80"/>
                </a:cubicBezTo>
                <a:cubicBezTo>
                  <a:pt x="3394" y="80"/>
                  <a:pt x="3394" y="80"/>
                  <a:pt x="3394" y="71"/>
                </a:cubicBezTo>
                <a:cubicBezTo>
                  <a:pt x="3394" y="71"/>
                  <a:pt x="3394" y="71"/>
                  <a:pt x="3392" y="71"/>
                </a:cubicBezTo>
                <a:cubicBezTo>
                  <a:pt x="3389" y="71"/>
                  <a:pt x="3388" y="68"/>
                  <a:pt x="3388" y="65"/>
                </a:cubicBezTo>
                <a:cubicBezTo>
                  <a:pt x="3388" y="63"/>
                  <a:pt x="3388" y="62"/>
                  <a:pt x="3388" y="60"/>
                </a:cubicBezTo>
                <a:cubicBezTo>
                  <a:pt x="3388" y="58"/>
                  <a:pt x="3388" y="56"/>
                  <a:pt x="3388" y="54"/>
                </a:cubicBezTo>
                <a:cubicBezTo>
                  <a:pt x="3388" y="46"/>
                  <a:pt x="3385" y="44"/>
                  <a:pt x="3380" y="43"/>
                </a:cubicBezTo>
                <a:cubicBezTo>
                  <a:pt x="3380" y="43"/>
                  <a:pt x="3380" y="43"/>
                  <a:pt x="3380" y="42"/>
                </a:cubicBezTo>
                <a:cubicBezTo>
                  <a:pt x="3385" y="41"/>
                  <a:pt x="3388" y="39"/>
                  <a:pt x="3388" y="31"/>
                </a:cubicBezTo>
                <a:cubicBezTo>
                  <a:pt x="3388" y="29"/>
                  <a:pt x="3388" y="27"/>
                  <a:pt x="3388" y="25"/>
                </a:cubicBezTo>
                <a:cubicBezTo>
                  <a:pt x="3388" y="23"/>
                  <a:pt x="3388" y="22"/>
                  <a:pt x="3388" y="20"/>
                </a:cubicBezTo>
                <a:cubicBezTo>
                  <a:pt x="3388" y="17"/>
                  <a:pt x="3389" y="15"/>
                  <a:pt x="3392" y="15"/>
                </a:cubicBezTo>
                <a:cubicBezTo>
                  <a:pt x="3392" y="15"/>
                  <a:pt x="3392" y="15"/>
                  <a:pt x="3394" y="15"/>
                </a:cubicBezTo>
                <a:cubicBezTo>
                  <a:pt x="3394" y="15"/>
                  <a:pt x="3394" y="15"/>
                  <a:pt x="3394" y="5"/>
                </a:cubicBezTo>
                <a:cubicBezTo>
                  <a:pt x="3394" y="5"/>
                  <a:pt x="3394" y="5"/>
                  <a:pt x="3390" y="5"/>
                </a:cubicBezTo>
                <a:cubicBezTo>
                  <a:pt x="3381" y="5"/>
                  <a:pt x="3375" y="9"/>
                  <a:pt x="3375" y="18"/>
                </a:cubicBezTo>
                <a:cubicBezTo>
                  <a:pt x="3375" y="20"/>
                  <a:pt x="3376" y="23"/>
                  <a:pt x="3376" y="25"/>
                </a:cubicBezTo>
                <a:cubicBezTo>
                  <a:pt x="3376" y="28"/>
                  <a:pt x="3377" y="30"/>
                  <a:pt x="3377" y="32"/>
                </a:cubicBezTo>
                <a:cubicBezTo>
                  <a:pt x="3377" y="35"/>
                  <a:pt x="3376" y="38"/>
                  <a:pt x="3370" y="38"/>
                </a:cubicBezTo>
                <a:close/>
                <a:moveTo>
                  <a:pt x="3425" y="47"/>
                </a:moveTo>
                <a:cubicBezTo>
                  <a:pt x="3425" y="47"/>
                  <a:pt x="3425" y="47"/>
                  <a:pt x="3425" y="47"/>
                </a:cubicBezTo>
                <a:cubicBezTo>
                  <a:pt x="3425" y="38"/>
                  <a:pt x="3425" y="38"/>
                  <a:pt x="3425" y="38"/>
                </a:cubicBezTo>
                <a:cubicBezTo>
                  <a:pt x="3418" y="38"/>
                  <a:pt x="3418" y="35"/>
                  <a:pt x="3418" y="32"/>
                </a:cubicBezTo>
                <a:cubicBezTo>
                  <a:pt x="3418" y="30"/>
                  <a:pt x="3418" y="28"/>
                  <a:pt x="3418" y="25"/>
                </a:cubicBezTo>
                <a:cubicBezTo>
                  <a:pt x="3419" y="23"/>
                  <a:pt x="3419" y="20"/>
                  <a:pt x="3419" y="18"/>
                </a:cubicBezTo>
                <a:cubicBezTo>
                  <a:pt x="3419" y="9"/>
                  <a:pt x="3414" y="5"/>
                  <a:pt x="3404" y="5"/>
                </a:cubicBezTo>
                <a:cubicBezTo>
                  <a:pt x="3404" y="5"/>
                  <a:pt x="3404" y="5"/>
                  <a:pt x="3401" y="5"/>
                </a:cubicBezTo>
                <a:cubicBezTo>
                  <a:pt x="3401" y="5"/>
                  <a:pt x="3401" y="5"/>
                  <a:pt x="3401" y="15"/>
                </a:cubicBezTo>
                <a:cubicBezTo>
                  <a:pt x="3401" y="15"/>
                  <a:pt x="3401" y="15"/>
                  <a:pt x="3402" y="15"/>
                </a:cubicBezTo>
                <a:cubicBezTo>
                  <a:pt x="3406" y="15"/>
                  <a:pt x="3407" y="17"/>
                  <a:pt x="3407" y="20"/>
                </a:cubicBezTo>
                <a:cubicBezTo>
                  <a:pt x="3407" y="22"/>
                  <a:pt x="3407" y="23"/>
                  <a:pt x="3407" y="25"/>
                </a:cubicBezTo>
                <a:cubicBezTo>
                  <a:pt x="3407" y="27"/>
                  <a:pt x="3407" y="29"/>
                  <a:pt x="3407" y="31"/>
                </a:cubicBezTo>
                <a:cubicBezTo>
                  <a:pt x="3407" y="39"/>
                  <a:pt x="3409" y="41"/>
                  <a:pt x="3415" y="42"/>
                </a:cubicBezTo>
                <a:cubicBezTo>
                  <a:pt x="3415" y="42"/>
                  <a:pt x="3415" y="42"/>
                  <a:pt x="3415" y="43"/>
                </a:cubicBezTo>
                <a:cubicBezTo>
                  <a:pt x="3409" y="44"/>
                  <a:pt x="3407" y="46"/>
                  <a:pt x="3407" y="54"/>
                </a:cubicBezTo>
                <a:cubicBezTo>
                  <a:pt x="3407" y="56"/>
                  <a:pt x="3407" y="58"/>
                  <a:pt x="3407" y="60"/>
                </a:cubicBezTo>
                <a:cubicBezTo>
                  <a:pt x="3407" y="62"/>
                  <a:pt x="3407" y="63"/>
                  <a:pt x="3407" y="65"/>
                </a:cubicBezTo>
                <a:cubicBezTo>
                  <a:pt x="3407" y="68"/>
                  <a:pt x="3406" y="71"/>
                  <a:pt x="3402" y="71"/>
                </a:cubicBezTo>
                <a:cubicBezTo>
                  <a:pt x="3402" y="71"/>
                  <a:pt x="3402" y="71"/>
                  <a:pt x="3401" y="71"/>
                </a:cubicBezTo>
                <a:cubicBezTo>
                  <a:pt x="3401" y="71"/>
                  <a:pt x="3401" y="71"/>
                  <a:pt x="3401" y="80"/>
                </a:cubicBezTo>
                <a:cubicBezTo>
                  <a:pt x="3401" y="80"/>
                  <a:pt x="3401" y="80"/>
                  <a:pt x="3404" y="80"/>
                </a:cubicBezTo>
                <a:cubicBezTo>
                  <a:pt x="3413" y="80"/>
                  <a:pt x="3419" y="76"/>
                  <a:pt x="3419" y="67"/>
                </a:cubicBezTo>
                <a:cubicBezTo>
                  <a:pt x="3419" y="65"/>
                  <a:pt x="3419" y="62"/>
                  <a:pt x="3418" y="60"/>
                </a:cubicBezTo>
                <a:cubicBezTo>
                  <a:pt x="3418" y="57"/>
                  <a:pt x="3418" y="55"/>
                  <a:pt x="3418" y="53"/>
                </a:cubicBezTo>
                <a:cubicBezTo>
                  <a:pt x="3418" y="50"/>
                  <a:pt x="3418" y="47"/>
                  <a:pt x="3425" y="47"/>
                </a:cubicBezTo>
                <a:close/>
                <a:moveTo>
                  <a:pt x="3472" y="6"/>
                </a:moveTo>
                <a:cubicBezTo>
                  <a:pt x="3472" y="6"/>
                  <a:pt x="3472" y="6"/>
                  <a:pt x="3472" y="6"/>
                </a:cubicBezTo>
                <a:cubicBezTo>
                  <a:pt x="3467" y="6"/>
                  <a:pt x="3467" y="6"/>
                  <a:pt x="3467" y="6"/>
                </a:cubicBezTo>
                <a:cubicBezTo>
                  <a:pt x="3464" y="8"/>
                  <a:pt x="3463" y="9"/>
                  <a:pt x="3461" y="10"/>
                </a:cubicBezTo>
                <a:cubicBezTo>
                  <a:pt x="3459" y="11"/>
                  <a:pt x="3457" y="12"/>
                  <a:pt x="3455" y="13"/>
                </a:cubicBezTo>
                <a:cubicBezTo>
                  <a:pt x="3453" y="13"/>
                  <a:pt x="3452" y="14"/>
                  <a:pt x="3450" y="15"/>
                </a:cubicBezTo>
                <a:cubicBezTo>
                  <a:pt x="3448" y="16"/>
                  <a:pt x="3447" y="16"/>
                  <a:pt x="3444" y="17"/>
                </a:cubicBezTo>
                <a:cubicBezTo>
                  <a:pt x="3444" y="17"/>
                  <a:pt x="3444" y="17"/>
                  <a:pt x="3444" y="27"/>
                </a:cubicBezTo>
                <a:cubicBezTo>
                  <a:pt x="3447" y="26"/>
                  <a:pt x="3450" y="25"/>
                  <a:pt x="3452" y="24"/>
                </a:cubicBezTo>
                <a:cubicBezTo>
                  <a:pt x="3455" y="24"/>
                  <a:pt x="3458" y="22"/>
                  <a:pt x="3460" y="21"/>
                </a:cubicBezTo>
                <a:cubicBezTo>
                  <a:pt x="3460" y="21"/>
                  <a:pt x="3460" y="21"/>
                  <a:pt x="3460" y="80"/>
                </a:cubicBezTo>
                <a:cubicBezTo>
                  <a:pt x="3460" y="80"/>
                  <a:pt x="3460" y="80"/>
                  <a:pt x="3472" y="80"/>
                </a:cubicBezTo>
                <a:cubicBezTo>
                  <a:pt x="3472" y="80"/>
                  <a:pt x="3472" y="80"/>
                  <a:pt x="3472" y="6"/>
                </a:cubicBezTo>
                <a:close/>
                <a:moveTo>
                  <a:pt x="3518" y="6"/>
                </a:moveTo>
                <a:cubicBezTo>
                  <a:pt x="3518" y="6"/>
                  <a:pt x="3518" y="6"/>
                  <a:pt x="3518" y="6"/>
                </a:cubicBezTo>
                <a:cubicBezTo>
                  <a:pt x="3513" y="6"/>
                  <a:pt x="3513" y="6"/>
                  <a:pt x="3513" y="6"/>
                </a:cubicBezTo>
                <a:cubicBezTo>
                  <a:pt x="3511" y="8"/>
                  <a:pt x="3509" y="9"/>
                  <a:pt x="3507" y="10"/>
                </a:cubicBezTo>
                <a:cubicBezTo>
                  <a:pt x="3506" y="11"/>
                  <a:pt x="3504" y="12"/>
                  <a:pt x="3502" y="13"/>
                </a:cubicBezTo>
                <a:cubicBezTo>
                  <a:pt x="3501" y="14"/>
                  <a:pt x="3499" y="15"/>
                  <a:pt x="3497" y="16"/>
                </a:cubicBezTo>
                <a:cubicBezTo>
                  <a:pt x="3495" y="16"/>
                  <a:pt x="3494" y="17"/>
                  <a:pt x="3491" y="17"/>
                </a:cubicBezTo>
                <a:cubicBezTo>
                  <a:pt x="3491" y="17"/>
                  <a:pt x="3491" y="17"/>
                  <a:pt x="3491" y="27"/>
                </a:cubicBezTo>
                <a:cubicBezTo>
                  <a:pt x="3494" y="26"/>
                  <a:pt x="3497" y="26"/>
                  <a:pt x="3499" y="24"/>
                </a:cubicBezTo>
                <a:cubicBezTo>
                  <a:pt x="3502" y="24"/>
                  <a:pt x="3504" y="22"/>
                  <a:pt x="3506" y="21"/>
                </a:cubicBezTo>
                <a:cubicBezTo>
                  <a:pt x="3506" y="21"/>
                  <a:pt x="3506" y="21"/>
                  <a:pt x="3506" y="80"/>
                </a:cubicBezTo>
                <a:cubicBezTo>
                  <a:pt x="3506" y="80"/>
                  <a:pt x="3506" y="80"/>
                  <a:pt x="3518" y="80"/>
                </a:cubicBezTo>
                <a:cubicBezTo>
                  <a:pt x="3518" y="80"/>
                  <a:pt x="3518" y="80"/>
                  <a:pt x="3518" y="6"/>
                </a:cubicBezTo>
                <a:close/>
                <a:moveTo>
                  <a:pt x="3564" y="6"/>
                </a:moveTo>
                <a:cubicBezTo>
                  <a:pt x="3564" y="6"/>
                  <a:pt x="3564" y="6"/>
                  <a:pt x="3564" y="6"/>
                </a:cubicBezTo>
                <a:cubicBezTo>
                  <a:pt x="3560" y="6"/>
                  <a:pt x="3560" y="6"/>
                  <a:pt x="3560" y="6"/>
                </a:cubicBezTo>
                <a:cubicBezTo>
                  <a:pt x="3557" y="8"/>
                  <a:pt x="3556" y="9"/>
                  <a:pt x="3554" y="10"/>
                </a:cubicBezTo>
                <a:cubicBezTo>
                  <a:pt x="3552" y="11"/>
                  <a:pt x="3550" y="12"/>
                  <a:pt x="3549" y="13"/>
                </a:cubicBezTo>
                <a:cubicBezTo>
                  <a:pt x="3547" y="14"/>
                  <a:pt x="3545" y="15"/>
                  <a:pt x="3543" y="16"/>
                </a:cubicBezTo>
                <a:cubicBezTo>
                  <a:pt x="3542" y="16"/>
                  <a:pt x="3539" y="17"/>
                  <a:pt x="3538" y="17"/>
                </a:cubicBezTo>
                <a:cubicBezTo>
                  <a:pt x="3538" y="17"/>
                  <a:pt x="3538" y="17"/>
                  <a:pt x="3538" y="27"/>
                </a:cubicBezTo>
                <a:cubicBezTo>
                  <a:pt x="3541" y="26"/>
                  <a:pt x="3544" y="26"/>
                  <a:pt x="3546" y="24"/>
                </a:cubicBezTo>
                <a:cubicBezTo>
                  <a:pt x="3548" y="24"/>
                  <a:pt x="3551" y="22"/>
                  <a:pt x="3552" y="21"/>
                </a:cubicBezTo>
                <a:cubicBezTo>
                  <a:pt x="3552" y="21"/>
                  <a:pt x="3552" y="21"/>
                  <a:pt x="3552" y="80"/>
                </a:cubicBezTo>
                <a:cubicBezTo>
                  <a:pt x="3552" y="80"/>
                  <a:pt x="3552" y="80"/>
                  <a:pt x="3564" y="80"/>
                </a:cubicBezTo>
                <a:cubicBezTo>
                  <a:pt x="3564" y="80"/>
                  <a:pt x="3564" y="80"/>
                  <a:pt x="3564" y="6"/>
                </a:cubicBezTo>
                <a:close/>
                <a:moveTo>
                  <a:pt x="3609" y="6"/>
                </a:moveTo>
                <a:cubicBezTo>
                  <a:pt x="3609" y="6"/>
                  <a:pt x="3609" y="6"/>
                  <a:pt x="3609" y="6"/>
                </a:cubicBezTo>
                <a:cubicBezTo>
                  <a:pt x="3605" y="6"/>
                  <a:pt x="3605" y="6"/>
                  <a:pt x="3605" y="6"/>
                </a:cubicBezTo>
                <a:cubicBezTo>
                  <a:pt x="3603" y="8"/>
                  <a:pt x="3602" y="9"/>
                  <a:pt x="3599" y="10"/>
                </a:cubicBezTo>
                <a:cubicBezTo>
                  <a:pt x="3598" y="11"/>
                  <a:pt x="3596" y="12"/>
                  <a:pt x="3594" y="13"/>
                </a:cubicBezTo>
                <a:cubicBezTo>
                  <a:pt x="3592" y="14"/>
                  <a:pt x="3591" y="15"/>
                  <a:pt x="3589" y="16"/>
                </a:cubicBezTo>
                <a:cubicBezTo>
                  <a:pt x="3587" y="16"/>
                  <a:pt x="3585" y="17"/>
                  <a:pt x="3584" y="17"/>
                </a:cubicBezTo>
                <a:cubicBezTo>
                  <a:pt x="3584" y="17"/>
                  <a:pt x="3584" y="17"/>
                  <a:pt x="3584" y="27"/>
                </a:cubicBezTo>
                <a:cubicBezTo>
                  <a:pt x="3586" y="26"/>
                  <a:pt x="3589" y="26"/>
                  <a:pt x="3591" y="24"/>
                </a:cubicBezTo>
                <a:cubicBezTo>
                  <a:pt x="3594" y="24"/>
                  <a:pt x="3596" y="22"/>
                  <a:pt x="3598" y="21"/>
                </a:cubicBezTo>
                <a:cubicBezTo>
                  <a:pt x="3598" y="21"/>
                  <a:pt x="3598" y="21"/>
                  <a:pt x="3598" y="80"/>
                </a:cubicBezTo>
                <a:cubicBezTo>
                  <a:pt x="3598" y="80"/>
                  <a:pt x="3598" y="80"/>
                  <a:pt x="3609" y="80"/>
                </a:cubicBezTo>
                <a:cubicBezTo>
                  <a:pt x="3609" y="80"/>
                  <a:pt x="3609" y="80"/>
                  <a:pt x="3609" y="6"/>
                </a:cubicBezTo>
                <a:close/>
                <a:moveTo>
                  <a:pt x="3630" y="38"/>
                </a:moveTo>
                <a:cubicBezTo>
                  <a:pt x="3630" y="38"/>
                  <a:pt x="3630" y="38"/>
                  <a:pt x="3630" y="38"/>
                </a:cubicBezTo>
                <a:cubicBezTo>
                  <a:pt x="3630" y="47"/>
                  <a:pt x="3630" y="47"/>
                  <a:pt x="3630" y="47"/>
                </a:cubicBezTo>
                <a:cubicBezTo>
                  <a:pt x="3636" y="47"/>
                  <a:pt x="3637" y="50"/>
                  <a:pt x="3637" y="53"/>
                </a:cubicBezTo>
                <a:cubicBezTo>
                  <a:pt x="3637" y="55"/>
                  <a:pt x="3636" y="57"/>
                  <a:pt x="3636" y="60"/>
                </a:cubicBezTo>
                <a:cubicBezTo>
                  <a:pt x="3636" y="62"/>
                  <a:pt x="3636" y="65"/>
                  <a:pt x="3636" y="67"/>
                </a:cubicBezTo>
                <a:cubicBezTo>
                  <a:pt x="3636" y="76"/>
                  <a:pt x="3641" y="80"/>
                  <a:pt x="3650" y="80"/>
                </a:cubicBezTo>
                <a:cubicBezTo>
                  <a:pt x="3650" y="80"/>
                  <a:pt x="3650" y="80"/>
                  <a:pt x="3654" y="80"/>
                </a:cubicBezTo>
                <a:cubicBezTo>
                  <a:pt x="3654" y="80"/>
                  <a:pt x="3654" y="80"/>
                  <a:pt x="3654" y="71"/>
                </a:cubicBezTo>
                <a:cubicBezTo>
                  <a:pt x="3654" y="71"/>
                  <a:pt x="3654" y="71"/>
                  <a:pt x="3652" y="71"/>
                </a:cubicBezTo>
                <a:cubicBezTo>
                  <a:pt x="3648" y="71"/>
                  <a:pt x="3647" y="68"/>
                  <a:pt x="3647" y="65"/>
                </a:cubicBezTo>
                <a:cubicBezTo>
                  <a:pt x="3647" y="63"/>
                  <a:pt x="3647" y="62"/>
                  <a:pt x="3648" y="60"/>
                </a:cubicBezTo>
                <a:cubicBezTo>
                  <a:pt x="3648" y="58"/>
                  <a:pt x="3648" y="56"/>
                  <a:pt x="3648" y="54"/>
                </a:cubicBezTo>
                <a:cubicBezTo>
                  <a:pt x="3648" y="46"/>
                  <a:pt x="3645" y="44"/>
                  <a:pt x="3640" y="43"/>
                </a:cubicBezTo>
                <a:cubicBezTo>
                  <a:pt x="3640" y="43"/>
                  <a:pt x="3640" y="43"/>
                  <a:pt x="3640" y="42"/>
                </a:cubicBezTo>
                <a:cubicBezTo>
                  <a:pt x="3645" y="41"/>
                  <a:pt x="3648" y="39"/>
                  <a:pt x="3648" y="31"/>
                </a:cubicBezTo>
                <a:cubicBezTo>
                  <a:pt x="3648" y="29"/>
                  <a:pt x="3648" y="27"/>
                  <a:pt x="3648" y="25"/>
                </a:cubicBezTo>
                <a:cubicBezTo>
                  <a:pt x="3647" y="23"/>
                  <a:pt x="3647" y="22"/>
                  <a:pt x="3647" y="20"/>
                </a:cubicBezTo>
                <a:cubicBezTo>
                  <a:pt x="3647" y="17"/>
                  <a:pt x="3648" y="15"/>
                  <a:pt x="3652" y="15"/>
                </a:cubicBezTo>
                <a:cubicBezTo>
                  <a:pt x="3652" y="15"/>
                  <a:pt x="3652" y="15"/>
                  <a:pt x="3654" y="15"/>
                </a:cubicBezTo>
                <a:cubicBezTo>
                  <a:pt x="3654" y="15"/>
                  <a:pt x="3654" y="15"/>
                  <a:pt x="3654" y="5"/>
                </a:cubicBezTo>
                <a:cubicBezTo>
                  <a:pt x="3654" y="5"/>
                  <a:pt x="3654" y="5"/>
                  <a:pt x="3650" y="5"/>
                </a:cubicBezTo>
                <a:cubicBezTo>
                  <a:pt x="3641" y="5"/>
                  <a:pt x="3636" y="9"/>
                  <a:pt x="3636" y="18"/>
                </a:cubicBezTo>
                <a:cubicBezTo>
                  <a:pt x="3636" y="20"/>
                  <a:pt x="3636" y="23"/>
                  <a:pt x="3636" y="25"/>
                </a:cubicBezTo>
                <a:cubicBezTo>
                  <a:pt x="3636" y="28"/>
                  <a:pt x="3637" y="30"/>
                  <a:pt x="3637" y="32"/>
                </a:cubicBezTo>
                <a:cubicBezTo>
                  <a:pt x="3637" y="35"/>
                  <a:pt x="3636" y="38"/>
                  <a:pt x="3630" y="38"/>
                </a:cubicBezTo>
                <a:close/>
                <a:moveTo>
                  <a:pt x="89" y="2177"/>
                </a:moveTo>
                <a:cubicBezTo>
                  <a:pt x="81" y="2177"/>
                  <a:pt x="75" y="2174"/>
                  <a:pt x="70" y="2168"/>
                </a:cubicBezTo>
                <a:cubicBezTo>
                  <a:pt x="67" y="2162"/>
                  <a:pt x="65" y="2153"/>
                  <a:pt x="65" y="2141"/>
                </a:cubicBezTo>
                <a:cubicBezTo>
                  <a:pt x="65" y="2128"/>
                  <a:pt x="67" y="2118"/>
                  <a:pt x="71" y="2112"/>
                </a:cubicBezTo>
                <a:cubicBezTo>
                  <a:pt x="76" y="2105"/>
                  <a:pt x="82" y="2101"/>
                  <a:pt x="91" y="2101"/>
                </a:cubicBezTo>
                <a:cubicBezTo>
                  <a:pt x="107" y="2101"/>
                  <a:pt x="115" y="2114"/>
                  <a:pt x="115" y="2139"/>
                </a:cubicBezTo>
                <a:cubicBezTo>
                  <a:pt x="115" y="2152"/>
                  <a:pt x="113" y="2161"/>
                  <a:pt x="108" y="2168"/>
                </a:cubicBezTo>
                <a:cubicBezTo>
                  <a:pt x="103" y="2174"/>
                  <a:pt x="97" y="2177"/>
                  <a:pt x="89" y="2177"/>
                </a:cubicBezTo>
                <a:close/>
                <a:moveTo>
                  <a:pt x="90" y="2111"/>
                </a:moveTo>
                <a:cubicBezTo>
                  <a:pt x="81" y="2111"/>
                  <a:pt x="76" y="2121"/>
                  <a:pt x="76" y="2141"/>
                </a:cubicBezTo>
                <a:cubicBezTo>
                  <a:pt x="76" y="2159"/>
                  <a:pt x="81" y="2168"/>
                  <a:pt x="89" y="2168"/>
                </a:cubicBezTo>
                <a:cubicBezTo>
                  <a:pt x="98" y="2168"/>
                  <a:pt x="103" y="2159"/>
                  <a:pt x="103" y="2140"/>
                </a:cubicBezTo>
                <a:cubicBezTo>
                  <a:pt x="103" y="2120"/>
                  <a:pt x="98" y="2111"/>
                  <a:pt x="90" y="2111"/>
                </a:cubicBezTo>
                <a:close/>
                <a:moveTo>
                  <a:pt x="163" y="2104"/>
                </a:moveTo>
                <a:cubicBezTo>
                  <a:pt x="163" y="2104"/>
                  <a:pt x="163" y="2104"/>
                  <a:pt x="163" y="2104"/>
                </a:cubicBezTo>
                <a:cubicBezTo>
                  <a:pt x="157" y="2104"/>
                  <a:pt x="157" y="2104"/>
                  <a:pt x="157" y="2104"/>
                </a:cubicBezTo>
                <a:cubicBezTo>
                  <a:pt x="155" y="2105"/>
                  <a:pt x="154" y="2107"/>
                  <a:pt x="152" y="2107"/>
                </a:cubicBezTo>
                <a:cubicBezTo>
                  <a:pt x="150" y="2109"/>
                  <a:pt x="148" y="2110"/>
                  <a:pt x="147" y="2110"/>
                </a:cubicBezTo>
                <a:cubicBezTo>
                  <a:pt x="144" y="2111"/>
                  <a:pt x="143" y="2112"/>
                  <a:pt x="142" y="2112"/>
                </a:cubicBezTo>
                <a:cubicBezTo>
                  <a:pt x="139" y="2113"/>
                  <a:pt x="138" y="2114"/>
                  <a:pt x="136" y="2115"/>
                </a:cubicBezTo>
                <a:cubicBezTo>
                  <a:pt x="136" y="2115"/>
                  <a:pt x="136" y="2115"/>
                  <a:pt x="136" y="2125"/>
                </a:cubicBezTo>
                <a:cubicBezTo>
                  <a:pt x="139" y="2124"/>
                  <a:pt x="142" y="2123"/>
                  <a:pt x="144" y="2122"/>
                </a:cubicBezTo>
                <a:cubicBezTo>
                  <a:pt x="147" y="2121"/>
                  <a:pt x="149" y="2120"/>
                  <a:pt x="151" y="2118"/>
                </a:cubicBezTo>
                <a:cubicBezTo>
                  <a:pt x="151" y="2118"/>
                  <a:pt x="151" y="2118"/>
                  <a:pt x="151" y="2177"/>
                </a:cubicBezTo>
                <a:cubicBezTo>
                  <a:pt x="151" y="2177"/>
                  <a:pt x="151" y="2177"/>
                  <a:pt x="163" y="2177"/>
                </a:cubicBezTo>
                <a:cubicBezTo>
                  <a:pt x="163" y="2177"/>
                  <a:pt x="163" y="2177"/>
                  <a:pt x="163" y="2104"/>
                </a:cubicBezTo>
                <a:close/>
                <a:moveTo>
                  <a:pt x="210" y="2104"/>
                </a:moveTo>
                <a:cubicBezTo>
                  <a:pt x="210" y="2104"/>
                  <a:pt x="210" y="2104"/>
                  <a:pt x="210" y="2104"/>
                </a:cubicBezTo>
                <a:cubicBezTo>
                  <a:pt x="205" y="2104"/>
                  <a:pt x="205" y="2104"/>
                  <a:pt x="205" y="2104"/>
                </a:cubicBezTo>
                <a:cubicBezTo>
                  <a:pt x="202" y="2105"/>
                  <a:pt x="201" y="2107"/>
                  <a:pt x="199" y="2107"/>
                </a:cubicBezTo>
                <a:cubicBezTo>
                  <a:pt x="197" y="2109"/>
                  <a:pt x="195" y="2110"/>
                  <a:pt x="194" y="2110"/>
                </a:cubicBezTo>
                <a:cubicBezTo>
                  <a:pt x="192" y="2112"/>
                  <a:pt x="190" y="2112"/>
                  <a:pt x="189" y="2113"/>
                </a:cubicBezTo>
                <a:cubicBezTo>
                  <a:pt x="187" y="2114"/>
                  <a:pt x="185" y="2115"/>
                  <a:pt x="183" y="2115"/>
                </a:cubicBezTo>
                <a:cubicBezTo>
                  <a:pt x="183" y="2115"/>
                  <a:pt x="183" y="2115"/>
                  <a:pt x="183" y="2125"/>
                </a:cubicBezTo>
                <a:cubicBezTo>
                  <a:pt x="186" y="2124"/>
                  <a:pt x="189" y="2123"/>
                  <a:pt x="191" y="2122"/>
                </a:cubicBezTo>
                <a:cubicBezTo>
                  <a:pt x="194" y="2121"/>
                  <a:pt x="196" y="2120"/>
                  <a:pt x="198" y="2118"/>
                </a:cubicBezTo>
                <a:cubicBezTo>
                  <a:pt x="198" y="2118"/>
                  <a:pt x="198" y="2118"/>
                  <a:pt x="198" y="2177"/>
                </a:cubicBezTo>
                <a:cubicBezTo>
                  <a:pt x="198" y="2177"/>
                  <a:pt x="198" y="2177"/>
                  <a:pt x="210" y="2177"/>
                </a:cubicBezTo>
                <a:cubicBezTo>
                  <a:pt x="210" y="2177"/>
                  <a:pt x="210" y="2177"/>
                  <a:pt x="210" y="2104"/>
                </a:cubicBezTo>
                <a:close/>
                <a:moveTo>
                  <a:pt x="256" y="2104"/>
                </a:moveTo>
                <a:cubicBezTo>
                  <a:pt x="256" y="2104"/>
                  <a:pt x="256" y="2104"/>
                  <a:pt x="256" y="2104"/>
                </a:cubicBezTo>
                <a:cubicBezTo>
                  <a:pt x="252" y="2104"/>
                  <a:pt x="252" y="2104"/>
                  <a:pt x="252" y="2104"/>
                </a:cubicBezTo>
                <a:cubicBezTo>
                  <a:pt x="250" y="2105"/>
                  <a:pt x="248" y="2107"/>
                  <a:pt x="246" y="2107"/>
                </a:cubicBezTo>
                <a:cubicBezTo>
                  <a:pt x="245" y="2109"/>
                  <a:pt x="242" y="2110"/>
                  <a:pt x="241" y="2110"/>
                </a:cubicBezTo>
                <a:cubicBezTo>
                  <a:pt x="239" y="2112"/>
                  <a:pt x="237" y="2112"/>
                  <a:pt x="235" y="2113"/>
                </a:cubicBezTo>
                <a:cubicBezTo>
                  <a:pt x="234" y="2114"/>
                  <a:pt x="232" y="2115"/>
                  <a:pt x="230" y="2115"/>
                </a:cubicBezTo>
                <a:cubicBezTo>
                  <a:pt x="230" y="2115"/>
                  <a:pt x="230" y="2115"/>
                  <a:pt x="230" y="2125"/>
                </a:cubicBezTo>
                <a:cubicBezTo>
                  <a:pt x="233" y="2124"/>
                  <a:pt x="236" y="2123"/>
                  <a:pt x="238" y="2122"/>
                </a:cubicBezTo>
                <a:cubicBezTo>
                  <a:pt x="240" y="2121"/>
                  <a:pt x="243" y="2120"/>
                  <a:pt x="245" y="2118"/>
                </a:cubicBezTo>
                <a:cubicBezTo>
                  <a:pt x="245" y="2118"/>
                  <a:pt x="245" y="2118"/>
                  <a:pt x="245" y="2177"/>
                </a:cubicBezTo>
                <a:cubicBezTo>
                  <a:pt x="245" y="2177"/>
                  <a:pt x="245" y="2177"/>
                  <a:pt x="256" y="2177"/>
                </a:cubicBezTo>
                <a:cubicBezTo>
                  <a:pt x="256" y="2177"/>
                  <a:pt x="256" y="2177"/>
                  <a:pt x="256" y="2104"/>
                </a:cubicBezTo>
                <a:close/>
                <a:moveTo>
                  <a:pt x="304" y="2104"/>
                </a:moveTo>
                <a:cubicBezTo>
                  <a:pt x="304" y="2104"/>
                  <a:pt x="304" y="2104"/>
                  <a:pt x="304" y="2104"/>
                </a:cubicBezTo>
                <a:cubicBezTo>
                  <a:pt x="299" y="2104"/>
                  <a:pt x="299" y="2104"/>
                  <a:pt x="299" y="2104"/>
                </a:cubicBezTo>
                <a:cubicBezTo>
                  <a:pt x="296" y="2105"/>
                  <a:pt x="295" y="2107"/>
                  <a:pt x="293" y="2107"/>
                </a:cubicBezTo>
                <a:cubicBezTo>
                  <a:pt x="291" y="2109"/>
                  <a:pt x="290" y="2110"/>
                  <a:pt x="288" y="2110"/>
                </a:cubicBezTo>
                <a:cubicBezTo>
                  <a:pt x="286" y="2112"/>
                  <a:pt x="284" y="2112"/>
                  <a:pt x="283" y="2113"/>
                </a:cubicBezTo>
                <a:cubicBezTo>
                  <a:pt x="280" y="2114"/>
                  <a:pt x="279" y="2115"/>
                  <a:pt x="277" y="2115"/>
                </a:cubicBezTo>
                <a:cubicBezTo>
                  <a:pt x="277" y="2115"/>
                  <a:pt x="277" y="2115"/>
                  <a:pt x="277" y="2125"/>
                </a:cubicBezTo>
                <a:cubicBezTo>
                  <a:pt x="280" y="2124"/>
                  <a:pt x="283" y="2123"/>
                  <a:pt x="285" y="2122"/>
                </a:cubicBezTo>
                <a:cubicBezTo>
                  <a:pt x="288" y="2121"/>
                  <a:pt x="290" y="2120"/>
                  <a:pt x="292" y="2118"/>
                </a:cubicBezTo>
                <a:cubicBezTo>
                  <a:pt x="292" y="2118"/>
                  <a:pt x="292" y="2118"/>
                  <a:pt x="292" y="2177"/>
                </a:cubicBezTo>
                <a:cubicBezTo>
                  <a:pt x="292" y="2177"/>
                  <a:pt x="292" y="2177"/>
                  <a:pt x="304" y="2177"/>
                </a:cubicBezTo>
                <a:cubicBezTo>
                  <a:pt x="304" y="2177"/>
                  <a:pt x="304" y="2177"/>
                  <a:pt x="304" y="2104"/>
                </a:cubicBezTo>
                <a:close/>
                <a:moveTo>
                  <a:pt x="427" y="2104"/>
                </a:moveTo>
                <a:cubicBezTo>
                  <a:pt x="427" y="2104"/>
                  <a:pt x="427" y="2104"/>
                  <a:pt x="427" y="2104"/>
                </a:cubicBezTo>
                <a:cubicBezTo>
                  <a:pt x="421" y="2104"/>
                  <a:pt x="421" y="2104"/>
                  <a:pt x="421" y="2104"/>
                </a:cubicBezTo>
                <a:cubicBezTo>
                  <a:pt x="419" y="2105"/>
                  <a:pt x="418" y="2107"/>
                  <a:pt x="416" y="2107"/>
                </a:cubicBezTo>
                <a:cubicBezTo>
                  <a:pt x="414" y="2109"/>
                  <a:pt x="413" y="2110"/>
                  <a:pt x="411" y="2110"/>
                </a:cubicBezTo>
                <a:cubicBezTo>
                  <a:pt x="409" y="2112"/>
                  <a:pt x="407" y="2112"/>
                  <a:pt x="406" y="2113"/>
                </a:cubicBezTo>
                <a:cubicBezTo>
                  <a:pt x="403" y="2114"/>
                  <a:pt x="402" y="2115"/>
                  <a:pt x="400" y="2115"/>
                </a:cubicBezTo>
                <a:cubicBezTo>
                  <a:pt x="400" y="2115"/>
                  <a:pt x="400" y="2115"/>
                  <a:pt x="400" y="2125"/>
                </a:cubicBezTo>
                <a:cubicBezTo>
                  <a:pt x="403" y="2124"/>
                  <a:pt x="406" y="2123"/>
                  <a:pt x="408" y="2122"/>
                </a:cubicBezTo>
                <a:cubicBezTo>
                  <a:pt x="411" y="2121"/>
                  <a:pt x="413" y="2120"/>
                  <a:pt x="415" y="2118"/>
                </a:cubicBezTo>
                <a:cubicBezTo>
                  <a:pt x="415" y="2118"/>
                  <a:pt x="415" y="2118"/>
                  <a:pt x="415" y="2177"/>
                </a:cubicBezTo>
                <a:cubicBezTo>
                  <a:pt x="415" y="2177"/>
                  <a:pt x="415" y="2177"/>
                  <a:pt x="427" y="2177"/>
                </a:cubicBezTo>
                <a:cubicBezTo>
                  <a:pt x="427" y="2177"/>
                  <a:pt x="427" y="2177"/>
                  <a:pt x="427" y="2104"/>
                </a:cubicBezTo>
                <a:close/>
                <a:moveTo>
                  <a:pt x="474" y="2104"/>
                </a:moveTo>
                <a:cubicBezTo>
                  <a:pt x="474" y="2104"/>
                  <a:pt x="474" y="2104"/>
                  <a:pt x="474" y="2104"/>
                </a:cubicBezTo>
                <a:cubicBezTo>
                  <a:pt x="469" y="2104"/>
                  <a:pt x="469" y="2104"/>
                  <a:pt x="469" y="2104"/>
                </a:cubicBezTo>
                <a:cubicBezTo>
                  <a:pt x="467" y="2105"/>
                  <a:pt x="465" y="2107"/>
                  <a:pt x="463" y="2107"/>
                </a:cubicBezTo>
                <a:cubicBezTo>
                  <a:pt x="462" y="2109"/>
                  <a:pt x="460" y="2110"/>
                  <a:pt x="458" y="2110"/>
                </a:cubicBezTo>
                <a:cubicBezTo>
                  <a:pt x="457" y="2112"/>
                  <a:pt x="454" y="2112"/>
                  <a:pt x="453" y="2113"/>
                </a:cubicBezTo>
                <a:cubicBezTo>
                  <a:pt x="451" y="2114"/>
                  <a:pt x="449" y="2115"/>
                  <a:pt x="447" y="2115"/>
                </a:cubicBezTo>
                <a:cubicBezTo>
                  <a:pt x="447" y="2115"/>
                  <a:pt x="447" y="2115"/>
                  <a:pt x="447" y="2125"/>
                </a:cubicBezTo>
                <a:cubicBezTo>
                  <a:pt x="450" y="2124"/>
                  <a:pt x="453" y="2123"/>
                  <a:pt x="455" y="2122"/>
                </a:cubicBezTo>
                <a:cubicBezTo>
                  <a:pt x="458" y="2121"/>
                  <a:pt x="460" y="2120"/>
                  <a:pt x="462" y="2118"/>
                </a:cubicBezTo>
                <a:cubicBezTo>
                  <a:pt x="462" y="2118"/>
                  <a:pt x="462" y="2118"/>
                  <a:pt x="462" y="2177"/>
                </a:cubicBezTo>
                <a:cubicBezTo>
                  <a:pt x="462" y="2177"/>
                  <a:pt x="462" y="2177"/>
                  <a:pt x="474" y="2177"/>
                </a:cubicBezTo>
                <a:cubicBezTo>
                  <a:pt x="474" y="2177"/>
                  <a:pt x="474" y="2177"/>
                  <a:pt x="474" y="2104"/>
                </a:cubicBezTo>
                <a:close/>
                <a:moveTo>
                  <a:pt x="522" y="2104"/>
                </a:moveTo>
                <a:cubicBezTo>
                  <a:pt x="522" y="2104"/>
                  <a:pt x="522" y="2104"/>
                  <a:pt x="522" y="2104"/>
                </a:cubicBezTo>
                <a:cubicBezTo>
                  <a:pt x="517" y="2104"/>
                  <a:pt x="517" y="2104"/>
                  <a:pt x="517" y="2104"/>
                </a:cubicBezTo>
                <a:cubicBezTo>
                  <a:pt x="515" y="2105"/>
                  <a:pt x="513" y="2107"/>
                  <a:pt x="511" y="2107"/>
                </a:cubicBezTo>
                <a:cubicBezTo>
                  <a:pt x="509" y="2109"/>
                  <a:pt x="508" y="2110"/>
                  <a:pt x="506" y="2110"/>
                </a:cubicBezTo>
                <a:cubicBezTo>
                  <a:pt x="504" y="2112"/>
                  <a:pt x="502" y="2112"/>
                  <a:pt x="501" y="2113"/>
                </a:cubicBezTo>
                <a:cubicBezTo>
                  <a:pt x="498" y="2114"/>
                  <a:pt x="497" y="2115"/>
                  <a:pt x="495" y="2115"/>
                </a:cubicBezTo>
                <a:cubicBezTo>
                  <a:pt x="495" y="2115"/>
                  <a:pt x="495" y="2115"/>
                  <a:pt x="495" y="2125"/>
                </a:cubicBezTo>
                <a:cubicBezTo>
                  <a:pt x="498" y="2124"/>
                  <a:pt x="501" y="2123"/>
                  <a:pt x="503" y="2122"/>
                </a:cubicBezTo>
                <a:cubicBezTo>
                  <a:pt x="506" y="2121"/>
                  <a:pt x="508" y="2120"/>
                  <a:pt x="510" y="2118"/>
                </a:cubicBezTo>
                <a:cubicBezTo>
                  <a:pt x="510" y="2118"/>
                  <a:pt x="510" y="2118"/>
                  <a:pt x="510" y="2177"/>
                </a:cubicBezTo>
                <a:cubicBezTo>
                  <a:pt x="510" y="2177"/>
                  <a:pt x="510" y="2177"/>
                  <a:pt x="522" y="2177"/>
                </a:cubicBezTo>
                <a:cubicBezTo>
                  <a:pt x="522" y="2177"/>
                  <a:pt x="522" y="2177"/>
                  <a:pt x="522" y="2104"/>
                </a:cubicBezTo>
                <a:close/>
                <a:moveTo>
                  <a:pt x="568" y="2104"/>
                </a:moveTo>
                <a:cubicBezTo>
                  <a:pt x="568" y="2104"/>
                  <a:pt x="568" y="2104"/>
                  <a:pt x="568" y="2104"/>
                </a:cubicBezTo>
                <a:cubicBezTo>
                  <a:pt x="564" y="2104"/>
                  <a:pt x="564" y="2104"/>
                  <a:pt x="564" y="2104"/>
                </a:cubicBezTo>
                <a:cubicBezTo>
                  <a:pt x="562" y="2105"/>
                  <a:pt x="560" y="2107"/>
                  <a:pt x="558" y="2107"/>
                </a:cubicBezTo>
                <a:cubicBezTo>
                  <a:pt x="557" y="2109"/>
                  <a:pt x="554" y="2110"/>
                  <a:pt x="553" y="2110"/>
                </a:cubicBezTo>
                <a:cubicBezTo>
                  <a:pt x="551" y="2111"/>
                  <a:pt x="549" y="2112"/>
                  <a:pt x="547" y="2112"/>
                </a:cubicBezTo>
                <a:cubicBezTo>
                  <a:pt x="546" y="2113"/>
                  <a:pt x="544" y="2114"/>
                  <a:pt x="542" y="2115"/>
                </a:cubicBezTo>
                <a:cubicBezTo>
                  <a:pt x="542" y="2115"/>
                  <a:pt x="542" y="2115"/>
                  <a:pt x="542" y="2125"/>
                </a:cubicBezTo>
                <a:cubicBezTo>
                  <a:pt x="545" y="2124"/>
                  <a:pt x="548" y="2123"/>
                  <a:pt x="550" y="2122"/>
                </a:cubicBezTo>
                <a:cubicBezTo>
                  <a:pt x="552" y="2121"/>
                  <a:pt x="555" y="2120"/>
                  <a:pt x="557" y="2118"/>
                </a:cubicBezTo>
                <a:cubicBezTo>
                  <a:pt x="557" y="2118"/>
                  <a:pt x="557" y="2118"/>
                  <a:pt x="557" y="2177"/>
                </a:cubicBezTo>
                <a:cubicBezTo>
                  <a:pt x="557" y="2177"/>
                  <a:pt x="557" y="2177"/>
                  <a:pt x="568" y="2177"/>
                </a:cubicBezTo>
                <a:cubicBezTo>
                  <a:pt x="568" y="2177"/>
                  <a:pt x="568" y="2177"/>
                  <a:pt x="568" y="2104"/>
                </a:cubicBezTo>
                <a:close/>
                <a:moveTo>
                  <a:pt x="325" y="2136"/>
                </a:moveTo>
                <a:cubicBezTo>
                  <a:pt x="325" y="2136"/>
                  <a:pt x="325" y="2136"/>
                  <a:pt x="325" y="2136"/>
                </a:cubicBezTo>
                <a:cubicBezTo>
                  <a:pt x="324" y="2144"/>
                  <a:pt x="324" y="2144"/>
                  <a:pt x="324" y="2144"/>
                </a:cubicBezTo>
                <a:cubicBezTo>
                  <a:pt x="331" y="2145"/>
                  <a:pt x="331" y="2148"/>
                  <a:pt x="331" y="2150"/>
                </a:cubicBezTo>
                <a:cubicBezTo>
                  <a:pt x="331" y="2152"/>
                  <a:pt x="331" y="2155"/>
                  <a:pt x="331" y="2157"/>
                </a:cubicBezTo>
                <a:cubicBezTo>
                  <a:pt x="331" y="2160"/>
                  <a:pt x="330" y="2162"/>
                  <a:pt x="330" y="2164"/>
                </a:cubicBezTo>
                <a:cubicBezTo>
                  <a:pt x="330" y="2174"/>
                  <a:pt x="336" y="2177"/>
                  <a:pt x="345" y="2177"/>
                </a:cubicBezTo>
                <a:cubicBezTo>
                  <a:pt x="345" y="2177"/>
                  <a:pt x="345" y="2177"/>
                  <a:pt x="348" y="2177"/>
                </a:cubicBezTo>
                <a:cubicBezTo>
                  <a:pt x="348" y="2177"/>
                  <a:pt x="348" y="2177"/>
                  <a:pt x="348" y="2168"/>
                </a:cubicBezTo>
                <a:cubicBezTo>
                  <a:pt x="348" y="2168"/>
                  <a:pt x="348" y="2168"/>
                  <a:pt x="347" y="2168"/>
                </a:cubicBezTo>
                <a:cubicBezTo>
                  <a:pt x="343" y="2168"/>
                  <a:pt x="342" y="2166"/>
                  <a:pt x="342" y="2162"/>
                </a:cubicBezTo>
                <a:cubicBezTo>
                  <a:pt x="342" y="2161"/>
                  <a:pt x="342" y="2159"/>
                  <a:pt x="342" y="2157"/>
                </a:cubicBezTo>
                <a:cubicBezTo>
                  <a:pt x="342" y="2156"/>
                  <a:pt x="343" y="2154"/>
                  <a:pt x="343" y="2151"/>
                </a:cubicBezTo>
                <a:cubicBezTo>
                  <a:pt x="343" y="2144"/>
                  <a:pt x="340" y="2141"/>
                  <a:pt x="334" y="2140"/>
                </a:cubicBezTo>
                <a:cubicBezTo>
                  <a:pt x="334" y="2140"/>
                  <a:pt x="334" y="2140"/>
                  <a:pt x="334" y="2140"/>
                </a:cubicBezTo>
                <a:cubicBezTo>
                  <a:pt x="340" y="2139"/>
                  <a:pt x="343" y="2136"/>
                  <a:pt x="343" y="2129"/>
                </a:cubicBezTo>
                <a:cubicBezTo>
                  <a:pt x="343" y="2126"/>
                  <a:pt x="342" y="2124"/>
                  <a:pt x="342" y="2123"/>
                </a:cubicBezTo>
                <a:cubicBezTo>
                  <a:pt x="342" y="2121"/>
                  <a:pt x="342" y="2119"/>
                  <a:pt x="342" y="2118"/>
                </a:cubicBezTo>
                <a:cubicBezTo>
                  <a:pt x="342" y="2114"/>
                  <a:pt x="343" y="2112"/>
                  <a:pt x="347" y="2112"/>
                </a:cubicBezTo>
                <a:cubicBezTo>
                  <a:pt x="347" y="2112"/>
                  <a:pt x="347" y="2112"/>
                  <a:pt x="348" y="2112"/>
                </a:cubicBezTo>
                <a:cubicBezTo>
                  <a:pt x="348" y="2112"/>
                  <a:pt x="348" y="2112"/>
                  <a:pt x="348" y="2103"/>
                </a:cubicBezTo>
                <a:cubicBezTo>
                  <a:pt x="348" y="2103"/>
                  <a:pt x="348" y="2103"/>
                  <a:pt x="345" y="2103"/>
                </a:cubicBezTo>
                <a:cubicBezTo>
                  <a:pt x="336" y="2103"/>
                  <a:pt x="330" y="2107"/>
                  <a:pt x="330" y="2115"/>
                </a:cubicBezTo>
                <a:cubicBezTo>
                  <a:pt x="330" y="2118"/>
                  <a:pt x="331" y="2120"/>
                  <a:pt x="331" y="2123"/>
                </a:cubicBezTo>
                <a:cubicBezTo>
                  <a:pt x="331" y="2125"/>
                  <a:pt x="331" y="2128"/>
                  <a:pt x="331" y="2130"/>
                </a:cubicBezTo>
                <a:cubicBezTo>
                  <a:pt x="331" y="2132"/>
                  <a:pt x="331" y="2136"/>
                  <a:pt x="325" y="2136"/>
                </a:cubicBezTo>
                <a:close/>
                <a:moveTo>
                  <a:pt x="379" y="2144"/>
                </a:moveTo>
                <a:cubicBezTo>
                  <a:pt x="379" y="2144"/>
                  <a:pt x="379" y="2144"/>
                  <a:pt x="379" y="2144"/>
                </a:cubicBezTo>
                <a:cubicBezTo>
                  <a:pt x="379" y="2136"/>
                  <a:pt x="379" y="2136"/>
                  <a:pt x="379" y="2136"/>
                </a:cubicBezTo>
                <a:cubicBezTo>
                  <a:pt x="373" y="2136"/>
                  <a:pt x="372" y="2132"/>
                  <a:pt x="372" y="2130"/>
                </a:cubicBezTo>
                <a:cubicBezTo>
                  <a:pt x="372" y="2128"/>
                  <a:pt x="372" y="2125"/>
                  <a:pt x="373" y="2123"/>
                </a:cubicBezTo>
                <a:cubicBezTo>
                  <a:pt x="373" y="2120"/>
                  <a:pt x="373" y="2118"/>
                  <a:pt x="373" y="2115"/>
                </a:cubicBezTo>
                <a:cubicBezTo>
                  <a:pt x="373" y="2107"/>
                  <a:pt x="368" y="2103"/>
                  <a:pt x="359" y="2103"/>
                </a:cubicBezTo>
                <a:cubicBezTo>
                  <a:pt x="359" y="2103"/>
                  <a:pt x="359" y="2103"/>
                  <a:pt x="355" y="2103"/>
                </a:cubicBezTo>
                <a:cubicBezTo>
                  <a:pt x="355" y="2103"/>
                  <a:pt x="355" y="2103"/>
                  <a:pt x="355" y="2112"/>
                </a:cubicBezTo>
                <a:cubicBezTo>
                  <a:pt x="355" y="2112"/>
                  <a:pt x="355" y="2112"/>
                  <a:pt x="357" y="2112"/>
                </a:cubicBezTo>
                <a:cubicBezTo>
                  <a:pt x="360" y="2112"/>
                  <a:pt x="362" y="2114"/>
                  <a:pt x="362" y="2118"/>
                </a:cubicBezTo>
                <a:cubicBezTo>
                  <a:pt x="362" y="2119"/>
                  <a:pt x="361" y="2121"/>
                  <a:pt x="361" y="2123"/>
                </a:cubicBezTo>
                <a:cubicBezTo>
                  <a:pt x="361" y="2124"/>
                  <a:pt x="361" y="2126"/>
                  <a:pt x="361" y="2129"/>
                </a:cubicBezTo>
                <a:cubicBezTo>
                  <a:pt x="361" y="2136"/>
                  <a:pt x="364" y="2139"/>
                  <a:pt x="369" y="2140"/>
                </a:cubicBezTo>
                <a:cubicBezTo>
                  <a:pt x="369" y="2140"/>
                  <a:pt x="369" y="2140"/>
                  <a:pt x="369" y="2140"/>
                </a:cubicBezTo>
                <a:cubicBezTo>
                  <a:pt x="364" y="2141"/>
                  <a:pt x="361" y="2144"/>
                  <a:pt x="361" y="2151"/>
                </a:cubicBezTo>
                <a:cubicBezTo>
                  <a:pt x="361" y="2154"/>
                  <a:pt x="361" y="2156"/>
                  <a:pt x="361" y="2157"/>
                </a:cubicBezTo>
                <a:cubicBezTo>
                  <a:pt x="361" y="2159"/>
                  <a:pt x="362" y="2161"/>
                  <a:pt x="362" y="2162"/>
                </a:cubicBezTo>
                <a:cubicBezTo>
                  <a:pt x="362" y="2166"/>
                  <a:pt x="361" y="2168"/>
                  <a:pt x="357" y="2168"/>
                </a:cubicBezTo>
                <a:cubicBezTo>
                  <a:pt x="357" y="2168"/>
                  <a:pt x="357" y="2168"/>
                  <a:pt x="355" y="2168"/>
                </a:cubicBezTo>
                <a:cubicBezTo>
                  <a:pt x="355" y="2168"/>
                  <a:pt x="355" y="2168"/>
                  <a:pt x="355" y="2177"/>
                </a:cubicBezTo>
                <a:cubicBezTo>
                  <a:pt x="355" y="2177"/>
                  <a:pt x="355" y="2177"/>
                  <a:pt x="359" y="2177"/>
                </a:cubicBezTo>
                <a:cubicBezTo>
                  <a:pt x="368" y="2177"/>
                  <a:pt x="373" y="2174"/>
                  <a:pt x="373" y="2164"/>
                </a:cubicBezTo>
                <a:cubicBezTo>
                  <a:pt x="373" y="2162"/>
                  <a:pt x="373" y="2160"/>
                  <a:pt x="373" y="2157"/>
                </a:cubicBezTo>
                <a:cubicBezTo>
                  <a:pt x="372" y="2155"/>
                  <a:pt x="372" y="2152"/>
                  <a:pt x="372" y="2150"/>
                </a:cubicBezTo>
                <a:cubicBezTo>
                  <a:pt x="372" y="2148"/>
                  <a:pt x="373" y="2145"/>
                  <a:pt x="379" y="2144"/>
                </a:cubicBezTo>
                <a:close/>
                <a:moveTo>
                  <a:pt x="706" y="2136"/>
                </a:moveTo>
                <a:cubicBezTo>
                  <a:pt x="706" y="2136"/>
                  <a:pt x="706" y="2136"/>
                  <a:pt x="706" y="2136"/>
                </a:cubicBezTo>
                <a:cubicBezTo>
                  <a:pt x="706" y="2144"/>
                  <a:pt x="706" y="2144"/>
                  <a:pt x="706" y="2144"/>
                </a:cubicBezTo>
                <a:cubicBezTo>
                  <a:pt x="712" y="2145"/>
                  <a:pt x="713" y="2148"/>
                  <a:pt x="713" y="2150"/>
                </a:cubicBezTo>
                <a:cubicBezTo>
                  <a:pt x="713" y="2152"/>
                  <a:pt x="713" y="2155"/>
                  <a:pt x="713" y="2157"/>
                </a:cubicBezTo>
                <a:cubicBezTo>
                  <a:pt x="712" y="2160"/>
                  <a:pt x="712" y="2162"/>
                  <a:pt x="712" y="2164"/>
                </a:cubicBezTo>
                <a:cubicBezTo>
                  <a:pt x="712" y="2174"/>
                  <a:pt x="718" y="2177"/>
                  <a:pt x="726" y="2177"/>
                </a:cubicBezTo>
                <a:cubicBezTo>
                  <a:pt x="726" y="2177"/>
                  <a:pt x="726" y="2177"/>
                  <a:pt x="730" y="2177"/>
                </a:cubicBezTo>
                <a:cubicBezTo>
                  <a:pt x="730" y="2177"/>
                  <a:pt x="730" y="2177"/>
                  <a:pt x="730" y="2168"/>
                </a:cubicBezTo>
                <a:cubicBezTo>
                  <a:pt x="730" y="2168"/>
                  <a:pt x="730" y="2168"/>
                  <a:pt x="728" y="2168"/>
                </a:cubicBezTo>
                <a:cubicBezTo>
                  <a:pt x="725" y="2168"/>
                  <a:pt x="724" y="2166"/>
                  <a:pt x="724" y="2162"/>
                </a:cubicBezTo>
                <a:cubicBezTo>
                  <a:pt x="724" y="2161"/>
                  <a:pt x="724" y="2159"/>
                  <a:pt x="724" y="2157"/>
                </a:cubicBezTo>
                <a:cubicBezTo>
                  <a:pt x="724" y="2156"/>
                  <a:pt x="724" y="2154"/>
                  <a:pt x="724" y="2151"/>
                </a:cubicBezTo>
                <a:cubicBezTo>
                  <a:pt x="724" y="2144"/>
                  <a:pt x="721" y="2141"/>
                  <a:pt x="716" y="2140"/>
                </a:cubicBezTo>
                <a:cubicBezTo>
                  <a:pt x="716" y="2140"/>
                  <a:pt x="716" y="2140"/>
                  <a:pt x="716" y="2140"/>
                </a:cubicBezTo>
                <a:cubicBezTo>
                  <a:pt x="721" y="2139"/>
                  <a:pt x="724" y="2136"/>
                  <a:pt x="724" y="2129"/>
                </a:cubicBezTo>
                <a:cubicBezTo>
                  <a:pt x="724" y="2126"/>
                  <a:pt x="724" y="2124"/>
                  <a:pt x="724" y="2123"/>
                </a:cubicBezTo>
                <a:cubicBezTo>
                  <a:pt x="724" y="2121"/>
                  <a:pt x="724" y="2119"/>
                  <a:pt x="724" y="2118"/>
                </a:cubicBezTo>
                <a:cubicBezTo>
                  <a:pt x="724" y="2114"/>
                  <a:pt x="725" y="2112"/>
                  <a:pt x="728" y="2112"/>
                </a:cubicBezTo>
                <a:cubicBezTo>
                  <a:pt x="728" y="2112"/>
                  <a:pt x="728" y="2112"/>
                  <a:pt x="730" y="2112"/>
                </a:cubicBezTo>
                <a:cubicBezTo>
                  <a:pt x="730" y="2112"/>
                  <a:pt x="730" y="2112"/>
                  <a:pt x="730" y="2103"/>
                </a:cubicBezTo>
                <a:cubicBezTo>
                  <a:pt x="730" y="2103"/>
                  <a:pt x="730" y="2103"/>
                  <a:pt x="726" y="2103"/>
                </a:cubicBezTo>
                <a:cubicBezTo>
                  <a:pt x="717" y="2103"/>
                  <a:pt x="712" y="2107"/>
                  <a:pt x="712" y="2115"/>
                </a:cubicBezTo>
                <a:cubicBezTo>
                  <a:pt x="712" y="2118"/>
                  <a:pt x="712" y="2120"/>
                  <a:pt x="712" y="2123"/>
                </a:cubicBezTo>
                <a:cubicBezTo>
                  <a:pt x="713" y="2125"/>
                  <a:pt x="713" y="2128"/>
                  <a:pt x="713" y="2130"/>
                </a:cubicBezTo>
                <a:cubicBezTo>
                  <a:pt x="713" y="2132"/>
                  <a:pt x="712" y="2136"/>
                  <a:pt x="706" y="2136"/>
                </a:cubicBezTo>
                <a:close/>
                <a:moveTo>
                  <a:pt x="761" y="2144"/>
                </a:moveTo>
                <a:cubicBezTo>
                  <a:pt x="761" y="2144"/>
                  <a:pt x="761" y="2144"/>
                  <a:pt x="761" y="2144"/>
                </a:cubicBezTo>
                <a:cubicBezTo>
                  <a:pt x="761" y="2136"/>
                  <a:pt x="761" y="2136"/>
                  <a:pt x="761" y="2136"/>
                </a:cubicBezTo>
                <a:cubicBezTo>
                  <a:pt x="754" y="2136"/>
                  <a:pt x="754" y="2132"/>
                  <a:pt x="754" y="2130"/>
                </a:cubicBezTo>
                <a:cubicBezTo>
                  <a:pt x="754" y="2128"/>
                  <a:pt x="754" y="2125"/>
                  <a:pt x="754" y="2123"/>
                </a:cubicBezTo>
                <a:cubicBezTo>
                  <a:pt x="755" y="2120"/>
                  <a:pt x="755" y="2118"/>
                  <a:pt x="755" y="2115"/>
                </a:cubicBezTo>
                <a:cubicBezTo>
                  <a:pt x="755" y="2107"/>
                  <a:pt x="750" y="2103"/>
                  <a:pt x="740" y="2103"/>
                </a:cubicBezTo>
                <a:cubicBezTo>
                  <a:pt x="740" y="2103"/>
                  <a:pt x="740" y="2103"/>
                  <a:pt x="737" y="2103"/>
                </a:cubicBezTo>
                <a:cubicBezTo>
                  <a:pt x="737" y="2103"/>
                  <a:pt x="737" y="2103"/>
                  <a:pt x="737" y="2112"/>
                </a:cubicBezTo>
                <a:cubicBezTo>
                  <a:pt x="737" y="2112"/>
                  <a:pt x="737" y="2112"/>
                  <a:pt x="738" y="2112"/>
                </a:cubicBezTo>
                <a:cubicBezTo>
                  <a:pt x="742" y="2112"/>
                  <a:pt x="743" y="2114"/>
                  <a:pt x="743" y="2118"/>
                </a:cubicBezTo>
                <a:cubicBezTo>
                  <a:pt x="743" y="2119"/>
                  <a:pt x="743" y="2121"/>
                  <a:pt x="743" y="2123"/>
                </a:cubicBezTo>
                <a:cubicBezTo>
                  <a:pt x="743" y="2124"/>
                  <a:pt x="743" y="2126"/>
                  <a:pt x="743" y="2129"/>
                </a:cubicBezTo>
                <a:cubicBezTo>
                  <a:pt x="743" y="2136"/>
                  <a:pt x="745" y="2139"/>
                  <a:pt x="751" y="2140"/>
                </a:cubicBezTo>
                <a:cubicBezTo>
                  <a:pt x="751" y="2140"/>
                  <a:pt x="751" y="2140"/>
                  <a:pt x="751" y="2140"/>
                </a:cubicBezTo>
                <a:cubicBezTo>
                  <a:pt x="745" y="2141"/>
                  <a:pt x="743" y="2144"/>
                  <a:pt x="743" y="2151"/>
                </a:cubicBezTo>
                <a:cubicBezTo>
                  <a:pt x="743" y="2154"/>
                  <a:pt x="743" y="2156"/>
                  <a:pt x="743" y="2157"/>
                </a:cubicBezTo>
                <a:cubicBezTo>
                  <a:pt x="743" y="2159"/>
                  <a:pt x="743" y="2161"/>
                  <a:pt x="743" y="2162"/>
                </a:cubicBezTo>
                <a:cubicBezTo>
                  <a:pt x="743" y="2166"/>
                  <a:pt x="742" y="2168"/>
                  <a:pt x="738" y="2168"/>
                </a:cubicBezTo>
                <a:cubicBezTo>
                  <a:pt x="738" y="2168"/>
                  <a:pt x="738" y="2168"/>
                  <a:pt x="737" y="2168"/>
                </a:cubicBezTo>
                <a:cubicBezTo>
                  <a:pt x="737" y="2168"/>
                  <a:pt x="737" y="2168"/>
                  <a:pt x="737" y="2177"/>
                </a:cubicBezTo>
                <a:cubicBezTo>
                  <a:pt x="737" y="2177"/>
                  <a:pt x="737" y="2177"/>
                  <a:pt x="740" y="2177"/>
                </a:cubicBezTo>
                <a:cubicBezTo>
                  <a:pt x="749" y="2177"/>
                  <a:pt x="755" y="2174"/>
                  <a:pt x="755" y="2164"/>
                </a:cubicBezTo>
                <a:cubicBezTo>
                  <a:pt x="755" y="2162"/>
                  <a:pt x="755" y="2160"/>
                  <a:pt x="754" y="2157"/>
                </a:cubicBezTo>
                <a:cubicBezTo>
                  <a:pt x="754" y="2155"/>
                  <a:pt x="754" y="2152"/>
                  <a:pt x="754" y="2150"/>
                </a:cubicBezTo>
                <a:cubicBezTo>
                  <a:pt x="754" y="2148"/>
                  <a:pt x="754" y="2145"/>
                  <a:pt x="761" y="2144"/>
                </a:cubicBezTo>
                <a:close/>
                <a:moveTo>
                  <a:pt x="808" y="2104"/>
                </a:moveTo>
                <a:cubicBezTo>
                  <a:pt x="808" y="2104"/>
                  <a:pt x="808" y="2104"/>
                  <a:pt x="808" y="2104"/>
                </a:cubicBezTo>
                <a:cubicBezTo>
                  <a:pt x="803" y="2104"/>
                  <a:pt x="803" y="2104"/>
                  <a:pt x="803" y="2104"/>
                </a:cubicBezTo>
                <a:cubicBezTo>
                  <a:pt x="801" y="2105"/>
                  <a:pt x="799" y="2107"/>
                  <a:pt x="797" y="2107"/>
                </a:cubicBezTo>
                <a:cubicBezTo>
                  <a:pt x="796" y="2109"/>
                  <a:pt x="794" y="2110"/>
                  <a:pt x="792" y="2110"/>
                </a:cubicBezTo>
                <a:cubicBezTo>
                  <a:pt x="790" y="2111"/>
                  <a:pt x="789" y="2112"/>
                  <a:pt x="787" y="2112"/>
                </a:cubicBezTo>
                <a:cubicBezTo>
                  <a:pt x="785" y="2113"/>
                  <a:pt x="783" y="2114"/>
                  <a:pt x="781" y="2115"/>
                </a:cubicBezTo>
                <a:cubicBezTo>
                  <a:pt x="781" y="2115"/>
                  <a:pt x="781" y="2115"/>
                  <a:pt x="781" y="2125"/>
                </a:cubicBezTo>
                <a:cubicBezTo>
                  <a:pt x="784" y="2124"/>
                  <a:pt x="787" y="2123"/>
                  <a:pt x="789" y="2122"/>
                </a:cubicBezTo>
                <a:cubicBezTo>
                  <a:pt x="792" y="2121"/>
                  <a:pt x="794" y="2120"/>
                  <a:pt x="797" y="2118"/>
                </a:cubicBezTo>
                <a:cubicBezTo>
                  <a:pt x="797" y="2118"/>
                  <a:pt x="797" y="2118"/>
                  <a:pt x="797" y="2177"/>
                </a:cubicBezTo>
                <a:cubicBezTo>
                  <a:pt x="797" y="2177"/>
                  <a:pt x="797" y="2177"/>
                  <a:pt x="808" y="2177"/>
                </a:cubicBezTo>
                <a:cubicBezTo>
                  <a:pt x="808" y="2177"/>
                  <a:pt x="808" y="2177"/>
                  <a:pt x="808" y="2104"/>
                </a:cubicBezTo>
                <a:close/>
                <a:moveTo>
                  <a:pt x="855" y="2104"/>
                </a:moveTo>
                <a:cubicBezTo>
                  <a:pt x="855" y="2104"/>
                  <a:pt x="855" y="2104"/>
                  <a:pt x="855" y="2104"/>
                </a:cubicBezTo>
                <a:cubicBezTo>
                  <a:pt x="850" y="2104"/>
                  <a:pt x="850" y="2104"/>
                  <a:pt x="850" y="2104"/>
                </a:cubicBezTo>
                <a:cubicBezTo>
                  <a:pt x="848" y="2105"/>
                  <a:pt x="847" y="2107"/>
                  <a:pt x="845" y="2107"/>
                </a:cubicBezTo>
                <a:cubicBezTo>
                  <a:pt x="843" y="2109"/>
                  <a:pt x="841" y="2110"/>
                  <a:pt x="840" y="2110"/>
                </a:cubicBezTo>
                <a:cubicBezTo>
                  <a:pt x="838" y="2112"/>
                  <a:pt x="836" y="2112"/>
                  <a:pt x="835" y="2113"/>
                </a:cubicBezTo>
                <a:cubicBezTo>
                  <a:pt x="832" y="2114"/>
                  <a:pt x="831" y="2115"/>
                  <a:pt x="829" y="2115"/>
                </a:cubicBezTo>
                <a:cubicBezTo>
                  <a:pt x="829" y="2115"/>
                  <a:pt x="829" y="2115"/>
                  <a:pt x="829" y="2125"/>
                </a:cubicBezTo>
                <a:cubicBezTo>
                  <a:pt x="832" y="2124"/>
                  <a:pt x="835" y="2123"/>
                  <a:pt x="837" y="2122"/>
                </a:cubicBezTo>
                <a:cubicBezTo>
                  <a:pt x="840" y="2121"/>
                  <a:pt x="842" y="2120"/>
                  <a:pt x="844" y="2118"/>
                </a:cubicBezTo>
                <a:cubicBezTo>
                  <a:pt x="844" y="2118"/>
                  <a:pt x="844" y="2118"/>
                  <a:pt x="844" y="2177"/>
                </a:cubicBezTo>
                <a:cubicBezTo>
                  <a:pt x="844" y="2177"/>
                  <a:pt x="844" y="2177"/>
                  <a:pt x="855" y="2177"/>
                </a:cubicBezTo>
                <a:cubicBezTo>
                  <a:pt x="855" y="2177"/>
                  <a:pt x="855" y="2177"/>
                  <a:pt x="855" y="2104"/>
                </a:cubicBezTo>
                <a:close/>
                <a:moveTo>
                  <a:pt x="902" y="2104"/>
                </a:moveTo>
                <a:cubicBezTo>
                  <a:pt x="902" y="2104"/>
                  <a:pt x="902" y="2104"/>
                  <a:pt x="902" y="2104"/>
                </a:cubicBezTo>
                <a:cubicBezTo>
                  <a:pt x="897" y="2104"/>
                  <a:pt x="897" y="2104"/>
                  <a:pt x="897" y="2104"/>
                </a:cubicBezTo>
                <a:cubicBezTo>
                  <a:pt x="895" y="2105"/>
                  <a:pt x="894" y="2107"/>
                  <a:pt x="892" y="2107"/>
                </a:cubicBezTo>
                <a:cubicBezTo>
                  <a:pt x="890" y="2109"/>
                  <a:pt x="888" y="2110"/>
                  <a:pt x="887" y="2110"/>
                </a:cubicBezTo>
                <a:cubicBezTo>
                  <a:pt x="884" y="2112"/>
                  <a:pt x="883" y="2112"/>
                  <a:pt x="881" y="2113"/>
                </a:cubicBezTo>
                <a:cubicBezTo>
                  <a:pt x="879" y="2114"/>
                  <a:pt x="877" y="2115"/>
                  <a:pt x="876" y="2115"/>
                </a:cubicBezTo>
                <a:cubicBezTo>
                  <a:pt x="876" y="2115"/>
                  <a:pt x="876" y="2115"/>
                  <a:pt x="876" y="2125"/>
                </a:cubicBezTo>
                <a:cubicBezTo>
                  <a:pt x="879" y="2124"/>
                  <a:pt x="882" y="2123"/>
                  <a:pt x="884" y="2122"/>
                </a:cubicBezTo>
                <a:cubicBezTo>
                  <a:pt x="886" y="2121"/>
                  <a:pt x="889" y="2120"/>
                  <a:pt x="890" y="2118"/>
                </a:cubicBezTo>
                <a:cubicBezTo>
                  <a:pt x="890" y="2118"/>
                  <a:pt x="890" y="2118"/>
                  <a:pt x="890" y="2177"/>
                </a:cubicBezTo>
                <a:cubicBezTo>
                  <a:pt x="890" y="2177"/>
                  <a:pt x="890" y="2177"/>
                  <a:pt x="902" y="2177"/>
                </a:cubicBezTo>
                <a:cubicBezTo>
                  <a:pt x="902" y="2177"/>
                  <a:pt x="902" y="2177"/>
                  <a:pt x="902" y="2104"/>
                </a:cubicBezTo>
                <a:close/>
                <a:moveTo>
                  <a:pt x="1025" y="2104"/>
                </a:moveTo>
                <a:cubicBezTo>
                  <a:pt x="1025" y="2104"/>
                  <a:pt x="1025" y="2104"/>
                  <a:pt x="1025" y="2104"/>
                </a:cubicBezTo>
                <a:cubicBezTo>
                  <a:pt x="1020" y="2104"/>
                  <a:pt x="1020" y="2104"/>
                  <a:pt x="1020" y="2104"/>
                </a:cubicBezTo>
                <a:cubicBezTo>
                  <a:pt x="1018" y="2105"/>
                  <a:pt x="1016" y="2107"/>
                  <a:pt x="1014" y="2107"/>
                </a:cubicBezTo>
                <a:cubicBezTo>
                  <a:pt x="1013" y="2109"/>
                  <a:pt x="1011" y="2110"/>
                  <a:pt x="1009" y="2110"/>
                </a:cubicBezTo>
                <a:cubicBezTo>
                  <a:pt x="1007" y="2112"/>
                  <a:pt x="1005" y="2112"/>
                  <a:pt x="1004" y="2113"/>
                </a:cubicBezTo>
                <a:cubicBezTo>
                  <a:pt x="1001" y="2114"/>
                  <a:pt x="1000" y="2115"/>
                  <a:pt x="998" y="2115"/>
                </a:cubicBezTo>
                <a:cubicBezTo>
                  <a:pt x="998" y="2115"/>
                  <a:pt x="998" y="2115"/>
                  <a:pt x="998" y="2125"/>
                </a:cubicBezTo>
                <a:cubicBezTo>
                  <a:pt x="1001" y="2124"/>
                  <a:pt x="1004" y="2123"/>
                  <a:pt x="1007" y="2122"/>
                </a:cubicBezTo>
                <a:cubicBezTo>
                  <a:pt x="1009" y="2121"/>
                  <a:pt x="1011" y="2120"/>
                  <a:pt x="1013" y="2118"/>
                </a:cubicBezTo>
                <a:cubicBezTo>
                  <a:pt x="1013" y="2118"/>
                  <a:pt x="1013" y="2118"/>
                  <a:pt x="1013" y="2177"/>
                </a:cubicBezTo>
                <a:cubicBezTo>
                  <a:pt x="1013" y="2177"/>
                  <a:pt x="1013" y="2177"/>
                  <a:pt x="1025" y="2177"/>
                </a:cubicBezTo>
                <a:cubicBezTo>
                  <a:pt x="1025" y="2177"/>
                  <a:pt x="1025" y="2177"/>
                  <a:pt x="1025" y="2104"/>
                </a:cubicBezTo>
                <a:close/>
                <a:moveTo>
                  <a:pt x="1073" y="2104"/>
                </a:moveTo>
                <a:cubicBezTo>
                  <a:pt x="1073" y="2104"/>
                  <a:pt x="1073" y="2104"/>
                  <a:pt x="1073" y="2104"/>
                </a:cubicBezTo>
                <a:cubicBezTo>
                  <a:pt x="1067" y="2104"/>
                  <a:pt x="1067" y="2104"/>
                  <a:pt x="1067" y="2104"/>
                </a:cubicBezTo>
                <a:cubicBezTo>
                  <a:pt x="1065" y="2105"/>
                  <a:pt x="1064" y="2107"/>
                  <a:pt x="1062" y="2107"/>
                </a:cubicBezTo>
                <a:cubicBezTo>
                  <a:pt x="1060" y="2109"/>
                  <a:pt x="1058" y="2110"/>
                  <a:pt x="1056" y="2110"/>
                </a:cubicBezTo>
                <a:cubicBezTo>
                  <a:pt x="1055" y="2112"/>
                  <a:pt x="1053" y="2112"/>
                  <a:pt x="1051" y="2113"/>
                </a:cubicBezTo>
                <a:cubicBezTo>
                  <a:pt x="1049" y="2114"/>
                  <a:pt x="1048" y="2115"/>
                  <a:pt x="1045" y="2115"/>
                </a:cubicBezTo>
                <a:cubicBezTo>
                  <a:pt x="1045" y="2115"/>
                  <a:pt x="1045" y="2115"/>
                  <a:pt x="1045" y="2125"/>
                </a:cubicBezTo>
                <a:cubicBezTo>
                  <a:pt x="1048" y="2124"/>
                  <a:pt x="1051" y="2123"/>
                  <a:pt x="1053" y="2122"/>
                </a:cubicBezTo>
                <a:cubicBezTo>
                  <a:pt x="1056" y="2121"/>
                  <a:pt x="1059" y="2120"/>
                  <a:pt x="1061" y="2118"/>
                </a:cubicBezTo>
                <a:cubicBezTo>
                  <a:pt x="1061" y="2118"/>
                  <a:pt x="1061" y="2118"/>
                  <a:pt x="1061" y="2177"/>
                </a:cubicBezTo>
                <a:cubicBezTo>
                  <a:pt x="1061" y="2177"/>
                  <a:pt x="1061" y="2177"/>
                  <a:pt x="1073" y="2177"/>
                </a:cubicBezTo>
                <a:cubicBezTo>
                  <a:pt x="1073" y="2177"/>
                  <a:pt x="1073" y="2177"/>
                  <a:pt x="1073" y="2104"/>
                </a:cubicBezTo>
                <a:close/>
                <a:moveTo>
                  <a:pt x="1119" y="2104"/>
                </a:moveTo>
                <a:cubicBezTo>
                  <a:pt x="1119" y="2104"/>
                  <a:pt x="1119" y="2104"/>
                  <a:pt x="1119" y="2104"/>
                </a:cubicBezTo>
                <a:cubicBezTo>
                  <a:pt x="1114" y="2104"/>
                  <a:pt x="1114" y="2104"/>
                  <a:pt x="1114" y="2104"/>
                </a:cubicBezTo>
                <a:cubicBezTo>
                  <a:pt x="1112" y="2105"/>
                  <a:pt x="1111" y="2107"/>
                  <a:pt x="1109" y="2107"/>
                </a:cubicBezTo>
                <a:cubicBezTo>
                  <a:pt x="1107" y="2109"/>
                  <a:pt x="1105" y="2110"/>
                  <a:pt x="1104" y="2110"/>
                </a:cubicBezTo>
                <a:cubicBezTo>
                  <a:pt x="1101" y="2111"/>
                  <a:pt x="1100" y="2112"/>
                  <a:pt x="1098" y="2112"/>
                </a:cubicBezTo>
                <a:cubicBezTo>
                  <a:pt x="1096" y="2113"/>
                  <a:pt x="1094" y="2114"/>
                  <a:pt x="1093" y="2115"/>
                </a:cubicBezTo>
                <a:cubicBezTo>
                  <a:pt x="1093" y="2115"/>
                  <a:pt x="1093" y="2115"/>
                  <a:pt x="1093" y="2125"/>
                </a:cubicBezTo>
                <a:cubicBezTo>
                  <a:pt x="1096" y="2124"/>
                  <a:pt x="1099" y="2123"/>
                  <a:pt x="1101" y="2122"/>
                </a:cubicBezTo>
                <a:cubicBezTo>
                  <a:pt x="1103" y="2121"/>
                  <a:pt x="1106" y="2120"/>
                  <a:pt x="1107" y="2118"/>
                </a:cubicBezTo>
                <a:cubicBezTo>
                  <a:pt x="1107" y="2118"/>
                  <a:pt x="1107" y="2118"/>
                  <a:pt x="1107" y="2177"/>
                </a:cubicBezTo>
                <a:cubicBezTo>
                  <a:pt x="1107" y="2177"/>
                  <a:pt x="1107" y="2177"/>
                  <a:pt x="1119" y="2177"/>
                </a:cubicBezTo>
                <a:cubicBezTo>
                  <a:pt x="1119" y="2177"/>
                  <a:pt x="1119" y="2177"/>
                  <a:pt x="1119" y="2104"/>
                </a:cubicBezTo>
                <a:close/>
                <a:moveTo>
                  <a:pt x="1163" y="2177"/>
                </a:moveTo>
                <a:cubicBezTo>
                  <a:pt x="1156" y="2177"/>
                  <a:pt x="1150" y="2174"/>
                  <a:pt x="1145" y="2168"/>
                </a:cubicBezTo>
                <a:cubicBezTo>
                  <a:pt x="1142" y="2162"/>
                  <a:pt x="1139" y="2153"/>
                  <a:pt x="1139" y="2141"/>
                </a:cubicBezTo>
                <a:cubicBezTo>
                  <a:pt x="1139" y="2128"/>
                  <a:pt x="1142" y="2118"/>
                  <a:pt x="1146" y="2112"/>
                </a:cubicBezTo>
                <a:cubicBezTo>
                  <a:pt x="1150" y="2105"/>
                  <a:pt x="1157" y="2101"/>
                  <a:pt x="1166" y="2101"/>
                </a:cubicBezTo>
                <a:cubicBezTo>
                  <a:pt x="1182" y="2101"/>
                  <a:pt x="1190" y="2114"/>
                  <a:pt x="1190" y="2139"/>
                </a:cubicBezTo>
                <a:cubicBezTo>
                  <a:pt x="1190" y="2152"/>
                  <a:pt x="1188" y="2161"/>
                  <a:pt x="1182" y="2168"/>
                </a:cubicBezTo>
                <a:cubicBezTo>
                  <a:pt x="1178" y="2174"/>
                  <a:pt x="1172" y="2177"/>
                  <a:pt x="1163" y="2177"/>
                </a:cubicBezTo>
                <a:close/>
                <a:moveTo>
                  <a:pt x="1165" y="2111"/>
                </a:moveTo>
                <a:cubicBezTo>
                  <a:pt x="1155" y="2111"/>
                  <a:pt x="1151" y="2121"/>
                  <a:pt x="1151" y="2141"/>
                </a:cubicBezTo>
                <a:cubicBezTo>
                  <a:pt x="1151" y="2159"/>
                  <a:pt x="1155" y="2168"/>
                  <a:pt x="1164" y="2168"/>
                </a:cubicBezTo>
                <a:cubicBezTo>
                  <a:pt x="1173" y="2168"/>
                  <a:pt x="1177" y="2159"/>
                  <a:pt x="1177" y="2140"/>
                </a:cubicBezTo>
                <a:cubicBezTo>
                  <a:pt x="1177" y="2120"/>
                  <a:pt x="1173" y="2111"/>
                  <a:pt x="1165" y="2111"/>
                </a:cubicBezTo>
                <a:close/>
                <a:moveTo>
                  <a:pt x="1235" y="2177"/>
                </a:moveTo>
                <a:cubicBezTo>
                  <a:pt x="1227" y="2177"/>
                  <a:pt x="1221" y="2174"/>
                  <a:pt x="1217" y="2168"/>
                </a:cubicBezTo>
                <a:cubicBezTo>
                  <a:pt x="1213" y="2162"/>
                  <a:pt x="1210" y="2153"/>
                  <a:pt x="1210" y="2141"/>
                </a:cubicBezTo>
                <a:cubicBezTo>
                  <a:pt x="1210" y="2128"/>
                  <a:pt x="1213" y="2118"/>
                  <a:pt x="1217" y="2112"/>
                </a:cubicBezTo>
                <a:cubicBezTo>
                  <a:pt x="1221" y="2105"/>
                  <a:pt x="1228" y="2101"/>
                  <a:pt x="1237" y="2101"/>
                </a:cubicBezTo>
                <a:cubicBezTo>
                  <a:pt x="1253" y="2101"/>
                  <a:pt x="1261" y="2114"/>
                  <a:pt x="1261" y="2139"/>
                </a:cubicBezTo>
                <a:cubicBezTo>
                  <a:pt x="1261" y="2152"/>
                  <a:pt x="1259" y="2161"/>
                  <a:pt x="1254" y="2168"/>
                </a:cubicBezTo>
                <a:cubicBezTo>
                  <a:pt x="1249" y="2174"/>
                  <a:pt x="1243" y="2177"/>
                  <a:pt x="1235" y="2177"/>
                </a:cubicBezTo>
                <a:close/>
                <a:moveTo>
                  <a:pt x="1236" y="2111"/>
                </a:moveTo>
                <a:cubicBezTo>
                  <a:pt x="1227" y="2111"/>
                  <a:pt x="1222" y="2121"/>
                  <a:pt x="1222" y="2141"/>
                </a:cubicBezTo>
                <a:cubicBezTo>
                  <a:pt x="1222" y="2159"/>
                  <a:pt x="1226" y="2168"/>
                  <a:pt x="1235" y="2168"/>
                </a:cubicBezTo>
                <a:cubicBezTo>
                  <a:pt x="1244" y="2168"/>
                  <a:pt x="1248" y="2159"/>
                  <a:pt x="1248" y="2140"/>
                </a:cubicBezTo>
                <a:cubicBezTo>
                  <a:pt x="1248" y="2120"/>
                  <a:pt x="1244" y="2111"/>
                  <a:pt x="1236" y="2111"/>
                </a:cubicBezTo>
                <a:close/>
                <a:moveTo>
                  <a:pt x="923" y="2136"/>
                </a:moveTo>
                <a:cubicBezTo>
                  <a:pt x="923" y="2136"/>
                  <a:pt x="923" y="2136"/>
                  <a:pt x="923" y="2136"/>
                </a:cubicBezTo>
                <a:cubicBezTo>
                  <a:pt x="922" y="2144"/>
                  <a:pt x="922" y="2144"/>
                  <a:pt x="922" y="2144"/>
                </a:cubicBezTo>
                <a:cubicBezTo>
                  <a:pt x="929" y="2145"/>
                  <a:pt x="929" y="2148"/>
                  <a:pt x="929" y="2150"/>
                </a:cubicBezTo>
                <a:cubicBezTo>
                  <a:pt x="929" y="2152"/>
                  <a:pt x="929" y="2155"/>
                  <a:pt x="929" y="2157"/>
                </a:cubicBezTo>
                <a:cubicBezTo>
                  <a:pt x="929" y="2160"/>
                  <a:pt x="928" y="2162"/>
                  <a:pt x="928" y="2164"/>
                </a:cubicBezTo>
                <a:cubicBezTo>
                  <a:pt x="928" y="2174"/>
                  <a:pt x="934" y="2177"/>
                  <a:pt x="943" y="2177"/>
                </a:cubicBezTo>
                <a:cubicBezTo>
                  <a:pt x="943" y="2177"/>
                  <a:pt x="943" y="2177"/>
                  <a:pt x="946" y="2177"/>
                </a:cubicBezTo>
                <a:cubicBezTo>
                  <a:pt x="946" y="2177"/>
                  <a:pt x="946" y="2177"/>
                  <a:pt x="946" y="2168"/>
                </a:cubicBezTo>
                <a:cubicBezTo>
                  <a:pt x="946" y="2168"/>
                  <a:pt x="946" y="2168"/>
                  <a:pt x="945" y="2168"/>
                </a:cubicBezTo>
                <a:cubicBezTo>
                  <a:pt x="941" y="2168"/>
                  <a:pt x="940" y="2166"/>
                  <a:pt x="940" y="2162"/>
                </a:cubicBezTo>
                <a:cubicBezTo>
                  <a:pt x="940" y="2161"/>
                  <a:pt x="940" y="2159"/>
                  <a:pt x="941" y="2157"/>
                </a:cubicBezTo>
                <a:cubicBezTo>
                  <a:pt x="941" y="2156"/>
                  <a:pt x="941" y="2154"/>
                  <a:pt x="941" y="2151"/>
                </a:cubicBezTo>
                <a:cubicBezTo>
                  <a:pt x="941" y="2144"/>
                  <a:pt x="938" y="2141"/>
                  <a:pt x="932" y="2140"/>
                </a:cubicBezTo>
                <a:cubicBezTo>
                  <a:pt x="932" y="2140"/>
                  <a:pt x="932" y="2140"/>
                  <a:pt x="932" y="2140"/>
                </a:cubicBezTo>
                <a:cubicBezTo>
                  <a:pt x="938" y="2139"/>
                  <a:pt x="941" y="2136"/>
                  <a:pt x="941" y="2129"/>
                </a:cubicBezTo>
                <a:cubicBezTo>
                  <a:pt x="941" y="2126"/>
                  <a:pt x="941" y="2124"/>
                  <a:pt x="941" y="2123"/>
                </a:cubicBezTo>
                <a:cubicBezTo>
                  <a:pt x="940" y="2121"/>
                  <a:pt x="940" y="2119"/>
                  <a:pt x="940" y="2118"/>
                </a:cubicBezTo>
                <a:cubicBezTo>
                  <a:pt x="940" y="2114"/>
                  <a:pt x="941" y="2112"/>
                  <a:pt x="945" y="2112"/>
                </a:cubicBezTo>
                <a:cubicBezTo>
                  <a:pt x="945" y="2112"/>
                  <a:pt x="945" y="2112"/>
                  <a:pt x="946" y="2112"/>
                </a:cubicBezTo>
                <a:cubicBezTo>
                  <a:pt x="946" y="2112"/>
                  <a:pt x="946" y="2112"/>
                  <a:pt x="946" y="2103"/>
                </a:cubicBezTo>
                <a:cubicBezTo>
                  <a:pt x="946" y="2103"/>
                  <a:pt x="946" y="2103"/>
                  <a:pt x="943" y="2103"/>
                </a:cubicBezTo>
                <a:cubicBezTo>
                  <a:pt x="934" y="2103"/>
                  <a:pt x="928" y="2107"/>
                  <a:pt x="928" y="2115"/>
                </a:cubicBezTo>
                <a:cubicBezTo>
                  <a:pt x="928" y="2118"/>
                  <a:pt x="929" y="2120"/>
                  <a:pt x="929" y="2123"/>
                </a:cubicBezTo>
                <a:cubicBezTo>
                  <a:pt x="929" y="2125"/>
                  <a:pt x="929" y="2128"/>
                  <a:pt x="929" y="2130"/>
                </a:cubicBezTo>
                <a:cubicBezTo>
                  <a:pt x="929" y="2132"/>
                  <a:pt x="929" y="2136"/>
                  <a:pt x="923" y="2136"/>
                </a:cubicBezTo>
                <a:close/>
                <a:moveTo>
                  <a:pt x="978" y="2144"/>
                </a:moveTo>
                <a:cubicBezTo>
                  <a:pt x="978" y="2144"/>
                  <a:pt x="978" y="2144"/>
                  <a:pt x="978" y="2144"/>
                </a:cubicBezTo>
                <a:cubicBezTo>
                  <a:pt x="978" y="2136"/>
                  <a:pt x="978" y="2136"/>
                  <a:pt x="978" y="2136"/>
                </a:cubicBezTo>
                <a:cubicBezTo>
                  <a:pt x="971" y="2136"/>
                  <a:pt x="971" y="2132"/>
                  <a:pt x="971" y="2130"/>
                </a:cubicBezTo>
                <a:cubicBezTo>
                  <a:pt x="971" y="2128"/>
                  <a:pt x="971" y="2125"/>
                  <a:pt x="971" y="2123"/>
                </a:cubicBezTo>
                <a:cubicBezTo>
                  <a:pt x="972" y="2120"/>
                  <a:pt x="972" y="2118"/>
                  <a:pt x="972" y="2115"/>
                </a:cubicBezTo>
                <a:cubicBezTo>
                  <a:pt x="972" y="2107"/>
                  <a:pt x="966" y="2103"/>
                  <a:pt x="957" y="2103"/>
                </a:cubicBezTo>
                <a:cubicBezTo>
                  <a:pt x="957" y="2103"/>
                  <a:pt x="957" y="2103"/>
                  <a:pt x="953" y="2103"/>
                </a:cubicBezTo>
                <a:cubicBezTo>
                  <a:pt x="953" y="2103"/>
                  <a:pt x="953" y="2103"/>
                  <a:pt x="953" y="2112"/>
                </a:cubicBezTo>
                <a:cubicBezTo>
                  <a:pt x="953" y="2112"/>
                  <a:pt x="953" y="2112"/>
                  <a:pt x="955" y="2112"/>
                </a:cubicBezTo>
                <a:cubicBezTo>
                  <a:pt x="958" y="2112"/>
                  <a:pt x="960" y="2114"/>
                  <a:pt x="960" y="2118"/>
                </a:cubicBezTo>
                <a:cubicBezTo>
                  <a:pt x="960" y="2119"/>
                  <a:pt x="960" y="2121"/>
                  <a:pt x="960" y="2123"/>
                </a:cubicBezTo>
                <a:cubicBezTo>
                  <a:pt x="959" y="2124"/>
                  <a:pt x="959" y="2126"/>
                  <a:pt x="959" y="2129"/>
                </a:cubicBezTo>
                <a:cubicBezTo>
                  <a:pt x="959" y="2136"/>
                  <a:pt x="962" y="2139"/>
                  <a:pt x="968" y="2140"/>
                </a:cubicBezTo>
                <a:cubicBezTo>
                  <a:pt x="968" y="2140"/>
                  <a:pt x="968" y="2140"/>
                  <a:pt x="968" y="2140"/>
                </a:cubicBezTo>
                <a:cubicBezTo>
                  <a:pt x="962" y="2141"/>
                  <a:pt x="959" y="2144"/>
                  <a:pt x="959" y="2151"/>
                </a:cubicBezTo>
                <a:cubicBezTo>
                  <a:pt x="959" y="2154"/>
                  <a:pt x="959" y="2156"/>
                  <a:pt x="960" y="2157"/>
                </a:cubicBezTo>
                <a:cubicBezTo>
                  <a:pt x="960" y="2159"/>
                  <a:pt x="960" y="2161"/>
                  <a:pt x="960" y="2162"/>
                </a:cubicBezTo>
                <a:cubicBezTo>
                  <a:pt x="960" y="2166"/>
                  <a:pt x="959" y="2168"/>
                  <a:pt x="955" y="2168"/>
                </a:cubicBezTo>
                <a:cubicBezTo>
                  <a:pt x="955" y="2168"/>
                  <a:pt x="955" y="2168"/>
                  <a:pt x="953" y="2168"/>
                </a:cubicBezTo>
                <a:cubicBezTo>
                  <a:pt x="953" y="2168"/>
                  <a:pt x="953" y="2168"/>
                  <a:pt x="953" y="2177"/>
                </a:cubicBezTo>
                <a:cubicBezTo>
                  <a:pt x="953" y="2177"/>
                  <a:pt x="953" y="2177"/>
                  <a:pt x="957" y="2177"/>
                </a:cubicBezTo>
                <a:cubicBezTo>
                  <a:pt x="966" y="2177"/>
                  <a:pt x="972" y="2174"/>
                  <a:pt x="972" y="2164"/>
                </a:cubicBezTo>
                <a:cubicBezTo>
                  <a:pt x="972" y="2162"/>
                  <a:pt x="972" y="2160"/>
                  <a:pt x="971" y="2157"/>
                </a:cubicBezTo>
                <a:cubicBezTo>
                  <a:pt x="971" y="2155"/>
                  <a:pt x="971" y="2152"/>
                  <a:pt x="971" y="2150"/>
                </a:cubicBezTo>
                <a:cubicBezTo>
                  <a:pt x="971" y="2148"/>
                  <a:pt x="971" y="2145"/>
                  <a:pt x="978" y="2144"/>
                </a:cubicBezTo>
                <a:close/>
                <a:moveTo>
                  <a:pt x="1447" y="2177"/>
                </a:moveTo>
                <a:cubicBezTo>
                  <a:pt x="1440" y="2177"/>
                  <a:pt x="1434" y="2174"/>
                  <a:pt x="1429" y="2168"/>
                </a:cubicBezTo>
                <a:cubicBezTo>
                  <a:pt x="1425" y="2162"/>
                  <a:pt x="1423" y="2152"/>
                  <a:pt x="1423" y="2141"/>
                </a:cubicBezTo>
                <a:cubicBezTo>
                  <a:pt x="1423" y="2128"/>
                  <a:pt x="1425" y="2118"/>
                  <a:pt x="1429" y="2111"/>
                </a:cubicBezTo>
                <a:cubicBezTo>
                  <a:pt x="1434" y="2104"/>
                  <a:pt x="1440" y="2101"/>
                  <a:pt x="1449" y="2101"/>
                </a:cubicBezTo>
                <a:cubicBezTo>
                  <a:pt x="1465" y="2101"/>
                  <a:pt x="1473" y="2114"/>
                  <a:pt x="1473" y="2139"/>
                </a:cubicBezTo>
                <a:cubicBezTo>
                  <a:pt x="1473" y="2152"/>
                  <a:pt x="1471" y="2161"/>
                  <a:pt x="1467" y="2168"/>
                </a:cubicBezTo>
                <a:cubicBezTo>
                  <a:pt x="1462" y="2174"/>
                  <a:pt x="1456" y="2177"/>
                  <a:pt x="1447" y="2177"/>
                </a:cubicBezTo>
                <a:close/>
                <a:moveTo>
                  <a:pt x="1448" y="2111"/>
                </a:moveTo>
                <a:cubicBezTo>
                  <a:pt x="1440" y="2111"/>
                  <a:pt x="1435" y="2120"/>
                  <a:pt x="1435" y="2140"/>
                </a:cubicBezTo>
                <a:cubicBezTo>
                  <a:pt x="1435" y="2158"/>
                  <a:pt x="1440" y="2168"/>
                  <a:pt x="1448" y="2168"/>
                </a:cubicBezTo>
                <a:cubicBezTo>
                  <a:pt x="1456" y="2168"/>
                  <a:pt x="1461" y="2158"/>
                  <a:pt x="1461" y="2140"/>
                </a:cubicBezTo>
                <a:cubicBezTo>
                  <a:pt x="1461" y="2120"/>
                  <a:pt x="1457" y="2111"/>
                  <a:pt x="1448" y="2111"/>
                </a:cubicBezTo>
                <a:close/>
                <a:moveTo>
                  <a:pt x="1565" y="2177"/>
                </a:moveTo>
                <a:cubicBezTo>
                  <a:pt x="1557" y="2177"/>
                  <a:pt x="1552" y="2174"/>
                  <a:pt x="1547" y="2168"/>
                </a:cubicBezTo>
                <a:cubicBezTo>
                  <a:pt x="1543" y="2162"/>
                  <a:pt x="1541" y="2152"/>
                  <a:pt x="1541" y="2141"/>
                </a:cubicBezTo>
                <a:cubicBezTo>
                  <a:pt x="1541" y="2128"/>
                  <a:pt x="1543" y="2118"/>
                  <a:pt x="1547" y="2111"/>
                </a:cubicBezTo>
                <a:cubicBezTo>
                  <a:pt x="1552" y="2104"/>
                  <a:pt x="1558" y="2101"/>
                  <a:pt x="1567" y="2101"/>
                </a:cubicBezTo>
                <a:cubicBezTo>
                  <a:pt x="1583" y="2101"/>
                  <a:pt x="1591" y="2114"/>
                  <a:pt x="1591" y="2139"/>
                </a:cubicBezTo>
                <a:cubicBezTo>
                  <a:pt x="1591" y="2152"/>
                  <a:pt x="1589" y="2161"/>
                  <a:pt x="1584" y="2168"/>
                </a:cubicBezTo>
                <a:cubicBezTo>
                  <a:pt x="1579" y="2174"/>
                  <a:pt x="1574" y="2177"/>
                  <a:pt x="1565" y="2177"/>
                </a:cubicBezTo>
                <a:close/>
                <a:moveTo>
                  <a:pt x="1566" y="2111"/>
                </a:moveTo>
                <a:cubicBezTo>
                  <a:pt x="1557" y="2111"/>
                  <a:pt x="1553" y="2120"/>
                  <a:pt x="1553" y="2140"/>
                </a:cubicBezTo>
                <a:cubicBezTo>
                  <a:pt x="1553" y="2158"/>
                  <a:pt x="1557" y="2168"/>
                  <a:pt x="1566" y="2168"/>
                </a:cubicBezTo>
                <a:cubicBezTo>
                  <a:pt x="1574" y="2168"/>
                  <a:pt x="1579" y="2158"/>
                  <a:pt x="1579" y="2140"/>
                </a:cubicBezTo>
                <a:cubicBezTo>
                  <a:pt x="1579" y="2120"/>
                  <a:pt x="1575" y="2111"/>
                  <a:pt x="1566" y="2111"/>
                </a:cubicBezTo>
                <a:close/>
                <a:moveTo>
                  <a:pt x="1520" y="2104"/>
                </a:moveTo>
                <a:cubicBezTo>
                  <a:pt x="1520" y="2104"/>
                  <a:pt x="1520" y="2104"/>
                  <a:pt x="1520" y="2104"/>
                </a:cubicBezTo>
                <a:cubicBezTo>
                  <a:pt x="1515" y="2104"/>
                  <a:pt x="1515" y="2104"/>
                  <a:pt x="1515" y="2104"/>
                </a:cubicBezTo>
                <a:cubicBezTo>
                  <a:pt x="1513" y="2105"/>
                  <a:pt x="1512" y="2107"/>
                  <a:pt x="1510" y="2107"/>
                </a:cubicBezTo>
                <a:cubicBezTo>
                  <a:pt x="1508" y="2109"/>
                  <a:pt x="1506" y="2110"/>
                  <a:pt x="1505" y="2110"/>
                </a:cubicBezTo>
                <a:cubicBezTo>
                  <a:pt x="1503" y="2111"/>
                  <a:pt x="1501" y="2112"/>
                  <a:pt x="1499" y="2112"/>
                </a:cubicBezTo>
                <a:cubicBezTo>
                  <a:pt x="1497" y="2113"/>
                  <a:pt x="1496" y="2114"/>
                  <a:pt x="1494" y="2115"/>
                </a:cubicBezTo>
                <a:cubicBezTo>
                  <a:pt x="1494" y="2115"/>
                  <a:pt x="1494" y="2115"/>
                  <a:pt x="1494" y="2125"/>
                </a:cubicBezTo>
                <a:cubicBezTo>
                  <a:pt x="1497" y="2124"/>
                  <a:pt x="1499" y="2123"/>
                  <a:pt x="1502" y="2122"/>
                </a:cubicBezTo>
                <a:cubicBezTo>
                  <a:pt x="1505" y="2121"/>
                  <a:pt x="1507" y="2120"/>
                  <a:pt x="1509" y="2118"/>
                </a:cubicBezTo>
                <a:cubicBezTo>
                  <a:pt x="1509" y="2118"/>
                  <a:pt x="1509" y="2118"/>
                  <a:pt x="1509" y="2177"/>
                </a:cubicBezTo>
                <a:cubicBezTo>
                  <a:pt x="1509" y="2177"/>
                  <a:pt x="1509" y="2177"/>
                  <a:pt x="1520" y="2177"/>
                </a:cubicBezTo>
                <a:cubicBezTo>
                  <a:pt x="1520" y="2177"/>
                  <a:pt x="1520" y="2177"/>
                  <a:pt x="1520" y="2104"/>
                </a:cubicBezTo>
                <a:close/>
                <a:moveTo>
                  <a:pt x="1636" y="2177"/>
                </a:moveTo>
                <a:cubicBezTo>
                  <a:pt x="1628" y="2177"/>
                  <a:pt x="1622" y="2174"/>
                  <a:pt x="1618" y="2168"/>
                </a:cubicBezTo>
                <a:cubicBezTo>
                  <a:pt x="1614" y="2162"/>
                  <a:pt x="1612" y="2153"/>
                  <a:pt x="1612" y="2141"/>
                </a:cubicBezTo>
                <a:cubicBezTo>
                  <a:pt x="1612" y="2128"/>
                  <a:pt x="1614" y="2118"/>
                  <a:pt x="1618" y="2112"/>
                </a:cubicBezTo>
                <a:cubicBezTo>
                  <a:pt x="1623" y="2105"/>
                  <a:pt x="1629" y="2101"/>
                  <a:pt x="1638" y="2101"/>
                </a:cubicBezTo>
                <a:cubicBezTo>
                  <a:pt x="1654" y="2101"/>
                  <a:pt x="1662" y="2114"/>
                  <a:pt x="1662" y="2139"/>
                </a:cubicBezTo>
                <a:cubicBezTo>
                  <a:pt x="1662" y="2152"/>
                  <a:pt x="1660" y="2161"/>
                  <a:pt x="1656" y="2168"/>
                </a:cubicBezTo>
                <a:cubicBezTo>
                  <a:pt x="1650" y="2174"/>
                  <a:pt x="1645" y="2177"/>
                  <a:pt x="1636" y="2177"/>
                </a:cubicBezTo>
                <a:close/>
                <a:moveTo>
                  <a:pt x="1637" y="2111"/>
                </a:moveTo>
                <a:cubicBezTo>
                  <a:pt x="1628" y="2111"/>
                  <a:pt x="1623" y="2121"/>
                  <a:pt x="1623" y="2141"/>
                </a:cubicBezTo>
                <a:cubicBezTo>
                  <a:pt x="1623" y="2159"/>
                  <a:pt x="1628" y="2168"/>
                  <a:pt x="1637" y="2168"/>
                </a:cubicBezTo>
                <a:cubicBezTo>
                  <a:pt x="1645" y="2168"/>
                  <a:pt x="1650" y="2159"/>
                  <a:pt x="1650" y="2140"/>
                </a:cubicBezTo>
                <a:cubicBezTo>
                  <a:pt x="1650" y="2120"/>
                  <a:pt x="1645" y="2111"/>
                  <a:pt x="1637" y="2111"/>
                </a:cubicBezTo>
                <a:close/>
                <a:moveTo>
                  <a:pt x="1683" y="2136"/>
                </a:moveTo>
                <a:cubicBezTo>
                  <a:pt x="1683" y="2136"/>
                  <a:pt x="1683" y="2136"/>
                  <a:pt x="1683" y="2136"/>
                </a:cubicBezTo>
                <a:cubicBezTo>
                  <a:pt x="1683" y="2144"/>
                  <a:pt x="1683" y="2144"/>
                  <a:pt x="1683" y="2144"/>
                </a:cubicBezTo>
                <a:cubicBezTo>
                  <a:pt x="1689" y="2145"/>
                  <a:pt x="1690" y="2148"/>
                  <a:pt x="1690" y="2150"/>
                </a:cubicBezTo>
                <a:cubicBezTo>
                  <a:pt x="1690" y="2152"/>
                  <a:pt x="1689" y="2155"/>
                  <a:pt x="1689" y="2157"/>
                </a:cubicBezTo>
                <a:cubicBezTo>
                  <a:pt x="1689" y="2160"/>
                  <a:pt x="1689" y="2162"/>
                  <a:pt x="1689" y="2164"/>
                </a:cubicBezTo>
                <a:cubicBezTo>
                  <a:pt x="1689" y="2174"/>
                  <a:pt x="1695" y="2177"/>
                  <a:pt x="1703" y="2177"/>
                </a:cubicBezTo>
                <a:cubicBezTo>
                  <a:pt x="1703" y="2177"/>
                  <a:pt x="1703" y="2177"/>
                  <a:pt x="1707" y="2177"/>
                </a:cubicBezTo>
                <a:cubicBezTo>
                  <a:pt x="1707" y="2177"/>
                  <a:pt x="1707" y="2177"/>
                  <a:pt x="1707" y="2168"/>
                </a:cubicBezTo>
                <a:cubicBezTo>
                  <a:pt x="1707" y="2168"/>
                  <a:pt x="1707" y="2168"/>
                  <a:pt x="1705" y="2168"/>
                </a:cubicBezTo>
                <a:cubicBezTo>
                  <a:pt x="1702" y="2168"/>
                  <a:pt x="1700" y="2166"/>
                  <a:pt x="1700" y="2162"/>
                </a:cubicBezTo>
                <a:cubicBezTo>
                  <a:pt x="1700" y="2161"/>
                  <a:pt x="1700" y="2159"/>
                  <a:pt x="1701" y="2157"/>
                </a:cubicBezTo>
                <a:cubicBezTo>
                  <a:pt x="1701" y="2156"/>
                  <a:pt x="1701" y="2154"/>
                  <a:pt x="1701" y="2151"/>
                </a:cubicBezTo>
                <a:cubicBezTo>
                  <a:pt x="1701" y="2144"/>
                  <a:pt x="1698" y="2141"/>
                  <a:pt x="1693" y="2140"/>
                </a:cubicBezTo>
                <a:cubicBezTo>
                  <a:pt x="1693" y="2140"/>
                  <a:pt x="1693" y="2140"/>
                  <a:pt x="1693" y="2140"/>
                </a:cubicBezTo>
                <a:cubicBezTo>
                  <a:pt x="1698" y="2139"/>
                  <a:pt x="1701" y="2136"/>
                  <a:pt x="1701" y="2129"/>
                </a:cubicBezTo>
                <a:cubicBezTo>
                  <a:pt x="1701" y="2126"/>
                  <a:pt x="1701" y="2124"/>
                  <a:pt x="1701" y="2123"/>
                </a:cubicBezTo>
                <a:cubicBezTo>
                  <a:pt x="1700" y="2121"/>
                  <a:pt x="1700" y="2119"/>
                  <a:pt x="1700" y="2118"/>
                </a:cubicBezTo>
                <a:cubicBezTo>
                  <a:pt x="1700" y="2114"/>
                  <a:pt x="1702" y="2112"/>
                  <a:pt x="1705" y="2112"/>
                </a:cubicBezTo>
                <a:cubicBezTo>
                  <a:pt x="1705" y="2112"/>
                  <a:pt x="1705" y="2112"/>
                  <a:pt x="1707" y="2112"/>
                </a:cubicBezTo>
                <a:cubicBezTo>
                  <a:pt x="1707" y="2112"/>
                  <a:pt x="1707" y="2112"/>
                  <a:pt x="1707" y="2103"/>
                </a:cubicBezTo>
                <a:cubicBezTo>
                  <a:pt x="1707" y="2103"/>
                  <a:pt x="1707" y="2103"/>
                  <a:pt x="1703" y="2103"/>
                </a:cubicBezTo>
                <a:cubicBezTo>
                  <a:pt x="1694" y="2103"/>
                  <a:pt x="1689" y="2107"/>
                  <a:pt x="1689" y="2115"/>
                </a:cubicBezTo>
                <a:cubicBezTo>
                  <a:pt x="1689" y="2118"/>
                  <a:pt x="1689" y="2120"/>
                  <a:pt x="1689" y="2123"/>
                </a:cubicBezTo>
                <a:cubicBezTo>
                  <a:pt x="1689" y="2125"/>
                  <a:pt x="1690" y="2128"/>
                  <a:pt x="1690" y="2130"/>
                </a:cubicBezTo>
                <a:cubicBezTo>
                  <a:pt x="1690" y="2132"/>
                  <a:pt x="1689" y="2136"/>
                  <a:pt x="1683" y="2136"/>
                </a:cubicBezTo>
                <a:close/>
                <a:moveTo>
                  <a:pt x="1737" y="2144"/>
                </a:moveTo>
                <a:cubicBezTo>
                  <a:pt x="1737" y="2144"/>
                  <a:pt x="1737" y="2144"/>
                  <a:pt x="1737" y="2144"/>
                </a:cubicBezTo>
                <a:cubicBezTo>
                  <a:pt x="1737" y="2136"/>
                  <a:pt x="1737" y="2136"/>
                  <a:pt x="1737" y="2136"/>
                </a:cubicBezTo>
                <a:cubicBezTo>
                  <a:pt x="1731" y="2136"/>
                  <a:pt x="1731" y="2132"/>
                  <a:pt x="1731" y="2130"/>
                </a:cubicBezTo>
                <a:cubicBezTo>
                  <a:pt x="1731" y="2128"/>
                  <a:pt x="1731" y="2125"/>
                  <a:pt x="1731" y="2123"/>
                </a:cubicBezTo>
                <a:cubicBezTo>
                  <a:pt x="1732" y="2120"/>
                  <a:pt x="1732" y="2118"/>
                  <a:pt x="1732" y="2115"/>
                </a:cubicBezTo>
                <a:cubicBezTo>
                  <a:pt x="1732" y="2107"/>
                  <a:pt x="1726" y="2103"/>
                  <a:pt x="1717" y="2103"/>
                </a:cubicBezTo>
                <a:cubicBezTo>
                  <a:pt x="1717" y="2103"/>
                  <a:pt x="1717" y="2103"/>
                  <a:pt x="1713" y="2103"/>
                </a:cubicBezTo>
                <a:cubicBezTo>
                  <a:pt x="1713" y="2103"/>
                  <a:pt x="1713" y="2103"/>
                  <a:pt x="1713" y="2112"/>
                </a:cubicBezTo>
                <a:cubicBezTo>
                  <a:pt x="1713" y="2112"/>
                  <a:pt x="1713" y="2112"/>
                  <a:pt x="1715" y="2112"/>
                </a:cubicBezTo>
                <a:cubicBezTo>
                  <a:pt x="1719" y="2112"/>
                  <a:pt x="1720" y="2114"/>
                  <a:pt x="1720" y="2118"/>
                </a:cubicBezTo>
                <a:cubicBezTo>
                  <a:pt x="1720" y="2119"/>
                  <a:pt x="1720" y="2121"/>
                  <a:pt x="1720" y="2123"/>
                </a:cubicBezTo>
                <a:cubicBezTo>
                  <a:pt x="1719" y="2124"/>
                  <a:pt x="1719" y="2126"/>
                  <a:pt x="1719" y="2129"/>
                </a:cubicBezTo>
                <a:cubicBezTo>
                  <a:pt x="1719" y="2136"/>
                  <a:pt x="1722" y="2139"/>
                  <a:pt x="1728" y="2140"/>
                </a:cubicBezTo>
                <a:cubicBezTo>
                  <a:pt x="1728" y="2140"/>
                  <a:pt x="1728" y="2140"/>
                  <a:pt x="1728" y="2140"/>
                </a:cubicBezTo>
                <a:cubicBezTo>
                  <a:pt x="1722" y="2141"/>
                  <a:pt x="1719" y="2144"/>
                  <a:pt x="1719" y="2151"/>
                </a:cubicBezTo>
                <a:cubicBezTo>
                  <a:pt x="1719" y="2154"/>
                  <a:pt x="1719" y="2156"/>
                  <a:pt x="1720" y="2157"/>
                </a:cubicBezTo>
                <a:cubicBezTo>
                  <a:pt x="1720" y="2159"/>
                  <a:pt x="1720" y="2161"/>
                  <a:pt x="1720" y="2162"/>
                </a:cubicBezTo>
                <a:cubicBezTo>
                  <a:pt x="1720" y="2166"/>
                  <a:pt x="1719" y="2168"/>
                  <a:pt x="1715" y="2168"/>
                </a:cubicBezTo>
                <a:cubicBezTo>
                  <a:pt x="1715" y="2168"/>
                  <a:pt x="1715" y="2168"/>
                  <a:pt x="1713" y="2168"/>
                </a:cubicBezTo>
                <a:cubicBezTo>
                  <a:pt x="1713" y="2168"/>
                  <a:pt x="1713" y="2168"/>
                  <a:pt x="1713" y="2177"/>
                </a:cubicBezTo>
                <a:cubicBezTo>
                  <a:pt x="1713" y="2177"/>
                  <a:pt x="1713" y="2177"/>
                  <a:pt x="1717" y="2177"/>
                </a:cubicBezTo>
                <a:cubicBezTo>
                  <a:pt x="1726" y="2177"/>
                  <a:pt x="1732" y="2174"/>
                  <a:pt x="1732" y="2164"/>
                </a:cubicBezTo>
                <a:cubicBezTo>
                  <a:pt x="1732" y="2162"/>
                  <a:pt x="1732" y="2160"/>
                  <a:pt x="1731" y="2157"/>
                </a:cubicBezTo>
                <a:cubicBezTo>
                  <a:pt x="1731" y="2155"/>
                  <a:pt x="1731" y="2152"/>
                  <a:pt x="1731" y="2150"/>
                </a:cubicBezTo>
                <a:cubicBezTo>
                  <a:pt x="1731" y="2148"/>
                  <a:pt x="1731" y="2145"/>
                  <a:pt x="1737" y="2144"/>
                </a:cubicBezTo>
                <a:close/>
                <a:moveTo>
                  <a:pt x="1858" y="2177"/>
                </a:moveTo>
                <a:cubicBezTo>
                  <a:pt x="1850" y="2177"/>
                  <a:pt x="1844" y="2174"/>
                  <a:pt x="1839" y="2168"/>
                </a:cubicBezTo>
                <a:cubicBezTo>
                  <a:pt x="1836" y="2162"/>
                  <a:pt x="1833" y="2153"/>
                  <a:pt x="1833" y="2141"/>
                </a:cubicBezTo>
                <a:cubicBezTo>
                  <a:pt x="1833" y="2128"/>
                  <a:pt x="1836" y="2118"/>
                  <a:pt x="1840" y="2112"/>
                </a:cubicBezTo>
                <a:cubicBezTo>
                  <a:pt x="1845" y="2105"/>
                  <a:pt x="1851" y="2101"/>
                  <a:pt x="1860" y="2101"/>
                </a:cubicBezTo>
                <a:cubicBezTo>
                  <a:pt x="1876" y="2101"/>
                  <a:pt x="1884" y="2114"/>
                  <a:pt x="1884" y="2139"/>
                </a:cubicBezTo>
                <a:cubicBezTo>
                  <a:pt x="1884" y="2152"/>
                  <a:pt x="1882" y="2161"/>
                  <a:pt x="1877" y="2168"/>
                </a:cubicBezTo>
                <a:cubicBezTo>
                  <a:pt x="1873" y="2174"/>
                  <a:pt x="1866" y="2177"/>
                  <a:pt x="1858" y="2177"/>
                </a:cubicBezTo>
                <a:close/>
                <a:moveTo>
                  <a:pt x="1859" y="2111"/>
                </a:moveTo>
                <a:cubicBezTo>
                  <a:pt x="1850" y="2111"/>
                  <a:pt x="1845" y="2121"/>
                  <a:pt x="1845" y="2141"/>
                </a:cubicBezTo>
                <a:cubicBezTo>
                  <a:pt x="1845" y="2159"/>
                  <a:pt x="1850" y="2168"/>
                  <a:pt x="1859" y="2168"/>
                </a:cubicBezTo>
                <a:cubicBezTo>
                  <a:pt x="1867" y="2168"/>
                  <a:pt x="1872" y="2159"/>
                  <a:pt x="1872" y="2140"/>
                </a:cubicBezTo>
                <a:cubicBezTo>
                  <a:pt x="1872" y="2120"/>
                  <a:pt x="1867" y="2111"/>
                  <a:pt x="1859" y="2111"/>
                </a:cubicBezTo>
                <a:close/>
                <a:moveTo>
                  <a:pt x="1932" y="2104"/>
                </a:moveTo>
                <a:cubicBezTo>
                  <a:pt x="1932" y="2104"/>
                  <a:pt x="1932" y="2104"/>
                  <a:pt x="1932" y="2104"/>
                </a:cubicBezTo>
                <a:cubicBezTo>
                  <a:pt x="1927" y="2104"/>
                  <a:pt x="1927" y="2104"/>
                  <a:pt x="1927" y="2104"/>
                </a:cubicBezTo>
                <a:cubicBezTo>
                  <a:pt x="1924" y="2105"/>
                  <a:pt x="1923" y="2107"/>
                  <a:pt x="1921" y="2107"/>
                </a:cubicBezTo>
                <a:cubicBezTo>
                  <a:pt x="1919" y="2109"/>
                  <a:pt x="1917" y="2110"/>
                  <a:pt x="1916" y="2110"/>
                </a:cubicBezTo>
                <a:cubicBezTo>
                  <a:pt x="1913" y="2111"/>
                  <a:pt x="1912" y="2112"/>
                  <a:pt x="1910" y="2112"/>
                </a:cubicBezTo>
                <a:cubicBezTo>
                  <a:pt x="1908" y="2113"/>
                  <a:pt x="1907" y="2114"/>
                  <a:pt x="1904" y="2115"/>
                </a:cubicBezTo>
                <a:cubicBezTo>
                  <a:pt x="1904" y="2115"/>
                  <a:pt x="1904" y="2115"/>
                  <a:pt x="1904" y="2125"/>
                </a:cubicBezTo>
                <a:cubicBezTo>
                  <a:pt x="1907" y="2124"/>
                  <a:pt x="1910" y="2123"/>
                  <a:pt x="1913" y="2122"/>
                </a:cubicBezTo>
                <a:cubicBezTo>
                  <a:pt x="1916" y="2121"/>
                  <a:pt x="1918" y="2120"/>
                  <a:pt x="1920" y="2118"/>
                </a:cubicBezTo>
                <a:cubicBezTo>
                  <a:pt x="1920" y="2118"/>
                  <a:pt x="1920" y="2118"/>
                  <a:pt x="1920" y="2177"/>
                </a:cubicBezTo>
                <a:cubicBezTo>
                  <a:pt x="1920" y="2177"/>
                  <a:pt x="1920" y="2177"/>
                  <a:pt x="1932" y="2177"/>
                </a:cubicBezTo>
                <a:cubicBezTo>
                  <a:pt x="1932" y="2177"/>
                  <a:pt x="1932" y="2177"/>
                  <a:pt x="1932" y="2104"/>
                </a:cubicBezTo>
                <a:close/>
                <a:moveTo>
                  <a:pt x="128" y="2056"/>
                </a:moveTo>
                <a:cubicBezTo>
                  <a:pt x="128" y="2058"/>
                  <a:pt x="129" y="2059"/>
                  <a:pt x="130" y="2060"/>
                </a:cubicBezTo>
                <a:cubicBezTo>
                  <a:pt x="130" y="2062"/>
                  <a:pt x="130" y="2064"/>
                  <a:pt x="131" y="2065"/>
                </a:cubicBezTo>
                <a:cubicBezTo>
                  <a:pt x="131" y="2067"/>
                  <a:pt x="131" y="2069"/>
                  <a:pt x="131" y="2070"/>
                </a:cubicBezTo>
                <a:cubicBezTo>
                  <a:pt x="132" y="2073"/>
                  <a:pt x="131" y="2075"/>
                  <a:pt x="128" y="2075"/>
                </a:cubicBezTo>
                <a:cubicBezTo>
                  <a:pt x="125" y="2075"/>
                  <a:pt x="122" y="2075"/>
                  <a:pt x="119" y="2075"/>
                </a:cubicBezTo>
                <a:cubicBezTo>
                  <a:pt x="119" y="2075"/>
                  <a:pt x="118" y="2075"/>
                  <a:pt x="118" y="2075"/>
                </a:cubicBezTo>
                <a:cubicBezTo>
                  <a:pt x="116" y="2077"/>
                  <a:pt x="115" y="2078"/>
                  <a:pt x="114" y="2079"/>
                </a:cubicBezTo>
                <a:cubicBezTo>
                  <a:pt x="112" y="2082"/>
                  <a:pt x="108" y="2082"/>
                  <a:pt x="106" y="2080"/>
                </a:cubicBezTo>
                <a:cubicBezTo>
                  <a:pt x="104" y="2078"/>
                  <a:pt x="103" y="2075"/>
                  <a:pt x="101" y="2073"/>
                </a:cubicBezTo>
                <a:cubicBezTo>
                  <a:pt x="101" y="2071"/>
                  <a:pt x="101" y="2069"/>
                  <a:pt x="103" y="2068"/>
                </a:cubicBezTo>
                <a:cubicBezTo>
                  <a:pt x="101" y="2068"/>
                  <a:pt x="99" y="2068"/>
                  <a:pt x="97" y="2068"/>
                </a:cubicBezTo>
                <a:cubicBezTo>
                  <a:pt x="97" y="2070"/>
                  <a:pt x="95" y="2072"/>
                  <a:pt x="95" y="2074"/>
                </a:cubicBezTo>
                <a:cubicBezTo>
                  <a:pt x="95" y="2075"/>
                  <a:pt x="94" y="2075"/>
                  <a:pt x="94" y="2076"/>
                </a:cubicBezTo>
                <a:cubicBezTo>
                  <a:pt x="94" y="2079"/>
                  <a:pt x="93" y="2081"/>
                  <a:pt x="90" y="2080"/>
                </a:cubicBezTo>
                <a:cubicBezTo>
                  <a:pt x="87" y="2080"/>
                  <a:pt x="84" y="2079"/>
                  <a:pt x="81" y="2078"/>
                </a:cubicBezTo>
                <a:cubicBezTo>
                  <a:pt x="79" y="2077"/>
                  <a:pt x="79" y="2076"/>
                  <a:pt x="79" y="2074"/>
                </a:cubicBezTo>
                <a:cubicBezTo>
                  <a:pt x="79" y="2073"/>
                  <a:pt x="79" y="2072"/>
                  <a:pt x="80" y="2072"/>
                </a:cubicBezTo>
                <a:cubicBezTo>
                  <a:pt x="77" y="2071"/>
                  <a:pt x="75" y="2070"/>
                  <a:pt x="73" y="2069"/>
                </a:cubicBezTo>
                <a:cubicBezTo>
                  <a:pt x="72" y="2068"/>
                  <a:pt x="71" y="2066"/>
                  <a:pt x="70" y="2064"/>
                </a:cubicBezTo>
                <a:cubicBezTo>
                  <a:pt x="69" y="2062"/>
                  <a:pt x="69" y="2061"/>
                  <a:pt x="71" y="2059"/>
                </a:cubicBezTo>
                <a:cubicBezTo>
                  <a:pt x="74" y="2057"/>
                  <a:pt x="75" y="2054"/>
                  <a:pt x="74" y="2050"/>
                </a:cubicBezTo>
                <a:cubicBezTo>
                  <a:pt x="74" y="2048"/>
                  <a:pt x="74" y="2046"/>
                  <a:pt x="74" y="2044"/>
                </a:cubicBezTo>
                <a:cubicBezTo>
                  <a:pt x="73" y="2043"/>
                  <a:pt x="71" y="2043"/>
                  <a:pt x="70" y="2042"/>
                </a:cubicBezTo>
                <a:cubicBezTo>
                  <a:pt x="69" y="2040"/>
                  <a:pt x="68" y="2038"/>
                  <a:pt x="68" y="2036"/>
                </a:cubicBezTo>
                <a:cubicBezTo>
                  <a:pt x="68" y="2033"/>
                  <a:pt x="72" y="2031"/>
                  <a:pt x="74" y="2030"/>
                </a:cubicBezTo>
                <a:cubicBezTo>
                  <a:pt x="75" y="2031"/>
                  <a:pt x="75" y="2031"/>
                  <a:pt x="75" y="2032"/>
                </a:cubicBezTo>
                <a:cubicBezTo>
                  <a:pt x="75" y="2033"/>
                  <a:pt x="75" y="2034"/>
                  <a:pt x="75" y="2035"/>
                </a:cubicBezTo>
                <a:cubicBezTo>
                  <a:pt x="75" y="2035"/>
                  <a:pt x="74" y="2035"/>
                  <a:pt x="74" y="2035"/>
                </a:cubicBezTo>
                <a:cubicBezTo>
                  <a:pt x="74" y="2036"/>
                  <a:pt x="73" y="2037"/>
                  <a:pt x="72" y="2039"/>
                </a:cubicBezTo>
                <a:cubicBezTo>
                  <a:pt x="74" y="2039"/>
                  <a:pt x="74" y="2039"/>
                  <a:pt x="75" y="2039"/>
                </a:cubicBezTo>
                <a:cubicBezTo>
                  <a:pt x="76" y="2037"/>
                  <a:pt x="77" y="2037"/>
                  <a:pt x="77" y="2035"/>
                </a:cubicBezTo>
                <a:cubicBezTo>
                  <a:pt x="82" y="2029"/>
                  <a:pt x="88" y="2025"/>
                  <a:pt x="95" y="2023"/>
                </a:cubicBezTo>
                <a:cubicBezTo>
                  <a:pt x="99" y="2023"/>
                  <a:pt x="102" y="2022"/>
                  <a:pt x="104" y="2019"/>
                </a:cubicBezTo>
                <a:cubicBezTo>
                  <a:pt x="104" y="2018"/>
                  <a:pt x="105" y="2018"/>
                  <a:pt x="105" y="2018"/>
                </a:cubicBezTo>
                <a:cubicBezTo>
                  <a:pt x="108" y="2018"/>
                  <a:pt x="110" y="2015"/>
                  <a:pt x="112" y="2013"/>
                </a:cubicBezTo>
                <a:cubicBezTo>
                  <a:pt x="119" y="2006"/>
                  <a:pt x="131" y="2005"/>
                  <a:pt x="139" y="2012"/>
                </a:cubicBezTo>
                <a:cubicBezTo>
                  <a:pt x="141" y="2014"/>
                  <a:pt x="144" y="2016"/>
                  <a:pt x="146" y="2018"/>
                </a:cubicBezTo>
                <a:cubicBezTo>
                  <a:pt x="148" y="2019"/>
                  <a:pt x="149" y="2021"/>
                  <a:pt x="150" y="2023"/>
                </a:cubicBezTo>
                <a:cubicBezTo>
                  <a:pt x="151" y="2024"/>
                  <a:pt x="152" y="2024"/>
                  <a:pt x="153" y="2023"/>
                </a:cubicBezTo>
                <a:cubicBezTo>
                  <a:pt x="154" y="2023"/>
                  <a:pt x="154" y="2022"/>
                  <a:pt x="155" y="2021"/>
                </a:cubicBezTo>
                <a:cubicBezTo>
                  <a:pt x="157" y="2018"/>
                  <a:pt x="160" y="2018"/>
                  <a:pt x="161" y="2022"/>
                </a:cubicBezTo>
                <a:cubicBezTo>
                  <a:pt x="163" y="2025"/>
                  <a:pt x="163" y="2027"/>
                  <a:pt x="164" y="2031"/>
                </a:cubicBezTo>
                <a:cubicBezTo>
                  <a:pt x="164" y="2035"/>
                  <a:pt x="164" y="2039"/>
                  <a:pt x="163" y="2044"/>
                </a:cubicBezTo>
                <a:cubicBezTo>
                  <a:pt x="160" y="2050"/>
                  <a:pt x="155" y="2054"/>
                  <a:pt x="149" y="2054"/>
                </a:cubicBezTo>
                <a:cubicBezTo>
                  <a:pt x="148" y="2054"/>
                  <a:pt x="148" y="2054"/>
                  <a:pt x="147" y="2054"/>
                </a:cubicBezTo>
                <a:cubicBezTo>
                  <a:pt x="144" y="2053"/>
                  <a:pt x="143" y="2054"/>
                  <a:pt x="143" y="2056"/>
                </a:cubicBezTo>
                <a:cubicBezTo>
                  <a:pt x="141" y="2060"/>
                  <a:pt x="135" y="2062"/>
                  <a:pt x="132" y="2059"/>
                </a:cubicBezTo>
                <a:cubicBezTo>
                  <a:pt x="131" y="2058"/>
                  <a:pt x="130" y="2057"/>
                  <a:pt x="129" y="2056"/>
                </a:cubicBezTo>
                <a:cubicBezTo>
                  <a:pt x="128" y="2056"/>
                  <a:pt x="128" y="2056"/>
                  <a:pt x="128" y="2056"/>
                </a:cubicBezTo>
                <a:close/>
                <a:moveTo>
                  <a:pt x="123" y="2052"/>
                </a:moveTo>
                <a:cubicBezTo>
                  <a:pt x="126" y="2053"/>
                  <a:pt x="130" y="2054"/>
                  <a:pt x="132" y="2057"/>
                </a:cubicBezTo>
                <a:cubicBezTo>
                  <a:pt x="134" y="2059"/>
                  <a:pt x="136" y="2060"/>
                  <a:pt x="138" y="2059"/>
                </a:cubicBezTo>
                <a:cubicBezTo>
                  <a:pt x="141" y="2058"/>
                  <a:pt x="142" y="2056"/>
                  <a:pt x="142" y="2053"/>
                </a:cubicBezTo>
                <a:cubicBezTo>
                  <a:pt x="142" y="2053"/>
                  <a:pt x="141" y="2053"/>
                  <a:pt x="141" y="2054"/>
                </a:cubicBezTo>
                <a:cubicBezTo>
                  <a:pt x="141" y="2055"/>
                  <a:pt x="139" y="2056"/>
                  <a:pt x="139" y="2057"/>
                </a:cubicBezTo>
                <a:cubicBezTo>
                  <a:pt x="137" y="2058"/>
                  <a:pt x="136" y="2058"/>
                  <a:pt x="135" y="2058"/>
                </a:cubicBezTo>
                <a:cubicBezTo>
                  <a:pt x="135" y="2058"/>
                  <a:pt x="134" y="2056"/>
                  <a:pt x="134" y="2056"/>
                </a:cubicBezTo>
                <a:cubicBezTo>
                  <a:pt x="134" y="2053"/>
                  <a:pt x="135" y="2051"/>
                  <a:pt x="135" y="2049"/>
                </a:cubicBezTo>
                <a:cubicBezTo>
                  <a:pt x="138" y="2050"/>
                  <a:pt x="141" y="2051"/>
                  <a:pt x="145" y="2052"/>
                </a:cubicBezTo>
                <a:cubicBezTo>
                  <a:pt x="152" y="2053"/>
                  <a:pt x="158" y="2051"/>
                  <a:pt x="161" y="2043"/>
                </a:cubicBezTo>
                <a:cubicBezTo>
                  <a:pt x="163" y="2038"/>
                  <a:pt x="163" y="2033"/>
                  <a:pt x="162" y="2028"/>
                </a:cubicBezTo>
                <a:cubicBezTo>
                  <a:pt x="161" y="2026"/>
                  <a:pt x="161" y="2024"/>
                  <a:pt x="160" y="2022"/>
                </a:cubicBezTo>
                <a:cubicBezTo>
                  <a:pt x="159" y="2021"/>
                  <a:pt x="158" y="2020"/>
                  <a:pt x="157" y="2022"/>
                </a:cubicBezTo>
                <a:cubicBezTo>
                  <a:pt x="155" y="2024"/>
                  <a:pt x="154" y="2025"/>
                  <a:pt x="152" y="2026"/>
                </a:cubicBezTo>
                <a:cubicBezTo>
                  <a:pt x="151" y="2026"/>
                  <a:pt x="150" y="2027"/>
                  <a:pt x="150" y="2028"/>
                </a:cubicBezTo>
                <a:cubicBezTo>
                  <a:pt x="151" y="2031"/>
                  <a:pt x="150" y="2035"/>
                  <a:pt x="149" y="2038"/>
                </a:cubicBezTo>
                <a:cubicBezTo>
                  <a:pt x="149" y="2036"/>
                  <a:pt x="150" y="2034"/>
                  <a:pt x="150" y="2032"/>
                </a:cubicBezTo>
                <a:cubicBezTo>
                  <a:pt x="150" y="2031"/>
                  <a:pt x="149" y="2031"/>
                  <a:pt x="149" y="2031"/>
                </a:cubicBezTo>
                <a:cubicBezTo>
                  <a:pt x="148" y="2031"/>
                  <a:pt x="148" y="2031"/>
                  <a:pt x="148" y="2031"/>
                </a:cubicBezTo>
                <a:cubicBezTo>
                  <a:pt x="147" y="2033"/>
                  <a:pt x="146" y="2034"/>
                  <a:pt x="145" y="2035"/>
                </a:cubicBezTo>
                <a:cubicBezTo>
                  <a:pt x="145" y="2035"/>
                  <a:pt x="145" y="2035"/>
                  <a:pt x="145" y="2035"/>
                </a:cubicBezTo>
                <a:cubicBezTo>
                  <a:pt x="145" y="2034"/>
                  <a:pt x="146" y="2032"/>
                  <a:pt x="146" y="2030"/>
                </a:cubicBezTo>
                <a:cubicBezTo>
                  <a:pt x="145" y="2031"/>
                  <a:pt x="144" y="2031"/>
                  <a:pt x="144" y="2032"/>
                </a:cubicBezTo>
                <a:cubicBezTo>
                  <a:pt x="143" y="2032"/>
                  <a:pt x="143" y="2033"/>
                  <a:pt x="143" y="2034"/>
                </a:cubicBezTo>
                <a:cubicBezTo>
                  <a:pt x="143" y="2030"/>
                  <a:pt x="143" y="2030"/>
                  <a:pt x="149" y="2029"/>
                </a:cubicBezTo>
                <a:cubicBezTo>
                  <a:pt x="149" y="2029"/>
                  <a:pt x="148" y="2028"/>
                  <a:pt x="148" y="2028"/>
                </a:cubicBezTo>
                <a:cubicBezTo>
                  <a:pt x="145" y="2029"/>
                  <a:pt x="144" y="2027"/>
                  <a:pt x="144" y="2025"/>
                </a:cubicBezTo>
                <a:cubicBezTo>
                  <a:pt x="146" y="2024"/>
                  <a:pt x="147" y="2024"/>
                  <a:pt x="149" y="2024"/>
                </a:cubicBezTo>
                <a:cubicBezTo>
                  <a:pt x="147" y="2021"/>
                  <a:pt x="146" y="2018"/>
                  <a:pt x="143" y="2018"/>
                </a:cubicBezTo>
                <a:cubicBezTo>
                  <a:pt x="142" y="2018"/>
                  <a:pt x="142" y="2018"/>
                  <a:pt x="142" y="2017"/>
                </a:cubicBezTo>
                <a:cubicBezTo>
                  <a:pt x="139" y="2015"/>
                  <a:pt x="137" y="2013"/>
                  <a:pt x="134" y="2011"/>
                </a:cubicBezTo>
                <a:cubicBezTo>
                  <a:pt x="132" y="2010"/>
                  <a:pt x="129" y="2009"/>
                  <a:pt x="127" y="2009"/>
                </a:cubicBezTo>
                <a:cubicBezTo>
                  <a:pt x="124" y="2009"/>
                  <a:pt x="121" y="2010"/>
                  <a:pt x="117" y="2011"/>
                </a:cubicBezTo>
                <a:cubicBezTo>
                  <a:pt x="115" y="2012"/>
                  <a:pt x="112" y="2014"/>
                  <a:pt x="110" y="2017"/>
                </a:cubicBezTo>
                <a:cubicBezTo>
                  <a:pt x="112" y="2017"/>
                  <a:pt x="113" y="2017"/>
                  <a:pt x="114" y="2017"/>
                </a:cubicBezTo>
                <a:cubicBezTo>
                  <a:pt x="114" y="2018"/>
                  <a:pt x="113" y="2018"/>
                  <a:pt x="112" y="2018"/>
                </a:cubicBezTo>
                <a:cubicBezTo>
                  <a:pt x="110" y="2019"/>
                  <a:pt x="107" y="2018"/>
                  <a:pt x="105" y="2020"/>
                </a:cubicBezTo>
                <a:cubicBezTo>
                  <a:pt x="102" y="2024"/>
                  <a:pt x="98" y="2028"/>
                  <a:pt x="94" y="2032"/>
                </a:cubicBezTo>
                <a:cubicBezTo>
                  <a:pt x="93" y="2034"/>
                  <a:pt x="92" y="2037"/>
                  <a:pt x="91" y="2039"/>
                </a:cubicBezTo>
                <a:cubicBezTo>
                  <a:pt x="91" y="2039"/>
                  <a:pt x="91" y="2040"/>
                  <a:pt x="91" y="2041"/>
                </a:cubicBezTo>
                <a:cubicBezTo>
                  <a:pt x="92" y="2043"/>
                  <a:pt x="94" y="2045"/>
                  <a:pt x="95" y="2046"/>
                </a:cubicBezTo>
                <a:cubicBezTo>
                  <a:pt x="96" y="2045"/>
                  <a:pt x="97" y="2043"/>
                  <a:pt x="99" y="2042"/>
                </a:cubicBezTo>
                <a:cubicBezTo>
                  <a:pt x="98" y="2043"/>
                  <a:pt x="98" y="2045"/>
                  <a:pt x="97" y="2046"/>
                </a:cubicBezTo>
                <a:cubicBezTo>
                  <a:pt x="96" y="2047"/>
                  <a:pt x="95" y="2048"/>
                  <a:pt x="95" y="2050"/>
                </a:cubicBezTo>
                <a:cubicBezTo>
                  <a:pt x="95" y="2051"/>
                  <a:pt x="95" y="2052"/>
                  <a:pt x="95" y="2053"/>
                </a:cubicBezTo>
                <a:cubicBezTo>
                  <a:pt x="98" y="2056"/>
                  <a:pt x="101" y="2056"/>
                  <a:pt x="105" y="2054"/>
                </a:cubicBezTo>
                <a:cubicBezTo>
                  <a:pt x="107" y="2053"/>
                  <a:pt x="110" y="2052"/>
                  <a:pt x="113" y="2051"/>
                </a:cubicBezTo>
                <a:cubicBezTo>
                  <a:pt x="114" y="2050"/>
                  <a:pt x="115" y="2050"/>
                  <a:pt x="115" y="2048"/>
                </a:cubicBezTo>
                <a:cubicBezTo>
                  <a:pt x="115" y="2045"/>
                  <a:pt x="115" y="2041"/>
                  <a:pt x="115" y="2038"/>
                </a:cubicBezTo>
                <a:cubicBezTo>
                  <a:pt x="115" y="2035"/>
                  <a:pt x="115" y="2032"/>
                  <a:pt x="115" y="2029"/>
                </a:cubicBezTo>
                <a:cubicBezTo>
                  <a:pt x="116" y="2032"/>
                  <a:pt x="117" y="2035"/>
                  <a:pt x="117" y="2037"/>
                </a:cubicBezTo>
                <a:cubicBezTo>
                  <a:pt x="118" y="2042"/>
                  <a:pt x="118" y="2046"/>
                  <a:pt x="117" y="2050"/>
                </a:cubicBezTo>
                <a:cubicBezTo>
                  <a:pt x="116" y="2051"/>
                  <a:pt x="115" y="2052"/>
                  <a:pt x="115" y="2052"/>
                </a:cubicBezTo>
                <a:cubicBezTo>
                  <a:pt x="112" y="2052"/>
                  <a:pt x="108" y="2054"/>
                  <a:pt x="105" y="2056"/>
                </a:cubicBezTo>
                <a:cubicBezTo>
                  <a:pt x="100" y="2059"/>
                  <a:pt x="97" y="2057"/>
                  <a:pt x="93" y="2053"/>
                </a:cubicBezTo>
                <a:cubicBezTo>
                  <a:pt x="93" y="2053"/>
                  <a:pt x="93" y="2052"/>
                  <a:pt x="93" y="2051"/>
                </a:cubicBezTo>
                <a:cubicBezTo>
                  <a:pt x="94" y="2049"/>
                  <a:pt x="93" y="2047"/>
                  <a:pt x="92" y="2045"/>
                </a:cubicBezTo>
                <a:cubicBezTo>
                  <a:pt x="90" y="2043"/>
                  <a:pt x="88" y="2041"/>
                  <a:pt x="90" y="2038"/>
                </a:cubicBezTo>
                <a:cubicBezTo>
                  <a:pt x="90" y="2036"/>
                  <a:pt x="91" y="2034"/>
                  <a:pt x="92" y="2033"/>
                </a:cubicBezTo>
                <a:cubicBezTo>
                  <a:pt x="94" y="2030"/>
                  <a:pt x="96" y="2027"/>
                  <a:pt x="98" y="2025"/>
                </a:cubicBezTo>
                <a:cubicBezTo>
                  <a:pt x="98" y="2025"/>
                  <a:pt x="97" y="2025"/>
                  <a:pt x="97" y="2025"/>
                </a:cubicBezTo>
                <a:cubicBezTo>
                  <a:pt x="92" y="2026"/>
                  <a:pt x="88" y="2027"/>
                  <a:pt x="84" y="2031"/>
                </a:cubicBezTo>
                <a:cubicBezTo>
                  <a:pt x="79" y="2035"/>
                  <a:pt x="76" y="2040"/>
                  <a:pt x="76" y="2047"/>
                </a:cubicBezTo>
                <a:cubicBezTo>
                  <a:pt x="75" y="2054"/>
                  <a:pt x="78" y="2060"/>
                  <a:pt x="81" y="2065"/>
                </a:cubicBezTo>
                <a:cubicBezTo>
                  <a:pt x="82" y="2066"/>
                  <a:pt x="83" y="2068"/>
                  <a:pt x="82" y="2069"/>
                </a:cubicBezTo>
                <a:cubicBezTo>
                  <a:pt x="82" y="2071"/>
                  <a:pt x="82" y="2072"/>
                  <a:pt x="81" y="2073"/>
                </a:cubicBezTo>
                <a:cubicBezTo>
                  <a:pt x="81" y="2075"/>
                  <a:pt x="81" y="2076"/>
                  <a:pt x="82" y="2077"/>
                </a:cubicBezTo>
                <a:cubicBezTo>
                  <a:pt x="85" y="2077"/>
                  <a:pt x="88" y="2078"/>
                  <a:pt x="91" y="2078"/>
                </a:cubicBezTo>
                <a:cubicBezTo>
                  <a:pt x="92" y="2078"/>
                  <a:pt x="92" y="2077"/>
                  <a:pt x="92" y="2077"/>
                </a:cubicBezTo>
                <a:cubicBezTo>
                  <a:pt x="93" y="2076"/>
                  <a:pt x="93" y="2074"/>
                  <a:pt x="94" y="2073"/>
                </a:cubicBezTo>
                <a:cubicBezTo>
                  <a:pt x="95" y="2071"/>
                  <a:pt x="95" y="2068"/>
                  <a:pt x="95" y="2065"/>
                </a:cubicBezTo>
                <a:cubicBezTo>
                  <a:pt x="95" y="2065"/>
                  <a:pt x="95" y="2065"/>
                  <a:pt x="95" y="2064"/>
                </a:cubicBezTo>
                <a:cubicBezTo>
                  <a:pt x="95" y="2064"/>
                  <a:pt x="95" y="2064"/>
                  <a:pt x="95" y="2064"/>
                </a:cubicBezTo>
                <a:cubicBezTo>
                  <a:pt x="96" y="2066"/>
                  <a:pt x="97" y="2066"/>
                  <a:pt x="99" y="2066"/>
                </a:cubicBezTo>
                <a:cubicBezTo>
                  <a:pt x="100" y="2066"/>
                  <a:pt x="101" y="2066"/>
                  <a:pt x="102" y="2066"/>
                </a:cubicBezTo>
                <a:cubicBezTo>
                  <a:pt x="104" y="2066"/>
                  <a:pt x="108" y="2067"/>
                  <a:pt x="108" y="2063"/>
                </a:cubicBezTo>
                <a:cubicBezTo>
                  <a:pt x="108" y="2065"/>
                  <a:pt x="108" y="2067"/>
                  <a:pt x="108" y="2067"/>
                </a:cubicBezTo>
                <a:cubicBezTo>
                  <a:pt x="107" y="2068"/>
                  <a:pt x="106" y="2069"/>
                  <a:pt x="104" y="2069"/>
                </a:cubicBezTo>
                <a:cubicBezTo>
                  <a:pt x="103" y="2070"/>
                  <a:pt x="103" y="2072"/>
                  <a:pt x="103" y="2073"/>
                </a:cubicBezTo>
                <a:cubicBezTo>
                  <a:pt x="104" y="2075"/>
                  <a:pt x="106" y="2077"/>
                  <a:pt x="107" y="2079"/>
                </a:cubicBezTo>
                <a:cubicBezTo>
                  <a:pt x="109" y="2080"/>
                  <a:pt x="111" y="2080"/>
                  <a:pt x="112" y="2078"/>
                </a:cubicBezTo>
                <a:cubicBezTo>
                  <a:pt x="113" y="2077"/>
                  <a:pt x="114" y="2077"/>
                  <a:pt x="114" y="2076"/>
                </a:cubicBezTo>
                <a:cubicBezTo>
                  <a:pt x="116" y="2075"/>
                  <a:pt x="117" y="2073"/>
                  <a:pt x="119" y="2072"/>
                </a:cubicBezTo>
                <a:cubicBezTo>
                  <a:pt x="123" y="2068"/>
                  <a:pt x="125" y="2062"/>
                  <a:pt x="127" y="2056"/>
                </a:cubicBezTo>
                <a:cubicBezTo>
                  <a:pt x="127" y="2056"/>
                  <a:pt x="126" y="2055"/>
                  <a:pt x="126" y="2054"/>
                </a:cubicBezTo>
                <a:cubicBezTo>
                  <a:pt x="125" y="2053"/>
                  <a:pt x="124" y="2052"/>
                  <a:pt x="123" y="2052"/>
                </a:cubicBezTo>
                <a:close/>
                <a:moveTo>
                  <a:pt x="75" y="2058"/>
                </a:moveTo>
                <a:cubicBezTo>
                  <a:pt x="75" y="2059"/>
                  <a:pt x="73" y="2060"/>
                  <a:pt x="72" y="2061"/>
                </a:cubicBezTo>
                <a:cubicBezTo>
                  <a:pt x="72" y="2061"/>
                  <a:pt x="71" y="2062"/>
                  <a:pt x="71" y="2063"/>
                </a:cubicBezTo>
                <a:cubicBezTo>
                  <a:pt x="71" y="2065"/>
                  <a:pt x="75" y="2070"/>
                  <a:pt x="79" y="2069"/>
                </a:cubicBezTo>
                <a:cubicBezTo>
                  <a:pt x="80" y="2069"/>
                  <a:pt x="81" y="2068"/>
                  <a:pt x="80" y="2067"/>
                </a:cubicBezTo>
                <a:cubicBezTo>
                  <a:pt x="79" y="2064"/>
                  <a:pt x="77" y="2061"/>
                  <a:pt x="75" y="2058"/>
                </a:cubicBezTo>
                <a:close/>
                <a:moveTo>
                  <a:pt x="128" y="2060"/>
                </a:moveTo>
                <a:cubicBezTo>
                  <a:pt x="126" y="2065"/>
                  <a:pt x="123" y="2069"/>
                  <a:pt x="121" y="2073"/>
                </a:cubicBezTo>
                <a:cubicBezTo>
                  <a:pt x="124" y="2073"/>
                  <a:pt x="126" y="2074"/>
                  <a:pt x="129" y="2073"/>
                </a:cubicBezTo>
                <a:cubicBezTo>
                  <a:pt x="129" y="2073"/>
                  <a:pt x="130" y="2072"/>
                  <a:pt x="130" y="2072"/>
                </a:cubicBezTo>
                <a:cubicBezTo>
                  <a:pt x="130" y="2069"/>
                  <a:pt x="130" y="2067"/>
                  <a:pt x="129" y="2064"/>
                </a:cubicBezTo>
                <a:cubicBezTo>
                  <a:pt x="129" y="2063"/>
                  <a:pt x="128" y="2062"/>
                  <a:pt x="128" y="2060"/>
                </a:cubicBezTo>
                <a:close/>
                <a:moveTo>
                  <a:pt x="75" y="2040"/>
                </a:moveTo>
                <a:cubicBezTo>
                  <a:pt x="75" y="2040"/>
                  <a:pt x="74" y="2041"/>
                  <a:pt x="74" y="2041"/>
                </a:cubicBezTo>
                <a:cubicBezTo>
                  <a:pt x="73" y="2041"/>
                  <a:pt x="72" y="2041"/>
                  <a:pt x="72" y="2040"/>
                </a:cubicBezTo>
                <a:cubicBezTo>
                  <a:pt x="72" y="2040"/>
                  <a:pt x="71" y="2039"/>
                  <a:pt x="71" y="2038"/>
                </a:cubicBezTo>
                <a:cubicBezTo>
                  <a:pt x="72" y="2036"/>
                  <a:pt x="72" y="2034"/>
                  <a:pt x="73" y="2032"/>
                </a:cubicBezTo>
                <a:cubicBezTo>
                  <a:pt x="73" y="2032"/>
                  <a:pt x="73" y="2032"/>
                  <a:pt x="72" y="2032"/>
                </a:cubicBezTo>
                <a:cubicBezTo>
                  <a:pt x="72" y="2033"/>
                  <a:pt x="70" y="2034"/>
                  <a:pt x="70" y="2035"/>
                </a:cubicBezTo>
                <a:cubicBezTo>
                  <a:pt x="69" y="2036"/>
                  <a:pt x="70" y="2041"/>
                  <a:pt x="72" y="2042"/>
                </a:cubicBezTo>
                <a:cubicBezTo>
                  <a:pt x="74" y="2043"/>
                  <a:pt x="75" y="2042"/>
                  <a:pt x="75" y="2040"/>
                </a:cubicBezTo>
                <a:close/>
                <a:moveTo>
                  <a:pt x="76" y="2058"/>
                </a:moveTo>
                <a:cubicBezTo>
                  <a:pt x="75" y="2058"/>
                  <a:pt x="73" y="2059"/>
                  <a:pt x="72" y="2060"/>
                </a:cubicBezTo>
                <a:cubicBezTo>
                  <a:pt x="72" y="2061"/>
                  <a:pt x="71" y="2062"/>
                  <a:pt x="71" y="2062"/>
                </a:cubicBezTo>
                <a:cubicBezTo>
                  <a:pt x="71" y="2065"/>
                  <a:pt x="76" y="2070"/>
                  <a:pt x="79" y="2069"/>
                </a:cubicBezTo>
                <a:cubicBezTo>
                  <a:pt x="80" y="2069"/>
                  <a:pt x="81" y="2068"/>
                  <a:pt x="80" y="2066"/>
                </a:cubicBezTo>
                <a:cubicBezTo>
                  <a:pt x="79" y="2063"/>
                  <a:pt x="77" y="2060"/>
                  <a:pt x="76" y="2058"/>
                </a:cubicBezTo>
                <a:close/>
                <a:moveTo>
                  <a:pt x="128" y="2060"/>
                </a:moveTo>
                <a:cubicBezTo>
                  <a:pt x="126" y="2064"/>
                  <a:pt x="124" y="2069"/>
                  <a:pt x="121" y="2073"/>
                </a:cubicBezTo>
                <a:cubicBezTo>
                  <a:pt x="124" y="2073"/>
                  <a:pt x="126" y="2073"/>
                  <a:pt x="129" y="2073"/>
                </a:cubicBezTo>
                <a:cubicBezTo>
                  <a:pt x="129" y="2073"/>
                  <a:pt x="129" y="2072"/>
                  <a:pt x="129" y="2071"/>
                </a:cubicBezTo>
                <a:cubicBezTo>
                  <a:pt x="129" y="2069"/>
                  <a:pt x="129" y="2066"/>
                  <a:pt x="129" y="2064"/>
                </a:cubicBezTo>
                <a:cubicBezTo>
                  <a:pt x="129" y="2062"/>
                  <a:pt x="128" y="2061"/>
                  <a:pt x="128" y="2060"/>
                </a:cubicBezTo>
                <a:close/>
                <a:moveTo>
                  <a:pt x="76" y="2040"/>
                </a:moveTo>
                <a:cubicBezTo>
                  <a:pt x="75" y="2040"/>
                  <a:pt x="74" y="2040"/>
                  <a:pt x="74" y="2040"/>
                </a:cubicBezTo>
                <a:cubicBezTo>
                  <a:pt x="73" y="2040"/>
                  <a:pt x="72" y="2040"/>
                  <a:pt x="72" y="2040"/>
                </a:cubicBezTo>
                <a:cubicBezTo>
                  <a:pt x="72" y="2040"/>
                  <a:pt x="71" y="2039"/>
                  <a:pt x="71" y="2038"/>
                </a:cubicBezTo>
                <a:cubicBezTo>
                  <a:pt x="72" y="2036"/>
                  <a:pt x="73" y="2034"/>
                  <a:pt x="73" y="2032"/>
                </a:cubicBezTo>
                <a:cubicBezTo>
                  <a:pt x="73" y="2032"/>
                  <a:pt x="73" y="2032"/>
                  <a:pt x="73" y="2032"/>
                </a:cubicBezTo>
                <a:cubicBezTo>
                  <a:pt x="72" y="2033"/>
                  <a:pt x="71" y="2034"/>
                  <a:pt x="70" y="2035"/>
                </a:cubicBezTo>
                <a:cubicBezTo>
                  <a:pt x="69" y="2036"/>
                  <a:pt x="71" y="2041"/>
                  <a:pt x="72" y="2042"/>
                </a:cubicBezTo>
                <a:cubicBezTo>
                  <a:pt x="74" y="2043"/>
                  <a:pt x="76" y="2042"/>
                  <a:pt x="76" y="2040"/>
                </a:cubicBezTo>
                <a:close/>
                <a:moveTo>
                  <a:pt x="128" y="2031"/>
                </a:moveTo>
                <a:cubicBezTo>
                  <a:pt x="131" y="2028"/>
                  <a:pt x="131" y="2028"/>
                  <a:pt x="135" y="2026"/>
                </a:cubicBezTo>
                <a:cubicBezTo>
                  <a:pt x="135" y="2028"/>
                  <a:pt x="136" y="2030"/>
                  <a:pt x="138" y="2030"/>
                </a:cubicBezTo>
                <a:cubicBezTo>
                  <a:pt x="135" y="2031"/>
                  <a:pt x="133" y="2032"/>
                  <a:pt x="131" y="2034"/>
                </a:cubicBezTo>
                <a:cubicBezTo>
                  <a:pt x="130" y="2033"/>
                  <a:pt x="130" y="2032"/>
                  <a:pt x="129" y="2031"/>
                </a:cubicBezTo>
                <a:cubicBezTo>
                  <a:pt x="129" y="2031"/>
                  <a:pt x="128" y="2031"/>
                  <a:pt x="128" y="2031"/>
                </a:cubicBezTo>
                <a:close/>
                <a:moveTo>
                  <a:pt x="134" y="2031"/>
                </a:moveTo>
                <a:cubicBezTo>
                  <a:pt x="133" y="2030"/>
                  <a:pt x="132" y="2030"/>
                  <a:pt x="132" y="2030"/>
                </a:cubicBezTo>
                <a:cubicBezTo>
                  <a:pt x="131" y="2030"/>
                  <a:pt x="130" y="2031"/>
                  <a:pt x="130" y="2031"/>
                </a:cubicBezTo>
                <a:cubicBezTo>
                  <a:pt x="130" y="2032"/>
                  <a:pt x="131" y="2032"/>
                  <a:pt x="131" y="2032"/>
                </a:cubicBezTo>
                <a:cubicBezTo>
                  <a:pt x="132" y="2032"/>
                  <a:pt x="132" y="2032"/>
                  <a:pt x="134" y="2031"/>
                </a:cubicBezTo>
                <a:close/>
                <a:moveTo>
                  <a:pt x="115" y="2021"/>
                </a:moveTo>
                <a:cubicBezTo>
                  <a:pt x="108" y="2021"/>
                  <a:pt x="105" y="2023"/>
                  <a:pt x="104" y="2031"/>
                </a:cubicBezTo>
                <a:cubicBezTo>
                  <a:pt x="105" y="2029"/>
                  <a:pt x="106" y="2026"/>
                  <a:pt x="108" y="2024"/>
                </a:cubicBezTo>
                <a:cubicBezTo>
                  <a:pt x="108" y="2024"/>
                  <a:pt x="108" y="2024"/>
                  <a:pt x="108" y="2024"/>
                </a:cubicBezTo>
                <a:cubicBezTo>
                  <a:pt x="108" y="2025"/>
                  <a:pt x="108" y="2026"/>
                  <a:pt x="108" y="2027"/>
                </a:cubicBezTo>
                <a:cubicBezTo>
                  <a:pt x="109" y="2024"/>
                  <a:pt x="111" y="2022"/>
                  <a:pt x="115" y="2021"/>
                </a:cubicBezTo>
                <a:close/>
                <a:moveTo>
                  <a:pt x="158" y="2023"/>
                </a:moveTo>
                <a:cubicBezTo>
                  <a:pt x="156" y="2024"/>
                  <a:pt x="154" y="2026"/>
                  <a:pt x="153" y="2027"/>
                </a:cubicBezTo>
                <a:cubicBezTo>
                  <a:pt x="155" y="2027"/>
                  <a:pt x="157" y="2026"/>
                  <a:pt x="158" y="2023"/>
                </a:cubicBezTo>
                <a:close/>
                <a:moveTo>
                  <a:pt x="125" y="2025"/>
                </a:moveTo>
                <a:cubicBezTo>
                  <a:pt x="126" y="2024"/>
                  <a:pt x="127" y="2022"/>
                  <a:pt x="128" y="2021"/>
                </a:cubicBezTo>
                <a:cubicBezTo>
                  <a:pt x="125" y="2022"/>
                  <a:pt x="125" y="2023"/>
                  <a:pt x="125" y="2025"/>
                </a:cubicBezTo>
                <a:close/>
                <a:moveTo>
                  <a:pt x="135" y="2046"/>
                </a:moveTo>
                <a:cubicBezTo>
                  <a:pt x="133" y="2047"/>
                  <a:pt x="132" y="2048"/>
                  <a:pt x="132" y="2049"/>
                </a:cubicBezTo>
                <a:cubicBezTo>
                  <a:pt x="133" y="2048"/>
                  <a:pt x="134" y="2047"/>
                  <a:pt x="135" y="2046"/>
                </a:cubicBezTo>
                <a:close/>
                <a:moveTo>
                  <a:pt x="134" y="2031"/>
                </a:moveTo>
                <a:cubicBezTo>
                  <a:pt x="133" y="2031"/>
                  <a:pt x="132" y="2030"/>
                  <a:pt x="132" y="2030"/>
                </a:cubicBezTo>
                <a:cubicBezTo>
                  <a:pt x="131" y="2030"/>
                  <a:pt x="130" y="2031"/>
                  <a:pt x="130" y="2031"/>
                </a:cubicBezTo>
                <a:cubicBezTo>
                  <a:pt x="130" y="2032"/>
                  <a:pt x="131" y="2032"/>
                  <a:pt x="131" y="2033"/>
                </a:cubicBezTo>
                <a:cubicBezTo>
                  <a:pt x="132" y="2032"/>
                  <a:pt x="133" y="2032"/>
                  <a:pt x="134" y="2031"/>
                </a:cubicBezTo>
                <a:close/>
                <a:moveTo>
                  <a:pt x="1764" y="2177"/>
                </a:moveTo>
                <a:cubicBezTo>
                  <a:pt x="1767" y="2158"/>
                  <a:pt x="1767" y="2158"/>
                  <a:pt x="1767" y="2158"/>
                </a:cubicBezTo>
                <a:cubicBezTo>
                  <a:pt x="1758" y="2158"/>
                  <a:pt x="1758" y="2158"/>
                  <a:pt x="1758" y="2158"/>
                </a:cubicBezTo>
                <a:cubicBezTo>
                  <a:pt x="1758" y="2146"/>
                  <a:pt x="1758" y="2146"/>
                  <a:pt x="1758" y="2146"/>
                </a:cubicBezTo>
                <a:cubicBezTo>
                  <a:pt x="1769" y="2146"/>
                  <a:pt x="1769" y="2146"/>
                  <a:pt x="1769" y="2146"/>
                </a:cubicBezTo>
                <a:cubicBezTo>
                  <a:pt x="1770" y="2135"/>
                  <a:pt x="1770" y="2135"/>
                  <a:pt x="1770" y="2135"/>
                </a:cubicBezTo>
                <a:cubicBezTo>
                  <a:pt x="1761" y="2135"/>
                  <a:pt x="1761" y="2135"/>
                  <a:pt x="1761" y="2135"/>
                </a:cubicBezTo>
                <a:cubicBezTo>
                  <a:pt x="1761" y="2123"/>
                  <a:pt x="1761" y="2123"/>
                  <a:pt x="1761" y="2123"/>
                </a:cubicBezTo>
                <a:cubicBezTo>
                  <a:pt x="1772" y="2123"/>
                  <a:pt x="1772" y="2123"/>
                  <a:pt x="1772" y="2123"/>
                </a:cubicBezTo>
                <a:cubicBezTo>
                  <a:pt x="1775" y="2105"/>
                  <a:pt x="1775" y="2105"/>
                  <a:pt x="1775" y="2105"/>
                </a:cubicBezTo>
                <a:cubicBezTo>
                  <a:pt x="1786" y="2105"/>
                  <a:pt x="1786" y="2105"/>
                  <a:pt x="1786" y="2105"/>
                </a:cubicBezTo>
                <a:cubicBezTo>
                  <a:pt x="1783" y="2123"/>
                  <a:pt x="1783" y="2123"/>
                  <a:pt x="1783" y="2123"/>
                </a:cubicBezTo>
                <a:cubicBezTo>
                  <a:pt x="1793" y="2123"/>
                  <a:pt x="1793" y="2123"/>
                  <a:pt x="1793" y="2123"/>
                </a:cubicBezTo>
                <a:cubicBezTo>
                  <a:pt x="1796" y="2105"/>
                  <a:pt x="1796" y="2105"/>
                  <a:pt x="1796" y="2105"/>
                </a:cubicBezTo>
                <a:cubicBezTo>
                  <a:pt x="1807" y="2105"/>
                  <a:pt x="1807" y="2105"/>
                  <a:pt x="1807" y="2105"/>
                </a:cubicBezTo>
                <a:cubicBezTo>
                  <a:pt x="1804" y="2123"/>
                  <a:pt x="1804" y="2123"/>
                  <a:pt x="1804" y="2123"/>
                </a:cubicBezTo>
                <a:cubicBezTo>
                  <a:pt x="1813" y="2123"/>
                  <a:pt x="1813" y="2123"/>
                  <a:pt x="1813" y="2123"/>
                </a:cubicBezTo>
                <a:cubicBezTo>
                  <a:pt x="1813" y="2135"/>
                  <a:pt x="1813" y="2135"/>
                  <a:pt x="1813" y="2135"/>
                </a:cubicBezTo>
                <a:cubicBezTo>
                  <a:pt x="1803" y="2135"/>
                  <a:pt x="1803" y="2135"/>
                  <a:pt x="1803" y="2135"/>
                </a:cubicBezTo>
                <a:cubicBezTo>
                  <a:pt x="1801" y="2146"/>
                  <a:pt x="1801" y="2146"/>
                  <a:pt x="1801" y="2146"/>
                </a:cubicBezTo>
                <a:cubicBezTo>
                  <a:pt x="1810" y="2146"/>
                  <a:pt x="1810" y="2146"/>
                  <a:pt x="1810" y="2146"/>
                </a:cubicBezTo>
                <a:cubicBezTo>
                  <a:pt x="1810" y="2158"/>
                  <a:pt x="1810" y="2158"/>
                  <a:pt x="1810" y="2158"/>
                </a:cubicBezTo>
                <a:cubicBezTo>
                  <a:pt x="1799" y="2158"/>
                  <a:pt x="1799" y="2158"/>
                  <a:pt x="1799" y="2158"/>
                </a:cubicBezTo>
                <a:cubicBezTo>
                  <a:pt x="1796" y="2177"/>
                  <a:pt x="1796" y="2177"/>
                  <a:pt x="1796" y="2177"/>
                </a:cubicBezTo>
                <a:cubicBezTo>
                  <a:pt x="1785" y="2177"/>
                  <a:pt x="1785" y="2177"/>
                  <a:pt x="1785" y="2177"/>
                </a:cubicBezTo>
                <a:cubicBezTo>
                  <a:pt x="1788" y="2158"/>
                  <a:pt x="1788" y="2158"/>
                  <a:pt x="1788" y="2158"/>
                </a:cubicBezTo>
                <a:cubicBezTo>
                  <a:pt x="1778" y="2158"/>
                  <a:pt x="1778" y="2158"/>
                  <a:pt x="1778" y="2158"/>
                </a:cubicBezTo>
                <a:cubicBezTo>
                  <a:pt x="1775" y="2177"/>
                  <a:pt x="1775" y="2177"/>
                  <a:pt x="1775" y="2177"/>
                </a:cubicBezTo>
                <a:cubicBezTo>
                  <a:pt x="1764" y="2177"/>
                  <a:pt x="1764" y="2177"/>
                  <a:pt x="1764" y="2177"/>
                </a:cubicBezTo>
                <a:cubicBezTo>
                  <a:pt x="1764" y="2177"/>
                  <a:pt x="1764" y="2177"/>
                  <a:pt x="1764" y="2177"/>
                </a:cubicBezTo>
                <a:close/>
                <a:moveTo>
                  <a:pt x="1790" y="2146"/>
                </a:moveTo>
                <a:cubicBezTo>
                  <a:pt x="1791" y="2135"/>
                  <a:pt x="1791" y="2135"/>
                  <a:pt x="1791" y="2135"/>
                </a:cubicBezTo>
                <a:cubicBezTo>
                  <a:pt x="1782" y="2135"/>
                  <a:pt x="1782" y="2135"/>
                  <a:pt x="1782" y="2135"/>
                </a:cubicBezTo>
                <a:cubicBezTo>
                  <a:pt x="1780" y="2146"/>
                  <a:pt x="1780" y="2146"/>
                  <a:pt x="1780" y="2146"/>
                </a:cubicBezTo>
                <a:cubicBezTo>
                  <a:pt x="1790" y="2146"/>
                  <a:pt x="1790" y="2146"/>
                  <a:pt x="1790" y="2146"/>
                </a:cubicBezTo>
                <a:cubicBezTo>
                  <a:pt x="1790" y="2146"/>
                  <a:pt x="1790" y="2146"/>
                  <a:pt x="1790" y="2146"/>
                </a:cubicBezTo>
                <a:close/>
                <a:moveTo>
                  <a:pt x="649" y="2151"/>
                </a:moveTo>
                <a:cubicBezTo>
                  <a:pt x="649" y="2153"/>
                  <a:pt x="650" y="2154"/>
                  <a:pt x="650" y="2155"/>
                </a:cubicBezTo>
                <a:cubicBezTo>
                  <a:pt x="651" y="2157"/>
                  <a:pt x="651" y="2159"/>
                  <a:pt x="652" y="2161"/>
                </a:cubicBezTo>
                <a:cubicBezTo>
                  <a:pt x="652" y="2162"/>
                  <a:pt x="652" y="2164"/>
                  <a:pt x="652" y="2165"/>
                </a:cubicBezTo>
                <a:cubicBezTo>
                  <a:pt x="653" y="2168"/>
                  <a:pt x="652" y="2170"/>
                  <a:pt x="648" y="2170"/>
                </a:cubicBezTo>
                <a:cubicBezTo>
                  <a:pt x="646" y="2170"/>
                  <a:pt x="643" y="2170"/>
                  <a:pt x="640" y="2170"/>
                </a:cubicBezTo>
                <a:cubicBezTo>
                  <a:pt x="640" y="2170"/>
                  <a:pt x="639" y="2170"/>
                  <a:pt x="639" y="2170"/>
                </a:cubicBezTo>
                <a:cubicBezTo>
                  <a:pt x="637" y="2172"/>
                  <a:pt x="635" y="2173"/>
                  <a:pt x="634" y="2174"/>
                </a:cubicBezTo>
                <a:cubicBezTo>
                  <a:pt x="632" y="2177"/>
                  <a:pt x="629" y="2177"/>
                  <a:pt x="627" y="2175"/>
                </a:cubicBezTo>
                <a:cubicBezTo>
                  <a:pt x="625" y="2173"/>
                  <a:pt x="624" y="2170"/>
                  <a:pt x="622" y="2168"/>
                </a:cubicBezTo>
                <a:cubicBezTo>
                  <a:pt x="621" y="2166"/>
                  <a:pt x="622" y="2164"/>
                  <a:pt x="624" y="2163"/>
                </a:cubicBezTo>
                <a:cubicBezTo>
                  <a:pt x="621" y="2163"/>
                  <a:pt x="620" y="2163"/>
                  <a:pt x="618" y="2163"/>
                </a:cubicBezTo>
                <a:cubicBezTo>
                  <a:pt x="617" y="2165"/>
                  <a:pt x="616" y="2167"/>
                  <a:pt x="615" y="2169"/>
                </a:cubicBezTo>
                <a:cubicBezTo>
                  <a:pt x="615" y="2170"/>
                  <a:pt x="615" y="2170"/>
                  <a:pt x="615" y="2171"/>
                </a:cubicBezTo>
                <a:cubicBezTo>
                  <a:pt x="615" y="2174"/>
                  <a:pt x="614" y="2176"/>
                  <a:pt x="611" y="2175"/>
                </a:cubicBezTo>
                <a:cubicBezTo>
                  <a:pt x="608" y="2175"/>
                  <a:pt x="605" y="2174"/>
                  <a:pt x="602" y="2173"/>
                </a:cubicBezTo>
                <a:cubicBezTo>
                  <a:pt x="600" y="2172"/>
                  <a:pt x="599" y="2171"/>
                  <a:pt x="600" y="2169"/>
                </a:cubicBezTo>
                <a:cubicBezTo>
                  <a:pt x="600" y="2168"/>
                  <a:pt x="600" y="2167"/>
                  <a:pt x="601" y="2167"/>
                </a:cubicBezTo>
                <a:cubicBezTo>
                  <a:pt x="598" y="2166"/>
                  <a:pt x="596" y="2165"/>
                  <a:pt x="594" y="2164"/>
                </a:cubicBezTo>
                <a:cubicBezTo>
                  <a:pt x="593" y="2163"/>
                  <a:pt x="592" y="2161"/>
                  <a:pt x="591" y="2159"/>
                </a:cubicBezTo>
                <a:cubicBezTo>
                  <a:pt x="590" y="2157"/>
                  <a:pt x="590" y="2156"/>
                  <a:pt x="592" y="2154"/>
                </a:cubicBezTo>
                <a:cubicBezTo>
                  <a:pt x="595" y="2152"/>
                  <a:pt x="596" y="2149"/>
                  <a:pt x="595" y="2145"/>
                </a:cubicBezTo>
                <a:cubicBezTo>
                  <a:pt x="595" y="2143"/>
                  <a:pt x="595" y="2141"/>
                  <a:pt x="595" y="2139"/>
                </a:cubicBezTo>
                <a:cubicBezTo>
                  <a:pt x="594" y="2138"/>
                  <a:pt x="592" y="2138"/>
                  <a:pt x="591" y="2137"/>
                </a:cubicBezTo>
                <a:cubicBezTo>
                  <a:pt x="590" y="2135"/>
                  <a:pt x="589" y="2133"/>
                  <a:pt x="589" y="2131"/>
                </a:cubicBezTo>
                <a:cubicBezTo>
                  <a:pt x="589" y="2128"/>
                  <a:pt x="592" y="2126"/>
                  <a:pt x="595" y="2125"/>
                </a:cubicBezTo>
                <a:cubicBezTo>
                  <a:pt x="595" y="2126"/>
                  <a:pt x="595" y="2126"/>
                  <a:pt x="596" y="2127"/>
                </a:cubicBezTo>
                <a:cubicBezTo>
                  <a:pt x="596" y="2128"/>
                  <a:pt x="596" y="2129"/>
                  <a:pt x="596" y="2130"/>
                </a:cubicBezTo>
                <a:cubicBezTo>
                  <a:pt x="595" y="2130"/>
                  <a:pt x="595" y="2130"/>
                  <a:pt x="595" y="2130"/>
                </a:cubicBezTo>
                <a:cubicBezTo>
                  <a:pt x="594" y="2131"/>
                  <a:pt x="594" y="2132"/>
                  <a:pt x="593" y="2134"/>
                </a:cubicBezTo>
                <a:cubicBezTo>
                  <a:pt x="594" y="2134"/>
                  <a:pt x="595" y="2134"/>
                  <a:pt x="595" y="2134"/>
                </a:cubicBezTo>
                <a:cubicBezTo>
                  <a:pt x="597" y="2132"/>
                  <a:pt x="597" y="2132"/>
                  <a:pt x="598" y="2130"/>
                </a:cubicBezTo>
                <a:cubicBezTo>
                  <a:pt x="603" y="2124"/>
                  <a:pt x="608" y="2120"/>
                  <a:pt x="616" y="2118"/>
                </a:cubicBezTo>
                <a:cubicBezTo>
                  <a:pt x="619" y="2118"/>
                  <a:pt x="623" y="2117"/>
                  <a:pt x="625" y="2114"/>
                </a:cubicBezTo>
                <a:cubicBezTo>
                  <a:pt x="625" y="2113"/>
                  <a:pt x="626" y="2113"/>
                  <a:pt x="626" y="2113"/>
                </a:cubicBezTo>
                <a:cubicBezTo>
                  <a:pt x="629" y="2113"/>
                  <a:pt x="630" y="2110"/>
                  <a:pt x="632" y="2108"/>
                </a:cubicBezTo>
                <a:cubicBezTo>
                  <a:pt x="640" y="2101"/>
                  <a:pt x="652" y="2100"/>
                  <a:pt x="659" y="2107"/>
                </a:cubicBezTo>
                <a:cubicBezTo>
                  <a:pt x="662" y="2109"/>
                  <a:pt x="665" y="2111"/>
                  <a:pt x="667" y="2113"/>
                </a:cubicBezTo>
                <a:cubicBezTo>
                  <a:pt x="668" y="2114"/>
                  <a:pt x="670" y="2116"/>
                  <a:pt x="671" y="2118"/>
                </a:cubicBezTo>
                <a:cubicBezTo>
                  <a:pt x="672" y="2119"/>
                  <a:pt x="672" y="2119"/>
                  <a:pt x="674" y="2118"/>
                </a:cubicBezTo>
                <a:cubicBezTo>
                  <a:pt x="674" y="2118"/>
                  <a:pt x="675" y="2117"/>
                  <a:pt x="676" y="2116"/>
                </a:cubicBezTo>
                <a:cubicBezTo>
                  <a:pt x="678" y="2113"/>
                  <a:pt x="681" y="2113"/>
                  <a:pt x="682" y="2117"/>
                </a:cubicBezTo>
                <a:cubicBezTo>
                  <a:pt x="683" y="2120"/>
                  <a:pt x="684" y="2123"/>
                  <a:pt x="685" y="2126"/>
                </a:cubicBezTo>
                <a:cubicBezTo>
                  <a:pt x="685" y="2130"/>
                  <a:pt x="685" y="2134"/>
                  <a:pt x="683" y="2139"/>
                </a:cubicBezTo>
                <a:cubicBezTo>
                  <a:pt x="681" y="2145"/>
                  <a:pt x="676" y="2149"/>
                  <a:pt x="670" y="2149"/>
                </a:cubicBezTo>
                <a:cubicBezTo>
                  <a:pt x="669" y="2149"/>
                  <a:pt x="668" y="2149"/>
                  <a:pt x="668" y="2149"/>
                </a:cubicBezTo>
                <a:cubicBezTo>
                  <a:pt x="665" y="2148"/>
                  <a:pt x="664" y="2149"/>
                  <a:pt x="663" y="2151"/>
                </a:cubicBezTo>
                <a:cubicBezTo>
                  <a:pt x="662" y="2155"/>
                  <a:pt x="656" y="2157"/>
                  <a:pt x="653" y="2154"/>
                </a:cubicBezTo>
                <a:cubicBezTo>
                  <a:pt x="652" y="2153"/>
                  <a:pt x="651" y="2152"/>
                  <a:pt x="650" y="2151"/>
                </a:cubicBezTo>
                <a:cubicBezTo>
                  <a:pt x="649" y="2151"/>
                  <a:pt x="649" y="2151"/>
                  <a:pt x="649" y="2151"/>
                </a:cubicBezTo>
                <a:close/>
                <a:moveTo>
                  <a:pt x="643" y="2147"/>
                </a:moveTo>
                <a:cubicBezTo>
                  <a:pt x="647" y="2148"/>
                  <a:pt x="650" y="2149"/>
                  <a:pt x="653" y="2152"/>
                </a:cubicBezTo>
                <a:cubicBezTo>
                  <a:pt x="655" y="2154"/>
                  <a:pt x="657" y="2155"/>
                  <a:pt x="659" y="2154"/>
                </a:cubicBezTo>
                <a:cubicBezTo>
                  <a:pt x="661" y="2153"/>
                  <a:pt x="663" y="2151"/>
                  <a:pt x="663" y="2148"/>
                </a:cubicBezTo>
                <a:cubicBezTo>
                  <a:pt x="663" y="2148"/>
                  <a:pt x="662" y="2148"/>
                  <a:pt x="662" y="2149"/>
                </a:cubicBezTo>
                <a:cubicBezTo>
                  <a:pt x="661" y="2150"/>
                  <a:pt x="660" y="2151"/>
                  <a:pt x="659" y="2152"/>
                </a:cubicBezTo>
                <a:cubicBezTo>
                  <a:pt x="658" y="2153"/>
                  <a:pt x="657" y="2153"/>
                  <a:pt x="656" y="2153"/>
                </a:cubicBezTo>
                <a:cubicBezTo>
                  <a:pt x="655" y="2153"/>
                  <a:pt x="655" y="2151"/>
                  <a:pt x="655" y="2151"/>
                </a:cubicBezTo>
                <a:cubicBezTo>
                  <a:pt x="655" y="2148"/>
                  <a:pt x="655" y="2146"/>
                  <a:pt x="656" y="2144"/>
                </a:cubicBezTo>
                <a:cubicBezTo>
                  <a:pt x="659" y="2145"/>
                  <a:pt x="662" y="2146"/>
                  <a:pt x="666" y="2147"/>
                </a:cubicBezTo>
                <a:cubicBezTo>
                  <a:pt x="673" y="2148"/>
                  <a:pt x="679" y="2146"/>
                  <a:pt x="682" y="2138"/>
                </a:cubicBezTo>
                <a:cubicBezTo>
                  <a:pt x="684" y="2133"/>
                  <a:pt x="683" y="2128"/>
                  <a:pt x="683" y="2123"/>
                </a:cubicBezTo>
                <a:cubicBezTo>
                  <a:pt x="682" y="2121"/>
                  <a:pt x="681" y="2119"/>
                  <a:pt x="681" y="2117"/>
                </a:cubicBezTo>
                <a:cubicBezTo>
                  <a:pt x="680" y="2116"/>
                  <a:pt x="679" y="2115"/>
                  <a:pt x="677" y="2117"/>
                </a:cubicBezTo>
                <a:cubicBezTo>
                  <a:pt x="676" y="2119"/>
                  <a:pt x="674" y="2120"/>
                  <a:pt x="672" y="2121"/>
                </a:cubicBezTo>
                <a:cubicBezTo>
                  <a:pt x="672" y="2121"/>
                  <a:pt x="671" y="2122"/>
                  <a:pt x="671" y="2123"/>
                </a:cubicBezTo>
                <a:cubicBezTo>
                  <a:pt x="672" y="2126"/>
                  <a:pt x="671" y="2130"/>
                  <a:pt x="670" y="2133"/>
                </a:cubicBezTo>
                <a:cubicBezTo>
                  <a:pt x="670" y="2131"/>
                  <a:pt x="670" y="2129"/>
                  <a:pt x="670" y="2127"/>
                </a:cubicBezTo>
                <a:cubicBezTo>
                  <a:pt x="670" y="2126"/>
                  <a:pt x="670" y="2126"/>
                  <a:pt x="670" y="2126"/>
                </a:cubicBezTo>
                <a:cubicBezTo>
                  <a:pt x="669" y="2126"/>
                  <a:pt x="668" y="2126"/>
                  <a:pt x="668" y="2126"/>
                </a:cubicBezTo>
                <a:cubicBezTo>
                  <a:pt x="668" y="2128"/>
                  <a:pt x="667" y="2129"/>
                  <a:pt x="666" y="2130"/>
                </a:cubicBezTo>
                <a:cubicBezTo>
                  <a:pt x="666" y="2130"/>
                  <a:pt x="666" y="2130"/>
                  <a:pt x="666" y="2130"/>
                </a:cubicBezTo>
                <a:cubicBezTo>
                  <a:pt x="666" y="2129"/>
                  <a:pt x="666" y="2127"/>
                  <a:pt x="667" y="2125"/>
                </a:cubicBezTo>
                <a:cubicBezTo>
                  <a:pt x="666" y="2126"/>
                  <a:pt x="665" y="2126"/>
                  <a:pt x="665" y="2127"/>
                </a:cubicBezTo>
                <a:cubicBezTo>
                  <a:pt x="664" y="2127"/>
                  <a:pt x="664" y="2128"/>
                  <a:pt x="663" y="2129"/>
                </a:cubicBezTo>
                <a:cubicBezTo>
                  <a:pt x="664" y="2125"/>
                  <a:pt x="664" y="2125"/>
                  <a:pt x="670" y="2124"/>
                </a:cubicBezTo>
                <a:cubicBezTo>
                  <a:pt x="670" y="2124"/>
                  <a:pt x="669" y="2123"/>
                  <a:pt x="669" y="2123"/>
                </a:cubicBezTo>
                <a:cubicBezTo>
                  <a:pt x="666" y="2124"/>
                  <a:pt x="665" y="2122"/>
                  <a:pt x="665" y="2120"/>
                </a:cubicBezTo>
                <a:cubicBezTo>
                  <a:pt x="666" y="2119"/>
                  <a:pt x="668" y="2119"/>
                  <a:pt x="670" y="2119"/>
                </a:cubicBezTo>
                <a:cubicBezTo>
                  <a:pt x="668" y="2116"/>
                  <a:pt x="666" y="2113"/>
                  <a:pt x="663" y="2113"/>
                </a:cubicBezTo>
                <a:cubicBezTo>
                  <a:pt x="663" y="2113"/>
                  <a:pt x="663" y="2113"/>
                  <a:pt x="663" y="2112"/>
                </a:cubicBezTo>
                <a:cubicBezTo>
                  <a:pt x="660" y="2110"/>
                  <a:pt x="658" y="2108"/>
                  <a:pt x="655" y="2106"/>
                </a:cubicBezTo>
                <a:cubicBezTo>
                  <a:pt x="653" y="2105"/>
                  <a:pt x="650" y="2104"/>
                  <a:pt x="648" y="2104"/>
                </a:cubicBezTo>
                <a:cubicBezTo>
                  <a:pt x="645" y="2104"/>
                  <a:pt x="641" y="2106"/>
                  <a:pt x="638" y="2106"/>
                </a:cubicBezTo>
                <a:cubicBezTo>
                  <a:pt x="635" y="2107"/>
                  <a:pt x="633" y="2109"/>
                  <a:pt x="631" y="2112"/>
                </a:cubicBezTo>
                <a:cubicBezTo>
                  <a:pt x="633" y="2112"/>
                  <a:pt x="634" y="2112"/>
                  <a:pt x="635" y="2112"/>
                </a:cubicBezTo>
                <a:cubicBezTo>
                  <a:pt x="635" y="2113"/>
                  <a:pt x="634" y="2113"/>
                  <a:pt x="633" y="2113"/>
                </a:cubicBezTo>
                <a:cubicBezTo>
                  <a:pt x="631" y="2114"/>
                  <a:pt x="628" y="2113"/>
                  <a:pt x="626" y="2115"/>
                </a:cubicBezTo>
                <a:cubicBezTo>
                  <a:pt x="623" y="2119"/>
                  <a:pt x="619" y="2123"/>
                  <a:pt x="615" y="2127"/>
                </a:cubicBezTo>
                <a:cubicBezTo>
                  <a:pt x="614" y="2129"/>
                  <a:pt x="613" y="2132"/>
                  <a:pt x="612" y="2134"/>
                </a:cubicBezTo>
                <a:cubicBezTo>
                  <a:pt x="612" y="2134"/>
                  <a:pt x="612" y="2135"/>
                  <a:pt x="612" y="2136"/>
                </a:cubicBezTo>
                <a:cubicBezTo>
                  <a:pt x="613" y="2138"/>
                  <a:pt x="614" y="2140"/>
                  <a:pt x="616" y="2142"/>
                </a:cubicBezTo>
                <a:cubicBezTo>
                  <a:pt x="617" y="2140"/>
                  <a:pt x="618" y="2138"/>
                  <a:pt x="619" y="2137"/>
                </a:cubicBezTo>
                <a:cubicBezTo>
                  <a:pt x="619" y="2138"/>
                  <a:pt x="619" y="2140"/>
                  <a:pt x="618" y="2141"/>
                </a:cubicBezTo>
                <a:cubicBezTo>
                  <a:pt x="617" y="2142"/>
                  <a:pt x="616" y="2144"/>
                  <a:pt x="616" y="2145"/>
                </a:cubicBezTo>
                <a:cubicBezTo>
                  <a:pt x="615" y="2146"/>
                  <a:pt x="616" y="2147"/>
                  <a:pt x="616" y="2148"/>
                </a:cubicBezTo>
                <a:cubicBezTo>
                  <a:pt x="619" y="2151"/>
                  <a:pt x="622" y="2151"/>
                  <a:pt x="626" y="2149"/>
                </a:cubicBezTo>
                <a:cubicBezTo>
                  <a:pt x="628" y="2148"/>
                  <a:pt x="631" y="2147"/>
                  <a:pt x="634" y="2146"/>
                </a:cubicBezTo>
                <a:cubicBezTo>
                  <a:pt x="635" y="2145"/>
                  <a:pt x="636" y="2145"/>
                  <a:pt x="636" y="2143"/>
                </a:cubicBezTo>
                <a:cubicBezTo>
                  <a:pt x="636" y="2140"/>
                  <a:pt x="636" y="2136"/>
                  <a:pt x="636" y="2133"/>
                </a:cubicBezTo>
                <a:cubicBezTo>
                  <a:pt x="636" y="2130"/>
                  <a:pt x="636" y="2127"/>
                  <a:pt x="636" y="2124"/>
                </a:cubicBezTo>
                <a:cubicBezTo>
                  <a:pt x="637" y="2127"/>
                  <a:pt x="637" y="2130"/>
                  <a:pt x="638" y="2132"/>
                </a:cubicBezTo>
                <a:cubicBezTo>
                  <a:pt x="639" y="2137"/>
                  <a:pt x="639" y="2141"/>
                  <a:pt x="637" y="2145"/>
                </a:cubicBezTo>
                <a:cubicBezTo>
                  <a:pt x="637" y="2146"/>
                  <a:pt x="636" y="2147"/>
                  <a:pt x="636" y="2147"/>
                </a:cubicBezTo>
                <a:cubicBezTo>
                  <a:pt x="632" y="2147"/>
                  <a:pt x="629" y="2149"/>
                  <a:pt x="626" y="2151"/>
                </a:cubicBezTo>
                <a:cubicBezTo>
                  <a:pt x="621" y="2154"/>
                  <a:pt x="617" y="2152"/>
                  <a:pt x="614" y="2148"/>
                </a:cubicBezTo>
                <a:cubicBezTo>
                  <a:pt x="614" y="2148"/>
                  <a:pt x="614" y="2147"/>
                  <a:pt x="614" y="2146"/>
                </a:cubicBezTo>
                <a:cubicBezTo>
                  <a:pt x="615" y="2144"/>
                  <a:pt x="614" y="2142"/>
                  <a:pt x="612" y="2140"/>
                </a:cubicBezTo>
                <a:cubicBezTo>
                  <a:pt x="611" y="2138"/>
                  <a:pt x="609" y="2136"/>
                  <a:pt x="610" y="2133"/>
                </a:cubicBezTo>
                <a:cubicBezTo>
                  <a:pt x="611" y="2131"/>
                  <a:pt x="612" y="2129"/>
                  <a:pt x="613" y="2128"/>
                </a:cubicBezTo>
                <a:cubicBezTo>
                  <a:pt x="615" y="2125"/>
                  <a:pt x="617" y="2123"/>
                  <a:pt x="619" y="2120"/>
                </a:cubicBezTo>
                <a:cubicBezTo>
                  <a:pt x="619" y="2120"/>
                  <a:pt x="618" y="2120"/>
                  <a:pt x="618" y="2120"/>
                </a:cubicBezTo>
                <a:cubicBezTo>
                  <a:pt x="613" y="2121"/>
                  <a:pt x="608" y="2123"/>
                  <a:pt x="605" y="2126"/>
                </a:cubicBezTo>
                <a:cubicBezTo>
                  <a:pt x="600" y="2130"/>
                  <a:pt x="597" y="2135"/>
                  <a:pt x="597" y="2142"/>
                </a:cubicBezTo>
                <a:cubicBezTo>
                  <a:pt x="596" y="2149"/>
                  <a:pt x="599" y="2155"/>
                  <a:pt x="602" y="2161"/>
                </a:cubicBezTo>
                <a:cubicBezTo>
                  <a:pt x="603" y="2161"/>
                  <a:pt x="603" y="2163"/>
                  <a:pt x="603" y="2164"/>
                </a:cubicBezTo>
                <a:cubicBezTo>
                  <a:pt x="603" y="2166"/>
                  <a:pt x="603" y="2167"/>
                  <a:pt x="602" y="2168"/>
                </a:cubicBezTo>
                <a:cubicBezTo>
                  <a:pt x="601" y="2170"/>
                  <a:pt x="602" y="2171"/>
                  <a:pt x="603" y="2172"/>
                </a:cubicBezTo>
                <a:cubicBezTo>
                  <a:pt x="606" y="2172"/>
                  <a:pt x="609" y="2173"/>
                  <a:pt x="612" y="2173"/>
                </a:cubicBezTo>
                <a:cubicBezTo>
                  <a:pt x="612" y="2173"/>
                  <a:pt x="613" y="2172"/>
                  <a:pt x="613" y="2172"/>
                </a:cubicBezTo>
                <a:cubicBezTo>
                  <a:pt x="614" y="2171"/>
                  <a:pt x="614" y="2169"/>
                  <a:pt x="614" y="2168"/>
                </a:cubicBezTo>
                <a:cubicBezTo>
                  <a:pt x="616" y="2166"/>
                  <a:pt x="616" y="2163"/>
                  <a:pt x="616" y="2161"/>
                </a:cubicBezTo>
                <a:cubicBezTo>
                  <a:pt x="616" y="2160"/>
                  <a:pt x="616" y="2160"/>
                  <a:pt x="616" y="2159"/>
                </a:cubicBezTo>
                <a:cubicBezTo>
                  <a:pt x="616" y="2159"/>
                  <a:pt x="616" y="2159"/>
                  <a:pt x="616" y="2159"/>
                </a:cubicBezTo>
                <a:cubicBezTo>
                  <a:pt x="617" y="2161"/>
                  <a:pt x="618" y="2161"/>
                  <a:pt x="620" y="2161"/>
                </a:cubicBezTo>
                <a:cubicBezTo>
                  <a:pt x="621" y="2161"/>
                  <a:pt x="622" y="2161"/>
                  <a:pt x="623" y="2161"/>
                </a:cubicBezTo>
                <a:cubicBezTo>
                  <a:pt x="625" y="2161"/>
                  <a:pt x="628" y="2162"/>
                  <a:pt x="629" y="2158"/>
                </a:cubicBezTo>
                <a:cubicBezTo>
                  <a:pt x="629" y="2160"/>
                  <a:pt x="629" y="2162"/>
                  <a:pt x="629" y="2163"/>
                </a:cubicBezTo>
                <a:cubicBezTo>
                  <a:pt x="628" y="2163"/>
                  <a:pt x="626" y="2164"/>
                  <a:pt x="625" y="2164"/>
                </a:cubicBezTo>
                <a:cubicBezTo>
                  <a:pt x="624" y="2165"/>
                  <a:pt x="623" y="2167"/>
                  <a:pt x="624" y="2168"/>
                </a:cubicBezTo>
                <a:cubicBezTo>
                  <a:pt x="625" y="2170"/>
                  <a:pt x="626" y="2172"/>
                  <a:pt x="628" y="2174"/>
                </a:cubicBezTo>
                <a:cubicBezTo>
                  <a:pt x="630" y="2175"/>
                  <a:pt x="632" y="2175"/>
                  <a:pt x="633" y="2173"/>
                </a:cubicBezTo>
                <a:cubicBezTo>
                  <a:pt x="634" y="2172"/>
                  <a:pt x="634" y="2172"/>
                  <a:pt x="635" y="2171"/>
                </a:cubicBezTo>
                <a:cubicBezTo>
                  <a:pt x="637" y="2170"/>
                  <a:pt x="638" y="2168"/>
                  <a:pt x="640" y="2167"/>
                </a:cubicBezTo>
                <a:cubicBezTo>
                  <a:pt x="644" y="2163"/>
                  <a:pt x="646" y="2157"/>
                  <a:pt x="648" y="2151"/>
                </a:cubicBezTo>
                <a:cubicBezTo>
                  <a:pt x="648" y="2151"/>
                  <a:pt x="647" y="2150"/>
                  <a:pt x="646" y="2149"/>
                </a:cubicBezTo>
                <a:cubicBezTo>
                  <a:pt x="646" y="2148"/>
                  <a:pt x="645" y="2147"/>
                  <a:pt x="643" y="2147"/>
                </a:cubicBezTo>
                <a:close/>
                <a:moveTo>
                  <a:pt x="596" y="2153"/>
                </a:moveTo>
                <a:cubicBezTo>
                  <a:pt x="595" y="2154"/>
                  <a:pt x="594" y="2155"/>
                  <a:pt x="593" y="2156"/>
                </a:cubicBezTo>
                <a:cubicBezTo>
                  <a:pt x="592" y="2156"/>
                  <a:pt x="592" y="2157"/>
                  <a:pt x="592" y="2158"/>
                </a:cubicBezTo>
                <a:cubicBezTo>
                  <a:pt x="592" y="2161"/>
                  <a:pt x="596" y="2165"/>
                  <a:pt x="599" y="2164"/>
                </a:cubicBezTo>
                <a:cubicBezTo>
                  <a:pt x="601" y="2164"/>
                  <a:pt x="602" y="2163"/>
                  <a:pt x="601" y="2162"/>
                </a:cubicBezTo>
                <a:cubicBezTo>
                  <a:pt x="599" y="2159"/>
                  <a:pt x="598" y="2156"/>
                  <a:pt x="596" y="2153"/>
                </a:cubicBezTo>
                <a:close/>
                <a:moveTo>
                  <a:pt x="649" y="2155"/>
                </a:moveTo>
                <a:cubicBezTo>
                  <a:pt x="646" y="2160"/>
                  <a:pt x="644" y="2164"/>
                  <a:pt x="642" y="2168"/>
                </a:cubicBezTo>
                <a:cubicBezTo>
                  <a:pt x="645" y="2168"/>
                  <a:pt x="647" y="2169"/>
                  <a:pt x="650" y="2168"/>
                </a:cubicBezTo>
                <a:cubicBezTo>
                  <a:pt x="650" y="2168"/>
                  <a:pt x="650" y="2167"/>
                  <a:pt x="650" y="2167"/>
                </a:cubicBezTo>
                <a:cubicBezTo>
                  <a:pt x="650" y="2164"/>
                  <a:pt x="650" y="2162"/>
                  <a:pt x="650" y="2159"/>
                </a:cubicBezTo>
                <a:cubicBezTo>
                  <a:pt x="650" y="2158"/>
                  <a:pt x="649" y="2157"/>
                  <a:pt x="649" y="2155"/>
                </a:cubicBezTo>
                <a:close/>
                <a:moveTo>
                  <a:pt x="596" y="2135"/>
                </a:moveTo>
                <a:cubicBezTo>
                  <a:pt x="595" y="2135"/>
                  <a:pt x="595" y="2136"/>
                  <a:pt x="594" y="2136"/>
                </a:cubicBezTo>
                <a:cubicBezTo>
                  <a:pt x="594" y="2136"/>
                  <a:pt x="593" y="2136"/>
                  <a:pt x="593" y="2135"/>
                </a:cubicBezTo>
                <a:cubicBezTo>
                  <a:pt x="592" y="2135"/>
                  <a:pt x="592" y="2134"/>
                  <a:pt x="592" y="2133"/>
                </a:cubicBezTo>
                <a:cubicBezTo>
                  <a:pt x="593" y="2131"/>
                  <a:pt x="593" y="2129"/>
                  <a:pt x="594" y="2127"/>
                </a:cubicBezTo>
                <a:cubicBezTo>
                  <a:pt x="594" y="2127"/>
                  <a:pt x="594" y="2127"/>
                  <a:pt x="593" y="2127"/>
                </a:cubicBezTo>
                <a:cubicBezTo>
                  <a:pt x="592" y="2128"/>
                  <a:pt x="591" y="2129"/>
                  <a:pt x="590" y="2130"/>
                </a:cubicBezTo>
                <a:cubicBezTo>
                  <a:pt x="590" y="2131"/>
                  <a:pt x="591" y="2136"/>
                  <a:pt x="593" y="2137"/>
                </a:cubicBezTo>
                <a:cubicBezTo>
                  <a:pt x="594" y="2138"/>
                  <a:pt x="596" y="2137"/>
                  <a:pt x="596" y="2135"/>
                </a:cubicBezTo>
                <a:close/>
                <a:moveTo>
                  <a:pt x="596" y="2153"/>
                </a:moveTo>
                <a:cubicBezTo>
                  <a:pt x="595" y="2154"/>
                  <a:pt x="594" y="2155"/>
                  <a:pt x="592" y="2156"/>
                </a:cubicBezTo>
                <a:cubicBezTo>
                  <a:pt x="592" y="2156"/>
                  <a:pt x="592" y="2157"/>
                  <a:pt x="592" y="2158"/>
                </a:cubicBezTo>
                <a:cubicBezTo>
                  <a:pt x="592" y="2160"/>
                  <a:pt x="596" y="2165"/>
                  <a:pt x="599" y="2164"/>
                </a:cubicBezTo>
                <a:cubicBezTo>
                  <a:pt x="601" y="2164"/>
                  <a:pt x="602" y="2163"/>
                  <a:pt x="601" y="2162"/>
                </a:cubicBezTo>
                <a:cubicBezTo>
                  <a:pt x="599" y="2159"/>
                  <a:pt x="598" y="2156"/>
                  <a:pt x="596" y="2153"/>
                </a:cubicBezTo>
                <a:close/>
                <a:moveTo>
                  <a:pt x="649" y="2155"/>
                </a:moveTo>
                <a:cubicBezTo>
                  <a:pt x="646" y="2160"/>
                  <a:pt x="644" y="2164"/>
                  <a:pt x="642" y="2169"/>
                </a:cubicBezTo>
                <a:cubicBezTo>
                  <a:pt x="644" y="2169"/>
                  <a:pt x="647" y="2169"/>
                  <a:pt x="649" y="2169"/>
                </a:cubicBezTo>
                <a:cubicBezTo>
                  <a:pt x="650" y="2169"/>
                  <a:pt x="650" y="2167"/>
                  <a:pt x="650" y="2167"/>
                </a:cubicBezTo>
                <a:cubicBezTo>
                  <a:pt x="650" y="2164"/>
                  <a:pt x="650" y="2162"/>
                  <a:pt x="650" y="2159"/>
                </a:cubicBezTo>
                <a:cubicBezTo>
                  <a:pt x="649" y="2158"/>
                  <a:pt x="649" y="2157"/>
                  <a:pt x="649" y="2155"/>
                </a:cubicBezTo>
                <a:close/>
                <a:moveTo>
                  <a:pt x="596" y="2135"/>
                </a:moveTo>
                <a:cubicBezTo>
                  <a:pt x="595" y="2135"/>
                  <a:pt x="595" y="2135"/>
                  <a:pt x="594" y="2135"/>
                </a:cubicBezTo>
                <a:cubicBezTo>
                  <a:pt x="593" y="2135"/>
                  <a:pt x="593" y="2135"/>
                  <a:pt x="593" y="2135"/>
                </a:cubicBezTo>
                <a:cubicBezTo>
                  <a:pt x="592" y="2135"/>
                  <a:pt x="592" y="2134"/>
                  <a:pt x="592" y="2133"/>
                </a:cubicBezTo>
                <a:cubicBezTo>
                  <a:pt x="593" y="2131"/>
                  <a:pt x="593" y="2129"/>
                  <a:pt x="594" y="2127"/>
                </a:cubicBezTo>
                <a:cubicBezTo>
                  <a:pt x="593" y="2127"/>
                  <a:pt x="593" y="2127"/>
                  <a:pt x="593" y="2127"/>
                </a:cubicBezTo>
                <a:cubicBezTo>
                  <a:pt x="592" y="2128"/>
                  <a:pt x="591" y="2129"/>
                  <a:pt x="591" y="2130"/>
                </a:cubicBezTo>
                <a:cubicBezTo>
                  <a:pt x="590" y="2131"/>
                  <a:pt x="591" y="2136"/>
                  <a:pt x="593" y="2137"/>
                </a:cubicBezTo>
                <a:cubicBezTo>
                  <a:pt x="594" y="2138"/>
                  <a:pt x="596" y="2137"/>
                  <a:pt x="596" y="2135"/>
                </a:cubicBezTo>
                <a:close/>
                <a:moveTo>
                  <a:pt x="648" y="2126"/>
                </a:moveTo>
                <a:cubicBezTo>
                  <a:pt x="652" y="2123"/>
                  <a:pt x="652" y="2123"/>
                  <a:pt x="656" y="2122"/>
                </a:cubicBezTo>
                <a:cubicBezTo>
                  <a:pt x="656" y="2124"/>
                  <a:pt x="657" y="2125"/>
                  <a:pt x="658" y="2125"/>
                </a:cubicBezTo>
                <a:cubicBezTo>
                  <a:pt x="656" y="2126"/>
                  <a:pt x="654" y="2128"/>
                  <a:pt x="652" y="2129"/>
                </a:cubicBezTo>
                <a:cubicBezTo>
                  <a:pt x="651" y="2128"/>
                  <a:pt x="651" y="2127"/>
                  <a:pt x="650" y="2126"/>
                </a:cubicBezTo>
                <a:cubicBezTo>
                  <a:pt x="650" y="2126"/>
                  <a:pt x="649" y="2126"/>
                  <a:pt x="648" y="2126"/>
                </a:cubicBezTo>
                <a:close/>
                <a:moveTo>
                  <a:pt x="654" y="2126"/>
                </a:moveTo>
                <a:cubicBezTo>
                  <a:pt x="654" y="2126"/>
                  <a:pt x="653" y="2125"/>
                  <a:pt x="652" y="2125"/>
                </a:cubicBezTo>
                <a:cubicBezTo>
                  <a:pt x="652" y="2125"/>
                  <a:pt x="651" y="2126"/>
                  <a:pt x="651" y="2126"/>
                </a:cubicBezTo>
                <a:cubicBezTo>
                  <a:pt x="651" y="2127"/>
                  <a:pt x="652" y="2127"/>
                  <a:pt x="652" y="2128"/>
                </a:cubicBezTo>
                <a:cubicBezTo>
                  <a:pt x="653" y="2127"/>
                  <a:pt x="653" y="2127"/>
                  <a:pt x="654" y="2126"/>
                </a:cubicBezTo>
                <a:close/>
                <a:moveTo>
                  <a:pt x="635" y="2117"/>
                </a:moveTo>
                <a:cubicBezTo>
                  <a:pt x="629" y="2116"/>
                  <a:pt x="626" y="2118"/>
                  <a:pt x="625" y="2126"/>
                </a:cubicBezTo>
                <a:cubicBezTo>
                  <a:pt x="626" y="2124"/>
                  <a:pt x="627" y="2122"/>
                  <a:pt x="628" y="2119"/>
                </a:cubicBezTo>
                <a:cubicBezTo>
                  <a:pt x="629" y="2119"/>
                  <a:pt x="629" y="2119"/>
                  <a:pt x="629" y="2119"/>
                </a:cubicBezTo>
                <a:cubicBezTo>
                  <a:pt x="629" y="2121"/>
                  <a:pt x="629" y="2121"/>
                  <a:pt x="629" y="2122"/>
                </a:cubicBezTo>
                <a:cubicBezTo>
                  <a:pt x="630" y="2119"/>
                  <a:pt x="632" y="2117"/>
                  <a:pt x="635" y="2117"/>
                </a:cubicBezTo>
                <a:close/>
                <a:moveTo>
                  <a:pt x="679" y="2118"/>
                </a:moveTo>
                <a:cubicBezTo>
                  <a:pt x="677" y="2119"/>
                  <a:pt x="675" y="2121"/>
                  <a:pt x="674" y="2122"/>
                </a:cubicBezTo>
                <a:cubicBezTo>
                  <a:pt x="676" y="2122"/>
                  <a:pt x="678" y="2121"/>
                  <a:pt x="679" y="2118"/>
                </a:cubicBezTo>
                <a:close/>
                <a:moveTo>
                  <a:pt x="646" y="2120"/>
                </a:moveTo>
                <a:cubicBezTo>
                  <a:pt x="647" y="2119"/>
                  <a:pt x="648" y="2117"/>
                  <a:pt x="649" y="2116"/>
                </a:cubicBezTo>
                <a:cubicBezTo>
                  <a:pt x="646" y="2117"/>
                  <a:pt x="645" y="2118"/>
                  <a:pt x="646" y="2120"/>
                </a:cubicBezTo>
                <a:close/>
                <a:moveTo>
                  <a:pt x="656" y="2142"/>
                </a:moveTo>
                <a:cubicBezTo>
                  <a:pt x="654" y="2142"/>
                  <a:pt x="653" y="2143"/>
                  <a:pt x="653" y="2144"/>
                </a:cubicBezTo>
                <a:cubicBezTo>
                  <a:pt x="654" y="2143"/>
                  <a:pt x="655" y="2142"/>
                  <a:pt x="656" y="2142"/>
                </a:cubicBezTo>
                <a:close/>
                <a:moveTo>
                  <a:pt x="655" y="2126"/>
                </a:moveTo>
                <a:cubicBezTo>
                  <a:pt x="654" y="2126"/>
                  <a:pt x="653" y="2125"/>
                  <a:pt x="652" y="2125"/>
                </a:cubicBezTo>
                <a:cubicBezTo>
                  <a:pt x="652" y="2125"/>
                  <a:pt x="651" y="2126"/>
                  <a:pt x="651" y="2127"/>
                </a:cubicBezTo>
                <a:cubicBezTo>
                  <a:pt x="651" y="2127"/>
                  <a:pt x="652" y="2127"/>
                  <a:pt x="652" y="2128"/>
                </a:cubicBezTo>
                <a:cubicBezTo>
                  <a:pt x="653" y="2127"/>
                  <a:pt x="653" y="2127"/>
                  <a:pt x="655" y="2126"/>
                </a:cubicBezTo>
                <a:close/>
                <a:moveTo>
                  <a:pt x="1308" y="2104"/>
                </a:moveTo>
                <a:cubicBezTo>
                  <a:pt x="1308" y="2104"/>
                  <a:pt x="1308" y="2104"/>
                  <a:pt x="1308" y="2104"/>
                </a:cubicBezTo>
                <a:cubicBezTo>
                  <a:pt x="1303" y="2104"/>
                  <a:pt x="1303" y="2104"/>
                  <a:pt x="1303" y="2104"/>
                </a:cubicBezTo>
                <a:cubicBezTo>
                  <a:pt x="1301" y="2105"/>
                  <a:pt x="1300" y="2107"/>
                  <a:pt x="1297" y="2107"/>
                </a:cubicBezTo>
                <a:cubicBezTo>
                  <a:pt x="1296" y="2109"/>
                  <a:pt x="1295" y="2110"/>
                  <a:pt x="1292" y="2110"/>
                </a:cubicBezTo>
                <a:cubicBezTo>
                  <a:pt x="1291" y="2112"/>
                  <a:pt x="1289" y="2112"/>
                  <a:pt x="1287" y="2113"/>
                </a:cubicBezTo>
                <a:cubicBezTo>
                  <a:pt x="1285" y="2114"/>
                  <a:pt x="1284" y="2115"/>
                  <a:pt x="1281" y="2115"/>
                </a:cubicBezTo>
                <a:cubicBezTo>
                  <a:pt x="1281" y="2115"/>
                  <a:pt x="1281" y="2115"/>
                  <a:pt x="1281" y="2125"/>
                </a:cubicBezTo>
                <a:cubicBezTo>
                  <a:pt x="1284" y="2124"/>
                  <a:pt x="1287" y="2123"/>
                  <a:pt x="1290" y="2122"/>
                </a:cubicBezTo>
                <a:cubicBezTo>
                  <a:pt x="1292" y="2121"/>
                  <a:pt x="1295" y="2120"/>
                  <a:pt x="1297" y="2118"/>
                </a:cubicBezTo>
                <a:cubicBezTo>
                  <a:pt x="1297" y="2118"/>
                  <a:pt x="1297" y="2118"/>
                  <a:pt x="1297" y="2177"/>
                </a:cubicBezTo>
                <a:cubicBezTo>
                  <a:pt x="1297" y="2177"/>
                  <a:pt x="1297" y="2177"/>
                  <a:pt x="1308" y="2177"/>
                </a:cubicBezTo>
                <a:cubicBezTo>
                  <a:pt x="1308" y="2177"/>
                  <a:pt x="1308" y="2177"/>
                  <a:pt x="1308" y="2104"/>
                </a:cubicBezTo>
                <a:close/>
                <a:moveTo>
                  <a:pt x="1356" y="2104"/>
                </a:moveTo>
                <a:cubicBezTo>
                  <a:pt x="1356" y="2104"/>
                  <a:pt x="1356" y="2104"/>
                  <a:pt x="1356" y="2104"/>
                </a:cubicBezTo>
                <a:cubicBezTo>
                  <a:pt x="1351" y="2104"/>
                  <a:pt x="1351" y="2104"/>
                  <a:pt x="1351" y="2104"/>
                </a:cubicBezTo>
                <a:cubicBezTo>
                  <a:pt x="1349" y="2105"/>
                  <a:pt x="1347" y="2107"/>
                  <a:pt x="1345" y="2107"/>
                </a:cubicBezTo>
                <a:cubicBezTo>
                  <a:pt x="1344" y="2109"/>
                  <a:pt x="1341" y="2110"/>
                  <a:pt x="1340" y="2110"/>
                </a:cubicBezTo>
                <a:cubicBezTo>
                  <a:pt x="1338" y="2112"/>
                  <a:pt x="1336" y="2112"/>
                  <a:pt x="1335" y="2113"/>
                </a:cubicBezTo>
                <a:cubicBezTo>
                  <a:pt x="1333" y="2114"/>
                  <a:pt x="1331" y="2115"/>
                  <a:pt x="1329" y="2115"/>
                </a:cubicBezTo>
                <a:cubicBezTo>
                  <a:pt x="1329" y="2115"/>
                  <a:pt x="1329" y="2115"/>
                  <a:pt x="1329" y="2125"/>
                </a:cubicBezTo>
                <a:cubicBezTo>
                  <a:pt x="1332" y="2124"/>
                  <a:pt x="1335" y="2123"/>
                  <a:pt x="1337" y="2122"/>
                </a:cubicBezTo>
                <a:cubicBezTo>
                  <a:pt x="1340" y="2121"/>
                  <a:pt x="1342" y="2120"/>
                  <a:pt x="1344" y="2118"/>
                </a:cubicBezTo>
                <a:cubicBezTo>
                  <a:pt x="1344" y="2118"/>
                  <a:pt x="1344" y="2118"/>
                  <a:pt x="1344" y="2177"/>
                </a:cubicBezTo>
                <a:cubicBezTo>
                  <a:pt x="1344" y="2177"/>
                  <a:pt x="1344" y="2177"/>
                  <a:pt x="1356" y="2177"/>
                </a:cubicBezTo>
                <a:cubicBezTo>
                  <a:pt x="1356" y="2177"/>
                  <a:pt x="1356" y="2177"/>
                  <a:pt x="1356" y="2104"/>
                </a:cubicBezTo>
                <a:close/>
                <a:moveTo>
                  <a:pt x="1402" y="2104"/>
                </a:moveTo>
                <a:cubicBezTo>
                  <a:pt x="1402" y="2104"/>
                  <a:pt x="1402" y="2104"/>
                  <a:pt x="1402" y="2104"/>
                </a:cubicBezTo>
                <a:cubicBezTo>
                  <a:pt x="1398" y="2104"/>
                  <a:pt x="1398" y="2104"/>
                  <a:pt x="1398" y="2104"/>
                </a:cubicBezTo>
                <a:cubicBezTo>
                  <a:pt x="1396" y="2105"/>
                  <a:pt x="1394" y="2107"/>
                  <a:pt x="1392" y="2107"/>
                </a:cubicBezTo>
                <a:cubicBezTo>
                  <a:pt x="1391" y="2109"/>
                  <a:pt x="1389" y="2110"/>
                  <a:pt x="1387" y="2110"/>
                </a:cubicBezTo>
                <a:cubicBezTo>
                  <a:pt x="1385" y="2111"/>
                  <a:pt x="1384" y="2112"/>
                  <a:pt x="1382" y="2112"/>
                </a:cubicBezTo>
                <a:cubicBezTo>
                  <a:pt x="1380" y="2113"/>
                  <a:pt x="1378" y="2114"/>
                  <a:pt x="1376" y="2115"/>
                </a:cubicBezTo>
                <a:cubicBezTo>
                  <a:pt x="1376" y="2115"/>
                  <a:pt x="1376" y="2115"/>
                  <a:pt x="1376" y="2125"/>
                </a:cubicBezTo>
                <a:cubicBezTo>
                  <a:pt x="1379" y="2124"/>
                  <a:pt x="1382" y="2123"/>
                  <a:pt x="1384" y="2122"/>
                </a:cubicBezTo>
                <a:cubicBezTo>
                  <a:pt x="1387" y="2121"/>
                  <a:pt x="1389" y="2120"/>
                  <a:pt x="1391" y="2118"/>
                </a:cubicBezTo>
                <a:cubicBezTo>
                  <a:pt x="1391" y="2118"/>
                  <a:pt x="1391" y="2118"/>
                  <a:pt x="1391" y="2177"/>
                </a:cubicBezTo>
                <a:cubicBezTo>
                  <a:pt x="1391" y="2177"/>
                  <a:pt x="1391" y="2177"/>
                  <a:pt x="1402" y="2177"/>
                </a:cubicBezTo>
                <a:cubicBezTo>
                  <a:pt x="1402" y="2177"/>
                  <a:pt x="1402" y="2177"/>
                  <a:pt x="1402" y="2104"/>
                </a:cubicBezTo>
                <a:close/>
                <a:moveTo>
                  <a:pt x="1613" y="2009"/>
                </a:moveTo>
                <a:cubicBezTo>
                  <a:pt x="1613" y="2009"/>
                  <a:pt x="1613" y="2009"/>
                  <a:pt x="1613" y="2009"/>
                </a:cubicBezTo>
                <a:cubicBezTo>
                  <a:pt x="1608" y="2009"/>
                  <a:pt x="1608" y="2009"/>
                  <a:pt x="1608" y="2009"/>
                </a:cubicBezTo>
                <a:cubicBezTo>
                  <a:pt x="1606" y="2010"/>
                  <a:pt x="1604" y="2012"/>
                  <a:pt x="1602" y="2012"/>
                </a:cubicBezTo>
                <a:cubicBezTo>
                  <a:pt x="1601" y="2014"/>
                  <a:pt x="1599" y="2014"/>
                  <a:pt x="1597" y="2015"/>
                </a:cubicBezTo>
                <a:cubicBezTo>
                  <a:pt x="1595" y="2016"/>
                  <a:pt x="1594" y="2017"/>
                  <a:pt x="1592" y="2017"/>
                </a:cubicBezTo>
                <a:cubicBezTo>
                  <a:pt x="1590" y="2018"/>
                  <a:pt x="1588" y="2019"/>
                  <a:pt x="1586" y="2020"/>
                </a:cubicBezTo>
                <a:cubicBezTo>
                  <a:pt x="1586" y="2020"/>
                  <a:pt x="1586" y="2020"/>
                  <a:pt x="1586" y="2030"/>
                </a:cubicBezTo>
                <a:cubicBezTo>
                  <a:pt x="1589" y="2029"/>
                  <a:pt x="1592" y="2028"/>
                  <a:pt x="1594" y="2027"/>
                </a:cubicBezTo>
                <a:cubicBezTo>
                  <a:pt x="1597" y="2026"/>
                  <a:pt x="1599" y="2025"/>
                  <a:pt x="1602" y="2023"/>
                </a:cubicBezTo>
                <a:cubicBezTo>
                  <a:pt x="1602" y="2023"/>
                  <a:pt x="1602" y="2023"/>
                  <a:pt x="1602" y="2082"/>
                </a:cubicBezTo>
                <a:cubicBezTo>
                  <a:pt x="1602" y="2082"/>
                  <a:pt x="1602" y="2082"/>
                  <a:pt x="1613" y="2082"/>
                </a:cubicBezTo>
                <a:cubicBezTo>
                  <a:pt x="1613" y="2082"/>
                  <a:pt x="1613" y="2082"/>
                  <a:pt x="1613" y="2009"/>
                </a:cubicBezTo>
                <a:close/>
                <a:moveTo>
                  <a:pt x="1660" y="2009"/>
                </a:moveTo>
                <a:cubicBezTo>
                  <a:pt x="1660" y="2009"/>
                  <a:pt x="1660" y="2009"/>
                  <a:pt x="1660" y="2009"/>
                </a:cubicBezTo>
                <a:cubicBezTo>
                  <a:pt x="1655" y="2009"/>
                  <a:pt x="1655" y="2009"/>
                  <a:pt x="1655" y="2009"/>
                </a:cubicBezTo>
                <a:cubicBezTo>
                  <a:pt x="1652" y="2010"/>
                  <a:pt x="1651" y="2012"/>
                  <a:pt x="1649" y="2012"/>
                </a:cubicBezTo>
                <a:cubicBezTo>
                  <a:pt x="1647" y="2014"/>
                  <a:pt x="1645" y="2014"/>
                  <a:pt x="1644" y="2015"/>
                </a:cubicBezTo>
                <a:cubicBezTo>
                  <a:pt x="1642" y="2017"/>
                  <a:pt x="1640" y="2017"/>
                  <a:pt x="1639" y="2018"/>
                </a:cubicBezTo>
                <a:cubicBezTo>
                  <a:pt x="1636" y="2019"/>
                  <a:pt x="1635" y="2020"/>
                  <a:pt x="1633" y="2020"/>
                </a:cubicBezTo>
                <a:cubicBezTo>
                  <a:pt x="1633" y="2020"/>
                  <a:pt x="1633" y="2020"/>
                  <a:pt x="1633" y="2030"/>
                </a:cubicBezTo>
                <a:cubicBezTo>
                  <a:pt x="1636" y="2029"/>
                  <a:pt x="1639" y="2028"/>
                  <a:pt x="1641" y="2027"/>
                </a:cubicBezTo>
                <a:cubicBezTo>
                  <a:pt x="1644" y="2026"/>
                  <a:pt x="1646" y="2025"/>
                  <a:pt x="1648" y="2023"/>
                </a:cubicBezTo>
                <a:cubicBezTo>
                  <a:pt x="1648" y="2023"/>
                  <a:pt x="1648" y="2023"/>
                  <a:pt x="1648" y="2082"/>
                </a:cubicBezTo>
                <a:cubicBezTo>
                  <a:pt x="1648" y="2082"/>
                  <a:pt x="1648" y="2082"/>
                  <a:pt x="1660" y="2082"/>
                </a:cubicBezTo>
                <a:cubicBezTo>
                  <a:pt x="1660" y="2082"/>
                  <a:pt x="1660" y="2082"/>
                  <a:pt x="1660" y="2009"/>
                </a:cubicBezTo>
                <a:close/>
                <a:moveTo>
                  <a:pt x="1705" y="2009"/>
                </a:moveTo>
                <a:cubicBezTo>
                  <a:pt x="1705" y="2009"/>
                  <a:pt x="1705" y="2009"/>
                  <a:pt x="1705" y="2009"/>
                </a:cubicBezTo>
                <a:cubicBezTo>
                  <a:pt x="1701" y="2009"/>
                  <a:pt x="1701" y="2009"/>
                  <a:pt x="1701" y="2009"/>
                </a:cubicBezTo>
                <a:cubicBezTo>
                  <a:pt x="1699" y="2010"/>
                  <a:pt x="1697" y="2012"/>
                  <a:pt x="1695" y="2012"/>
                </a:cubicBezTo>
                <a:cubicBezTo>
                  <a:pt x="1694" y="2014"/>
                  <a:pt x="1692" y="2014"/>
                  <a:pt x="1690" y="2015"/>
                </a:cubicBezTo>
                <a:cubicBezTo>
                  <a:pt x="1688" y="2017"/>
                  <a:pt x="1687" y="2017"/>
                  <a:pt x="1684" y="2018"/>
                </a:cubicBezTo>
                <a:cubicBezTo>
                  <a:pt x="1683" y="2019"/>
                  <a:pt x="1681" y="2020"/>
                  <a:pt x="1679" y="2020"/>
                </a:cubicBezTo>
                <a:cubicBezTo>
                  <a:pt x="1679" y="2020"/>
                  <a:pt x="1679" y="2020"/>
                  <a:pt x="1679" y="2030"/>
                </a:cubicBezTo>
                <a:cubicBezTo>
                  <a:pt x="1682" y="2029"/>
                  <a:pt x="1685" y="2028"/>
                  <a:pt x="1687" y="2027"/>
                </a:cubicBezTo>
                <a:cubicBezTo>
                  <a:pt x="1689" y="2026"/>
                  <a:pt x="1692" y="2025"/>
                  <a:pt x="1694" y="2023"/>
                </a:cubicBezTo>
                <a:cubicBezTo>
                  <a:pt x="1694" y="2023"/>
                  <a:pt x="1694" y="2023"/>
                  <a:pt x="1694" y="2082"/>
                </a:cubicBezTo>
                <a:cubicBezTo>
                  <a:pt x="1694" y="2082"/>
                  <a:pt x="1694" y="2082"/>
                  <a:pt x="1705" y="2082"/>
                </a:cubicBezTo>
                <a:cubicBezTo>
                  <a:pt x="1705" y="2082"/>
                  <a:pt x="1705" y="2082"/>
                  <a:pt x="1705" y="2009"/>
                </a:cubicBezTo>
                <a:close/>
                <a:moveTo>
                  <a:pt x="1752" y="2009"/>
                </a:moveTo>
                <a:cubicBezTo>
                  <a:pt x="1752" y="2009"/>
                  <a:pt x="1752" y="2009"/>
                  <a:pt x="1752" y="2009"/>
                </a:cubicBezTo>
                <a:cubicBezTo>
                  <a:pt x="1747" y="2009"/>
                  <a:pt x="1747" y="2009"/>
                  <a:pt x="1747" y="2009"/>
                </a:cubicBezTo>
                <a:cubicBezTo>
                  <a:pt x="1745" y="2010"/>
                  <a:pt x="1743" y="2012"/>
                  <a:pt x="1741" y="2012"/>
                </a:cubicBezTo>
                <a:cubicBezTo>
                  <a:pt x="1740" y="2014"/>
                  <a:pt x="1738" y="2014"/>
                  <a:pt x="1736" y="2015"/>
                </a:cubicBezTo>
                <a:cubicBezTo>
                  <a:pt x="1735" y="2017"/>
                  <a:pt x="1732" y="2017"/>
                  <a:pt x="1731" y="2018"/>
                </a:cubicBezTo>
                <a:cubicBezTo>
                  <a:pt x="1729" y="2019"/>
                  <a:pt x="1727" y="2020"/>
                  <a:pt x="1725" y="2020"/>
                </a:cubicBezTo>
                <a:cubicBezTo>
                  <a:pt x="1725" y="2020"/>
                  <a:pt x="1725" y="2020"/>
                  <a:pt x="1725" y="2030"/>
                </a:cubicBezTo>
                <a:cubicBezTo>
                  <a:pt x="1728" y="2029"/>
                  <a:pt x="1731" y="2028"/>
                  <a:pt x="1733" y="2027"/>
                </a:cubicBezTo>
                <a:cubicBezTo>
                  <a:pt x="1736" y="2026"/>
                  <a:pt x="1738" y="2025"/>
                  <a:pt x="1741" y="2023"/>
                </a:cubicBezTo>
                <a:cubicBezTo>
                  <a:pt x="1741" y="2023"/>
                  <a:pt x="1741" y="2023"/>
                  <a:pt x="1741" y="2082"/>
                </a:cubicBezTo>
                <a:cubicBezTo>
                  <a:pt x="1741" y="2082"/>
                  <a:pt x="1741" y="2082"/>
                  <a:pt x="1752" y="2082"/>
                </a:cubicBezTo>
                <a:cubicBezTo>
                  <a:pt x="1752" y="2082"/>
                  <a:pt x="1752" y="2082"/>
                  <a:pt x="1752" y="2009"/>
                </a:cubicBezTo>
                <a:close/>
                <a:moveTo>
                  <a:pt x="1874" y="2009"/>
                </a:moveTo>
                <a:cubicBezTo>
                  <a:pt x="1874" y="2009"/>
                  <a:pt x="1874" y="2009"/>
                  <a:pt x="1874" y="2009"/>
                </a:cubicBezTo>
                <a:cubicBezTo>
                  <a:pt x="1869" y="2009"/>
                  <a:pt x="1869" y="2009"/>
                  <a:pt x="1869" y="2009"/>
                </a:cubicBezTo>
                <a:cubicBezTo>
                  <a:pt x="1866" y="2010"/>
                  <a:pt x="1865" y="2012"/>
                  <a:pt x="1863" y="2012"/>
                </a:cubicBezTo>
                <a:cubicBezTo>
                  <a:pt x="1861" y="2014"/>
                  <a:pt x="1860" y="2014"/>
                  <a:pt x="1858" y="2015"/>
                </a:cubicBezTo>
                <a:cubicBezTo>
                  <a:pt x="1856" y="2017"/>
                  <a:pt x="1854" y="2017"/>
                  <a:pt x="1852" y="2018"/>
                </a:cubicBezTo>
                <a:cubicBezTo>
                  <a:pt x="1850" y="2019"/>
                  <a:pt x="1849" y="2020"/>
                  <a:pt x="1846" y="2020"/>
                </a:cubicBezTo>
                <a:cubicBezTo>
                  <a:pt x="1846" y="2020"/>
                  <a:pt x="1846" y="2020"/>
                  <a:pt x="1846" y="2030"/>
                </a:cubicBezTo>
                <a:cubicBezTo>
                  <a:pt x="1849" y="2029"/>
                  <a:pt x="1852" y="2028"/>
                  <a:pt x="1855" y="2027"/>
                </a:cubicBezTo>
                <a:cubicBezTo>
                  <a:pt x="1858" y="2026"/>
                  <a:pt x="1860" y="2025"/>
                  <a:pt x="1862" y="2023"/>
                </a:cubicBezTo>
                <a:cubicBezTo>
                  <a:pt x="1862" y="2023"/>
                  <a:pt x="1862" y="2023"/>
                  <a:pt x="1862" y="2082"/>
                </a:cubicBezTo>
                <a:cubicBezTo>
                  <a:pt x="1862" y="2082"/>
                  <a:pt x="1862" y="2082"/>
                  <a:pt x="1874" y="2082"/>
                </a:cubicBezTo>
                <a:cubicBezTo>
                  <a:pt x="1874" y="2082"/>
                  <a:pt x="1874" y="2082"/>
                  <a:pt x="1874" y="2009"/>
                </a:cubicBezTo>
                <a:close/>
                <a:moveTo>
                  <a:pt x="1920" y="2009"/>
                </a:moveTo>
                <a:cubicBezTo>
                  <a:pt x="1920" y="2009"/>
                  <a:pt x="1920" y="2009"/>
                  <a:pt x="1920" y="2009"/>
                </a:cubicBezTo>
                <a:cubicBezTo>
                  <a:pt x="1915" y="2009"/>
                  <a:pt x="1915" y="2009"/>
                  <a:pt x="1915" y="2009"/>
                </a:cubicBezTo>
                <a:cubicBezTo>
                  <a:pt x="1913" y="2010"/>
                  <a:pt x="1912" y="2012"/>
                  <a:pt x="1909" y="2012"/>
                </a:cubicBezTo>
                <a:cubicBezTo>
                  <a:pt x="1908" y="2014"/>
                  <a:pt x="1906" y="2014"/>
                  <a:pt x="1904" y="2015"/>
                </a:cubicBezTo>
                <a:cubicBezTo>
                  <a:pt x="1903" y="2017"/>
                  <a:pt x="1901" y="2017"/>
                  <a:pt x="1899" y="2018"/>
                </a:cubicBezTo>
                <a:cubicBezTo>
                  <a:pt x="1897" y="2019"/>
                  <a:pt x="1896" y="2020"/>
                  <a:pt x="1893" y="2020"/>
                </a:cubicBezTo>
                <a:cubicBezTo>
                  <a:pt x="1893" y="2020"/>
                  <a:pt x="1893" y="2020"/>
                  <a:pt x="1893" y="2030"/>
                </a:cubicBezTo>
                <a:cubicBezTo>
                  <a:pt x="1896" y="2029"/>
                  <a:pt x="1899" y="2028"/>
                  <a:pt x="1901" y="2027"/>
                </a:cubicBezTo>
                <a:cubicBezTo>
                  <a:pt x="1904" y="2026"/>
                  <a:pt x="1907" y="2025"/>
                  <a:pt x="1909" y="2023"/>
                </a:cubicBezTo>
                <a:cubicBezTo>
                  <a:pt x="1909" y="2023"/>
                  <a:pt x="1909" y="2023"/>
                  <a:pt x="1909" y="2082"/>
                </a:cubicBezTo>
                <a:cubicBezTo>
                  <a:pt x="1909" y="2082"/>
                  <a:pt x="1909" y="2082"/>
                  <a:pt x="1920" y="2082"/>
                </a:cubicBezTo>
                <a:cubicBezTo>
                  <a:pt x="1920" y="2082"/>
                  <a:pt x="1920" y="2082"/>
                  <a:pt x="1920" y="2009"/>
                </a:cubicBezTo>
                <a:close/>
                <a:moveTo>
                  <a:pt x="1772" y="2041"/>
                </a:moveTo>
                <a:cubicBezTo>
                  <a:pt x="1772" y="2041"/>
                  <a:pt x="1772" y="2041"/>
                  <a:pt x="1772" y="2041"/>
                </a:cubicBezTo>
                <a:cubicBezTo>
                  <a:pt x="1772" y="2049"/>
                  <a:pt x="1772" y="2049"/>
                  <a:pt x="1772" y="2049"/>
                </a:cubicBezTo>
                <a:cubicBezTo>
                  <a:pt x="1778" y="2050"/>
                  <a:pt x="1779" y="2053"/>
                  <a:pt x="1779" y="2055"/>
                </a:cubicBezTo>
                <a:cubicBezTo>
                  <a:pt x="1779" y="2057"/>
                  <a:pt x="1779" y="2060"/>
                  <a:pt x="1779" y="2062"/>
                </a:cubicBezTo>
                <a:cubicBezTo>
                  <a:pt x="1778" y="2065"/>
                  <a:pt x="1778" y="2067"/>
                  <a:pt x="1778" y="2069"/>
                </a:cubicBezTo>
                <a:cubicBezTo>
                  <a:pt x="1778" y="2079"/>
                  <a:pt x="1784" y="2082"/>
                  <a:pt x="1792" y="2082"/>
                </a:cubicBezTo>
                <a:cubicBezTo>
                  <a:pt x="1792" y="2082"/>
                  <a:pt x="1792" y="2082"/>
                  <a:pt x="1796" y="2082"/>
                </a:cubicBezTo>
                <a:cubicBezTo>
                  <a:pt x="1796" y="2082"/>
                  <a:pt x="1796" y="2082"/>
                  <a:pt x="1796" y="2073"/>
                </a:cubicBezTo>
                <a:cubicBezTo>
                  <a:pt x="1796" y="2073"/>
                  <a:pt x="1796" y="2073"/>
                  <a:pt x="1795" y="2073"/>
                </a:cubicBezTo>
                <a:cubicBezTo>
                  <a:pt x="1791" y="2073"/>
                  <a:pt x="1790" y="2071"/>
                  <a:pt x="1790" y="2067"/>
                </a:cubicBezTo>
                <a:cubicBezTo>
                  <a:pt x="1790" y="2066"/>
                  <a:pt x="1790" y="2064"/>
                  <a:pt x="1790" y="2062"/>
                </a:cubicBezTo>
                <a:cubicBezTo>
                  <a:pt x="1790" y="2061"/>
                  <a:pt x="1790" y="2059"/>
                  <a:pt x="1790" y="2056"/>
                </a:cubicBezTo>
                <a:cubicBezTo>
                  <a:pt x="1790" y="2049"/>
                  <a:pt x="1788" y="2046"/>
                  <a:pt x="1782" y="2045"/>
                </a:cubicBezTo>
                <a:cubicBezTo>
                  <a:pt x="1782" y="2045"/>
                  <a:pt x="1782" y="2045"/>
                  <a:pt x="1782" y="2045"/>
                </a:cubicBezTo>
                <a:cubicBezTo>
                  <a:pt x="1788" y="2044"/>
                  <a:pt x="1790" y="2041"/>
                  <a:pt x="1790" y="2034"/>
                </a:cubicBezTo>
                <a:cubicBezTo>
                  <a:pt x="1790" y="2031"/>
                  <a:pt x="1790" y="2029"/>
                  <a:pt x="1790" y="2028"/>
                </a:cubicBezTo>
                <a:cubicBezTo>
                  <a:pt x="1790" y="2026"/>
                  <a:pt x="1790" y="2024"/>
                  <a:pt x="1790" y="2023"/>
                </a:cubicBezTo>
                <a:cubicBezTo>
                  <a:pt x="1790" y="2019"/>
                  <a:pt x="1791" y="2017"/>
                  <a:pt x="1795" y="2017"/>
                </a:cubicBezTo>
                <a:cubicBezTo>
                  <a:pt x="1795" y="2017"/>
                  <a:pt x="1795" y="2017"/>
                  <a:pt x="1796" y="2017"/>
                </a:cubicBezTo>
                <a:cubicBezTo>
                  <a:pt x="1796" y="2017"/>
                  <a:pt x="1796" y="2017"/>
                  <a:pt x="1796" y="2008"/>
                </a:cubicBezTo>
                <a:cubicBezTo>
                  <a:pt x="1796" y="2008"/>
                  <a:pt x="1796" y="2008"/>
                  <a:pt x="1792" y="2008"/>
                </a:cubicBezTo>
                <a:cubicBezTo>
                  <a:pt x="1783" y="2008"/>
                  <a:pt x="1778" y="2012"/>
                  <a:pt x="1778" y="2020"/>
                </a:cubicBezTo>
                <a:cubicBezTo>
                  <a:pt x="1778" y="2023"/>
                  <a:pt x="1778" y="2025"/>
                  <a:pt x="1778" y="2028"/>
                </a:cubicBezTo>
                <a:cubicBezTo>
                  <a:pt x="1779" y="2030"/>
                  <a:pt x="1779" y="2033"/>
                  <a:pt x="1779" y="2035"/>
                </a:cubicBezTo>
                <a:cubicBezTo>
                  <a:pt x="1779" y="2037"/>
                  <a:pt x="1778" y="2041"/>
                  <a:pt x="1772" y="2041"/>
                </a:cubicBezTo>
                <a:close/>
                <a:moveTo>
                  <a:pt x="1827" y="2049"/>
                </a:moveTo>
                <a:cubicBezTo>
                  <a:pt x="1827" y="2049"/>
                  <a:pt x="1827" y="2049"/>
                  <a:pt x="1827" y="2049"/>
                </a:cubicBezTo>
                <a:cubicBezTo>
                  <a:pt x="1827" y="2041"/>
                  <a:pt x="1827" y="2041"/>
                  <a:pt x="1827" y="2041"/>
                </a:cubicBezTo>
                <a:cubicBezTo>
                  <a:pt x="1820" y="2041"/>
                  <a:pt x="1820" y="2037"/>
                  <a:pt x="1820" y="2035"/>
                </a:cubicBezTo>
                <a:cubicBezTo>
                  <a:pt x="1820" y="2033"/>
                  <a:pt x="1820" y="2030"/>
                  <a:pt x="1820" y="2028"/>
                </a:cubicBezTo>
                <a:cubicBezTo>
                  <a:pt x="1821" y="2025"/>
                  <a:pt x="1821" y="2023"/>
                  <a:pt x="1821" y="2020"/>
                </a:cubicBezTo>
                <a:cubicBezTo>
                  <a:pt x="1821" y="2012"/>
                  <a:pt x="1816" y="2008"/>
                  <a:pt x="1806" y="2008"/>
                </a:cubicBezTo>
                <a:cubicBezTo>
                  <a:pt x="1806" y="2008"/>
                  <a:pt x="1806" y="2008"/>
                  <a:pt x="1803" y="2008"/>
                </a:cubicBezTo>
                <a:cubicBezTo>
                  <a:pt x="1803" y="2008"/>
                  <a:pt x="1803" y="2008"/>
                  <a:pt x="1803" y="2017"/>
                </a:cubicBezTo>
                <a:cubicBezTo>
                  <a:pt x="1803" y="2017"/>
                  <a:pt x="1803" y="2017"/>
                  <a:pt x="1804" y="2017"/>
                </a:cubicBezTo>
                <a:cubicBezTo>
                  <a:pt x="1808" y="2017"/>
                  <a:pt x="1809" y="2019"/>
                  <a:pt x="1809" y="2023"/>
                </a:cubicBezTo>
                <a:cubicBezTo>
                  <a:pt x="1809" y="2024"/>
                  <a:pt x="1809" y="2026"/>
                  <a:pt x="1809" y="2028"/>
                </a:cubicBezTo>
                <a:cubicBezTo>
                  <a:pt x="1809" y="2029"/>
                  <a:pt x="1809" y="2031"/>
                  <a:pt x="1809" y="2034"/>
                </a:cubicBezTo>
                <a:cubicBezTo>
                  <a:pt x="1809" y="2041"/>
                  <a:pt x="1811" y="2044"/>
                  <a:pt x="1817" y="2045"/>
                </a:cubicBezTo>
                <a:cubicBezTo>
                  <a:pt x="1817" y="2045"/>
                  <a:pt x="1817" y="2045"/>
                  <a:pt x="1817" y="2045"/>
                </a:cubicBezTo>
                <a:cubicBezTo>
                  <a:pt x="1811" y="2046"/>
                  <a:pt x="1809" y="2049"/>
                  <a:pt x="1809" y="2056"/>
                </a:cubicBezTo>
                <a:cubicBezTo>
                  <a:pt x="1809" y="2059"/>
                  <a:pt x="1809" y="2061"/>
                  <a:pt x="1809" y="2062"/>
                </a:cubicBezTo>
                <a:cubicBezTo>
                  <a:pt x="1809" y="2064"/>
                  <a:pt x="1809" y="2066"/>
                  <a:pt x="1809" y="2067"/>
                </a:cubicBezTo>
                <a:cubicBezTo>
                  <a:pt x="1809" y="2071"/>
                  <a:pt x="1808" y="2073"/>
                  <a:pt x="1804" y="2073"/>
                </a:cubicBezTo>
                <a:cubicBezTo>
                  <a:pt x="1804" y="2073"/>
                  <a:pt x="1804" y="2073"/>
                  <a:pt x="1803" y="2073"/>
                </a:cubicBezTo>
                <a:cubicBezTo>
                  <a:pt x="1803" y="2073"/>
                  <a:pt x="1803" y="2073"/>
                  <a:pt x="1803" y="2082"/>
                </a:cubicBezTo>
                <a:cubicBezTo>
                  <a:pt x="1803" y="2082"/>
                  <a:pt x="1803" y="2082"/>
                  <a:pt x="1806" y="2082"/>
                </a:cubicBezTo>
                <a:cubicBezTo>
                  <a:pt x="1815" y="2082"/>
                  <a:pt x="1821" y="2079"/>
                  <a:pt x="1821" y="2069"/>
                </a:cubicBezTo>
                <a:cubicBezTo>
                  <a:pt x="1821" y="2067"/>
                  <a:pt x="1821" y="2065"/>
                  <a:pt x="1820" y="2062"/>
                </a:cubicBezTo>
                <a:cubicBezTo>
                  <a:pt x="1820" y="2060"/>
                  <a:pt x="1820" y="2057"/>
                  <a:pt x="1820" y="2055"/>
                </a:cubicBezTo>
                <a:cubicBezTo>
                  <a:pt x="1820" y="2053"/>
                  <a:pt x="1820" y="2050"/>
                  <a:pt x="1827" y="2049"/>
                </a:cubicBezTo>
                <a:close/>
                <a:moveTo>
                  <a:pt x="1214" y="2082"/>
                </a:moveTo>
                <a:cubicBezTo>
                  <a:pt x="1207" y="2082"/>
                  <a:pt x="1200" y="2079"/>
                  <a:pt x="1196" y="2073"/>
                </a:cubicBezTo>
                <a:cubicBezTo>
                  <a:pt x="1192" y="2067"/>
                  <a:pt x="1190" y="2058"/>
                  <a:pt x="1190" y="2045"/>
                </a:cubicBezTo>
                <a:cubicBezTo>
                  <a:pt x="1190" y="2032"/>
                  <a:pt x="1192" y="2023"/>
                  <a:pt x="1196" y="2016"/>
                </a:cubicBezTo>
                <a:cubicBezTo>
                  <a:pt x="1201" y="2009"/>
                  <a:pt x="1207" y="2006"/>
                  <a:pt x="1216" y="2006"/>
                </a:cubicBezTo>
                <a:cubicBezTo>
                  <a:pt x="1232" y="2006"/>
                  <a:pt x="1240" y="2018"/>
                  <a:pt x="1240" y="2044"/>
                </a:cubicBezTo>
                <a:cubicBezTo>
                  <a:pt x="1240" y="2056"/>
                  <a:pt x="1238" y="2066"/>
                  <a:pt x="1233" y="2073"/>
                </a:cubicBezTo>
                <a:cubicBezTo>
                  <a:pt x="1228" y="2079"/>
                  <a:pt x="1222" y="2082"/>
                  <a:pt x="1214" y="2082"/>
                </a:cubicBezTo>
                <a:close/>
                <a:moveTo>
                  <a:pt x="1215" y="2015"/>
                </a:moveTo>
                <a:cubicBezTo>
                  <a:pt x="1206" y="2015"/>
                  <a:pt x="1201" y="2026"/>
                  <a:pt x="1201" y="2045"/>
                </a:cubicBezTo>
                <a:cubicBezTo>
                  <a:pt x="1201" y="2064"/>
                  <a:pt x="1206" y="2073"/>
                  <a:pt x="1215" y="2073"/>
                </a:cubicBezTo>
                <a:cubicBezTo>
                  <a:pt x="1223" y="2073"/>
                  <a:pt x="1228" y="2064"/>
                  <a:pt x="1228" y="2045"/>
                </a:cubicBezTo>
                <a:cubicBezTo>
                  <a:pt x="1228" y="2025"/>
                  <a:pt x="1223" y="2015"/>
                  <a:pt x="1215" y="2015"/>
                </a:cubicBezTo>
                <a:close/>
                <a:moveTo>
                  <a:pt x="1284" y="2082"/>
                </a:moveTo>
                <a:cubicBezTo>
                  <a:pt x="1277" y="2082"/>
                  <a:pt x="1270" y="2079"/>
                  <a:pt x="1266" y="2073"/>
                </a:cubicBezTo>
                <a:cubicBezTo>
                  <a:pt x="1262" y="2067"/>
                  <a:pt x="1260" y="2058"/>
                  <a:pt x="1260" y="2045"/>
                </a:cubicBezTo>
                <a:cubicBezTo>
                  <a:pt x="1260" y="2032"/>
                  <a:pt x="1262" y="2023"/>
                  <a:pt x="1266" y="2016"/>
                </a:cubicBezTo>
                <a:cubicBezTo>
                  <a:pt x="1271" y="2009"/>
                  <a:pt x="1277" y="2006"/>
                  <a:pt x="1286" y="2006"/>
                </a:cubicBezTo>
                <a:cubicBezTo>
                  <a:pt x="1302" y="2006"/>
                  <a:pt x="1310" y="2018"/>
                  <a:pt x="1310" y="2044"/>
                </a:cubicBezTo>
                <a:cubicBezTo>
                  <a:pt x="1310" y="2056"/>
                  <a:pt x="1308" y="2066"/>
                  <a:pt x="1304" y="2073"/>
                </a:cubicBezTo>
                <a:cubicBezTo>
                  <a:pt x="1299" y="2079"/>
                  <a:pt x="1293" y="2082"/>
                  <a:pt x="1284" y="2082"/>
                </a:cubicBezTo>
                <a:close/>
                <a:moveTo>
                  <a:pt x="1285" y="2015"/>
                </a:moveTo>
                <a:cubicBezTo>
                  <a:pt x="1277" y="2015"/>
                  <a:pt x="1272" y="2026"/>
                  <a:pt x="1272" y="2045"/>
                </a:cubicBezTo>
                <a:cubicBezTo>
                  <a:pt x="1272" y="2064"/>
                  <a:pt x="1276" y="2073"/>
                  <a:pt x="1285" y="2073"/>
                </a:cubicBezTo>
                <a:cubicBezTo>
                  <a:pt x="1293" y="2073"/>
                  <a:pt x="1298" y="2064"/>
                  <a:pt x="1298" y="2045"/>
                </a:cubicBezTo>
                <a:cubicBezTo>
                  <a:pt x="1298" y="2025"/>
                  <a:pt x="1293" y="2015"/>
                  <a:pt x="1285" y="2015"/>
                </a:cubicBezTo>
                <a:close/>
                <a:moveTo>
                  <a:pt x="1494" y="2082"/>
                </a:moveTo>
                <a:cubicBezTo>
                  <a:pt x="1486" y="2082"/>
                  <a:pt x="1481" y="2079"/>
                  <a:pt x="1476" y="2073"/>
                </a:cubicBezTo>
                <a:cubicBezTo>
                  <a:pt x="1472" y="2067"/>
                  <a:pt x="1470" y="2057"/>
                  <a:pt x="1470" y="2045"/>
                </a:cubicBezTo>
                <a:cubicBezTo>
                  <a:pt x="1470" y="2032"/>
                  <a:pt x="1472" y="2023"/>
                  <a:pt x="1476" y="2015"/>
                </a:cubicBezTo>
                <a:cubicBezTo>
                  <a:pt x="1481" y="2009"/>
                  <a:pt x="1487" y="2006"/>
                  <a:pt x="1496" y="2006"/>
                </a:cubicBezTo>
                <a:cubicBezTo>
                  <a:pt x="1512" y="2006"/>
                  <a:pt x="1520" y="2018"/>
                  <a:pt x="1520" y="2043"/>
                </a:cubicBezTo>
                <a:cubicBezTo>
                  <a:pt x="1520" y="2056"/>
                  <a:pt x="1518" y="2066"/>
                  <a:pt x="1513" y="2073"/>
                </a:cubicBezTo>
                <a:cubicBezTo>
                  <a:pt x="1508" y="2079"/>
                  <a:pt x="1502" y="2082"/>
                  <a:pt x="1494" y="2082"/>
                </a:cubicBezTo>
                <a:close/>
                <a:moveTo>
                  <a:pt x="1495" y="2015"/>
                </a:moveTo>
                <a:cubicBezTo>
                  <a:pt x="1486" y="2015"/>
                  <a:pt x="1482" y="2025"/>
                  <a:pt x="1482" y="2045"/>
                </a:cubicBezTo>
                <a:cubicBezTo>
                  <a:pt x="1482" y="2063"/>
                  <a:pt x="1486" y="2073"/>
                  <a:pt x="1495" y="2073"/>
                </a:cubicBezTo>
                <a:cubicBezTo>
                  <a:pt x="1503" y="2073"/>
                  <a:pt x="1508" y="2063"/>
                  <a:pt x="1508" y="2045"/>
                </a:cubicBezTo>
                <a:cubicBezTo>
                  <a:pt x="1508" y="2025"/>
                  <a:pt x="1504" y="2015"/>
                  <a:pt x="1495" y="2015"/>
                </a:cubicBezTo>
                <a:close/>
                <a:moveTo>
                  <a:pt x="1567" y="2009"/>
                </a:moveTo>
                <a:cubicBezTo>
                  <a:pt x="1567" y="2009"/>
                  <a:pt x="1567" y="2009"/>
                  <a:pt x="1567" y="2009"/>
                </a:cubicBezTo>
                <a:cubicBezTo>
                  <a:pt x="1561" y="2009"/>
                  <a:pt x="1561" y="2009"/>
                  <a:pt x="1561" y="2009"/>
                </a:cubicBezTo>
                <a:cubicBezTo>
                  <a:pt x="1559" y="2010"/>
                  <a:pt x="1558" y="2012"/>
                  <a:pt x="1556" y="2012"/>
                </a:cubicBezTo>
                <a:cubicBezTo>
                  <a:pt x="1554" y="2014"/>
                  <a:pt x="1552" y="2014"/>
                  <a:pt x="1551" y="2015"/>
                </a:cubicBezTo>
                <a:cubicBezTo>
                  <a:pt x="1549" y="2016"/>
                  <a:pt x="1547" y="2017"/>
                  <a:pt x="1546" y="2017"/>
                </a:cubicBezTo>
                <a:cubicBezTo>
                  <a:pt x="1543" y="2018"/>
                  <a:pt x="1542" y="2019"/>
                  <a:pt x="1540" y="2020"/>
                </a:cubicBezTo>
                <a:cubicBezTo>
                  <a:pt x="1540" y="2020"/>
                  <a:pt x="1540" y="2020"/>
                  <a:pt x="1540" y="2030"/>
                </a:cubicBezTo>
                <a:cubicBezTo>
                  <a:pt x="1543" y="2029"/>
                  <a:pt x="1546" y="2028"/>
                  <a:pt x="1548" y="2027"/>
                </a:cubicBezTo>
                <a:cubicBezTo>
                  <a:pt x="1551" y="2026"/>
                  <a:pt x="1553" y="2025"/>
                  <a:pt x="1555" y="2023"/>
                </a:cubicBezTo>
                <a:cubicBezTo>
                  <a:pt x="1555" y="2023"/>
                  <a:pt x="1555" y="2023"/>
                  <a:pt x="1555" y="2082"/>
                </a:cubicBezTo>
                <a:cubicBezTo>
                  <a:pt x="1555" y="2082"/>
                  <a:pt x="1555" y="2082"/>
                  <a:pt x="1567" y="2082"/>
                </a:cubicBezTo>
                <a:cubicBezTo>
                  <a:pt x="1567" y="2082"/>
                  <a:pt x="1567" y="2082"/>
                  <a:pt x="1567" y="2009"/>
                </a:cubicBezTo>
                <a:close/>
                <a:moveTo>
                  <a:pt x="1357" y="2009"/>
                </a:moveTo>
                <a:cubicBezTo>
                  <a:pt x="1357" y="2009"/>
                  <a:pt x="1357" y="2009"/>
                  <a:pt x="1357" y="2009"/>
                </a:cubicBezTo>
                <a:cubicBezTo>
                  <a:pt x="1352" y="2009"/>
                  <a:pt x="1352" y="2009"/>
                  <a:pt x="1352" y="2009"/>
                </a:cubicBezTo>
                <a:cubicBezTo>
                  <a:pt x="1350" y="2010"/>
                  <a:pt x="1349" y="2012"/>
                  <a:pt x="1346" y="2012"/>
                </a:cubicBezTo>
                <a:cubicBezTo>
                  <a:pt x="1345" y="2014"/>
                  <a:pt x="1343" y="2014"/>
                  <a:pt x="1341" y="2015"/>
                </a:cubicBezTo>
                <a:cubicBezTo>
                  <a:pt x="1340" y="2017"/>
                  <a:pt x="1338" y="2017"/>
                  <a:pt x="1336" y="2018"/>
                </a:cubicBezTo>
                <a:cubicBezTo>
                  <a:pt x="1334" y="2019"/>
                  <a:pt x="1333" y="2020"/>
                  <a:pt x="1330" y="2020"/>
                </a:cubicBezTo>
                <a:cubicBezTo>
                  <a:pt x="1330" y="2020"/>
                  <a:pt x="1330" y="2020"/>
                  <a:pt x="1330" y="2030"/>
                </a:cubicBezTo>
                <a:cubicBezTo>
                  <a:pt x="1333" y="2029"/>
                  <a:pt x="1336" y="2028"/>
                  <a:pt x="1339" y="2027"/>
                </a:cubicBezTo>
                <a:cubicBezTo>
                  <a:pt x="1341" y="2026"/>
                  <a:pt x="1343" y="2025"/>
                  <a:pt x="1346" y="2023"/>
                </a:cubicBezTo>
                <a:cubicBezTo>
                  <a:pt x="1346" y="2023"/>
                  <a:pt x="1346" y="2023"/>
                  <a:pt x="1346" y="2082"/>
                </a:cubicBezTo>
                <a:cubicBezTo>
                  <a:pt x="1346" y="2082"/>
                  <a:pt x="1346" y="2082"/>
                  <a:pt x="1357" y="2082"/>
                </a:cubicBezTo>
                <a:cubicBezTo>
                  <a:pt x="1357" y="2082"/>
                  <a:pt x="1357" y="2082"/>
                  <a:pt x="1357" y="2009"/>
                </a:cubicBezTo>
                <a:close/>
                <a:moveTo>
                  <a:pt x="1404" y="2009"/>
                </a:moveTo>
                <a:cubicBezTo>
                  <a:pt x="1404" y="2009"/>
                  <a:pt x="1404" y="2009"/>
                  <a:pt x="1404" y="2009"/>
                </a:cubicBezTo>
                <a:cubicBezTo>
                  <a:pt x="1399" y="2009"/>
                  <a:pt x="1399" y="2009"/>
                  <a:pt x="1399" y="2009"/>
                </a:cubicBezTo>
                <a:cubicBezTo>
                  <a:pt x="1397" y="2010"/>
                  <a:pt x="1395" y="2012"/>
                  <a:pt x="1393" y="2012"/>
                </a:cubicBezTo>
                <a:cubicBezTo>
                  <a:pt x="1392" y="2014"/>
                  <a:pt x="1390" y="2014"/>
                  <a:pt x="1388" y="2015"/>
                </a:cubicBezTo>
                <a:cubicBezTo>
                  <a:pt x="1387" y="2017"/>
                  <a:pt x="1384" y="2017"/>
                  <a:pt x="1383" y="2018"/>
                </a:cubicBezTo>
                <a:cubicBezTo>
                  <a:pt x="1381" y="2019"/>
                  <a:pt x="1379" y="2020"/>
                  <a:pt x="1377" y="2020"/>
                </a:cubicBezTo>
                <a:cubicBezTo>
                  <a:pt x="1377" y="2020"/>
                  <a:pt x="1377" y="2020"/>
                  <a:pt x="1377" y="2030"/>
                </a:cubicBezTo>
                <a:cubicBezTo>
                  <a:pt x="1380" y="2029"/>
                  <a:pt x="1383" y="2028"/>
                  <a:pt x="1385" y="2027"/>
                </a:cubicBezTo>
                <a:cubicBezTo>
                  <a:pt x="1388" y="2026"/>
                  <a:pt x="1390" y="2025"/>
                  <a:pt x="1393" y="2023"/>
                </a:cubicBezTo>
                <a:cubicBezTo>
                  <a:pt x="1393" y="2023"/>
                  <a:pt x="1393" y="2023"/>
                  <a:pt x="1393" y="2082"/>
                </a:cubicBezTo>
                <a:cubicBezTo>
                  <a:pt x="1393" y="2082"/>
                  <a:pt x="1393" y="2082"/>
                  <a:pt x="1404" y="2082"/>
                </a:cubicBezTo>
                <a:cubicBezTo>
                  <a:pt x="1404" y="2082"/>
                  <a:pt x="1404" y="2082"/>
                  <a:pt x="1404" y="2009"/>
                </a:cubicBezTo>
                <a:close/>
                <a:moveTo>
                  <a:pt x="1450" y="2009"/>
                </a:moveTo>
                <a:cubicBezTo>
                  <a:pt x="1450" y="2009"/>
                  <a:pt x="1450" y="2009"/>
                  <a:pt x="1450" y="2009"/>
                </a:cubicBezTo>
                <a:cubicBezTo>
                  <a:pt x="1446" y="2009"/>
                  <a:pt x="1446" y="2009"/>
                  <a:pt x="1446" y="2009"/>
                </a:cubicBezTo>
                <a:cubicBezTo>
                  <a:pt x="1443" y="2010"/>
                  <a:pt x="1442" y="2012"/>
                  <a:pt x="1440" y="2012"/>
                </a:cubicBezTo>
                <a:cubicBezTo>
                  <a:pt x="1438" y="2014"/>
                  <a:pt x="1436" y="2014"/>
                  <a:pt x="1435" y="2015"/>
                </a:cubicBezTo>
                <a:cubicBezTo>
                  <a:pt x="1433" y="2016"/>
                  <a:pt x="1431" y="2017"/>
                  <a:pt x="1429" y="2017"/>
                </a:cubicBezTo>
                <a:cubicBezTo>
                  <a:pt x="1428" y="2018"/>
                  <a:pt x="1425" y="2019"/>
                  <a:pt x="1424" y="2020"/>
                </a:cubicBezTo>
                <a:cubicBezTo>
                  <a:pt x="1424" y="2020"/>
                  <a:pt x="1424" y="2020"/>
                  <a:pt x="1424" y="2030"/>
                </a:cubicBezTo>
                <a:cubicBezTo>
                  <a:pt x="1427" y="2029"/>
                  <a:pt x="1430" y="2028"/>
                  <a:pt x="1432" y="2027"/>
                </a:cubicBezTo>
                <a:cubicBezTo>
                  <a:pt x="1434" y="2026"/>
                  <a:pt x="1437" y="2025"/>
                  <a:pt x="1438" y="2023"/>
                </a:cubicBezTo>
                <a:cubicBezTo>
                  <a:pt x="1438" y="2023"/>
                  <a:pt x="1438" y="2023"/>
                  <a:pt x="1438" y="2082"/>
                </a:cubicBezTo>
                <a:cubicBezTo>
                  <a:pt x="1438" y="2082"/>
                  <a:pt x="1438" y="2082"/>
                  <a:pt x="1450" y="2082"/>
                </a:cubicBezTo>
                <a:cubicBezTo>
                  <a:pt x="1450" y="2082"/>
                  <a:pt x="1450" y="2082"/>
                  <a:pt x="1450" y="2009"/>
                </a:cubicBezTo>
                <a:close/>
                <a:moveTo>
                  <a:pt x="208" y="2009"/>
                </a:moveTo>
                <a:cubicBezTo>
                  <a:pt x="208" y="2009"/>
                  <a:pt x="208" y="2009"/>
                  <a:pt x="208" y="2009"/>
                </a:cubicBezTo>
                <a:cubicBezTo>
                  <a:pt x="203" y="2009"/>
                  <a:pt x="203" y="2009"/>
                  <a:pt x="203" y="2009"/>
                </a:cubicBezTo>
                <a:cubicBezTo>
                  <a:pt x="200" y="2010"/>
                  <a:pt x="199" y="2012"/>
                  <a:pt x="197" y="2012"/>
                </a:cubicBezTo>
                <a:cubicBezTo>
                  <a:pt x="195" y="2014"/>
                  <a:pt x="193" y="2014"/>
                  <a:pt x="191" y="2015"/>
                </a:cubicBezTo>
                <a:cubicBezTo>
                  <a:pt x="190" y="2017"/>
                  <a:pt x="188" y="2017"/>
                  <a:pt x="186" y="2018"/>
                </a:cubicBezTo>
                <a:cubicBezTo>
                  <a:pt x="184" y="2019"/>
                  <a:pt x="183" y="2020"/>
                  <a:pt x="180" y="2020"/>
                </a:cubicBezTo>
                <a:cubicBezTo>
                  <a:pt x="180" y="2020"/>
                  <a:pt x="180" y="2020"/>
                  <a:pt x="180" y="2030"/>
                </a:cubicBezTo>
                <a:cubicBezTo>
                  <a:pt x="183" y="2029"/>
                  <a:pt x="186" y="2028"/>
                  <a:pt x="188" y="2027"/>
                </a:cubicBezTo>
                <a:cubicBezTo>
                  <a:pt x="191" y="2026"/>
                  <a:pt x="194" y="2025"/>
                  <a:pt x="196" y="2023"/>
                </a:cubicBezTo>
                <a:cubicBezTo>
                  <a:pt x="196" y="2023"/>
                  <a:pt x="196" y="2023"/>
                  <a:pt x="196" y="2082"/>
                </a:cubicBezTo>
                <a:cubicBezTo>
                  <a:pt x="196" y="2082"/>
                  <a:pt x="196" y="2082"/>
                  <a:pt x="208" y="2082"/>
                </a:cubicBezTo>
                <a:cubicBezTo>
                  <a:pt x="208" y="2082"/>
                  <a:pt x="208" y="2082"/>
                  <a:pt x="208" y="2009"/>
                </a:cubicBezTo>
                <a:close/>
                <a:moveTo>
                  <a:pt x="254" y="2009"/>
                </a:moveTo>
                <a:cubicBezTo>
                  <a:pt x="254" y="2009"/>
                  <a:pt x="254" y="2009"/>
                  <a:pt x="254" y="2009"/>
                </a:cubicBezTo>
                <a:cubicBezTo>
                  <a:pt x="249" y="2009"/>
                  <a:pt x="249" y="2009"/>
                  <a:pt x="249" y="2009"/>
                </a:cubicBezTo>
                <a:cubicBezTo>
                  <a:pt x="248" y="2010"/>
                  <a:pt x="246" y="2012"/>
                  <a:pt x="244" y="2012"/>
                </a:cubicBezTo>
                <a:cubicBezTo>
                  <a:pt x="242" y="2014"/>
                  <a:pt x="240" y="2014"/>
                  <a:pt x="238" y="2015"/>
                </a:cubicBezTo>
                <a:cubicBezTo>
                  <a:pt x="237" y="2017"/>
                  <a:pt x="235" y="2017"/>
                  <a:pt x="233" y="2018"/>
                </a:cubicBezTo>
                <a:cubicBezTo>
                  <a:pt x="231" y="2019"/>
                  <a:pt x="230" y="2020"/>
                  <a:pt x="227" y="2020"/>
                </a:cubicBezTo>
                <a:cubicBezTo>
                  <a:pt x="227" y="2020"/>
                  <a:pt x="227" y="2020"/>
                  <a:pt x="227" y="2030"/>
                </a:cubicBezTo>
                <a:cubicBezTo>
                  <a:pt x="230" y="2029"/>
                  <a:pt x="233" y="2028"/>
                  <a:pt x="236" y="2027"/>
                </a:cubicBezTo>
                <a:cubicBezTo>
                  <a:pt x="238" y="2026"/>
                  <a:pt x="240" y="2025"/>
                  <a:pt x="243" y="2023"/>
                </a:cubicBezTo>
                <a:cubicBezTo>
                  <a:pt x="243" y="2023"/>
                  <a:pt x="243" y="2023"/>
                  <a:pt x="243" y="2082"/>
                </a:cubicBezTo>
                <a:cubicBezTo>
                  <a:pt x="243" y="2082"/>
                  <a:pt x="243" y="2082"/>
                  <a:pt x="254" y="2082"/>
                </a:cubicBezTo>
                <a:cubicBezTo>
                  <a:pt x="254" y="2082"/>
                  <a:pt x="254" y="2082"/>
                  <a:pt x="254" y="2009"/>
                </a:cubicBezTo>
                <a:close/>
                <a:moveTo>
                  <a:pt x="300" y="2009"/>
                </a:moveTo>
                <a:cubicBezTo>
                  <a:pt x="300" y="2009"/>
                  <a:pt x="300" y="2009"/>
                  <a:pt x="300" y="2009"/>
                </a:cubicBezTo>
                <a:cubicBezTo>
                  <a:pt x="296" y="2009"/>
                  <a:pt x="296" y="2009"/>
                  <a:pt x="296" y="2009"/>
                </a:cubicBezTo>
                <a:cubicBezTo>
                  <a:pt x="293" y="2010"/>
                  <a:pt x="292" y="2012"/>
                  <a:pt x="290" y="2012"/>
                </a:cubicBezTo>
                <a:cubicBezTo>
                  <a:pt x="288" y="2014"/>
                  <a:pt x="286" y="2014"/>
                  <a:pt x="285" y="2015"/>
                </a:cubicBezTo>
                <a:cubicBezTo>
                  <a:pt x="283" y="2016"/>
                  <a:pt x="281" y="2017"/>
                  <a:pt x="279" y="2017"/>
                </a:cubicBezTo>
                <a:cubicBezTo>
                  <a:pt x="278" y="2018"/>
                  <a:pt x="275" y="2019"/>
                  <a:pt x="274" y="2020"/>
                </a:cubicBezTo>
                <a:cubicBezTo>
                  <a:pt x="274" y="2020"/>
                  <a:pt x="274" y="2020"/>
                  <a:pt x="274" y="2030"/>
                </a:cubicBezTo>
                <a:cubicBezTo>
                  <a:pt x="277" y="2029"/>
                  <a:pt x="280" y="2028"/>
                  <a:pt x="282" y="2027"/>
                </a:cubicBezTo>
                <a:cubicBezTo>
                  <a:pt x="284" y="2026"/>
                  <a:pt x="287" y="2025"/>
                  <a:pt x="288" y="2023"/>
                </a:cubicBezTo>
                <a:cubicBezTo>
                  <a:pt x="288" y="2023"/>
                  <a:pt x="288" y="2023"/>
                  <a:pt x="288" y="2082"/>
                </a:cubicBezTo>
                <a:cubicBezTo>
                  <a:pt x="288" y="2082"/>
                  <a:pt x="288" y="2082"/>
                  <a:pt x="300" y="2082"/>
                </a:cubicBezTo>
                <a:cubicBezTo>
                  <a:pt x="300" y="2082"/>
                  <a:pt x="300" y="2082"/>
                  <a:pt x="300" y="2009"/>
                </a:cubicBezTo>
                <a:close/>
                <a:moveTo>
                  <a:pt x="437" y="2041"/>
                </a:moveTo>
                <a:cubicBezTo>
                  <a:pt x="437" y="2041"/>
                  <a:pt x="437" y="2041"/>
                  <a:pt x="437" y="2041"/>
                </a:cubicBezTo>
                <a:cubicBezTo>
                  <a:pt x="436" y="2049"/>
                  <a:pt x="436" y="2049"/>
                  <a:pt x="436" y="2049"/>
                </a:cubicBezTo>
                <a:cubicBezTo>
                  <a:pt x="442" y="2050"/>
                  <a:pt x="443" y="2053"/>
                  <a:pt x="443" y="2055"/>
                </a:cubicBezTo>
                <a:cubicBezTo>
                  <a:pt x="443" y="2057"/>
                  <a:pt x="443" y="2060"/>
                  <a:pt x="443" y="2062"/>
                </a:cubicBezTo>
                <a:cubicBezTo>
                  <a:pt x="442" y="2065"/>
                  <a:pt x="442" y="2067"/>
                  <a:pt x="442" y="2069"/>
                </a:cubicBezTo>
                <a:cubicBezTo>
                  <a:pt x="442" y="2079"/>
                  <a:pt x="448" y="2082"/>
                  <a:pt x="456" y="2082"/>
                </a:cubicBezTo>
                <a:cubicBezTo>
                  <a:pt x="456" y="2082"/>
                  <a:pt x="456" y="2082"/>
                  <a:pt x="460" y="2082"/>
                </a:cubicBezTo>
                <a:cubicBezTo>
                  <a:pt x="460" y="2082"/>
                  <a:pt x="460" y="2082"/>
                  <a:pt x="460" y="2073"/>
                </a:cubicBezTo>
                <a:cubicBezTo>
                  <a:pt x="460" y="2073"/>
                  <a:pt x="460" y="2073"/>
                  <a:pt x="459" y="2073"/>
                </a:cubicBezTo>
                <a:cubicBezTo>
                  <a:pt x="455" y="2073"/>
                  <a:pt x="454" y="2071"/>
                  <a:pt x="454" y="2067"/>
                </a:cubicBezTo>
                <a:cubicBezTo>
                  <a:pt x="454" y="2066"/>
                  <a:pt x="454" y="2064"/>
                  <a:pt x="454" y="2062"/>
                </a:cubicBezTo>
                <a:cubicBezTo>
                  <a:pt x="454" y="2061"/>
                  <a:pt x="455" y="2059"/>
                  <a:pt x="455" y="2056"/>
                </a:cubicBezTo>
                <a:cubicBezTo>
                  <a:pt x="455" y="2049"/>
                  <a:pt x="452" y="2046"/>
                  <a:pt x="446" y="2045"/>
                </a:cubicBezTo>
                <a:cubicBezTo>
                  <a:pt x="446" y="2045"/>
                  <a:pt x="446" y="2045"/>
                  <a:pt x="446" y="2045"/>
                </a:cubicBezTo>
                <a:cubicBezTo>
                  <a:pt x="452" y="2044"/>
                  <a:pt x="455" y="2041"/>
                  <a:pt x="455" y="2034"/>
                </a:cubicBezTo>
                <a:cubicBezTo>
                  <a:pt x="455" y="2031"/>
                  <a:pt x="454" y="2029"/>
                  <a:pt x="454" y="2028"/>
                </a:cubicBezTo>
                <a:cubicBezTo>
                  <a:pt x="454" y="2026"/>
                  <a:pt x="454" y="2024"/>
                  <a:pt x="454" y="2023"/>
                </a:cubicBezTo>
                <a:cubicBezTo>
                  <a:pt x="454" y="2019"/>
                  <a:pt x="455" y="2017"/>
                  <a:pt x="459" y="2017"/>
                </a:cubicBezTo>
                <a:cubicBezTo>
                  <a:pt x="459" y="2017"/>
                  <a:pt x="459" y="2017"/>
                  <a:pt x="460" y="2017"/>
                </a:cubicBezTo>
                <a:cubicBezTo>
                  <a:pt x="460" y="2017"/>
                  <a:pt x="460" y="2017"/>
                  <a:pt x="460" y="2008"/>
                </a:cubicBezTo>
                <a:cubicBezTo>
                  <a:pt x="460" y="2008"/>
                  <a:pt x="460" y="2008"/>
                  <a:pt x="456" y="2008"/>
                </a:cubicBezTo>
                <a:cubicBezTo>
                  <a:pt x="448" y="2008"/>
                  <a:pt x="442" y="2012"/>
                  <a:pt x="442" y="2020"/>
                </a:cubicBezTo>
                <a:cubicBezTo>
                  <a:pt x="442" y="2023"/>
                  <a:pt x="442" y="2025"/>
                  <a:pt x="442" y="2028"/>
                </a:cubicBezTo>
                <a:cubicBezTo>
                  <a:pt x="443" y="2030"/>
                  <a:pt x="443" y="2033"/>
                  <a:pt x="443" y="2035"/>
                </a:cubicBezTo>
                <a:cubicBezTo>
                  <a:pt x="443" y="2037"/>
                  <a:pt x="442" y="2041"/>
                  <a:pt x="437" y="2041"/>
                </a:cubicBezTo>
                <a:close/>
                <a:moveTo>
                  <a:pt x="491" y="2049"/>
                </a:moveTo>
                <a:cubicBezTo>
                  <a:pt x="491" y="2049"/>
                  <a:pt x="491" y="2049"/>
                  <a:pt x="491" y="2049"/>
                </a:cubicBezTo>
                <a:cubicBezTo>
                  <a:pt x="491" y="2041"/>
                  <a:pt x="491" y="2041"/>
                  <a:pt x="491" y="2041"/>
                </a:cubicBezTo>
                <a:cubicBezTo>
                  <a:pt x="485" y="2041"/>
                  <a:pt x="485" y="2037"/>
                  <a:pt x="485" y="2035"/>
                </a:cubicBezTo>
                <a:cubicBezTo>
                  <a:pt x="485" y="2033"/>
                  <a:pt x="485" y="2030"/>
                  <a:pt x="485" y="2028"/>
                </a:cubicBezTo>
                <a:cubicBezTo>
                  <a:pt x="485" y="2025"/>
                  <a:pt x="485" y="2023"/>
                  <a:pt x="485" y="2020"/>
                </a:cubicBezTo>
                <a:cubicBezTo>
                  <a:pt x="485" y="2012"/>
                  <a:pt x="480" y="2008"/>
                  <a:pt x="471" y="2008"/>
                </a:cubicBezTo>
                <a:cubicBezTo>
                  <a:pt x="471" y="2008"/>
                  <a:pt x="471" y="2008"/>
                  <a:pt x="467" y="2008"/>
                </a:cubicBezTo>
                <a:cubicBezTo>
                  <a:pt x="467" y="2008"/>
                  <a:pt x="467" y="2008"/>
                  <a:pt x="467" y="2017"/>
                </a:cubicBezTo>
                <a:cubicBezTo>
                  <a:pt x="467" y="2017"/>
                  <a:pt x="467" y="2017"/>
                  <a:pt x="468" y="2017"/>
                </a:cubicBezTo>
                <a:cubicBezTo>
                  <a:pt x="472" y="2017"/>
                  <a:pt x="474" y="2019"/>
                  <a:pt x="474" y="2023"/>
                </a:cubicBezTo>
                <a:cubicBezTo>
                  <a:pt x="474" y="2024"/>
                  <a:pt x="473" y="2026"/>
                  <a:pt x="473" y="2028"/>
                </a:cubicBezTo>
                <a:cubicBezTo>
                  <a:pt x="473" y="2029"/>
                  <a:pt x="473" y="2031"/>
                  <a:pt x="473" y="2034"/>
                </a:cubicBezTo>
                <a:cubicBezTo>
                  <a:pt x="473" y="2041"/>
                  <a:pt x="476" y="2044"/>
                  <a:pt x="482" y="2045"/>
                </a:cubicBezTo>
                <a:cubicBezTo>
                  <a:pt x="482" y="2045"/>
                  <a:pt x="482" y="2045"/>
                  <a:pt x="482" y="2045"/>
                </a:cubicBezTo>
                <a:cubicBezTo>
                  <a:pt x="476" y="2046"/>
                  <a:pt x="473" y="2049"/>
                  <a:pt x="473" y="2056"/>
                </a:cubicBezTo>
                <a:cubicBezTo>
                  <a:pt x="473" y="2059"/>
                  <a:pt x="473" y="2061"/>
                  <a:pt x="473" y="2062"/>
                </a:cubicBezTo>
                <a:cubicBezTo>
                  <a:pt x="473" y="2064"/>
                  <a:pt x="474" y="2066"/>
                  <a:pt x="474" y="2067"/>
                </a:cubicBezTo>
                <a:cubicBezTo>
                  <a:pt x="474" y="2071"/>
                  <a:pt x="473" y="2073"/>
                  <a:pt x="468" y="2073"/>
                </a:cubicBezTo>
                <a:cubicBezTo>
                  <a:pt x="468" y="2073"/>
                  <a:pt x="468" y="2073"/>
                  <a:pt x="467" y="2073"/>
                </a:cubicBezTo>
                <a:cubicBezTo>
                  <a:pt x="467" y="2073"/>
                  <a:pt x="467" y="2073"/>
                  <a:pt x="467" y="2082"/>
                </a:cubicBezTo>
                <a:cubicBezTo>
                  <a:pt x="467" y="2082"/>
                  <a:pt x="467" y="2082"/>
                  <a:pt x="471" y="2082"/>
                </a:cubicBezTo>
                <a:cubicBezTo>
                  <a:pt x="480" y="2082"/>
                  <a:pt x="485" y="2079"/>
                  <a:pt x="485" y="2069"/>
                </a:cubicBezTo>
                <a:cubicBezTo>
                  <a:pt x="485" y="2067"/>
                  <a:pt x="485" y="2065"/>
                  <a:pt x="485" y="2062"/>
                </a:cubicBezTo>
                <a:cubicBezTo>
                  <a:pt x="485" y="2060"/>
                  <a:pt x="485" y="2057"/>
                  <a:pt x="485" y="2055"/>
                </a:cubicBezTo>
                <a:cubicBezTo>
                  <a:pt x="485" y="2053"/>
                  <a:pt x="485" y="2050"/>
                  <a:pt x="491" y="2049"/>
                </a:cubicBezTo>
                <a:close/>
                <a:moveTo>
                  <a:pt x="538" y="2009"/>
                </a:moveTo>
                <a:cubicBezTo>
                  <a:pt x="538" y="2009"/>
                  <a:pt x="538" y="2009"/>
                  <a:pt x="538" y="2009"/>
                </a:cubicBezTo>
                <a:cubicBezTo>
                  <a:pt x="533" y="2009"/>
                  <a:pt x="533" y="2009"/>
                  <a:pt x="533" y="2009"/>
                </a:cubicBezTo>
                <a:cubicBezTo>
                  <a:pt x="531" y="2010"/>
                  <a:pt x="529" y="2012"/>
                  <a:pt x="527" y="2012"/>
                </a:cubicBezTo>
                <a:cubicBezTo>
                  <a:pt x="526" y="2014"/>
                  <a:pt x="523" y="2014"/>
                  <a:pt x="522" y="2015"/>
                </a:cubicBezTo>
                <a:cubicBezTo>
                  <a:pt x="520" y="2016"/>
                  <a:pt x="518" y="2017"/>
                  <a:pt x="517" y="2017"/>
                </a:cubicBezTo>
                <a:cubicBezTo>
                  <a:pt x="515" y="2018"/>
                  <a:pt x="513" y="2019"/>
                  <a:pt x="511" y="2020"/>
                </a:cubicBezTo>
                <a:cubicBezTo>
                  <a:pt x="511" y="2020"/>
                  <a:pt x="511" y="2020"/>
                  <a:pt x="511" y="2030"/>
                </a:cubicBezTo>
                <a:cubicBezTo>
                  <a:pt x="514" y="2029"/>
                  <a:pt x="517" y="2028"/>
                  <a:pt x="519" y="2027"/>
                </a:cubicBezTo>
                <a:cubicBezTo>
                  <a:pt x="522" y="2026"/>
                  <a:pt x="524" y="2025"/>
                  <a:pt x="526" y="2023"/>
                </a:cubicBezTo>
                <a:cubicBezTo>
                  <a:pt x="526" y="2023"/>
                  <a:pt x="526" y="2023"/>
                  <a:pt x="526" y="2082"/>
                </a:cubicBezTo>
                <a:cubicBezTo>
                  <a:pt x="526" y="2082"/>
                  <a:pt x="526" y="2082"/>
                  <a:pt x="538" y="2082"/>
                </a:cubicBezTo>
                <a:cubicBezTo>
                  <a:pt x="538" y="2082"/>
                  <a:pt x="538" y="2082"/>
                  <a:pt x="538" y="2009"/>
                </a:cubicBezTo>
                <a:close/>
                <a:moveTo>
                  <a:pt x="584" y="2009"/>
                </a:moveTo>
                <a:cubicBezTo>
                  <a:pt x="584" y="2009"/>
                  <a:pt x="584" y="2009"/>
                  <a:pt x="584" y="2009"/>
                </a:cubicBezTo>
                <a:cubicBezTo>
                  <a:pt x="579" y="2009"/>
                  <a:pt x="579" y="2009"/>
                  <a:pt x="579" y="2009"/>
                </a:cubicBezTo>
                <a:cubicBezTo>
                  <a:pt x="577" y="2010"/>
                  <a:pt x="576" y="2012"/>
                  <a:pt x="574" y="2012"/>
                </a:cubicBezTo>
                <a:cubicBezTo>
                  <a:pt x="572" y="2014"/>
                  <a:pt x="570" y="2014"/>
                  <a:pt x="569" y="2015"/>
                </a:cubicBezTo>
                <a:cubicBezTo>
                  <a:pt x="567" y="2017"/>
                  <a:pt x="565" y="2017"/>
                  <a:pt x="563" y="2018"/>
                </a:cubicBezTo>
                <a:cubicBezTo>
                  <a:pt x="561" y="2019"/>
                  <a:pt x="560" y="2020"/>
                  <a:pt x="558" y="2020"/>
                </a:cubicBezTo>
                <a:cubicBezTo>
                  <a:pt x="558" y="2020"/>
                  <a:pt x="558" y="2020"/>
                  <a:pt x="558" y="2030"/>
                </a:cubicBezTo>
                <a:cubicBezTo>
                  <a:pt x="561" y="2029"/>
                  <a:pt x="563" y="2028"/>
                  <a:pt x="566" y="2027"/>
                </a:cubicBezTo>
                <a:cubicBezTo>
                  <a:pt x="569" y="2026"/>
                  <a:pt x="571" y="2025"/>
                  <a:pt x="573" y="2023"/>
                </a:cubicBezTo>
                <a:cubicBezTo>
                  <a:pt x="573" y="2023"/>
                  <a:pt x="573" y="2023"/>
                  <a:pt x="573" y="2082"/>
                </a:cubicBezTo>
                <a:cubicBezTo>
                  <a:pt x="573" y="2082"/>
                  <a:pt x="573" y="2082"/>
                  <a:pt x="584" y="2082"/>
                </a:cubicBezTo>
                <a:cubicBezTo>
                  <a:pt x="584" y="2082"/>
                  <a:pt x="584" y="2082"/>
                  <a:pt x="584" y="2009"/>
                </a:cubicBezTo>
                <a:close/>
                <a:moveTo>
                  <a:pt x="630" y="2009"/>
                </a:moveTo>
                <a:cubicBezTo>
                  <a:pt x="630" y="2009"/>
                  <a:pt x="630" y="2009"/>
                  <a:pt x="630" y="2009"/>
                </a:cubicBezTo>
                <a:cubicBezTo>
                  <a:pt x="626" y="2009"/>
                  <a:pt x="626" y="2009"/>
                  <a:pt x="626" y="2009"/>
                </a:cubicBezTo>
                <a:cubicBezTo>
                  <a:pt x="624" y="2010"/>
                  <a:pt x="622" y="2012"/>
                  <a:pt x="620" y="2012"/>
                </a:cubicBezTo>
                <a:cubicBezTo>
                  <a:pt x="619" y="2014"/>
                  <a:pt x="616" y="2014"/>
                  <a:pt x="615" y="2015"/>
                </a:cubicBezTo>
                <a:cubicBezTo>
                  <a:pt x="613" y="2017"/>
                  <a:pt x="611" y="2017"/>
                  <a:pt x="609" y="2018"/>
                </a:cubicBezTo>
                <a:cubicBezTo>
                  <a:pt x="608" y="2019"/>
                  <a:pt x="606" y="2020"/>
                  <a:pt x="604" y="2020"/>
                </a:cubicBezTo>
                <a:cubicBezTo>
                  <a:pt x="604" y="2020"/>
                  <a:pt x="604" y="2020"/>
                  <a:pt x="604" y="2030"/>
                </a:cubicBezTo>
                <a:cubicBezTo>
                  <a:pt x="607" y="2029"/>
                  <a:pt x="610" y="2028"/>
                  <a:pt x="612" y="2027"/>
                </a:cubicBezTo>
                <a:cubicBezTo>
                  <a:pt x="614" y="2026"/>
                  <a:pt x="617" y="2025"/>
                  <a:pt x="619" y="2023"/>
                </a:cubicBezTo>
                <a:cubicBezTo>
                  <a:pt x="619" y="2023"/>
                  <a:pt x="619" y="2023"/>
                  <a:pt x="619" y="2082"/>
                </a:cubicBezTo>
                <a:cubicBezTo>
                  <a:pt x="619" y="2082"/>
                  <a:pt x="619" y="2082"/>
                  <a:pt x="630" y="2082"/>
                </a:cubicBezTo>
                <a:cubicBezTo>
                  <a:pt x="630" y="2082"/>
                  <a:pt x="630" y="2082"/>
                  <a:pt x="630" y="2009"/>
                </a:cubicBezTo>
                <a:close/>
                <a:moveTo>
                  <a:pt x="380" y="2056"/>
                </a:moveTo>
                <a:cubicBezTo>
                  <a:pt x="380" y="2058"/>
                  <a:pt x="381" y="2059"/>
                  <a:pt x="382" y="2060"/>
                </a:cubicBezTo>
                <a:cubicBezTo>
                  <a:pt x="382" y="2062"/>
                  <a:pt x="382" y="2064"/>
                  <a:pt x="383" y="2065"/>
                </a:cubicBezTo>
                <a:cubicBezTo>
                  <a:pt x="383" y="2067"/>
                  <a:pt x="383" y="2069"/>
                  <a:pt x="383" y="2070"/>
                </a:cubicBezTo>
                <a:cubicBezTo>
                  <a:pt x="384" y="2073"/>
                  <a:pt x="383" y="2075"/>
                  <a:pt x="380" y="2075"/>
                </a:cubicBezTo>
                <a:cubicBezTo>
                  <a:pt x="377" y="2075"/>
                  <a:pt x="374" y="2075"/>
                  <a:pt x="371" y="2075"/>
                </a:cubicBezTo>
                <a:cubicBezTo>
                  <a:pt x="371" y="2075"/>
                  <a:pt x="370" y="2075"/>
                  <a:pt x="370" y="2075"/>
                </a:cubicBezTo>
                <a:cubicBezTo>
                  <a:pt x="368" y="2077"/>
                  <a:pt x="367" y="2078"/>
                  <a:pt x="366" y="2079"/>
                </a:cubicBezTo>
                <a:cubicBezTo>
                  <a:pt x="364" y="2082"/>
                  <a:pt x="360" y="2082"/>
                  <a:pt x="358" y="2080"/>
                </a:cubicBezTo>
                <a:cubicBezTo>
                  <a:pt x="356" y="2078"/>
                  <a:pt x="355" y="2075"/>
                  <a:pt x="353" y="2073"/>
                </a:cubicBezTo>
                <a:cubicBezTo>
                  <a:pt x="353" y="2071"/>
                  <a:pt x="353" y="2069"/>
                  <a:pt x="355" y="2068"/>
                </a:cubicBezTo>
                <a:cubicBezTo>
                  <a:pt x="353" y="2068"/>
                  <a:pt x="351" y="2068"/>
                  <a:pt x="349" y="2068"/>
                </a:cubicBezTo>
                <a:cubicBezTo>
                  <a:pt x="349" y="2070"/>
                  <a:pt x="347" y="2072"/>
                  <a:pt x="347" y="2074"/>
                </a:cubicBezTo>
                <a:cubicBezTo>
                  <a:pt x="347" y="2075"/>
                  <a:pt x="346" y="2075"/>
                  <a:pt x="346" y="2076"/>
                </a:cubicBezTo>
                <a:cubicBezTo>
                  <a:pt x="346" y="2079"/>
                  <a:pt x="345" y="2081"/>
                  <a:pt x="342" y="2080"/>
                </a:cubicBezTo>
                <a:cubicBezTo>
                  <a:pt x="339" y="2080"/>
                  <a:pt x="336" y="2079"/>
                  <a:pt x="333" y="2078"/>
                </a:cubicBezTo>
                <a:cubicBezTo>
                  <a:pt x="331" y="2077"/>
                  <a:pt x="331" y="2076"/>
                  <a:pt x="331" y="2074"/>
                </a:cubicBezTo>
                <a:cubicBezTo>
                  <a:pt x="331" y="2073"/>
                  <a:pt x="331" y="2072"/>
                  <a:pt x="332" y="2072"/>
                </a:cubicBezTo>
                <a:cubicBezTo>
                  <a:pt x="329" y="2071"/>
                  <a:pt x="327" y="2070"/>
                  <a:pt x="325" y="2069"/>
                </a:cubicBezTo>
                <a:cubicBezTo>
                  <a:pt x="324" y="2068"/>
                  <a:pt x="323" y="2066"/>
                  <a:pt x="322" y="2064"/>
                </a:cubicBezTo>
                <a:cubicBezTo>
                  <a:pt x="321" y="2062"/>
                  <a:pt x="321" y="2061"/>
                  <a:pt x="323" y="2059"/>
                </a:cubicBezTo>
                <a:cubicBezTo>
                  <a:pt x="326" y="2057"/>
                  <a:pt x="327" y="2054"/>
                  <a:pt x="326" y="2050"/>
                </a:cubicBezTo>
                <a:cubicBezTo>
                  <a:pt x="326" y="2048"/>
                  <a:pt x="326" y="2046"/>
                  <a:pt x="326" y="2044"/>
                </a:cubicBezTo>
                <a:cubicBezTo>
                  <a:pt x="325" y="2043"/>
                  <a:pt x="323" y="2043"/>
                  <a:pt x="322" y="2042"/>
                </a:cubicBezTo>
                <a:cubicBezTo>
                  <a:pt x="321" y="2040"/>
                  <a:pt x="320" y="2038"/>
                  <a:pt x="320" y="2036"/>
                </a:cubicBezTo>
                <a:cubicBezTo>
                  <a:pt x="320" y="2033"/>
                  <a:pt x="324" y="2031"/>
                  <a:pt x="326" y="2030"/>
                </a:cubicBezTo>
                <a:cubicBezTo>
                  <a:pt x="327" y="2031"/>
                  <a:pt x="327" y="2031"/>
                  <a:pt x="327" y="2032"/>
                </a:cubicBezTo>
                <a:cubicBezTo>
                  <a:pt x="327" y="2033"/>
                  <a:pt x="327" y="2034"/>
                  <a:pt x="327" y="2035"/>
                </a:cubicBezTo>
                <a:cubicBezTo>
                  <a:pt x="327" y="2035"/>
                  <a:pt x="326" y="2035"/>
                  <a:pt x="326" y="2035"/>
                </a:cubicBezTo>
                <a:cubicBezTo>
                  <a:pt x="326" y="2036"/>
                  <a:pt x="325" y="2037"/>
                  <a:pt x="324" y="2039"/>
                </a:cubicBezTo>
                <a:cubicBezTo>
                  <a:pt x="326" y="2039"/>
                  <a:pt x="326" y="2039"/>
                  <a:pt x="327" y="2039"/>
                </a:cubicBezTo>
                <a:cubicBezTo>
                  <a:pt x="328" y="2037"/>
                  <a:pt x="329" y="2037"/>
                  <a:pt x="329" y="2035"/>
                </a:cubicBezTo>
                <a:cubicBezTo>
                  <a:pt x="334" y="2029"/>
                  <a:pt x="340" y="2025"/>
                  <a:pt x="347" y="2023"/>
                </a:cubicBezTo>
                <a:cubicBezTo>
                  <a:pt x="351" y="2023"/>
                  <a:pt x="354" y="2022"/>
                  <a:pt x="356" y="2019"/>
                </a:cubicBezTo>
                <a:cubicBezTo>
                  <a:pt x="356" y="2018"/>
                  <a:pt x="357" y="2018"/>
                  <a:pt x="357" y="2018"/>
                </a:cubicBezTo>
                <a:cubicBezTo>
                  <a:pt x="360" y="2018"/>
                  <a:pt x="362" y="2015"/>
                  <a:pt x="364" y="2013"/>
                </a:cubicBezTo>
                <a:cubicBezTo>
                  <a:pt x="371" y="2006"/>
                  <a:pt x="383" y="2005"/>
                  <a:pt x="391" y="2012"/>
                </a:cubicBezTo>
                <a:cubicBezTo>
                  <a:pt x="393" y="2014"/>
                  <a:pt x="396" y="2016"/>
                  <a:pt x="398" y="2018"/>
                </a:cubicBezTo>
                <a:cubicBezTo>
                  <a:pt x="400" y="2019"/>
                  <a:pt x="401" y="2021"/>
                  <a:pt x="402" y="2023"/>
                </a:cubicBezTo>
                <a:cubicBezTo>
                  <a:pt x="403" y="2024"/>
                  <a:pt x="404" y="2024"/>
                  <a:pt x="405" y="2023"/>
                </a:cubicBezTo>
                <a:cubicBezTo>
                  <a:pt x="406" y="2023"/>
                  <a:pt x="406" y="2022"/>
                  <a:pt x="407" y="2021"/>
                </a:cubicBezTo>
                <a:cubicBezTo>
                  <a:pt x="409" y="2018"/>
                  <a:pt x="412" y="2018"/>
                  <a:pt x="413" y="2022"/>
                </a:cubicBezTo>
                <a:cubicBezTo>
                  <a:pt x="415" y="2025"/>
                  <a:pt x="415" y="2027"/>
                  <a:pt x="416" y="2031"/>
                </a:cubicBezTo>
                <a:cubicBezTo>
                  <a:pt x="416" y="2035"/>
                  <a:pt x="416" y="2039"/>
                  <a:pt x="415" y="2044"/>
                </a:cubicBezTo>
                <a:cubicBezTo>
                  <a:pt x="412" y="2050"/>
                  <a:pt x="407" y="2054"/>
                  <a:pt x="401" y="2054"/>
                </a:cubicBezTo>
                <a:cubicBezTo>
                  <a:pt x="400" y="2054"/>
                  <a:pt x="400" y="2054"/>
                  <a:pt x="399" y="2054"/>
                </a:cubicBezTo>
                <a:cubicBezTo>
                  <a:pt x="396" y="2053"/>
                  <a:pt x="395" y="2054"/>
                  <a:pt x="395" y="2056"/>
                </a:cubicBezTo>
                <a:cubicBezTo>
                  <a:pt x="393" y="2060"/>
                  <a:pt x="387" y="2062"/>
                  <a:pt x="384" y="2059"/>
                </a:cubicBezTo>
                <a:cubicBezTo>
                  <a:pt x="383" y="2058"/>
                  <a:pt x="382" y="2057"/>
                  <a:pt x="381" y="2056"/>
                </a:cubicBezTo>
                <a:cubicBezTo>
                  <a:pt x="380" y="2056"/>
                  <a:pt x="380" y="2056"/>
                  <a:pt x="380" y="2056"/>
                </a:cubicBezTo>
                <a:close/>
                <a:moveTo>
                  <a:pt x="375" y="2052"/>
                </a:moveTo>
                <a:cubicBezTo>
                  <a:pt x="378" y="2053"/>
                  <a:pt x="382" y="2054"/>
                  <a:pt x="384" y="2057"/>
                </a:cubicBezTo>
                <a:cubicBezTo>
                  <a:pt x="386" y="2059"/>
                  <a:pt x="388" y="2060"/>
                  <a:pt x="390" y="2059"/>
                </a:cubicBezTo>
                <a:cubicBezTo>
                  <a:pt x="393" y="2058"/>
                  <a:pt x="394" y="2056"/>
                  <a:pt x="394" y="2053"/>
                </a:cubicBezTo>
                <a:cubicBezTo>
                  <a:pt x="394" y="2053"/>
                  <a:pt x="393" y="2053"/>
                  <a:pt x="393" y="2054"/>
                </a:cubicBezTo>
                <a:cubicBezTo>
                  <a:pt x="393" y="2055"/>
                  <a:pt x="391" y="2056"/>
                  <a:pt x="391" y="2057"/>
                </a:cubicBezTo>
                <a:cubicBezTo>
                  <a:pt x="389" y="2058"/>
                  <a:pt x="388" y="2058"/>
                  <a:pt x="387" y="2058"/>
                </a:cubicBezTo>
                <a:cubicBezTo>
                  <a:pt x="387" y="2058"/>
                  <a:pt x="386" y="2056"/>
                  <a:pt x="386" y="2056"/>
                </a:cubicBezTo>
                <a:cubicBezTo>
                  <a:pt x="386" y="2053"/>
                  <a:pt x="387" y="2051"/>
                  <a:pt x="387" y="2049"/>
                </a:cubicBezTo>
                <a:cubicBezTo>
                  <a:pt x="390" y="2050"/>
                  <a:pt x="393" y="2051"/>
                  <a:pt x="397" y="2052"/>
                </a:cubicBezTo>
                <a:cubicBezTo>
                  <a:pt x="404" y="2053"/>
                  <a:pt x="410" y="2051"/>
                  <a:pt x="413" y="2043"/>
                </a:cubicBezTo>
                <a:cubicBezTo>
                  <a:pt x="415" y="2038"/>
                  <a:pt x="415" y="2033"/>
                  <a:pt x="414" y="2028"/>
                </a:cubicBezTo>
                <a:cubicBezTo>
                  <a:pt x="413" y="2026"/>
                  <a:pt x="413" y="2024"/>
                  <a:pt x="412" y="2022"/>
                </a:cubicBezTo>
                <a:cubicBezTo>
                  <a:pt x="411" y="2021"/>
                  <a:pt x="410" y="2020"/>
                  <a:pt x="409" y="2022"/>
                </a:cubicBezTo>
                <a:cubicBezTo>
                  <a:pt x="407" y="2024"/>
                  <a:pt x="406" y="2025"/>
                  <a:pt x="404" y="2026"/>
                </a:cubicBezTo>
                <a:cubicBezTo>
                  <a:pt x="403" y="2026"/>
                  <a:pt x="402" y="2027"/>
                  <a:pt x="402" y="2028"/>
                </a:cubicBezTo>
                <a:cubicBezTo>
                  <a:pt x="403" y="2031"/>
                  <a:pt x="402" y="2035"/>
                  <a:pt x="401" y="2038"/>
                </a:cubicBezTo>
                <a:cubicBezTo>
                  <a:pt x="401" y="2036"/>
                  <a:pt x="402" y="2034"/>
                  <a:pt x="402" y="2032"/>
                </a:cubicBezTo>
                <a:cubicBezTo>
                  <a:pt x="402" y="2031"/>
                  <a:pt x="401" y="2031"/>
                  <a:pt x="401" y="2031"/>
                </a:cubicBezTo>
                <a:cubicBezTo>
                  <a:pt x="400" y="2031"/>
                  <a:pt x="400" y="2031"/>
                  <a:pt x="400" y="2031"/>
                </a:cubicBezTo>
                <a:cubicBezTo>
                  <a:pt x="399" y="2033"/>
                  <a:pt x="398" y="2034"/>
                  <a:pt x="397" y="2035"/>
                </a:cubicBezTo>
                <a:cubicBezTo>
                  <a:pt x="397" y="2035"/>
                  <a:pt x="397" y="2035"/>
                  <a:pt x="397" y="2035"/>
                </a:cubicBezTo>
                <a:cubicBezTo>
                  <a:pt x="397" y="2034"/>
                  <a:pt x="398" y="2032"/>
                  <a:pt x="398" y="2030"/>
                </a:cubicBezTo>
                <a:cubicBezTo>
                  <a:pt x="397" y="2031"/>
                  <a:pt x="396" y="2031"/>
                  <a:pt x="396" y="2032"/>
                </a:cubicBezTo>
                <a:cubicBezTo>
                  <a:pt x="395" y="2032"/>
                  <a:pt x="395" y="2033"/>
                  <a:pt x="395" y="2034"/>
                </a:cubicBezTo>
                <a:cubicBezTo>
                  <a:pt x="395" y="2030"/>
                  <a:pt x="395" y="2030"/>
                  <a:pt x="401" y="2029"/>
                </a:cubicBezTo>
                <a:cubicBezTo>
                  <a:pt x="401" y="2029"/>
                  <a:pt x="400" y="2028"/>
                  <a:pt x="400" y="2028"/>
                </a:cubicBezTo>
                <a:cubicBezTo>
                  <a:pt x="397" y="2029"/>
                  <a:pt x="396" y="2027"/>
                  <a:pt x="396" y="2025"/>
                </a:cubicBezTo>
                <a:cubicBezTo>
                  <a:pt x="398" y="2024"/>
                  <a:pt x="399" y="2024"/>
                  <a:pt x="401" y="2024"/>
                </a:cubicBezTo>
                <a:cubicBezTo>
                  <a:pt x="399" y="2021"/>
                  <a:pt x="398" y="2018"/>
                  <a:pt x="395" y="2018"/>
                </a:cubicBezTo>
                <a:cubicBezTo>
                  <a:pt x="394" y="2018"/>
                  <a:pt x="394" y="2018"/>
                  <a:pt x="394" y="2017"/>
                </a:cubicBezTo>
                <a:cubicBezTo>
                  <a:pt x="391" y="2015"/>
                  <a:pt x="389" y="2013"/>
                  <a:pt x="386" y="2011"/>
                </a:cubicBezTo>
                <a:cubicBezTo>
                  <a:pt x="384" y="2010"/>
                  <a:pt x="381" y="2009"/>
                  <a:pt x="379" y="2009"/>
                </a:cubicBezTo>
                <a:cubicBezTo>
                  <a:pt x="376" y="2009"/>
                  <a:pt x="373" y="2010"/>
                  <a:pt x="369" y="2011"/>
                </a:cubicBezTo>
                <a:cubicBezTo>
                  <a:pt x="367" y="2012"/>
                  <a:pt x="364" y="2014"/>
                  <a:pt x="362" y="2017"/>
                </a:cubicBezTo>
                <a:cubicBezTo>
                  <a:pt x="364" y="2017"/>
                  <a:pt x="365" y="2017"/>
                  <a:pt x="366" y="2017"/>
                </a:cubicBezTo>
                <a:cubicBezTo>
                  <a:pt x="366" y="2018"/>
                  <a:pt x="365" y="2018"/>
                  <a:pt x="364" y="2018"/>
                </a:cubicBezTo>
                <a:cubicBezTo>
                  <a:pt x="362" y="2019"/>
                  <a:pt x="359" y="2018"/>
                  <a:pt x="357" y="2020"/>
                </a:cubicBezTo>
                <a:cubicBezTo>
                  <a:pt x="354" y="2024"/>
                  <a:pt x="350" y="2028"/>
                  <a:pt x="346" y="2032"/>
                </a:cubicBezTo>
                <a:cubicBezTo>
                  <a:pt x="345" y="2034"/>
                  <a:pt x="344" y="2037"/>
                  <a:pt x="343" y="2039"/>
                </a:cubicBezTo>
                <a:cubicBezTo>
                  <a:pt x="343" y="2039"/>
                  <a:pt x="343" y="2040"/>
                  <a:pt x="343" y="2041"/>
                </a:cubicBezTo>
                <a:cubicBezTo>
                  <a:pt x="344" y="2043"/>
                  <a:pt x="346" y="2045"/>
                  <a:pt x="347" y="2046"/>
                </a:cubicBezTo>
                <a:cubicBezTo>
                  <a:pt x="348" y="2045"/>
                  <a:pt x="349" y="2043"/>
                  <a:pt x="351" y="2042"/>
                </a:cubicBezTo>
                <a:cubicBezTo>
                  <a:pt x="350" y="2043"/>
                  <a:pt x="350" y="2045"/>
                  <a:pt x="349" y="2046"/>
                </a:cubicBezTo>
                <a:cubicBezTo>
                  <a:pt x="348" y="2047"/>
                  <a:pt x="347" y="2048"/>
                  <a:pt x="347" y="2050"/>
                </a:cubicBezTo>
                <a:cubicBezTo>
                  <a:pt x="347" y="2051"/>
                  <a:pt x="347" y="2052"/>
                  <a:pt x="347" y="2053"/>
                </a:cubicBezTo>
                <a:cubicBezTo>
                  <a:pt x="350" y="2056"/>
                  <a:pt x="353" y="2056"/>
                  <a:pt x="357" y="2054"/>
                </a:cubicBezTo>
                <a:cubicBezTo>
                  <a:pt x="359" y="2053"/>
                  <a:pt x="362" y="2052"/>
                  <a:pt x="365" y="2051"/>
                </a:cubicBezTo>
                <a:cubicBezTo>
                  <a:pt x="366" y="2050"/>
                  <a:pt x="367" y="2050"/>
                  <a:pt x="367" y="2048"/>
                </a:cubicBezTo>
                <a:cubicBezTo>
                  <a:pt x="367" y="2045"/>
                  <a:pt x="367" y="2041"/>
                  <a:pt x="367" y="2038"/>
                </a:cubicBezTo>
                <a:cubicBezTo>
                  <a:pt x="367" y="2035"/>
                  <a:pt x="367" y="2032"/>
                  <a:pt x="367" y="2029"/>
                </a:cubicBezTo>
                <a:cubicBezTo>
                  <a:pt x="368" y="2032"/>
                  <a:pt x="369" y="2035"/>
                  <a:pt x="369" y="2037"/>
                </a:cubicBezTo>
                <a:cubicBezTo>
                  <a:pt x="370" y="2042"/>
                  <a:pt x="370" y="2046"/>
                  <a:pt x="369" y="2050"/>
                </a:cubicBezTo>
                <a:cubicBezTo>
                  <a:pt x="368" y="2051"/>
                  <a:pt x="367" y="2052"/>
                  <a:pt x="367" y="2052"/>
                </a:cubicBezTo>
                <a:cubicBezTo>
                  <a:pt x="364" y="2052"/>
                  <a:pt x="360" y="2054"/>
                  <a:pt x="357" y="2056"/>
                </a:cubicBezTo>
                <a:cubicBezTo>
                  <a:pt x="352" y="2059"/>
                  <a:pt x="349" y="2057"/>
                  <a:pt x="345" y="2053"/>
                </a:cubicBezTo>
                <a:cubicBezTo>
                  <a:pt x="345" y="2053"/>
                  <a:pt x="345" y="2052"/>
                  <a:pt x="345" y="2051"/>
                </a:cubicBezTo>
                <a:cubicBezTo>
                  <a:pt x="346" y="2049"/>
                  <a:pt x="345" y="2047"/>
                  <a:pt x="344" y="2045"/>
                </a:cubicBezTo>
                <a:cubicBezTo>
                  <a:pt x="342" y="2043"/>
                  <a:pt x="340" y="2041"/>
                  <a:pt x="342" y="2038"/>
                </a:cubicBezTo>
                <a:cubicBezTo>
                  <a:pt x="342" y="2036"/>
                  <a:pt x="343" y="2034"/>
                  <a:pt x="344" y="2033"/>
                </a:cubicBezTo>
                <a:cubicBezTo>
                  <a:pt x="346" y="2030"/>
                  <a:pt x="348" y="2027"/>
                  <a:pt x="350" y="2025"/>
                </a:cubicBezTo>
                <a:cubicBezTo>
                  <a:pt x="350" y="2025"/>
                  <a:pt x="349" y="2025"/>
                  <a:pt x="349" y="2025"/>
                </a:cubicBezTo>
                <a:cubicBezTo>
                  <a:pt x="344" y="2026"/>
                  <a:pt x="340" y="2027"/>
                  <a:pt x="336" y="2031"/>
                </a:cubicBezTo>
                <a:cubicBezTo>
                  <a:pt x="331" y="2035"/>
                  <a:pt x="328" y="2040"/>
                  <a:pt x="328" y="2047"/>
                </a:cubicBezTo>
                <a:cubicBezTo>
                  <a:pt x="327" y="2054"/>
                  <a:pt x="330" y="2060"/>
                  <a:pt x="333" y="2065"/>
                </a:cubicBezTo>
                <a:cubicBezTo>
                  <a:pt x="334" y="2066"/>
                  <a:pt x="335" y="2068"/>
                  <a:pt x="334" y="2069"/>
                </a:cubicBezTo>
                <a:cubicBezTo>
                  <a:pt x="334" y="2071"/>
                  <a:pt x="334" y="2072"/>
                  <a:pt x="333" y="2073"/>
                </a:cubicBezTo>
                <a:cubicBezTo>
                  <a:pt x="333" y="2075"/>
                  <a:pt x="333" y="2076"/>
                  <a:pt x="334" y="2077"/>
                </a:cubicBezTo>
                <a:cubicBezTo>
                  <a:pt x="337" y="2077"/>
                  <a:pt x="340" y="2078"/>
                  <a:pt x="343" y="2078"/>
                </a:cubicBezTo>
                <a:cubicBezTo>
                  <a:pt x="344" y="2078"/>
                  <a:pt x="344" y="2077"/>
                  <a:pt x="344" y="2077"/>
                </a:cubicBezTo>
                <a:cubicBezTo>
                  <a:pt x="345" y="2076"/>
                  <a:pt x="345" y="2074"/>
                  <a:pt x="346" y="2073"/>
                </a:cubicBezTo>
                <a:cubicBezTo>
                  <a:pt x="347" y="2071"/>
                  <a:pt x="347" y="2068"/>
                  <a:pt x="347" y="2065"/>
                </a:cubicBezTo>
                <a:cubicBezTo>
                  <a:pt x="347" y="2065"/>
                  <a:pt x="347" y="2065"/>
                  <a:pt x="347" y="2064"/>
                </a:cubicBezTo>
                <a:cubicBezTo>
                  <a:pt x="347" y="2064"/>
                  <a:pt x="347" y="2064"/>
                  <a:pt x="347" y="2064"/>
                </a:cubicBezTo>
                <a:cubicBezTo>
                  <a:pt x="348" y="2066"/>
                  <a:pt x="349" y="2066"/>
                  <a:pt x="351" y="2066"/>
                </a:cubicBezTo>
                <a:cubicBezTo>
                  <a:pt x="352" y="2066"/>
                  <a:pt x="353" y="2066"/>
                  <a:pt x="354" y="2066"/>
                </a:cubicBezTo>
                <a:cubicBezTo>
                  <a:pt x="356" y="2066"/>
                  <a:pt x="360" y="2067"/>
                  <a:pt x="360" y="2063"/>
                </a:cubicBezTo>
                <a:cubicBezTo>
                  <a:pt x="360" y="2065"/>
                  <a:pt x="360" y="2067"/>
                  <a:pt x="360" y="2067"/>
                </a:cubicBezTo>
                <a:cubicBezTo>
                  <a:pt x="359" y="2068"/>
                  <a:pt x="358" y="2069"/>
                  <a:pt x="356" y="2069"/>
                </a:cubicBezTo>
                <a:cubicBezTo>
                  <a:pt x="355" y="2070"/>
                  <a:pt x="355" y="2072"/>
                  <a:pt x="355" y="2073"/>
                </a:cubicBezTo>
                <a:cubicBezTo>
                  <a:pt x="356" y="2075"/>
                  <a:pt x="358" y="2077"/>
                  <a:pt x="359" y="2079"/>
                </a:cubicBezTo>
                <a:cubicBezTo>
                  <a:pt x="361" y="2080"/>
                  <a:pt x="363" y="2080"/>
                  <a:pt x="364" y="2078"/>
                </a:cubicBezTo>
                <a:cubicBezTo>
                  <a:pt x="365" y="2077"/>
                  <a:pt x="366" y="2077"/>
                  <a:pt x="366" y="2076"/>
                </a:cubicBezTo>
                <a:cubicBezTo>
                  <a:pt x="368" y="2075"/>
                  <a:pt x="369" y="2073"/>
                  <a:pt x="371" y="2072"/>
                </a:cubicBezTo>
                <a:cubicBezTo>
                  <a:pt x="375" y="2068"/>
                  <a:pt x="377" y="2062"/>
                  <a:pt x="379" y="2056"/>
                </a:cubicBezTo>
                <a:cubicBezTo>
                  <a:pt x="379" y="2056"/>
                  <a:pt x="378" y="2055"/>
                  <a:pt x="378" y="2054"/>
                </a:cubicBezTo>
                <a:cubicBezTo>
                  <a:pt x="377" y="2053"/>
                  <a:pt x="376" y="2052"/>
                  <a:pt x="375" y="2052"/>
                </a:cubicBezTo>
                <a:close/>
                <a:moveTo>
                  <a:pt x="327" y="2058"/>
                </a:moveTo>
                <a:cubicBezTo>
                  <a:pt x="327" y="2059"/>
                  <a:pt x="325" y="2060"/>
                  <a:pt x="324" y="2061"/>
                </a:cubicBezTo>
                <a:cubicBezTo>
                  <a:pt x="324" y="2061"/>
                  <a:pt x="323" y="2062"/>
                  <a:pt x="323" y="2063"/>
                </a:cubicBezTo>
                <a:cubicBezTo>
                  <a:pt x="323" y="2065"/>
                  <a:pt x="327" y="2070"/>
                  <a:pt x="331" y="2069"/>
                </a:cubicBezTo>
                <a:cubicBezTo>
                  <a:pt x="332" y="2069"/>
                  <a:pt x="333" y="2068"/>
                  <a:pt x="332" y="2067"/>
                </a:cubicBezTo>
                <a:cubicBezTo>
                  <a:pt x="331" y="2064"/>
                  <a:pt x="329" y="2061"/>
                  <a:pt x="327" y="2058"/>
                </a:cubicBezTo>
                <a:close/>
                <a:moveTo>
                  <a:pt x="380" y="2060"/>
                </a:moveTo>
                <a:cubicBezTo>
                  <a:pt x="378" y="2065"/>
                  <a:pt x="375" y="2069"/>
                  <a:pt x="373" y="2073"/>
                </a:cubicBezTo>
                <a:cubicBezTo>
                  <a:pt x="376" y="2073"/>
                  <a:pt x="378" y="2074"/>
                  <a:pt x="381" y="2073"/>
                </a:cubicBezTo>
                <a:cubicBezTo>
                  <a:pt x="381" y="2073"/>
                  <a:pt x="382" y="2072"/>
                  <a:pt x="382" y="2072"/>
                </a:cubicBezTo>
                <a:cubicBezTo>
                  <a:pt x="382" y="2069"/>
                  <a:pt x="382" y="2067"/>
                  <a:pt x="381" y="2064"/>
                </a:cubicBezTo>
                <a:cubicBezTo>
                  <a:pt x="381" y="2063"/>
                  <a:pt x="380" y="2062"/>
                  <a:pt x="380" y="2060"/>
                </a:cubicBezTo>
                <a:close/>
                <a:moveTo>
                  <a:pt x="327" y="2040"/>
                </a:moveTo>
                <a:cubicBezTo>
                  <a:pt x="327" y="2040"/>
                  <a:pt x="326" y="2041"/>
                  <a:pt x="326" y="2041"/>
                </a:cubicBezTo>
                <a:cubicBezTo>
                  <a:pt x="325" y="2041"/>
                  <a:pt x="324" y="2041"/>
                  <a:pt x="324" y="2040"/>
                </a:cubicBezTo>
                <a:cubicBezTo>
                  <a:pt x="324" y="2040"/>
                  <a:pt x="323" y="2039"/>
                  <a:pt x="323" y="2038"/>
                </a:cubicBezTo>
                <a:cubicBezTo>
                  <a:pt x="324" y="2036"/>
                  <a:pt x="324" y="2034"/>
                  <a:pt x="325" y="2032"/>
                </a:cubicBezTo>
                <a:cubicBezTo>
                  <a:pt x="325" y="2032"/>
                  <a:pt x="325" y="2032"/>
                  <a:pt x="324" y="2032"/>
                </a:cubicBezTo>
                <a:cubicBezTo>
                  <a:pt x="324" y="2033"/>
                  <a:pt x="322" y="2034"/>
                  <a:pt x="322" y="2035"/>
                </a:cubicBezTo>
                <a:cubicBezTo>
                  <a:pt x="321" y="2036"/>
                  <a:pt x="322" y="2041"/>
                  <a:pt x="324" y="2042"/>
                </a:cubicBezTo>
                <a:cubicBezTo>
                  <a:pt x="326" y="2043"/>
                  <a:pt x="327" y="2042"/>
                  <a:pt x="327" y="2040"/>
                </a:cubicBezTo>
                <a:close/>
                <a:moveTo>
                  <a:pt x="327" y="2058"/>
                </a:moveTo>
                <a:cubicBezTo>
                  <a:pt x="327" y="2058"/>
                  <a:pt x="325" y="2059"/>
                  <a:pt x="324" y="2060"/>
                </a:cubicBezTo>
                <a:cubicBezTo>
                  <a:pt x="323" y="2061"/>
                  <a:pt x="323" y="2062"/>
                  <a:pt x="323" y="2062"/>
                </a:cubicBezTo>
                <a:cubicBezTo>
                  <a:pt x="323" y="2065"/>
                  <a:pt x="327" y="2070"/>
                  <a:pt x="331" y="2069"/>
                </a:cubicBezTo>
                <a:cubicBezTo>
                  <a:pt x="332" y="2069"/>
                  <a:pt x="333" y="2068"/>
                  <a:pt x="332" y="2066"/>
                </a:cubicBezTo>
                <a:cubicBezTo>
                  <a:pt x="331" y="2063"/>
                  <a:pt x="329" y="2060"/>
                  <a:pt x="327" y="2058"/>
                </a:cubicBezTo>
                <a:close/>
                <a:moveTo>
                  <a:pt x="380" y="2060"/>
                </a:moveTo>
                <a:cubicBezTo>
                  <a:pt x="378" y="2064"/>
                  <a:pt x="375" y="2069"/>
                  <a:pt x="373" y="2073"/>
                </a:cubicBezTo>
                <a:cubicBezTo>
                  <a:pt x="376" y="2073"/>
                  <a:pt x="378" y="2073"/>
                  <a:pt x="381" y="2073"/>
                </a:cubicBezTo>
                <a:cubicBezTo>
                  <a:pt x="381" y="2073"/>
                  <a:pt x="381" y="2072"/>
                  <a:pt x="381" y="2071"/>
                </a:cubicBezTo>
                <a:cubicBezTo>
                  <a:pt x="381" y="2069"/>
                  <a:pt x="381" y="2066"/>
                  <a:pt x="381" y="2064"/>
                </a:cubicBezTo>
                <a:cubicBezTo>
                  <a:pt x="381" y="2062"/>
                  <a:pt x="380" y="2061"/>
                  <a:pt x="380" y="2060"/>
                </a:cubicBezTo>
                <a:close/>
                <a:moveTo>
                  <a:pt x="327" y="2040"/>
                </a:moveTo>
                <a:cubicBezTo>
                  <a:pt x="326" y="2040"/>
                  <a:pt x="326" y="2040"/>
                  <a:pt x="325" y="2040"/>
                </a:cubicBezTo>
                <a:cubicBezTo>
                  <a:pt x="324" y="2040"/>
                  <a:pt x="324" y="2040"/>
                  <a:pt x="324" y="2040"/>
                </a:cubicBezTo>
                <a:cubicBezTo>
                  <a:pt x="323" y="2040"/>
                  <a:pt x="323" y="2039"/>
                  <a:pt x="323" y="2038"/>
                </a:cubicBezTo>
                <a:cubicBezTo>
                  <a:pt x="324" y="2036"/>
                  <a:pt x="324" y="2034"/>
                  <a:pt x="325" y="2032"/>
                </a:cubicBezTo>
                <a:cubicBezTo>
                  <a:pt x="324" y="2032"/>
                  <a:pt x="324" y="2032"/>
                  <a:pt x="324" y="2032"/>
                </a:cubicBezTo>
                <a:cubicBezTo>
                  <a:pt x="323" y="2033"/>
                  <a:pt x="322" y="2034"/>
                  <a:pt x="321" y="2035"/>
                </a:cubicBezTo>
                <a:cubicBezTo>
                  <a:pt x="320" y="2036"/>
                  <a:pt x="322" y="2041"/>
                  <a:pt x="324" y="2042"/>
                </a:cubicBezTo>
                <a:cubicBezTo>
                  <a:pt x="325" y="2043"/>
                  <a:pt x="327" y="2042"/>
                  <a:pt x="327" y="2040"/>
                </a:cubicBezTo>
                <a:close/>
                <a:moveTo>
                  <a:pt x="380" y="2031"/>
                </a:moveTo>
                <a:cubicBezTo>
                  <a:pt x="383" y="2028"/>
                  <a:pt x="383" y="2028"/>
                  <a:pt x="386" y="2026"/>
                </a:cubicBezTo>
                <a:cubicBezTo>
                  <a:pt x="386" y="2028"/>
                  <a:pt x="388" y="2030"/>
                  <a:pt x="389" y="2030"/>
                </a:cubicBezTo>
                <a:cubicBezTo>
                  <a:pt x="387" y="2031"/>
                  <a:pt x="385" y="2032"/>
                  <a:pt x="383" y="2034"/>
                </a:cubicBezTo>
                <a:cubicBezTo>
                  <a:pt x="382" y="2033"/>
                  <a:pt x="382" y="2032"/>
                  <a:pt x="381" y="2031"/>
                </a:cubicBezTo>
                <a:cubicBezTo>
                  <a:pt x="381" y="2031"/>
                  <a:pt x="380" y="2031"/>
                  <a:pt x="380" y="2031"/>
                </a:cubicBezTo>
                <a:close/>
                <a:moveTo>
                  <a:pt x="385" y="2031"/>
                </a:moveTo>
                <a:cubicBezTo>
                  <a:pt x="385" y="2030"/>
                  <a:pt x="384" y="2030"/>
                  <a:pt x="383" y="2030"/>
                </a:cubicBezTo>
                <a:cubicBezTo>
                  <a:pt x="383" y="2030"/>
                  <a:pt x="382" y="2031"/>
                  <a:pt x="382" y="2031"/>
                </a:cubicBezTo>
                <a:cubicBezTo>
                  <a:pt x="382" y="2032"/>
                  <a:pt x="383" y="2032"/>
                  <a:pt x="383" y="2032"/>
                </a:cubicBezTo>
                <a:cubicBezTo>
                  <a:pt x="384" y="2032"/>
                  <a:pt x="384" y="2032"/>
                  <a:pt x="385" y="2031"/>
                </a:cubicBezTo>
                <a:close/>
                <a:moveTo>
                  <a:pt x="367" y="2021"/>
                </a:moveTo>
                <a:cubicBezTo>
                  <a:pt x="360" y="2021"/>
                  <a:pt x="357" y="2023"/>
                  <a:pt x="356" y="2031"/>
                </a:cubicBezTo>
                <a:cubicBezTo>
                  <a:pt x="357" y="2029"/>
                  <a:pt x="358" y="2026"/>
                  <a:pt x="360" y="2024"/>
                </a:cubicBezTo>
                <a:cubicBezTo>
                  <a:pt x="360" y="2024"/>
                  <a:pt x="360" y="2024"/>
                  <a:pt x="360" y="2024"/>
                </a:cubicBezTo>
                <a:cubicBezTo>
                  <a:pt x="360" y="2025"/>
                  <a:pt x="360" y="2026"/>
                  <a:pt x="360" y="2027"/>
                </a:cubicBezTo>
                <a:cubicBezTo>
                  <a:pt x="361" y="2024"/>
                  <a:pt x="363" y="2022"/>
                  <a:pt x="367" y="2021"/>
                </a:cubicBezTo>
                <a:close/>
                <a:moveTo>
                  <a:pt x="410" y="2023"/>
                </a:moveTo>
                <a:cubicBezTo>
                  <a:pt x="408" y="2024"/>
                  <a:pt x="406" y="2026"/>
                  <a:pt x="404" y="2027"/>
                </a:cubicBezTo>
                <a:cubicBezTo>
                  <a:pt x="407" y="2027"/>
                  <a:pt x="409" y="2026"/>
                  <a:pt x="410" y="2023"/>
                </a:cubicBezTo>
                <a:close/>
                <a:moveTo>
                  <a:pt x="377" y="2025"/>
                </a:moveTo>
                <a:cubicBezTo>
                  <a:pt x="378" y="2024"/>
                  <a:pt x="379" y="2022"/>
                  <a:pt x="380" y="2021"/>
                </a:cubicBezTo>
                <a:cubicBezTo>
                  <a:pt x="377" y="2022"/>
                  <a:pt x="376" y="2023"/>
                  <a:pt x="377" y="2025"/>
                </a:cubicBezTo>
                <a:close/>
                <a:moveTo>
                  <a:pt x="387" y="2046"/>
                </a:moveTo>
                <a:cubicBezTo>
                  <a:pt x="385" y="2047"/>
                  <a:pt x="384" y="2048"/>
                  <a:pt x="384" y="2049"/>
                </a:cubicBezTo>
                <a:cubicBezTo>
                  <a:pt x="385" y="2048"/>
                  <a:pt x="386" y="2047"/>
                  <a:pt x="387" y="2046"/>
                </a:cubicBezTo>
                <a:close/>
                <a:moveTo>
                  <a:pt x="385" y="2031"/>
                </a:moveTo>
                <a:cubicBezTo>
                  <a:pt x="385" y="2031"/>
                  <a:pt x="384" y="2030"/>
                  <a:pt x="383" y="2030"/>
                </a:cubicBezTo>
                <a:cubicBezTo>
                  <a:pt x="383" y="2030"/>
                  <a:pt x="382" y="2031"/>
                  <a:pt x="382" y="2031"/>
                </a:cubicBezTo>
                <a:cubicBezTo>
                  <a:pt x="382" y="2032"/>
                  <a:pt x="383" y="2032"/>
                  <a:pt x="383" y="2033"/>
                </a:cubicBezTo>
                <a:cubicBezTo>
                  <a:pt x="384" y="2032"/>
                  <a:pt x="384" y="2032"/>
                  <a:pt x="385" y="2031"/>
                </a:cubicBezTo>
                <a:close/>
                <a:moveTo>
                  <a:pt x="676" y="2009"/>
                </a:moveTo>
                <a:cubicBezTo>
                  <a:pt x="676" y="2009"/>
                  <a:pt x="676" y="2009"/>
                  <a:pt x="676" y="2009"/>
                </a:cubicBezTo>
                <a:cubicBezTo>
                  <a:pt x="671" y="2009"/>
                  <a:pt x="671" y="2009"/>
                  <a:pt x="671" y="2009"/>
                </a:cubicBezTo>
                <a:cubicBezTo>
                  <a:pt x="669" y="2010"/>
                  <a:pt x="668" y="2012"/>
                  <a:pt x="666" y="2012"/>
                </a:cubicBezTo>
                <a:cubicBezTo>
                  <a:pt x="664" y="2014"/>
                  <a:pt x="662" y="2014"/>
                  <a:pt x="661" y="2015"/>
                </a:cubicBezTo>
                <a:cubicBezTo>
                  <a:pt x="658" y="2017"/>
                  <a:pt x="657" y="2017"/>
                  <a:pt x="655" y="2018"/>
                </a:cubicBezTo>
                <a:cubicBezTo>
                  <a:pt x="653" y="2019"/>
                  <a:pt x="651" y="2020"/>
                  <a:pt x="650" y="2020"/>
                </a:cubicBezTo>
                <a:cubicBezTo>
                  <a:pt x="650" y="2020"/>
                  <a:pt x="650" y="2020"/>
                  <a:pt x="650" y="2030"/>
                </a:cubicBezTo>
                <a:cubicBezTo>
                  <a:pt x="653" y="2029"/>
                  <a:pt x="656" y="2028"/>
                  <a:pt x="658" y="2027"/>
                </a:cubicBezTo>
                <a:cubicBezTo>
                  <a:pt x="660" y="2026"/>
                  <a:pt x="663" y="2025"/>
                  <a:pt x="664" y="2023"/>
                </a:cubicBezTo>
                <a:cubicBezTo>
                  <a:pt x="664" y="2023"/>
                  <a:pt x="664" y="2023"/>
                  <a:pt x="664" y="2082"/>
                </a:cubicBezTo>
                <a:cubicBezTo>
                  <a:pt x="664" y="2082"/>
                  <a:pt x="664" y="2082"/>
                  <a:pt x="676" y="2082"/>
                </a:cubicBezTo>
                <a:cubicBezTo>
                  <a:pt x="676" y="2082"/>
                  <a:pt x="676" y="2082"/>
                  <a:pt x="676" y="2009"/>
                </a:cubicBezTo>
                <a:close/>
                <a:moveTo>
                  <a:pt x="798" y="2009"/>
                </a:moveTo>
                <a:cubicBezTo>
                  <a:pt x="798" y="2009"/>
                  <a:pt x="798" y="2009"/>
                  <a:pt x="798" y="2009"/>
                </a:cubicBezTo>
                <a:cubicBezTo>
                  <a:pt x="792" y="2009"/>
                  <a:pt x="792" y="2009"/>
                  <a:pt x="792" y="2009"/>
                </a:cubicBezTo>
                <a:cubicBezTo>
                  <a:pt x="790" y="2010"/>
                  <a:pt x="789" y="2012"/>
                  <a:pt x="787" y="2012"/>
                </a:cubicBezTo>
                <a:cubicBezTo>
                  <a:pt x="785" y="2014"/>
                  <a:pt x="784" y="2014"/>
                  <a:pt x="781" y="2015"/>
                </a:cubicBezTo>
                <a:cubicBezTo>
                  <a:pt x="780" y="2017"/>
                  <a:pt x="778" y="2017"/>
                  <a:pt x="776" y="2018"/>
                </a:cubicBezTo>
                <a:cubicBezTo>
                  <a:pt x="774" y="2019"/>
                  <a:pt x="772" y="2020"/>
                  <a:pt x="770" y="2020"/>
                </a:cubicBezTo>
                <a:cubicBezTo>
                  <a:pt x="770" y="2020"/>
                  <a:pt x="770" y="2020"/>
                  <a:pt x="770" y="2030"/>
                </a:cubicBezTo>
                <a:cubicBezTo>
                  <a:pt x="773" y="2029"/>
                  <a:pt x="776" y="2028"/>
                  <a:pt x="779" y="2027"/>
                </a:cubicBezTo>
                <a:cubicBezTo>
                  <a:pt x="781" y="2026"/>
                  <a:pt x="784" y="2025"/>
                  <a:pt x="786" y="2023"/>
                </a:cubicBezTo>
                <a:cubicBezTo>
                  <a:pt x="786" y="2023"/>
                  <a:pt x="786" y="2023"/>
                  <a:pt x="786" y="2082"/>
                </a:cubicBezTo>
                <a:cubicBezTo>
                  <a:pt x="786" y="2082"/>
                  <a:pt x="786" y="2082"/>
                  <a:pt x="798" y="2082"/>
                </a:cubicBezTo>
                <a:cubicBezTo>
                  <a:pt x="798" y="2082"/>
                  <a:pt x="798" y="2082"/>
                  <a:pt x="798" y="2009"/>
                </a:cubicBezTo>
                <a:close/>
                <a:moveTo>
                  <a:pt x="844" y="2009"/>
                </a:moveTo>
                <a:cubicBezTo>
                  <a:pt x="844" y="2009"/>
                  <a:pt x="844" y="2009"/>
                  <a:pt x="844" y="2009"/>
                </a:cubicBezTo>
                <a:cubicBezTo>
                  <a:pt x="839" y="2009"/>
                  <a:pt x="839" y="2009"/>
                  <a:pt x="839" y="2009"/>
                </a:cubicBezTo>
                <a:cubicBezTo>
                  <a:pt x="837" y="2010"/>
                  <a:pt x="835" y="2012"/>
                  <a:pt x="833" y="2012"/>
                </a:cubicBezTo>
                <a:cubicBezTo>
                  <a:pt x="832" y="2014"/>
                  <a:pt x="830" y="2014"/>
                  <a:pt x="828" y="2015"/>
                </a:cubicBezTo>
                <a:cubicBezTo>
                  <a:pt x="827" y="2017"/>
                  <a:pt x="825" y="2017"/>
                  <a:pt x="823" y="2018"/>
                </a:cubicBezTo>
                <a:cubicBezTo>
                  <a:pt x="821" y="2019"/>
                  <a:pt x="819" y="2020"/>
                  <a:pt x="817" y="2020"/>
                </a:cubicBezTo>
                <a:cubicBezTo>
                  <a:pt x="817" y="2020"/>
                  <a:pt x="817" y="2020"/>
                  <a:pt x="817" y="2030"/>
                </a:cubicBezTo>
                <a:cubicBezTo>
                  <a:pt x="820" y="2029"/>
                  <a:pt x="823" y="2028"/>
                  <a:pt x="825" y="2027"/>
                </a:cubicBezTo>
                <a:cubicBezTo>
                  <a:pt x="828" y="2026"/>
                  <a:pt x="830" y="2025"/>
                  <a:pt x="833" y="2023"/>
                </a:cubicBezTo>
                <a:cubicBezTo>
                  <a:pt x="833" y="2023"/>
                  <a:pt x="833" y="2023"/>
                  <a:pt x="833" y="2082"/>
                </a:cubicBezTo>
                <a:cubicBezTo>
                  <a:pt x="833" y="2082"/>
                  <a:pt x="833" y="2082"/>
                  <a:pt x="844" y="2082"/>
                </a:cubicBezTo>
                <a:cubicBezTo>
                  <a:pt x="844" y="2082"/>
                  <a:pt x="844" y="2082"/>
                  <a:pt x="844" y="2009"/>
                </a:cubicBezTo>
                <a:close/>
                <a:moveTo>
                  <a:pt x="890" y="2009"/>
                </a:moveTo>
                <a:cubicBezTo>
                  <a:pt x="890" y="2009"/>
                  <a:pt x="890" y="2009"/>
                  <a:pt x="890" y="2009"/>
                </a:cubicBezTo>
                <a:cubicBezTo>
                  <a:pt x="886" y="2009"/>
                  <a:pt x="886" y="2009"/>
                  <a:pt x="886" y="2009"/>
                </a:cubicBezTo>
                <a:cubicBezTo>
                  <a:pt x="884" y="2010"/>
                  <a:pt x="882" y="2012"/>
                  <a:pt x="880" y="2012"/>
                </a:cubicBezTo>
                <a:cubicBezTo>
                  <a:pt x="879" y="2014"/>
                  <a:pt x="876" y="2014"/>
                  <a:pt x="875" y="2015"/>
                </a:cubicBezTo>
                <a:cubicBezTo>
                  <a:pt x="873" y="2016"/>
                  <a:pt x="871" y="2017"/>
                  <a:pt x="869" y="2017"/>
                </a:cubicBezTo>
                <a:cubicBezTo>
                  <a:pt x="868" y="2018"/>
                  <a:pt x="865" y="2019"/>
                  <a:pt x="864" y="2020"/>
                </a:cubicBezTo>
                <a:cubicBezTo>
                  <a:pt x="864" y="2020"/>
                  <a:pt x="864" y="2020"/>
                  <a:pt x="864" y="2030"/>
                </a:cubicBezTo>
                <a:cubicBezTo>
                  <a:pt x="867" y="2029"/>
                  <a:pt x="870" y="2028"/>
                  <a:pt x="872" y="2027"/>
                </a:cubicBezTo>
                <a:cubicBezTo>
                  <a:pt x="874" y="2026"/>
                  <a:pt x="877" y="2025"/>
                  <a:pt x="879" y="2023"/>
                </a:cubicBezTo>
                <a:cubicBezTo>
                  <a:pt x="879" y="2023"/>
                  <a:pt x="879" y="2023"/>
                  <a:pt x="879" y="2082"/>
                </a:cubicBezTo>
                <a:cubicBezTo>
                  <a:pt x="879" y="2082"/>
                  <a:pt x="879" y="2082"/>
                  <a:pt x="890" y="2082"/>
                </a:cubicBezTo>
                <a:cubicBezTo>
                  <a:pt x="890" y="2082"/>
                  <a:pt x="890" y="2082"/>
                  <a:pt x="890" y="2009"/>
                </a:cubicBezTo>
                <a:close/>
                <a:moveTo>
                  <a:pt x="696" y="2041"/>
                </a:moveTo>
                <a:cubicBezTo>
                  <a:pt x="696" y="2041"/>
                  <a:pt x="696" y="2041"/>
                  <a:pt x="696" y="2041"/>
                </a:cubicBezTo>
                <a:cubicBezTo>
                  <a:pt x="696" y="2049"/>
                  <a:pt x="696" y="2049"/>
                  <a:pt x="696" y="2049"/>
                </a:cubicBezTo>
                <a:cubicBezTo>
                  <a:pt x="702" y="2050"/>
                  <a:pt x="703" y="2053"/>
                  <a:pt x="703" y="2055"/>
                </a:cubicBezTo>
                <a:cubicBezTo>
                  <a:pt x="703" y="2057"/>
                  <a:pt x="702" y="2060"/>
                  <a:pt x="702" y="2062"/>
                </a:cubicBezTo>
                <a:cubicBezTo>
                  <a:pt x="702" y="2065"/>
                  <a:pt x="702" y="2067"/>
                  <a:pt x="702" y="2069"/>
                </a:cubicBezTo>
                <a:cubicBezTo>
                  <a:pt x="702" y="2079"/>
                  <a:pt x="708" y="2082"/>
                  <a:pt x="716" y="2082"/>
                </a:cubicBezTo>
                <a:cubicBezTo>
                  <a:pt x="716" y="2082"/>
                  <a:pt x="716" y="2082"/>
                  <a:pt x="720" y="2082"/>
                </a:cubicBezTo>
                <a:cubicBezTo>
                  <a:pt x="720" y="2082"/>
                  <a:pt x="720" y="2082"/>
                  <a:pt x="720" y="2073"/>
                </a:cubicBezTo>
                <a:cubicBezTo>
                  <a:pt x="720" y="2073"/>
                  <a:pt x="720" y="2073"/>
                  <a:pt x="718" y="2073"/>
                </a:cubicBezTo>
                <a:cubicBezTo>
                  <a:pt x="715" y="2073"/>
                  <a:pt x="714" y="2071"/>
                  <a:pt x="714" y="2067"/>
                </a:cubicBezTo>
                <a:cubicBezTo>
                  <a:pt x="714" y="2066"/>
                  <a:pt x="714" y="2064"/>
                  <a:pt x="714" y="2062"/>
                </a:cubicBezTo>
                <a:cubicBezTo>
                  <a:pt x="714" y="2061"/>
                  <a:pt x="714" y="2059"/>
                  <a:pt x="714" y="2056"/>
                </a:cubicBezTo>
                <a:cubicBezTo>
                  <a:pt x="714" y="2049"/>
                  <a:pt x="711" y="2046"/>
                  <a:pt x="706" y="2045"/>
                </a:cubicBezTo>
                <a:cubicBezTo>
                  <a:pt x="706" y="2045"/>
                  <a:pt x="706" y="2045"/>
                  <a:pt x="706" y="2045"/>
                </a:cubicBezTo>
                <a:cubicBezTo>
                  <a:pt x="711" y="2044"/>
                  <a:pt x="714" y="2041"/>
                  <a:pt x="714" y="2034"/>
                </a:cubicBezTo>
                <a:cubicBezTo>
                  <a:pt x="714" y="2031"/>
                  <a:pt x="714" y="2029"/>
                  <a:pt x="714" y="2028"/>
                </a:cubicBezTo>
                <a:cubicBezTo>
                  <a:pt x="714" y="2026"/>
                  <a:pt x="714" y="2024"/>
                  <a:pt x="714" y="2023"/>
                </a:cubicBezTo>
                <a:cubicBezTo>
                  <a:pt x="714" y="2019"/>
                  <a:pt x="715" y="2017"/>
                  <a:pt x="718" y="2017"/>
                </a:cubicBezTo>
                <a:cubicBezTo>
                  <a:pt x="718" y="2017"/>
                  <a:pt x="718" y="2017"/>
                  <a:pt x="720" y="2017"/>
                </a:cubicBezTo>
                <a:cubicBezTo>
                  <a:pt x="720" y="2017"/>
                  <a:pt x="720" y="2017"/>
                  <a:pt x="720" y="2008"/>
                </a:cubicBezTo>
                <a:cubicBezTo>
                  <a:pt x="720" y="2008"/>
                  <a:pt x="720" y="2008"/>
                  <a:pt x="716" y="2008"/>
                </a:cubicBezTo>
                <a:cubicBezTo>
                  <a:pt x="707" y="2008"/>
                  <a:pt x="702" y="2012"/>
                  <a:pt x="702" y="2020"/>
                </a:cubicBezTo>
                <a:cubicBezTo>
                  <a:pt x="702" y="2023"/>
                  <a:pt x="702" y="2025"/>
                  <a:pt x="702" y="2028"/>
                </a:cubicBezTo>
                <a:cubicBezTo>
                  <a:pt x="702" y="2030"/>
                  <a:pt x="703" y="2033"/>
                  <a:pt x="703" y="2035"/>
                </a:cubicBezTo>
                <a:cubicBezTo>
                  <a:pt x="703" y="2037"/>
                  <a:pt x="702" y="2041"/>
                  <a:pt x="696" y="2041"/>
                </a:cubicBezTo>
                <a:close/>
                <a:moveTo>
                  <a:pt x="751" y="2049"/>
                </a:moveTo>
                <a:cubicBezTo>
                  <a:pt x="751" y="2049"/>
                  <a:pt x="751" y="2049"/>
                  <a:pt x="751" y="2049"/>
                </a:cubicBezTo>
                <a:cubicBezTo>
                  <a:pt x="751" y="2041"/>
                  <a:pt x="751" y="2041"/>
                  <a:pt x="751" y="2041"/>
                </a:cubicBezTo>
                <a:cubicBezTo>
                  <a:pt x="744" y="2041"/>
                  <a:pt x="744" y="2037"/>
                  <a:pt x="744" y="2035"/>
                </a:cubicBezTo>
                <a:cubicBezTo>
                  <a:pt x="744" y="2033"/>
                  <a:pt x="744" y="2030"/>
                  <a:pt x="744" y="2028"/>
                </a:cubicBezTo>
                <a:cubicBezTo>
                  <a:pt x="745" y="2025"/>
                  <a:pt x="745" y="2023"/>
                  <a:pt x="745" y="2020"/>
                </a:cubicBezTo>
                <a:cubicBezTo>
                  <a:pt x="745" y="2012"/>
                  <a:pt x="739" y="2008"/>
                  <a:pt x="730" y="2008"/>
                </a:cubicBezTo>
                <a:cubicBezTo>
                  <a:pt x="730" y="2008"/>
                  <a:pt x="730" y="2008"/>
                  <a:pt x="727" y="2008"/>
                </a:cubicBezTo>
                <a:cubicBezTo>
                  <a:pt x="727" y="2008"/>
                  <a:pt x="727" y="2008"/>
                  <a:pt x="727" y="2017"/>
                </a:cubicBezTo>
                <a:cubicBezTo>
                  <a:pt x="727" y="2017"/>
                  <a:pt x="727" y="2017"/>
                  <a:pt x="728" y="2017"/>
                </a:cubicBezTo>
                <a:cubicBezTo>
                  <a:pt x="732" y="2017"/>
                  <a:pt x="733" y="2019"/>
                  <a:pt x="733" y="2023"/>
                </a:cubicBezTo>
                <a:cubicBezTo>
                  <a:pt x="733" y="2024"/>
                  <a:pt x="733" y="2026"/>
                  <a:pt x="733" y="2028"/>
                </a:cubicBezTo>
                <a:cubicBezTo>
                  <a:pt x="732" y="2029"/>
                  <a:pt x="732" y="2031"/>
                  <a:pt x="732" y="2034"/>
                </a:cubicBezTo>
                <a:cubicBezTo>
                  <a:pt x="732" y="2041"/>
                  <a:pt x="735" y="2044"/>
                  <a:pt x="741" y="2045"/>
                </a:cubicBezTo>
                <a:cubicBezTo>
                  <a:pt x="741" y="2045"/>
                  <a:pt x="741" y="2045"/>
                  <a:pt x="741" y="2045"/>
                </a:cubicBezTo>
                <a:cubicBezTo>
                  <a:pt x="735" y="2046"/>
                  <a:pt x="732" y="2049"/>
                  <a:pt x="732" y="2056"/>
                </a:cubicBezTo>
                <a:cubicBezTo>
                  <a:pt x="732" y="2059"/>
                  <a:pt x="732" y="2061"/>
                  <a:pt x="733" y="2062"/>
                </a:cubicBezTo>
                <a:cubicBezTo>
                  <a:pt x="733" y="2064"/>
                  <a:pt x="733" y="2066"/>
                  <a:pt x="733" y="2067"/>
                </a:cubicBezTo>
                <a:cubicBezTo>
                  <a:pt x="733" y="2071"/>
                  <a:pt x="732" y="2073"/>
                  <a:pt x="728" y="2073"/>
                </a:cubicBezTo>
                <a:cubicBezTo>
                  <a:pt x="728" y="2073"/>
                  <a:pt x="728" y="2073"/>
                  <a:pt x="727" y="2073"/>
                </a:cubicBezTo>
                <a:cubicBezTo>
                  <a:pt x="727" y="2073"/>
                  <a:pt x="727" y="2073"/>
                  <a:pt x="727" y="2082"/>
                </a:cubicBezTo>
                <a:cubicBezTo>
                  <a:pt x="727" y="2082"/>
                  <a:pt x="727" y="2082"/>
                  <a:pt x="730" y="2082"/>
                </a:cubicBezTo>
                <a:cubicBezTo>
                  <a:pt x="739" y="2082"/>
                  <a:pt x="745" y="2079"/>
                  <a:pt x="745" y="2069"/>
                </a:cubicBezTo>
                <a:cubicBezTo>
                  <a:pt x="745" y="2067"/>
                  <a:pt x="745" y="2065"/>
                  <a:pt x="744" y="2062"/>
                </a:cubicBezTo>
                <a:cubicBezTo>
                  <a:pt x="744" y="2060"/>
                  <a:pt x="744" y="2057"/>
                  <a:pt x="744" y="2055"/>
                </a:cubicBezTo>
                <a:cubicBezTo>
                  <a:pt x="744" y="2053"/>
                  <a:pt x="744" y="2050"/>
                  <a:pt x="751" y="2049"/>
                </a:cubicBezTo>
                <a:close/>
                <a:moveTo>
                  <a:pt x="934" y="2082"/>
                </a:moveTo>
                <a:cubicBezTo>
                  <a:pt x="927" y="2082"/>
                  <a:pt x="920" y="2079"/>
                  <a:pt x="916" y="2073"/>
                </a:cubicBezTo>
                <a:cubicBezTo>
                  <a:pt x="912" y="2067"/>
                  <a:pt x="910" y="2058"/>
                  <a:pt x="910" y="2045"/>
                </a:cubicBezTo>
                <a:cubicBezTo>
                  <a:pt x="910" y="2032"/>
                  <a:pt x="912" y="2023"/>
                  <a:pt x="917" y="2016"/>
                </a:cubicBezTo>
                <a:cubicBezTo>
                  <a:pt x="921" y="2009"/>
                  <a:pt x="927" y="2006"/>
                  <a:pt x="936" y="2006"/>
                </a:cubicBezTo>
                <a:cubicBezTo>
                  <a:pt x="952" y="2006"/>
                  <a:pt x="960" y="2018"/>
                  <a:pt x="960" y="2044"/>
                </a:cubicBezTo>
                <a:cubicBezTo>
                  <a:pt x="960" y="2056"/>
                  <a:pt x="958" y="2066"/>
                  <a:pt x="953" y="2073"/>
                </a:cubicBezTo>
                <a:cubicBezTo>
                  <a:pt x="949" y="2079"/>
                  <a:pt x="942" y="2082"/>
                  <a:pt x="934" y="2082"/>
                </a:cubicBezTo>
                <a:close/>
                <a:moveTo>
                  <a:pt x="935" y="2015"/>
                </a:moveTo>
                <a:cubicBezTo>
                  <a:pt x="926" y="2015"/>
                  <a:pt x="922" y="2026"/>
                  <a:pt x="922" y="2045"/>
                </a:cubicBezTo>
                <a:cubicBezTo>
                  <a:pt x="922" y="2064"/>
                  <a:pt x="926" y="2073"/>
                  <a:pt x="935" y="2073"/>
                </a:cubicBezTo>
                <a:cubicBezTo>
                  <a:pt x="944" y="2073"/>
                  <a:pt x="948" y="2064"/>
                  <a:pt x="948" y="2045"/>
                </a:cubicBezTo>
                <a:cubicBezTo>
                  <a:pt x="948" y="2025"/>
                  <a:pt x="944" y="2015"/>
                  <a:pt x="935" y="2015"/>
                </a:cubicBezTo>
                <a:close/>
                <a:moveTo>
                  <a:pt x="1004" y="2082"/>
                </a:moveTo>
                <a:cubicBezTo>
                  <a:pt x="997" y="2082"/>
                  <a:pt x="990" y="2079"/>
                  <a:pt x="987" y="2073"/>
                </a:cubicBezTo>
                <a:cubicBezTo>
                  <a:pt x="982" y="2067"/>
                  <a:pt x="980" y="2058"/>
                  <a:pt x="980" y="2045"/>
                </a:cubicBezTo>
                <a:cubicBezTo>
                  <a:pt x="980" y="2032"/>
                  <a:pt x="982" y="2023"/>
                  <a:pt x="987" y="2016"/>
                </a:cubicBezTo>
                <a:cubicBezTo>
                  <a:pt x="991" y="2009"/>
                  <a:pt x="998" y="2006"/>
                  <a:pt x="1006" y="2006"/>
                </a:cubicBezTo>
                <a:cubicBezTo>
                  <a:pt x="1022" y="2006"/>
                  <a:pt x="1030" y="2018"/>
                  <a:pt x="1030" y="2044"/>
                </a:cubicBezTo>
                <a:cubicBezTo>
                  <a:pt x="1030" y="2056"/>
                  <a:pt x="1028" y="2066"/>
                  <a:pt x="1024" y="2073"/>
                </a:cubicBezTo>
                <a:cubicBezTo>
                  <a:pt x="1019" y="2079"/>
                  <a:pt x="1013" y="2082"/>
                  <a:pt x="1004" y="2082"/>
                </a:cubicBezTo>
                <a:close/>
                <a:moveTo>
                  <a:pt x="1006" y="2015"/>
                </a:moveTo>
                <a:cubicBezTo>
                  <a:pt x="997" y="2015"/>
                  <a:pt x="992" y="2026"/>
                  <a:pt x="992" y="2045"/>
                </a:cubicBezTo>
                <a:cubicBezTo>
                  <a:pt x="992" y="2064"/>
                  <a:pt x="996" y="2073"/>
                  <a:pt x="1005" y="2073"/>
                </a:cubicBezTo>
                <a:cubicBezTo>
                  <a:pt x="1014" y="2073"/>
                  <a:pt x="1018" y="2064"/>
                  <a:pt x="1018" y="2045"/>
                </a:cubicBezTo>
                <a:cubicBezTo>
                  <a:pt x="1018" y="2025"/>
                  <a:pt x="1014" y="2015"/>
                  <a:pt x="1006" y="2015"/>
                </a:cubicBezTo>
                <a:close/>
                <a:moveTo>
                  <a:pt x="1077" y="2009"/>
                </a:moveTo>
                <a:cubicBezTo>
                  <a:pt x="1077" y="2009"/>
                  <a:pt x="1077" y="2009"/>
                  <a:pt x="1077" y="2009"/>
                </a:cubicBezTo>
                <a:cubicBezTo>
                  <a:pt x="1072" y="2009"/>
                  <a:pt x="1072" y="2009"/>
                  <a:pt x="1072" y="2009"/>
                </a:cubicBezTo>
                <a:cubicBezTo>
                  <a:pt x="1070" y="2010"/>
                  <a:pt x="1069" y="2012"/>
                  <a:pt x="1066" y="2012"/>
                </a:cubicBezTo>
                <a:cubicBezTo>
                  <a:pt x="1065" y="2014"/>
                  <a:pt x="1063" y="2014"/>
                  <a:pt x="1061" y="2015"/>
                </a:cubicBezTo>
                <a:cubicBezTo>
                  <a:pt x="1060" y="2017"/>
                  <a:pt x="1057" y="2017"/>
                  <a:pt x="1056" y="2018"/>
                </a:cubicBezTo>
                <a:cubicBezTo>
                  <a:pt x="1054" y="2019"/>
                  <a:pt x="1052" y="2020"/>
                  <a:pt x="1050" y="2020"/>
                </a:cubicBezTo>
                <a:cubicBezTo>
                  <a:pt x="1050" y="2020"/>
                  <a:pt x="1050" y="2020"/>
                  <a:pt x="1050" y="2030"/>
                </a:cubicBezTo>
                <a:cubicBezTo>
                  <a:pt x="1053" y="2029"/>
                  <a:pt x="1056" y="2028"/>
                  <a:pt x="1059" y="2027"/>
                </a:cubicBezTo>
                <a:cubicBezTo>
                  <a:pt x="1061" y="2026"/>
                  <a:pt x="1063" y="2025"/>
                  <a:pt x="1066" y="2023"/>
                </a:cubicBezTo>
                <a:cubicBezTo>
                  <a:pt x="1066" y="2023"/>
                  <a:pt x="1066" y="2023"/>
                  <a:pt x="1066" y="2082"/>
                </a:cubicBezTo>
                <a:cubicBezTo>
                  <a:pt x="1066" y="2082"/>
                  <a:pt x="1066" y="2082"/>
                  <a:pt x="1077" y="2082"/>
                </a:cubicBezTo>
                <a:cubicBezTo>
                  <a:pt x="1077" y="2082"/>
                  <a:pt x="1077" y="2082"/>
                  <a:pt x="1077" y="2009"/>
                </a:cubicBezTo>
                <a:close/>
                <a:moveTo>
                  <a:pt x="1124" y="2009"/>
                </a:moveTo>
                <a:cubicBezTo>
                  <a:pt x="1124" y="2009"/>
                  <a:pt x="1124" y="2009"/>
                  <a:pt x="1124" y="2009"/>
                </a:cubicBezTo>
                <a:cubicBezTo>
                  <a:pt x="1119" y="2009"/>
                  <a:pt x="1119" y="2009"/>
                  <a:pt x="1119" y="2009"/>
                </a:cubicBezTo>
                <a:cubicBezTo>
                  <a:pt x="1117" y="2010"/>
                  <a:pt x="1115" y="2012"/>
                  <a:pt x="1113" y="2012"/>
                </a:cubicBezTo>
                <a:cubicBezTo>
                  <a:pt x="1112" y="2014"/>
                  <a:pt x="1109" y="2014"/>
                  <a:pt x="1108" y="2015"/>
                </a:cubicBezTo>
                <a:cubicBezTo>
                  <a:pt x="1107" y="2017"/>
                  <a:pt x="1104" y="2017"/>
                  <a:pt x="1103" y="2018"/>
                </a:cubicBezTo>
                <a:cubicBezTo>
                  <a:pt x="1101" y="2019"/>
                  <a:pt x="1099" y="2020"/>
                  <a:pt x="1097" y="2020"/>
                </a:cubicBezTo>
                <a:cubicBezTo>
                  <a:pt x="1097" y="2020"/>
                  <a:pt x="1097" y="2020"/>
                  <a:pt x="1097" y="2030"/>
                </a:cubicBezTo>
                <a:cubicBezTo>
                  <a:pt x="1100" y="2029"/>
                  <a:pt x="1103" y="2028"/>
                  <a:pt x="1105" y="2027"/>
                </a:cubicBezTo>
                <a:cubicBezTo>
                  <a:pt x="1108" y="2026"/>
                  <a:pt x="1110" y="2025"/>
                  <a:pt x="1112" y="2023"/>
                </a:cubicBezTo>
                <a:cubicBezTo>
                  <a:pt x="1112" y="2023"/>
                  <a:pt x="1112" y="2023"/>
                  <a:pt x="1112" y="2082"/>
                </a:cubicBezTo>
                <a:cubicBezTo>
                  <a:pt x="1112" y="2082"/>
                  <a:pt x="1112" y="2082"/>
                  <a:pt x="1124" y="2082"/>
                </a:cubicBezTo>
                <a:cubicBezTo>
                  <a:pt x="1124" y="2082"/>
                  <a:pt x="1124" y="2082"/>
                  <a:pt x="1124" y="2009"/>
                </a:cubicBezTo>
                <a:close/>
                <a:moveTo>
                  <a:pt x="1170" y="2009"/>
                </a:moveTo>
                <a:cubicBezTo>
                  <a:pt x="1170" y="2009"/>
                  <a:pt x="1170" y="2009"/>
                  <a:pt x="1170" y="2009"/>
                </a:cubicBezTo>
                <a:cubicBezTo>
                  <a:pt x="1166" y="2009"/>
                  <a:pt x="1166" y="2009"/>
                  <a:pt x="1166" y="2009"/>
                </a:cubicBezTo>
                <a:cubicBezTo>
                  <a:pt x="1164" y="2010"/>
                  <a:pt x="1162" y="2012"/>
                  <a:pt x="1160" y="2012"/>
                </a:cubicBezTo>
                <a:cubicBezTo>
                  <a:pt x="1159" y="2014"/>
                  <a:pt x="1156" y="2014"/>
                  <a:pt x="1155" y="2015"/>
                </a:cubicBezTo>
                <a:cubicBezTo>
                  <a:pt x="1153" y="2016"/>
                  <a:pt x="1151" y="2017"/>
                  <a:pt x="1149" y="2017"/>
                </a:cubicBezTo>
                <a:cubicBezTo>
                  <a:pt x="1148" y="2018"/>
                  <a:pt x="1146" y="2019"/>
                  <a:pt x="1144" y="2020"/>
                </a:cubicBezTo>
                <a:cubicBezTo>
                  <a:pt x="1144" y="2020"/>
                  <a:pt x="1144" y="2020"/>
                  <a:pt x="1144" y="2030"/>
                </a:cubicBezTo>
                <a:cubicBezTo>
                  <a:pt x="1147" y="2029"/>
                  <a:pt x="1150" y="2028"/>
                  <a:pt x="1152" y="2027"/>
                </a:cubicBezTo>
                <a:cubicBezTo>
                  <a:pt x="1154" y="2026"/>
                  <a:pt x="1157" y="2025"/>
                  <a:pt x="1159" y="2023"/>
                </a:cubicBezTo>
                <a:cubicBezTo>
                  <a:pt x="1159" y="2023"/>
                  <a:pt x="1159" y="2023"/>
                  <a:pt x="1159" y="2082"/>
                </a:cubicBezTo>
                <a:cubicBezTo>
                  <a:pt x="1159" y="2082"/>
                  <a:pt x="1159" y="2082"/>
                  <a:pt x="1170" y="2082"/>
                </a:cubicBezTo>
                <a:cubicBezTo>
                  <a:pt x="1170" y="2082"/>
                  <a:pt x="1170" y="2082"/>
                  <a:pt x="1170" y="2009"/>
                </a:cubicBezTo>
                <a:close/>
                <a:moveTo>
                  <a:pt x="979" y="1973"/>
                </a:moveTo>
                <a:cubicBezTo>
                  <a:pt x="972" y="1973"/>
                  <a:pt x="965" y="1970"/>
                  <a:pt x="961" y="1964"/>
                </a:cubicBezTo>
                <a:cubicBezTo>
                  <a:pt x="957" y="1958"/>
                  <a:pt x="955" y="1949"/>
                  <a:pt x="955" y="1937"/>
                </a:cubicBezTo>
                <a:cubicBezTo>
                  <a:pt x="955" y="1924"/>
                  <a:pt x="957" y="1914"/>
                  <a:pt x="962" y="1908"/>
                </a:cubicBezTo>
                <a:cubicBezTo>
                  <a:pt x="966" y="1901"/>
                  <a:pt x="973" y="1897"/>
                  <a:pt x="981" y="1897"/>
                </a:cubicBezTo>
                <a:cubicBezTo>
                  <a:pt x="997" y="1897"/>
                  <a:pt x="1005" y="1910"/>
                  <a:pt x="1005" y="1935"/>
                </a:cubicBezTo>
                <a:cubicBezTo>
                  <a:pt x="1005" y="1948"/>
                  <a:pt x="1003" y="1957"/>
                  <a:pt x="998" y="1964"/>
                </a:cubicBezTo>
                <a:cubicBezTo>
                  <a:pt x="994" y="1970"/>
                  <a:pt x="987" y="1973"/>
                  <a:pt x="979" y="1973"/>
                </a:cubicBezTo>
                <a:close/>
                <a:moveTo>
                  <a:pt x="981" y="1907"/>
                </a:moveTo>
                <a:cubicBezTo>
                  <a:pt x="971" y="1907"/>
                  <a:pt x="967" y="1917"/>
                  <a:pt x="967" y="1937"/>
                </a:cubicBezTo>
                <a:cubicBezTo>
                  <a:pt x="967" y="1955"/>
                  <a:pt x="971" y="1964"/>
                  <a:pt x="980" y="1964"/>
                </a:cubicBezTo>
                <a:cubicBezTo>
                  <a:pt x="989" y="1964"/>
                  <a:pt x="993" y="1955"/>
                  <a:pt x="993" y="1936"/>
                </a:cubicBezTo>
                <a:cubicBezTo>
                  <a:pt x="993" y="1916"/>
                  <a:pt x="989" y="1907"/>
                  <a:pt x="981" y="1907"/>
                </a:cubicBezTo>
                <a:close/>
                <a:moveTo>
                  <a:pt x="1053" y="1900"/>
                </a:moveTo>
                <a:cubicBezTo>
                  <a:pt x="1053" y="1900"/>
                  <a:pt x="1053" y="1900"/>
                  <a:pt x="1053" y="1900"/>
                </a:cubicBezTo>
                <a:cubicBezTo>
                  <a:pt x="1048" y="1900"/>
                  <a:pt x="1048" y="1900"/>
                  <a:pt x="1048" y="1900"/>
                </a:cubicBezTo>
                <a:cubicBezTo>
                  <a:pt x="1046" y="1901"/>
                  <a:pt x="1044" y="1903"/>
                  <a:pt x="1042" y="1903"/>
                </a:cubicBezTo>
                <a:cubicBezTo>
                  <a:pt x="1041" y="1905"/>
                  <a:pt x="1038" y="1906"/>
                  <a:pt x="1037" y="1906"/>
                </a:cubicBezTo>
                <a:cubicBezTo>
                  <a:pt x="1035" y="1907"/>
                  <a:pt x="1033" y="1908"/>
                  <a:pt x="1032" y="1908"/>
                </a:cubicBezTo>
                <a:cubicBezTo>
                  <a:pt x="1030" y="1909"/>
                  <a:pt x="1028" y="1910"/>
                  <a:pt x="1026" y="1911"/>
                </a:cubicBezTo>
                <a:cubicBezTo>
                  <a:pt x="1026" y="1911"/>
                  <a:pt x="1026" y="1911"/>
                  <a:pt x="1026" y="1921"/>
                </a:cubicBezTo>
                <a:cubicBezTo>
                  <a:pt x="1029" y="1920"/>
                  <a:pt x="1032" y="1919"/>
                  <a:pt x="1034" y="1918"/>
                </a:cubicBezTo>
                <a:cubicBezTo>
                  <a:pt x="1037" y="1917"/>
                  <a:pt x="1039" y="1916"/>
                  <a:pt x="1041" y="1914"/>
                </a:cubicBezTo>
                <a:cubicBezTo>
                  <a:pt x="1041" y="1914"/>
                  <a:pt x="1041" y="1914"/>
                  <a:pt x="1041" y="1973"/>
                </a:cubicBezTo>
                <a:cubicBezTo>
                  <a:pt x="1041" y="1973"/>
                  <a:pt x="1041" y="1973"/>
                  <a:pt x="1053" y="1973"/>
                </a:cubicBezTo>
                <a:cubicBezTo>
                  <a:pt x="1053" y="1973"/>
                  <a:pt x="1053" y="1973"/>
                  <a:pt x="1053" y="1900"/>
                </a:cubicBezTo>
                <a:close/>
                <a:moveTo>
                  <a:pt x="1100" y="1900"/>
                </a:moveTo>
                <a:cubicBezTo>
                  <a:pt x="1100" y="1900"/>
                  <a:pt x="1100" y="1900"/>
                  <a:pt x="1100" y="1900"/>
                </a:cubicBezTo>
                <a:cubicBezTo>
                  <a:pt x="1095" y="1900"/>
                  <a:pt x="1095" y="1900"/>
                  <a:pt x="1095" y="1900"/>
                </a:cubicBezTo>
                <a:cubicBezTo>
                  <a:pt x="1093" y="1901"/>
                  <a:pt x="1091" y="1903"/>
                  <a:pt x="1089" y="1903"/>
                </a:cubicBezTo>
                <a:cubicBezTo>
                  <a:pt x="1088" y="1905"/>
                  <a:pt x="1086" y="1906"/>
                  <a:pt x="1084" y="1906"/>
                </a:cubicBezTo>
                <a:cubicBezTo>
                  <a:pt x="1083" y="1908"/>
                  <a:pt x="1081" y="1908"/>
                  <a:pt x="1079" y="1909"/>
                </a:cubicBezTo>
                <a:cubicBezTo>
                  <a:pt x="1077" y="1910"/>
                  <a:pt x="1076" y="1911"/>
                  <a:pt x="1074" y="1911"/>
                </a:cubicBezTo>
                <a:cubicBezTo>
                  <a:pt x="1074" y="1911"/>
                  <a:pt x="1074" y="1911"/>
                  <a:pt x="1074" y="1921"/>
                </a:cubicBezTo>
                <a:cubicBezTo>
                  <a:pt x="1076" y="1920"/>
                  <a:pt x="1079" y="1919"/>
                  <a:pt x="1081" y="1918"/>
                </a:cubicBezTo>
                <a:cubicBezTo>
                  <a:pt x="1084" y="1917"/>
                  <a:pt x="1086" y="1916"/>
                  <a:pt x="1089" y="1914"/>
                </a:cubicBezTo>
                <a:cubicBezTo>
                  <a:pt x="1089" y="1914"/>
                  <a:pt x="1089" y="1914"/>
                  <a:pt x="1089" y="1973"/>
                </a:cubicBezTo>
                <a:cubicBezTo>
                  <a:pt x="1089" y="1973"/>
                  <a:pt x="1089" y="1973"/>
                  <a:pt x="1100" y="1973"/>
                </a:cubicBezTo>
                <a:cubicBezTo>
                  <a:pt x="1100" y="1973"/>
                  <a:pt x="1100" y="1973"/>
                  <a:pt x="1100" y="1900"/>
                </a:cubicBezTo>
                <a:close/>
                <a:moveTo>
                  <a:pt x="1147" y="1900"/>
                </a:moveTo>
                <a:cubicBezTo>
                  <a:pt x="1147" y="1900"/>
                  <a:pt x="1147" y="1900"/>
                  <a:pt x="1147" y="1900"/>
                </a:cubicBezTo>
                <a:cubicBezTo>
                  <a:pt x="1142" y="1900"/>
                  <a:pt x="1142" y="1900"/>
                  <a:pt x="1142" y="1900"/>
                </a:cubicBezTo>
                <a:cubicBezTo>
                  <a:pt x="1140" y="1901"/>
                  <a:pt x="1139" y="1903"/>
                  <a:pt x="1136" y="1903"/>
                </a:cubicBezTo>
                <a:cubicBezTo>
                  <a:pt x="1135" y="1905"/>
                  <a:pt x="1133" y="1906"/>
                  <a:pt x="1131" y="1906"/>
                </a:cubicBezTo>
                <a:cubicBezTo>
                  <a:pt x="1129" y="1908"/>
                  <a:pt x="1128" y="1908"/>
                  <a:pt x="1126" y="1909"/>
                </a:cubicBezTo>
                <a:cubicBezTo>
                  <a:pt x="1124" y="1910"/>
                  <a:pt x="1122" y="1911"/>
                  <a:pt x="1121" y="1911"/>
                </a:cubicBezTo>
                <a:cubicBezTo>
                  <a:pt x="1121" y="1911"/>
                  <a:pt x="1121" y="1911"/>
                  <a:pt x="1121" y="1921"/>
                </a:cubicBezTo>
                <a:cubicBezTo>
                  <a:pt x="1124" y="1920"/>
                  <a:pt x="1126" y="1919"/>
                  <a:pt x="1129" y="1918"/>
                </a:cubicBezTo>
                <a:cubicBezTo>
                  <a:pt x="1131" y="1917"/>
                  <a:pt x="1134" y="1916"/>
                  <a:pt x="1135" y="1914"/>
                </a:cubicBezTo>
                <a:cubicBezTo>
                  <a:pt x="1135" y="1914"/>
                  <a:pt x="1135" y="1914"/>
                  <a:pt x="1135" y="1973"/>
                </a:cubicBezTo>
                <a:cubicBezTo>
                  <a:pt x="1135" y="1973"/>
                  <a:pt x="1135" y="1973"/>
                  <a:pt x="1147" y="1973"/>
                </a:cubicBezTo>
                <a:cubicBezTo>
                  <a:pt x="1147" y="1973"/>
                  <a:pt x="1147" y="1973"/>
                  <a:pt x="1147" y="1900"/>
                </a:cubicBezTo>
                <a:close/>
                <a:moveTo>
                  <a:pt x="1194" y="1900"/>
                </a:moveTo>
                <a:cubicBezTo>
                  <a:pt x="1194" y="1900"/>
                  <a:pt x="1194" y="1900"/>
                  <a:pt x="1194" y="1900"/>
                </a:cubicBezTo>
                <a:cubicBezTo>
                  <a:pt x="1189" y="1900"/>
                  <a:pt x="1189" y="1900"/>
                  <a:pt x="1189" y="1900"/>
                </a:cubicBezTo>
                <a:cubicBezTo>
                  <a:pt x="1187" y="1901"/>
                  <a:pt x="1185" y="1903"/>
                  <a:pt x="1183" y="1903"/>
                </a:cubicBezTo>
                <a:cubicBezTo>
                  <a:pt x="1182" y="1905"/>
                  <a:pt x="1180" y="1906"/>
                  <a:pt x="1178" y="1906"/>
                </a:cubicBezTo>
                <a:cubicBezTo>
                  <a:pt x="1177" y="1908"/>
                  <a:pt x="1174" y="1908"/>
                  <a:pt x="1173" y="1909"/>
                </a:cubicBezTo>
                <a:cubicBezTo>
                  <a:pt x="1171" y="1910"/>
                  <a:pt x="1169" y="1911"/>
                  <a:pt x="1167" y="1911"/>
                </a:cubicBezTo>
                <a:cubicBezTo>
                  <a:pt x="1167" y="1911"/>
                  <a:pt x="1167" y="1911"/>
                  <a:pt x="1167" y="1921"/>
                </a:cubicBezTo>
                <a:cubicBezTo>
                  <a:pt x="1170" y="1920"/>
                  <a:pt x="1173" y="1919"/>
                  <a:pt x="1175" y="1918"/>
                </a:cubicBezTo>
                <a:cubicBezTo>
                  <a:pt x="1178" y="1917"/>
                  <a:pt x="1180" y="1916"/>
                  <a:pt x="1182" y="1914"/>
                </a:cubicBezTo>
                <a:cubicBezTo>
                  <a:pt x="1182" y="1914"/>
                  <a:pt x="1182" y="1914"/>
                  <a:pt x="1182" y="1973"/>
                </a:cubicBezTo>
                <a:cubicBezTo>
                  <a:pt x="1182" y="1973"/>
                  <a:pt x="1182" y="1973"/>
                  <a:pt x="1194" y="1973"/>
                </a:cubicBezTo>
                <a:cubicBezTo>
                  <a:pt x="1194" y="1973"/>
                  <a:pt x="1194" y="1973"/>
                  <a:pt x="1194" y="1900"/>
                </a:cubicBezTo>
                <a:close/>
                <a:moveTo>
                  <a:pt x="1317" y="1900"/>
                </a:moveTo>
                <a:cubicBezTo>
                  <a:pt x="1317" y="1900"/>
                  <a:pt x="1317" y="1900"/>
                  <a:pt x="1317" y="1900"/>
                </a:cubicBezTo>
                <a:cubicBezTo>
                  <a:pt x="1312" y="1900"/>
                  <a:pt x="1312" y="1900"/>
                  <a:pt x="1312" y="1900"/>
                </a:cubicBezTo>
                <a:cubicBezTo>
                  <a:pt x="1310" y="1901"/>
                  <a:pt x="1309" y="1903"/>
                  <a:pt x="1306" y="1903"/>
                </a:cubicBezTo>
                <a:cubicBezTo>
                  <a:pt x="1305" y="1905"/>
                  <a:pt x="1303" y="1906"/>
                  <a:pt x="1301" y="1906"/>
                </a:cubicBezTo>
                <a:cubicBezTo>
                  <a:pt x="1300" y="1908"/>
                  <a:pt x="1297" y="1908"/>
                  <a:pt x="1296" y="1909"/>
                </a:cubicBezTo>
                <a:cubicBezTo>
                  <a:pt x="1294" y="1910"/>
                  <a:pt x="1292" y="1911"/>
                  <a:pt x="1290" y="1911"/>
                </a:cubicBezTo>
                <a:cubicBezTo>
                  <a:pt x="1290" y="1911"/>
                  <a:pt x="1290" y="1911"/>
                  <a:pt x="1290" y="1921"/>
                </a:cubicBezTo>
                <a:cubicBezTo>
                  <a:pt x="1293" y="1920"/>
                  <a:pt x="1296" y="1919"/>
                  <a:pt x="1299" y="1918"/>
                </a:cubicBezTo>
                <a:cubicBezTo>
                  <a:pt x="1301" y="1917"/>
                  <a:pt x="1303" y="1916"/>
                  <a:pt x="1306" y="1914"/>
                </a:cubicBezTo>
                <a:cubicBezTo>
                  <a:pt x="1306" y="1914"/>
                  <a:pt x="1306" y="1914"/>
                  <a:pt x="1306" y="1973"/>
                </a:cubicBezTo>
                <a:cubicBezTo>
                  <a:pt x="1306" y="1973"/>
                  <a:pt x="1306" y="1973"/>
                  <a:pt x="1317" y="1973"/>
                </a:cubicBezTo>
                <a:cubicBezTo>
                  <a:pt x="1317" y="1973"/>
                  <a:pt x="1317" y="1973"/>
                  <a:pt x="1317" y="1900"/>
                </a:cubicBezTo>
                <a:close/>
                <a:moveTo>
                  <a:pt x="1365" y="1900"/>
                </a:moveTo>
                <a:cubicBezTo>
                  <a:pt x="1365" y="1900"/>
                  <a:pt x="1365" y="1900"/>
                  <a:pt x="1365" y="1900"/>
                </a:cubicBezTo>
                <a:cubicBezTo>
                  <a:pt x="1360" y="1900"/>
                  <a:pt x="1360" y="1900"/>
                  <a:pt x="1360" y="1900"/>
                </a:cubicBezTo>
                <a:cubicBezTo>
                  <a:pt x="1358" y="1901"/>
                  <a:pt x="1356" y="1903"/>
                  <a:pt x="1354" y="1903"/>
                </a:cubicBezTo>
                <a:cubicBezTo>
                  <a:pt x="1353" y="1905"/>
                  <a:pt x="1350" y="1906"/>
                  <a:pt x="1349" y="1906"/>
                </a:cubicBezTo>
                <a:cubicBezTo>
                  <a:pt x="1348" y="1908"/>
                  <a:pt x="1345" y="1908"/>
                  <a:pt x="1344" y="1909"/>
                </a:cubicBezTo>
                <a:cubicBezTo>
                  <a:pt x="1342" y="1910"/>
                  <a:pt x="1340" y="1911"/>
                  <a:pt x="1338" y="1911"/>
                </a:cubicBezTo>
                <a:cubicBezTo>
                  <a:pt x="1338" y="1911"/>
                  <a:pt x="1338" y="1911"/>
                  <a:pt x="1338" y="1921"/>
                </a:cubicBezTo>
                <a:cubicBezTo>
                  <a:pt x="1341" y="1920"/>
                  <a:pt x="1344" y="1919"/>
                  <a:pt x="1346" y="1918"/>
                </a:cubicBezTo>
                <a:cubicBezTo>
                  <a:pt x="1349" y="1917"/>
                  <a:pt x="1351" y="1916"/>
                  <a:pt x="1353" y="1914"/>
                </a:cubicBezTo>
                <a:cubicBezTo>
                  <a:pt x="1353" y="1914"/>
                  <a:pt x="1353" y="1914"/>
                  <a:pt x="1353" y="1973"/>
                </a:cubicBezTo>
                <a:cubicBezTo>
                  <a:pt x="1353" y="1973"/>
                  <a:pt x="1353" y="1973"/>
                  <a:pt x="1365" y="1973"/>
                </a:cubicBezTo>
                <a:cubicBezTo>
                  <a:pt x="1365" y="1973"/>
                  <a:pt x="1365" y="1973"/>
                  <a:pt x="1365" y="1900"/>
                </a:cubicBezTo>
                <a:close/>
                <a:moveTo>
                  <a:pt x="1412" y="1900"/>
                </a:moveTo>
                <a:cubicBezTo>
                  <a:pt x="1412" y="1900"/>
                  <a:pt x="1412" y="1900"/>
                  <a:pt x="1412" y="1900"/>
                </a:cubicBezTo>
                <a:cubicBezTo>
                  <a:pt x="1407" y="1900"/>
                  <a:pt x="1407" y="1900"/>
                  <a:pt x="1407" y="1900"/>
                </a:cubicBezTo>
                <a:cubicBezTo>
                  <a:pt x="1406" y="1901"/>
                  <a:pt x="1404" y="1903"/>
                  <a:pt x="1402" y="1903"/>
                </a:cubicBezTo>
                <a:cubicBezTo>
                  <a:pt x="1400" y="1905"/>
                  <a:pt x="1399" y="1906"/>
                  <a:pt x="1397" y="1906"/>
                </a:cubicBezTo>
                <a:cubicBezTo>
                  <a:pt x="1395" y="1908"/>
                  <a:pt x="1393" y="1908"/>
                  <a:pt x="1391" y="1909"/>
                </a:cubicBezTo>
                <a:cubicBezTo>
                  <a:pt x="1389" y="1910"/>
                  <a:pt x="1388" y="1911"/>
                  <a:pt x="1386" y="1911"/>
                </a:cubicBezTo>
                <a:cubicBezTo>
                  <a:pt x="1386" y="1911"/>
                  <a:pt x="1386" y="1911"/>
                  <a:pt x="1386" y="1921"/>
                </a:cubicBezTo>
                <a:cubicBezTo>
                  <a:pt x="1389" y="1920"/>
                  <a:pt x="1391" y="1919"/>
                  <a:pt x="1394" y="1918"/>
                </a:cubicBezTo>
                <a:cubicBezTo>
                  <a:pt x="1397" y="1917"/>
                  <a:pt x="1399" y="1916"/>
                  <a:pt x="1401" y="1914"/>
                </a:cubicBezTo>
                <a:cubicBezTo>
                  <a:pt x="1401" y="1914"/>
                  <a:pt x="1401" y="1914"/>
                  <a:pt x="1401" y="1973"/>
                </a:cubicBezTo>
                <a:cubicBezTo>
                  <a:pt x="1401" y="1973"/>
                  <a:pt x="1401" y="1973"/>
                  <a:pt x="1412" y="1973"/>
                </a:cubicBezTo>
                <a:cubicBezTo>
                  <a:pt x="1412" y="1973"/>
                  <a:pt x="1412" y="1973"/>
                  <a:pt x="1412" y="1900"/>
                </a:cubicBezTo>
                <a:close/>
                <a:moveTo>
                  <a:pt x="1459" y="1900"/>
                </a:moveTo>
                <a:cubicBezTo>
                  <a:pt x="1459" y="1900"/>
                  <a:pt x="1459" y="1900"/>
                  <a:pt x="1459" y="1900"/>
                </a:cubicBezTo>
                <a:cubicBezTo>
                  <a:pt x="1455" y="1900"/>
                  <a:pt x="1455" y="1900"/>
                  <a:pt x="1455" y="1900"/>
                </a:cubicBezTo>
                <a:cubicBezTo>
                  <a:pt x="1453" y="1901"/>
                  <a:pt x="1451" y="1903"/>
                  <a:pt x="1449" y="1903"/>
                </a:cubicBezTo>
                <a:cubicBezTo>
                  <a:pt x="1448" y="1905"/>
                  <a:pt x="1445" y="1906"/>
                  <a:pt x="1444" y="1906"/>
                </a:cubicBezTo>
                <a:cubicBezTo>
                  <a:pt x="1442" y="1907"/>
                  <a:pt x="1440" y="1908"/>
                  <a:pt x="1438" y="1908"/>
                </a:cubicBezTo>
                <a:cubicBezTo>
                  <a:pt x="1437" y="1909"/>
                  <a:pt x="1435" y="1910"/>
                  <a:pt x="1433" y="1911"/>
                </a:cubicBezTo>
                <a:cubicBezTo>
                  <a:pt x="1433" y="1911"/>
                  <a:pt x="1433" y="1911"/>
                  <a:pt x="1433" y="1921"/>
                </a:cubicBezTo>
                <a:cubicBezTo>
                  <a:pt x="1436" y="1920"/>
                  <a:pt x="1439" y="1919"/>
                  <a:pt x="1441" y="1918"/>
                </a:cubicBezTo>
                <a:cubicBezTo>
                  <a:pt x="1443" y="1917"/>
                  <a:pt x="1446" y="1916"/>
                  <a:pt x="1448" y="1914"/>
                </a:cubicBezTo>
                <a:cubicBezTo>
                  <a:pt x="1448" y="1914"/>
                  <a:pt x="1448" y="1914"/>
                  <a:pt x="1448" y="1973"/>
                </a:cubicBezTo>
                <a:cubicBezTo>
                  <a:pt x="1448" y="1973"/>
                  <a:pt x="1448" y="1973"/>
                  <a:pt x="1459" y="1973"/>
                </a:cubicBezTo>
                <a:cubicBezTo>
                  <a:pt x="1459" y="1973"/>
                  <a:pt x="1459" y="1973"/>
                  <a:pt x="1459" y="1900"/>
                </a:cubicBezTo>
                <a:close/>
                <a:moveTo>
                  <a:pt x="1215" y="1932"/>
                </a:moveTo>
                <a:cubicBezTo>
                  <a:pt x="1215" y="1932"/>
                  <a:pt x="1215" y="1932"/>
                  <a:pt x="1215" y="1932"/>
                </a:cubicBezTo>
                <a:cubicBezTo>
                  <a:pt x="1215" y="1940"/>
                  <a:pt x="1215" y="1940"/>
                  <a:pt x="1215" y="1940"/>
                </a:cubicBezTo>
                <a:cubicBezTo>
                  <a:pt x="1221" y="1941"/>
                  <a:pt x="1222" y="1944"/>
                  <a:pt x="1222" y="1946"/>
                </a:cubicBezTo>
                <a:cubicBezTo>
                  <a:pt x="1222" y="1948"/>
                  <a:pt x="1221" y="1951"/>
                  <a:pt x="1221" y="1953"/>
                </a:cubicBezTo>
                <a:cubicBezTo>
                  <a:pt x="1221" y="1956"/>
                  <a:pt x="1221" y="1958"/>
                  <a:pt x="1221" y="1960"/>
                </a:cubicBezTo>
                <a:cubicBezTo>
                  <a:pt x="1221" y="1970"/>
                  <a:pt x="1227" y="1973"/>
                  <a:pt x="1235" y="1973"/>
                </a:cubicBezTo>
                <a:cubicBezTo>
                  <a:pt x="1235" y="1973"/>
                  <a:pt x="1235" y="1973"/>
                  <a:pt x="1239" y="1973"/>
                </a:cubicBezTo>
                <a:cubicBezTo>
                  <a:pt x="1239" y="1973"/>
                  <a:pt x="1239" y="1973"/>
                  <a:pt x="1239" y="1964"/>
                </a:cubicBezTo>
                <a:cubicBezTo>
                  <a:pt x="1239" y="1964"/>
                  <a:pt x="1239" y="1964"/>
                  <a:pt x="1237" y="1964"/>
                </a:cubicBezTo>
                <a:cubicBezTo>
                  <a:pt x="1234" y="1964"/>
                  <a:pt x="1232" y="1962"/>
                  <a:pt x="1232" y="1958"/>
                </a:cubicBezTo>
                <a:cubicBezTo>
                  <a:pt x="1232" y="1957"/>
                  <a:pt x="1232" y="1955"/>
                  <a:pt x="1233" y="1953"/>
                </a:cubicBezTo>
                <a:cubicBezTo>
                  <a:pt x="1233" y="1952"/>
                  <a:pt x="1233" y="1950"/>
                  <a:pt x="1233" y="1947"/>
                </a:cubicBezTo>
                <a:cubicBezTo>
                  <a:pt x="1233" y="1940"/>
                  <a:pt x="1230" y="1937"/>
                  <a:pt x="1225" y="1936"/>
                </a:cubicBezTo>
                <a:cubicBezTo>
                  <a:pt x="1225" y="1936"/>
                  <a:pt x="1225" y="1936"/>
                  <a:pt x="1225" y="1936"/>
                </a:cubicBezTo>
                <a:cubicBezTo>
                  <a:pt x="1230" y="1935"/>
                  <a:pt x="1233" y="1932"/>
                  <a:pt x="1233" y="1925"/>
                </a:cubicBezTo>
                <a:cubicBezTo>
                  <a:pt x="1233" y="1922"/>
                  <a:pt x="1233" y="1920"/>
                  <a:pt x="1233" y="1919"/>
                </a:cubicBezTo>
                <a:cubicBezTo>
                  <a:pt x="1232" y="1917"/>
                  <a:pt x="1232" y="1915"/>
                  <a:pt x="1232" y="1914"/>
                </a:cubicBezTo>
                <a:cubicBezTo>
                  <a:pt x="1232" y="1910"/>
                  <a:pt x="1234" y="1908"/>
                  <a:pt x="1237" y="1908"/>
                </a:cubicBezTo>
                <a:cubicBezTo>
                  <a:pt x="1237" y="1908"/>
                  <a:pt x="1237" y="1908"/>
                  <a:pt x="1239" y="1908"/>
                </a:cubicBezTo>
                <a:cubicBezTo>
                  <a:pt x="1239" y="1908"/>
                  <a:pt x="1239" y="1908"/>
                  <a:pt x="1239" y="1899"/>
                </a:cubicBezTo>
                <a:cubicBezTo>
                  <a:pt x="1239" y="1899"/>
                  <a:pt x="1239" y="1899"/>
                  <a:pt x="1235" y="1899"/>
                </a:cubicBezTo>
                <a:cubicBezTo>
                  <a:pt x="1226" y="1899"/>
                  <a:pt x="1221" y="1903"/>
                  <a:pt x="1221" y="1911"/>
                </a:cubicBezTo>
                <a:cubicBezTo>
                  <a:pt x="1221" y="1914"/>
                  <a:pt x="1221" y="1916"/>
                  <a:pt x="1221" y="1919"/>
                </a:cubicBezTo>
                <a:cubicBezTo>
                  <a:pt x="1221" y="1921"/>
                  <a:pt x="1222" y="1924"/>
                  <a:pt x="1222" y="1926"/>
                </a:cubicBezTo>
                <a:cubicBezTo>
                  <a:pt x="1222" y="1928"/>
                  <a:pt x="1221" y="1932"/>
                  <a:pt x="1215" y="1932"/>
                </a:cubicBezTo>
                <a:close/>
                <a:moveTo>
                  <a:pt x="1270" y="1940"/>
                </a:moveTo>
                <a:cubicBezTo>
                  <a:pt x="1270" y="1940"/>
                  <a:pt x="1270" y="1940"/>
                  <a:pt x="1270" y="1940"/>
                </a:cubicBezTo>
                <a:cubicBezTo>
                  <a:pt x="1270" y="1932"/>
                  <a:pt x="1270" y="1932"/>
                  <a:pt x="1270" y="1932"/>
                </a:cubicBezTo>
                <a:cubicBezTo>
                  <a:pt x="1264" y="1932"/>
                  <a:pt x="1263" y="1928"/>
                  <a:pt x="1263" y="1926"/>
                </a:cubicBezTo>
                <a:cubicBezTo>
                  <a:pt x="1263" y="1924"/>
                  <a:pt x="1263" y="1921"/>
                  <a:pt x="1264" y="1919"/>
                </a:cubicBezTo>
                <a:cubicBezTo>
                  <a:pt x="1264" y="1916"/>
                  <a:pt x="1264" y="1914"/>
                  <a:pt x="1264" y="1911"/>
                </a:cubicBezTo>
                <a:cubicBezTo>
                  <a:pt x="1264" y="1903"/>
                  <a:pt x="1259" y="1899"/>
                  <a:pt x="1249" y="1899"/>
                </a:cubicBezTo>
                <a:cubicBezTo>
                  <a:pt x="1249" y="1899"/>
                  <a:pt x="1249" y="1899"/>
                  <a:pt x="1245" y="1899"/>
                </a:cubicBezTo>
                <a:cubicBezTo>
                  <a:pt x="1245" y="1899"/>
                  <a:pt x="1245" y="1899"/>
                  <a:pt x="1245" y="1908"/>
                </a:cubicBezTo>
                <a:cubicBezTo>
                  <a:pt x="1245" y="1908"/>
                  <a:pt x="1245" y="1908"/>
                  <a:pt x="1247" y="1908"/>
                </a:cubicBezTo>
                <a:cubicBezTo>
                  <a:pt x="1251" y="1908"/>
                  <a:pt x="1252" y="1910"/>
                  <a:pt x="1252" y="1914"/>
                </a:cubicBezTo>
                <a:cubicBezTo>
                  <a:pt x="1252" y="1915"/>
                  <a:pt x="1252" y="1917"/>
                  <a:pt x="1252" y="1919"/>
                </a:cubicBezTo>
                <a:cubicBezTo>
                  <a:pt x="1251" y="1920"/>
                  <a:pt x="1251" y="1922"/>
                  <a:pt x="1251" y="1925"/>
                </a:cubicBezTo>
                <a:cubicBezTo>
                  <a:pt x="1251" y="1932"/>
                  <a:pt x="1254" y="1935"/>
                  <a:pt x="1260" y="1936"/>
                </a:cubicBezTo>
                <a:cubicBezTo>
                  <a:pt x="1260" y="1936"/>
                  <a:pt x="1260" y="1936"/>
                  <a:pt x="1260" y="1936"/>
                </a:cubicBezTo>
                <a:cubicBezTo>
                  <a:pt x="1254" y="1937"/>
                  <a:pt x="1251" y="1940"/>
                  <a:pt x="1251" y="1947"/>
                </a:cubicBezTo>
                <a:cubicBezTo>
                  <a:pt x="1251" y="1950"/>
                  <a:pt x="1251" y="1952"/>
                  <a:pt x="1252" y="1953"/>
                </a:cubicBezTo>
                <a:cubicBezTo>
                  <a:pt x="1252" y="1955"/>
                  <a:pt x="1252" y="1957"/>
                  <a:pt x="1252" y="1958"/>
                </a:cubicBezTo>
                <a:cubicBezTo>
                  <a:pt x="1252" y="1962"/>
                  <a:pt x="1251" y="1964"/>
                  <a:pt x="1247" y="1964"/>
                </a:cubicBezTo>
                <a:cubicBezTo>
                  <a:pt x="1247" y="1964"/>
                  <a:pt x="1247" y="1964"/>
                  <a:pt x="1245" y="1964"/>
                </a:cubicBezTo>
                <a:cubicBezTo>
                  <a:pt x="1245" y="1964"/>
                  <a:pt x="1245" y="1964"/>
                  <a:pt x="1245" y="1973"/>
                </a:cubicBezTo>
                <a:cubicBezTo>
                  <a:pt x="1245" y="1973"/>
                  <a:pt x="1245" y="1973"/>
                  <a:pt x="1249" y="1973"/>
                </a:cubicBezTo>
                <a:cubicBezTo>
                  <a:pt x="1258" y="1973"/>
                  <a:pt x="1264" y="1970"/>
                  <a:pt x="1264" y="1960"/>
                </a:cubicBezTo>
                <a:cubicBezTo>
                  <a:pt x="1264" y="1958"/>
                  <a:pt x="1264" y="1956"/>
                  <a:pt x="1264" y="1953"/>
                </a:cubicBezTo>
                <a:cubicBezTo>
                  <a:pt x="1263" y="1951"/>
                  <a:pt x="1263" y="1948"/>
                  <a:pt x="1263" y="1946"/>
                </a:cubicBezTo>
                <a:cubicBezTo>
                  <a:pt x="1263" y="1944"/>
                  <a:pt x="1264" y="1941"/>
                  <a:pt x="1270" y="1940"/>
                </a:cubicBezTo>
                <a:close/>
                <a:moveTo>
                  <a:pt x="1597" y="1932"/>
                </a:moveTo>
                <a:cubicBezTo>
                  <a:pt x="1597" y="1932"/>
                  <a:pt x="1597" y="1932"/>
                  <a:pt x="1597" y="1932"/>
                </a:cubicBezTo>
                <a:cubicBezTo>
                  <a:pt x="1597" y="1940"/>
                  <a:pt x="1597" y="1940"/>
                  <a:pt x="1597" y="1940"/>
                </a:cubicBezTo>
                <a:cubicBezTo>
                  <a:pt x="1603" y="1941"/>
                  <a:pt x="1604" y="1944"/>
                  <a:pt x="1604" y="1946"/>
                </a:cubicBezTo>
                <a:cubicBezTo>
                  <a:pt x="1604" y="1948"/>
                  <a:pt x="1603" y="1951"/>
                  <a:pt x="1603" y="1953"/>
                </a:cubicBezTo>
                <a:cubicBezTo>
                  <a:pt x="1603" y="1956"/>
                  <a:pt x="1603" y="1958"/>
                  <a:pt x="1603" y="1960"/>
                </a:cubicBezTo>
                <a:cubicBezTo>
                  <a:pt x="1603" y="1970"/>
                  <a:pt x="1609" y="1973"/>
                  <a:pt x="1617" y="1973"/>
                </a:cubicBezTo>
                <a:cubicBezTo>
                  <a:pt x="1617" y="1973"/>
                  <a:pt x="1617" y="1973"/>
                  <a:pt x="1621" y="1973"/>
                </a:cubicBezTo>
                <a:cubicBezTo>
                  <a:pt x="1621" y="1973"/>
                  <a:pt x="1621" y="1973"/>
                  <a:pt x="1621" y="1964"/>
                </a:cubicBezTo>
                <a:cubicBezTo>
                  <a:pt x="1621" y="1964"/>
                  <a:pt x="1621" y="1964"/>
                  <a:pt x="1619" y="1964"/>
                </a:cubicBezTo>
                <a:cubicBezTo>
                  <a:pt x="1616" y="1964"/>
                  <a:pt x="1615" y="1962"/>
                  <a:pt x="1615" y="1958"/>
                </a:cubicBezTo>
                <a:cubicBezTo>
                  <a:pt x="1615" y="1957"/>
                  <a:pt x="1615" y="1955"/>
                  <a:pt x="1615" y="1953"/>
                </a:cubicBezTo>
                <a:cubicBezTo>
                  <a:pt x="1615" y="1952"/>
                  <a:pt x="1615" y="1950"/>
                  <a:pt x="1615" y="1947"/>
                </a:cubicBezTo>
                <a:cubicBezTo>
                  <a:pt x="1615" y="1940"/>
                  <a:pt x="1612" y="1937"/>
                  <a:pt x="1607" y="1936"/>
                </a:cubicBezTo>
                <a:cubicBezTo>
                  <a:pt x="1607" y="1936"/>
                  <a:pt x="1607" y="1936"/>
                  <a:pt x="1607" y="1936"/>
                </a:cubicBezTo>
                <a:cubicBezTo>
                  <a:pt x="1612" y="1935"/>
                  <a:pt x="1615" y="1932"/>
                  <a:pt x="1615" y="1925"/>
                </a:cubicBezTo>
                <a:cubicBezTo>
                  <a:pt x="1615" y="1922"/>
                  <a:pt x="1615" y="1920"/>
                  <a:pt x="1615" y="1919"/>
                </a:cubicBezTo>
                <a:cubicBezTo>
                  <a:pt x="1615" y="1917"/>
                  <a:pt x="1615" y="1915"/>
                  <a:pt x="1615" y="1914"/>
                </a:cubicBezTo>
                <a:cubicBezTo>
                  <a:pt x="1615" y="1910"/>
                  <a:pt x="1616" y="1908"/>
                  <a:pt x="1619" y="1908"/>
                </a:cubicBezTo>
                <a:cubicBezTo>
                  <a:pt x="1619" y="1908"/>
                  <a:pt x="1619" y="1908"/>
                  <a:pt x="1621" y="1908"/>
                </a:cubicBezTo>
                <a:cubicBezTo>
                  <a:pt x="1621" y="1908"/>
                  <a:pt x="1621" y="1908"/>
                  <a:pt x="1621" y="1899"/>
                </a:cubicBezTo>
                <a:cubicBezTo>
                  <a:pt x="1621" y="1899"/>
                  <a:pt x="1621" y="1899"/>
                  <a:pt x="1617" y="1899"/>
                </a:cubicBezTo>
                <a:cubicBezTo>
                  <a:pt x="1608" y="1899"/>
                  <a:pt x="1603" y="1903"/>
                  <a:pt x="1603" y="1911"/>
                </a:cubicBezTo>
                <a:cubicBezTo>
                  <a:pt x="1603" y="1914"/>
                  <a:pt x="1603" y="1916"/>
                  <a:pt x="1603" y="1919"/>
                </a:cubicBezTo>
                <a:cubicBezTo>
                  <a:pt x="1603" y="1921"/>
                  <a:pt x="1604" y="1924"/>
                  <a:pt x="1604" y="1926"/>
                </a:cubicBezTo>
                <a:cubicBezTo>
                  <a:pt x="1604" y="1928"/>
                  <a:pt x="1603" y="1932"/>
                  <a:pt x="1597" y="1932"/>
                </a:cubicBezTo>
                <a:close/>
                <a:moveTo>
                  <a:pt x="1652" y="1940"/>
                </a:moveTo>
                <a:cubicBezTo>
                  <a:pt x="1652" y="1940"/>
                  <a:pt x="1652" y="1940"/>
                  <a:pt x="1652" y="1940"/>
                </a:cubicBezTo>
                <a:cubicBezTo>
                  <a:pt x="1652" y="1932"/>
                  <a:pt x="1652" y="1932"/>
                  <a:pt x="1652" y="1932"/>
                </a:cubicBezTo>
                <a:cubicBezTo>
                  <a:pt x="1646" y="1932"/>
                  <a:pt x="1645" y="1928"/>
                  <a:pt x="1645" y="1926"/>
                </a:cubicBezTo>
                <a:cubicBezTo>
                  <a:pt x="1645" y="1924"/>
                  <a:pt x="1645" y="1921"/>
                  <a:pt x="1646" y="1919"/>
                </a:cubicBezTo>
                <a:cubicBezTo>
                  <a:pt x="1646" y="1916"/>
                  <a:pt x="1646" y="1914"/>
                  <a:pt x="1646" y="1911"/>
                </a:cubicBezTo>
                <a:cubicBezTo>
                  <a:pt x="1646" y="1903"/>
                  <a:pt x="1641" y="1899"/>
                  <a:pt x="1631" y="1899"/>
                </a:cubicBezTo>
                <a:cubicBezTo>
                  <a:pt x="1631" y="1899"/>
                  <a:pt x="1631" y="1899"/>
                  <a:pt x="1628" y="1899"/>
                </a:cubicBezTo>
                <a:cubicBezTo>
                  <a:pt x="1628" y="1899"/>
                  <a:pt x="1628" y="1899"/>
                  <a:pt x="1628" y="1908"/>
                </a:cubicBezTo>
                <a:cubicBezTo>
                  <a:pt x="1628" y="1908"/>
                  <a:pt x="1628" y="1908"/>
                  <a:pt x="1629" y="1908"/>
                </a:cubicBezTo>
                <a:cubicBezTo>
                  <a:pt x="1633" y="1908"/>
                  <a:pt x="1634" y="1910"/>
                  <a:pt x="1634" y="1914"/>
                </a:cubicBezTo>
                <a:cubicBezTo>
                  <a:pt x="1634" y="1915"/>
                  <a:pt x="1634" y="1917"/>
                  <a:pt x="1634" y="1919"/>
                </a:cubicBezTo>
                <a:cubicBezTo>
                  <a:pt x="1634" y="1920"/>
                  <a:pt x="1634" y="1922"/>
                  <a:pt x="1634" y="1925"/>
                </a:cubicBezTo>
                <a:cubicBezTo>
                  <a:pt x="1634" y="1932"/>
                  <a:pt x="1636" y="1935"/>
                  <a:pt x="1642" y="1936"/>
                </a:cubicBezTo>
                <a:cubicBezTo>
                  <a:pt x="1642" y="1936"/>
                  <a:pt x="1642" y="1936"/>
                  <a:pt x="1642" y="1936"/>
                </a:cubicBezTo>
                <a:cubicBezTo>
                  <a:pt x="1636" y="1937"/>
                  <a:pt x="1634" y="1940"/>
                  <a:pt x="1634" y="1947"/>
                </a:cubicBezTo>
                <a:cubicBezTo>
                  <a:pt x="1634" y="1950"/>
                  <a:pt x="1634" y="1952"/>
                  <a:pt x="1634" y="1953"/>
                </a:cubicBezTo>
                <a:cubicBezTo>
                  <a:pt x="1634" y="1955"/>
                  <a:pt x="1634" y="1957"/>
                  <a:pt x="1634" y="1958"/>
                </a:cubicBezTo>
                <a:cubicBezTo>
                  <a:pt x="1634" y="1962"/>
                  <a:pt x="1633" y="1964"/>
                  <a:pt x="1629" y="1964"/>
                </a:cubicBezTo>
                <a:cubicBezTo>
                  <a:pt x="1629" y="1964"/>
                  <a:pt x="1629" y="1964"/>
                  <a:pt x="1628" y="1964"/>
                </a:cubicBezTo>
                <a:cubicBezTo>
                  <a:pt x="1628" y="1964"/>
                  <a:pt x="1628" y="1964"/>
                  <a:pt x="1628" y="1973"/>
                </a:cubicBezTo>
                <a:cubicBezTo>
                  <a:pt x="1628" y="1973"/>
                  <a:pt x="1628" y="1973"/>
                  <a:pt x="1631" y="1973"/>
                </a:cubicBezTo>
                <a:cubicBezTo>
                  <a:pt x="1640" y="1973"/>
                  <a:pt x="1646" y="1970"/>
                  <a:pt x="1646" y="1960"/>
                </a:cubicBezTo>
                <a:cubicBezTo>
                  <a:pt x="1646" y="1958"/>
                  <a:pt x="1646" y="1956"/>
                  <a:pt x="1646" y="1953"/>
                </a:cubicBezTo>
                <a:cubicBezTo>
                  <a:pt x="1645" y="1951"/>
                  <a:pt x="1645" y="1948"/>
                  <a:pt x="1645" y="1946"/>
                </a:cubicBezTo>
                <a:cubicBezTo>
                  <a:pt x="1645" y="1944"/>
                  <a:pt x="1646" y="1941"/>
                  <a:pt x="1652" y="1940"/>
                </a:cubicBezTo>
                <a:close/>
                <a:moveTo>
                  <a:pt x="1700" y="1900"/>
                </a:moveTo>
                <a:cubicBezTo>
                  <a:pt x="1700" y="1900"/>
                  <a:pt x="1700" y="1900"/>
                  <a:pt x="1700" y="1900"/>
                </a:cubicBezTo>
                <a:cubicBezTo>
                  <a:pt x="1694" y="1900"/>
                  <a:pt x="1694" y="1900"/>
                  <a:pt x="1694" y="1900"/>
                </a:cubicBezTo>
                <a:cubicBezTo>
                  <a:pt x="1692" y="1901"/>
                  <a:pt x="1691" y="1903"/>
                  <a:pt x="1688" y="1903"/>
                </a:cubicBezTo>
                <a:cubicBezTo>
                  <a:pt x="1687" y="1905"/>
                  <a:pt x="1685" y="1906"/>
                  <a:pt x="1683" y="1906"/>
                </a:cubicBezTo>
                <a:cubicBezTo>
                  <a:pt x="1681" y="1907"/>
                  <a:pt x="1680" y="1908"/>
                  <a:pt x="1678" y="1908"/>
                </a:cubicBezTo>
                <a:cubicBezTo>
                  <a:pt x="1676" y="1909"/>
                  <a:pt x="1674" y="1910"/>
                  <a:pt x="1672" y="1911"/>
                </a:cubicBezTo>
                <a:cubicBezTo>
                  <a:pt x="1672" y="1911"/>
                  <a:pt x="1672" y="1911"/>
                  <a:pt x="1672" y="1921"/>
                </a:cubicBezTo>
                <a:cubicBezTo>
                  <a:pt x="1675" y="1920"/>
                  <a:pt x="1678" y="1919"/>
                  <a:pt x="1680" y="1918"/>
                </a:cubicBezTo>
                <a:cubicBezTo>
                  <a:pt x="1683" y="1917"/>
                  <a:pt x="1685" y="1916"/>
                  <a:pt x="1688" y="1914"/>
                </a:cubicBezTo>
                <a:cubicBezTo>
                  <a:pt x="1688" y="1914"/>
                  <a:pt x="1688" y="1914"/>
                  <a:pt x="1688" y="1973"/>
                </a:cubicBezTo>
                <a:cubicBezTo>
                  <a:pt x="1688" y="1973"/>
                  <a:pt x="1688" y="1973"/>
                  <a:pt x="1700" y="1973"/>
                </a:cubicBezTo>
                <a:cubicBezTo>
                  <a:pt x="1700" y="1973"/>
                  <a:pt x="1700" y="1973"/>
                  <a:pt x="1700" y="1900"/>
                </a:cubicBezTo>
                <a:close/>
                <a:moveTo>
                  <a:pt x="1747" y="1900"/>
                </a:moveTo>
                <a:cubicBezTo>
                  <a:pt x="1747" y="1900"/>
                  <a:pt x="1747" y="1900"/>
                  <a:pt x="1747" y="1900"/>
                </a:cubicBezTo>
                <a:cubicBezTo>
                  <a:pt x="1742" y="1900"/>
                  <a:pt x="1742" y="1900"/>
                  <a:pt x="1742" y="1900"/>
                </a:cubicBezTo>
                <a:cubicBezTo>
                  <a:pt x="1739" y="1901"/>
                  <a:pt x="1738" y="1903"/>
                  <a:pt x="1736" y="1903"/>
                </a:cubicBezTo>
                <a:cubicBezTo>
                  <a:pt x="1734" y="1905"/>
                  <a:pt x="1732" y="1906"/>
                  <a:pt x="1731" y="1906"/>
                </a:cubicBezTo>
                <a:cubicBezTo>
                  <a:pt x="1729" y="1908"/>
                  <a:pt x="1727" y="1908"/>
                  <a:pt x="1726" y="1909"/>
                </a:cubicBezTo>
                <a:cubicBezTo>
                  <a:pt x="1724" y="1910"/>
                  <a:pt x="1722" y="1911"/>
                  <a:pt x="1720" y="1911"/>
                </a:cubicBezTo>
                <a:cubicBezTo>
                  <a:pt x="1720" y="1911"/>
                  <a:pt x="1720" y="1911"/>
                  <a:pt x="1720" y="1921"/>
                </a:cubicBezTo>
                <a:cubicBezTo>
                  <a:pt x="1723" y="1920"/>
                  <a:pt x="1726" y="1919"/>
                  <a:pt x="1728" y="1918"/>
                </a:cubicBezTo>
                <a:cubicBezTo>
                  <a:pt x="1731" y="1917"/>
                  <a:pt x="1733" y="1916"/>
                  <a:pt x="1735" y="1914"/>
                </a:cubicBezTo>
                <a:cubicBezTo>
                  <a:pt x="1735" y="1914"/>
                  <a:pt x="1735" y="1914"/>
                  <a:pt x="1735" y="1973"/>
                </a:cubicBezTo>
                <a:cubicBezTo>
                  <a:pt x="1735" y="1973"/>
                  <a:pt x="1735" y="1973"/>
                  <a:pt x="1747" y="1973"/>
                </a:cubicBezTo>
                <a:cubicBezTo>
                  <a:pt x="1747" y="1973"/>
                  <a:pt x="1747" y="1973"/>
                  <a:pt x="1747" y="1900"/>
                </a:cubicBezTo>
                <a:close/>
                <a:moveTo>
                  <a:pt x="1793" y="1900"/>
                </a:moveTo>
                <a:cubicBezTo>
                  <a:pt x="1793" y="1900"/>
                  <a:pt x="1793" y="1900"/>
                  <a:pt x="1793" y="1900"/>
                </a:cubicBezTo>
                <a:cubicBezTo>
                  <a:pt x="1789" y="1900"/>
                  <a:pt x="1789" y="1900"/>
                  <a:pt x="1789" y="1900"/>
                </a:cubicBezTo>
                <a:cubicBezTo>
                  <a:pt x="1787" y="1901"/>
                  <a:pt x="1785" y="1903"/>
                  <a:pt x="1783" y="1903"/>
                </a:cubicBezTo>
                <a:cubicBezTo>
                  <a:pt x="1782" y="1905"/>
                  <a:pt x="1779" y="1906"/>
                  <a:pt x="1778" y="1906"/>
                </a:cubicBezTo>
                <a:cubicBezTo>
                  <a:pt x="1776" y="1908"/>
                  <a:pt x="1774" y="1908"/>
                  <a:pt x="1772" y="1909"/>
                </a:cubicBezTo>
                <a:cubicBezTo>
                  <a:pt x="1771" y="1910"/>
                  <a:pt x="1769" y="1911"/>
                  <a:pt x="1767" y="1911"/>
                </a:cubicBezTo>
                <a:cubicBezTo>
                  <a:pt x="1767" y="1911"/>
                  <a:pt x="1767" y="1911"/>
                  <a:pt x="1767" y="1921"/>
                </a:cubicBezTo>
                <a:cubicBezTo>
                  <a:pt x="1770" y="1920"/>
                  <a:pt x="1773" y="1919"/>
                  <a:pt x="1775" y="1918"/>
                </a:cubicBezTo>
                <a:cubicBezTo>
                  <a:pt x="1777" y="1917"/>
                  <a:pt x="1780" y="1916"/>
                  <a:pt x="1782" y="1914"/>
                </a:cubicBezTo>
                <a:cubicBezTo>
                  <a:pt x="1782" y="1914"/>
                  <a:pt x="1782" y="1914"/>
                  <a:pt x="1782" y="1973"/>
                </a:cubicBezTo>
                <a:cubicBezTo>
                  <a:pt x="1782" y="1973"/>
                  <a:pt x="1782" y="1973"/>
                  <a:pt x="1793" y="1973"/>
                </a:cubicBezTo>
                <a:cubicBezTo>
                  <a:pt x="1793" y="1973"/>
                  <a:pt x="1793" y="1973"/>
                  <a:pt x="1793" y="1900"/>
                </a:cubicBezTo>
                <a:close/>
                <a:moveTo>
                  <a:pt x="1916" y="1900"/>
                </a:moveTo>
                <a:cubicBezTo>
                  <a:pt x="1916" y="1900"/>
                  <a:pt x="1916" y="1900"/>
                  <a:pt x="1916" y="1900"/>
                </a:cubicBezTo>
                <a:cubicBezTo>
                  <a:pt x="1911" y="1900"/>
                  <a:pt x="1911" y="1900"/>
                  <a:pt x="1911" y="1900"/>
                </a:cubicBezTo>
                <a:cubicBezTo>
                  <a:pt x="1909" y="1901"/>
                  <a:pt x="1908" y="1903"/>
                  <a:pt x="1905" y="1903"/>
                </a:cubicBezTo>
                <a:cubicBezTo>
                  <a:pt x="1904" y="1905"/>
                  <a:pt x="1902" y="1906"/>
                  <a:pt x="1900" y="1906"/>
                </a:cubicBezTo>
                <a:cubicBezTo>
                  <a:pt x="1899" y="1908"/>
                  <a:pt x="1897" y="1908"/>
                  <a:pt x="1895" y="1909"/>
                </a:cubicBezTo>
                <a:cubicBezTo>
                  <a:pt x="1893" y="1910"/>
                  <a:pt x="1891" y="1911"/>
                  <a:pt x="1889" y="1911"/>
                </a:cubicBezTo>
                <a:cubicBezTo>
                  <a:pt x="1889" y="1911"/>
                  <a:pt x="1889" y="1911"/>
                  <a:pt x="1889" y="1921"/>
                </a:cubicBezTo>
                <a:cubicBezTo>
                  <a:pt x="1892" y="1920"/>
                  <a:pt x="1895" y="1919"/>
                  <a:pt x="1898" y="1918"/>
                </a:cubicBezTo>
                <a:cubicBezTo>
                  <a:pt x="1900" y="1917"/>
                  <a:pt x="1902" y="1916"/>
                  <a:pt x="1905" y="1914"/>
                </a:cubicBezTo>
                <a:cubicBezTo>
                  <a:pt x="1905" y="1914"/>
                  <a:pt x="1905" y="1914"/>
                  <a:pt x="1905" y="1973"/>
                </a:cubicBezTo>
                <a:cubicBezTo>
                  <a:pt x="1905" y="1973"/>
                  <a:pt x="1905" y="1973"/>
                  <a:pt x="1916" y="1973"/>
                </a:cubicBezTo>
                <a:cubicBezTo>
                  <a:pt x="1916" y="1973"/>
                  <a:pt x="1916" y="1973"/>
                  <a:pt x="1916" y="1900"/>
                </a:cubicBezTo>
                <a:close/>
                <a:moveTo>
                  <a:pt x="1814" y="1932"/>
                </a:moveTo>
                <a:cubicBezTo>
                  <a:pt x="1814" y="1932"/>
                  <a:pt x="1814" y="1932"/>
                  <a:pt x="1814" y="1932"/>
                </a:cubicBezTo>
                <a:cubicBezTo>
                  <a:pt x="1814" y="1940"/>
                  <a:pt x="1814" y="1940"/>
                  <a:pt x="1814" y="1940"/>
                </a:cubicBezTo>
                <a:cubicBezTo>
                  <a:pt x="1820" y="1941"/>
                  <a:pt x="1821" y="1944"/>
                  <a:pt x="1821" y="1946"/>
                </a:cubicBezTo>
                <a:cubicBezTo>
                  <a:pt x="1821" y="1948"/>
                  <a:pt x="1820" y="1951"/>
                  <a:pt x="1820" y="1953"/>
                </a:cubicBezTo>
                <a:cubicBezTo>
                  <a:pt x="1820" y="1956"/>
                  <a:pt x="1820" y="1958"/>
                  <a:pt x="1820" y="1960"/>
                </a:cubicBezTo>
                <a:cubicBezTo>
                  <a:pt x="1820" y="1970"/>
                  <a:pt x="1826" y="1973"/>
                  <a:pt x="1834" y="1973"/>
                </a:cubicBezTo>
                <a:cubicBezTo>
                  <a:pt x="1834" y="1973"/>
                  <a:pt x="1834" y="1973"/>
                  <a:pt x="1838" y="1973"/>
                </a:cubicBezTo>
                <a:cubicBezTo>
                  <a:pt x="1838" y="1973"/>
                  <a:pt x="1838" y="1973"/>
                  <a:pt x="1838" y="1964"/>
                </a:cubicBezTo>
                <a:cubicBezTo>
                  <a:pt x="1838" y="1964"/>
                  <a:pt x="1838" y="1964"/>
                  <a:pt x="1836" y="1964"/>
                </a:cubicBezTo>
                <a:cubicBezTo>
                  <a:pt x="1833" y="1964"/>
                  <a:pt x="1831" y="1962"/>
                  <a:pt x="1831" y="1958"/>
                </a:cubicBezTo>
                <a:cubicBezTo>
                  <a:pt x="1831" y="1957"/>
                  <a:pt x="1831" y="1955"/>
                  <a:pt x="1832" y="1953"/>
                </a:cubicBezTo>
                <a:cubicBezTo>
                  <a:pt x="1832" y="1952"/>
                  <a:pt x="1832" y="1950"/>
                  <a:pt x="1832" y="1947"/>
                </a:cubicBezTo>
                <a:cubicBezTo>
                  <a:pt x="1832" y="1940"/>
                  <a:pt x="1829" y="1937"/>
                  <a:pt x="1824" y="1936"/>
                </a:cubicBezTo>
                <a:cubicBezTo>
                  <a:pt x="1824" y="1936"/>
                  <a:pt x="1824" y="1936"/>
                  <a:pt x="1824" y="1936"/>
                </a:cubicBezTo>
                <a:cubicBezTo>
                  <a:pt x="1829" y="1935"/>
                  <a:pt x="1832" y="1932"/>
                  <a:pt x="1832" y="1925"/>
                </a:cubicBezTo>
                <a:cubicBezTo>
                  <a:pt x="1832" y="1922"/>
                  <a:pt x="1832" y="1920"/>
                  <a:pt x="1832" y="1919"/>
                </a:cubicBezTo>
                <a:cubicBezTo>
                  <a:pt x="1831" y="1917"/>
                  <a:pt x="1831" y="1915"/>
                  <a:pt x="1831" y="1914"/>
                </a:cubicBezTo>
                <a:cubicBezTo>
                  <a:pt x="1831" y="1910"/>
                  <a:pt x="1833" y="1908"/>
                  <a:pt x="1836" y="1908"/>
                </a:cubicBezTo>
                <a:cubicBezTo>
                  <a:pt x="1836" y="1908"/>
                  <a:pt x="1836" y="1908"/>
                  <a:pt x="1838" y="1908"/>
                </a:cubicBezTo>
                <a:cubicBezTo>
                  <a:pt x="1838" y="1908"/>
                  <a:pt x="1838" y="1908"/>
                  <a:pt x="1838" y="1899"/>
                </a:cubicBezTo>
                <a:cubicBezTo>
                  <a:pt x="1838" y="1899"/>
                  <a:pt x="1838" y="1899"/>
                  <a:pt x="1834" y="1899"/>
                </a:cubicBezTo>
                <a:cubicBezTo>
                  <a:pt x="1825" y="1899"/>
                  <a:pt x="1820" y="1903"/>
                  <a:pt x="1820" y="1911"/>
                </a:cubicBezTo>
                <a:cubicBezTo>
                  <a:pt x="1820" y="1914"/>
                  <a:pt x="1820" y="1916"/>
                  <a:pt x="1820" y="1919"/>
                </a:cubicBezTo>
                <a:cubicBezTo>
                  <a:pt x="1820" y="1921"/>
                  <a:pt x="1821" y="1924"/>
                  <a:pt x="1821" y="1926"/>
                </a:cubicBezTo>
                <a:cubicBezTo>
                  <a:pt x="1821" y="1928"/>
                  <a:pt x="1820" y="1932"/>
                  <a:pt x="1814" y="1932"/>
                </a:cubicBezTo>
                <a:close/>
                <a:moveTo>
                  <a:pt x="1868" y="1940"/>
                </a:moveTo>
                <a:cubicBezTo>
                  <a:pt x="1868" y="1940"/>
                  <a:pt x="1868" y="1940"/>
                  <a:pt x="1868" y="1940"/>
                </a:cubicBezTo>
                <a:cubicBezTo>
                  <a:pt x="1868" y="1932"/>
                  <a:pt x="1868" y="1932"/>
                  <a:pt x="1868" y="1932"/>
                </a:cubicBezTo>
                <a:cubicBezTo>
                  <a:pt x="1862" y="1932"/>
                  <a:pt x="1862" y="1928"/>
                  <a:pt x="1862" y="1926"/>
                </a:cubicBezTo>
                <a:cubicBezTo>
                  <a:pt x="1862" y="1924"/>
                  <a:pt x="1862" y="1921"/>
                  <a:pt x="1862" y="1919"/>
                </a:cubicBezTo>
                <a:cubicBezTo>
                  <a:pt x="1863" y="1916"/>
                  <a:pt x="1863" y="1914"/>
                  <a:pt x="1863" y="1911"/>
                </a:cubicBezTo>
                <a:cubicBezTo>
                  <a:pt x="1863" y="1903"/>
                  <a:pt x="1857" y="1899"/>
                  <a:pt x="1848" y="1899"/>
                </a:cubicBezTo>
                <a:cubicBezTo>
                  <a:pt x="1848" y="1899"/>
                  <a:pt x="1848" y="1899"/>
                  <a:pt x="1844" y="1899"/>
                </a:cubicBezTo>
                <a:cubicBezTo>
                  <a:pt x="1844" y="1899"/>
                  <a:pt x="1844" y="1899"/>
                  <a:pt x="1844" y="1908"/>
                </a:cubicBezTo>
                <a:cubicBezTo>
                  <a:pt x="1844" y="1908"/>
                  <a:pt x="1844" y="1908"/>
                  <a:pt x="1846" y="1908"/>
                </a:cubicBezTo>
                <a:cubicBezTo>
                  <a:pt x="1850" y="1908"/>
                  <a:pt x="1851" y="1910"/>
                  <a:pt x="1851" y="1914"/>
                </a:cubicBezTo>
                <a:cubicBezTo>
                  <a:pt x="1851" y="1915"/>
                  <a:pt x="1851" y="1917"/>
                  <a:pt x="1851" y="1919"/>
                </a:cubicBezTo>
                <a:cubicBezTo>
                  <a:pt x="1850" y="1920"/>
                  <a:pt x="1850" y="1922"/>
                  <a:pt x="1850" y="1925"/>
                </a:cubicBezTo>
                <a:cubicBezTo>
                  <a:pt x="1850" y="1932"/>
                  <a:pt x="1853" y="1935"/>
                  <a:pt x="1859" y="1936"/>
                </a:cubicBezTo>
                <a:cubicBezTo>
                  <a:pt x="1859" y="1936"/>
                  <a:pt x="1859" y="1936"/>
                  <a:pt x="1859" y="1936"/>
                </a:cubicBezTo>
                <a:cubicBezTo>
                  <a:pt x="1853" y="1937"/>
                  <a:pt x="1850" y="1940"/>
                  <a:pt x="1850" y="1947"/>
                </a:cubicBezTo>
                <a:cubicBezTo>
                  <a:pt x="1850" y="1950"/>
                  <a:pt x="1850" y="1952"/>
                  <a:pt x="1851" y="1953"/>
                </a:cubicBezTo>
                <a:cubicBezTo>
                  <a:pt x="1851" y="1955"/>
                  <a:pt x="1851" y="1957"/>
                  <a:pt x="1851" y="1958"/>
                </a:cubicBezTo>
                <a:cubicBezTo>
                  <a:pt x="1851" y="1962"/>
                  <a:pt x="1850" y="1964"/>
                  <a:pt x="1846" y="1964"/>
                </a:cubicBezTo>
                <a:cubicBezTo>
                  <a:pt x="1846" y="1964"/>
                  <a:pt x="1846" y="1964"/>
                  <a:pt x="1844" y="1964"/>
                </a:cubicBezTo>
                <a:cubicBezTo>
                  <a:pt x="1844" y="1964"/>
                  <a:pt x="1844" y="1964"/>
                  <a:pt x="1844" y="1973"/>
                </a:cubicBezTo>
                <a:cubicBezTo>
                  <a:pt x="1844" y="1973"/>
                  <a:pt x="1844" y="1973"/>
                  <a:pt x="1848" y="1973"/>
                </a:cubicBezTo>
                <a:cubicBezTo>
                  <a:pt x="1857" y="1973"/>
                  <a:pt x="1863" y="1970"/>
                  <a:pt x="1863" y="1960"/>
                </a:cubicBezTo>
                <a:cubicBezTo>
                  <a:pt x="1863" y="1958"/>
                  <a:pt x="1863" y="1956"/>
                  <a:pt x="1862" y="1953"/>
                </a:cubicBezTo>
                <a:cubicBezTo>
                  <a:pt x="1862" y="1951"/>
                  <a:pt x="1862" y="1948"/>
                  <a:pt x="1862" y="1946"/>
                </a:cubicBezTo>
                <a:cubicBezTo>
                  <a:pt x="1862" y="1944"/>
                  <a:pt x="1862" y="1941"/>
                  <a:pt x="1868" y="1940"/>
                </a:cubicBezTo>
                <a:close/>
                <a:moveTo>
                  <a:pt x="1010" y="1851"/>
                </a:moveTo>
                <a:cubicBezTo>
                  <a:pt x="1010" y="1853"/>
                  <a:pt x="1011" y="1854"/>
                  <a:pt x="1011" y="1856"/>
                </a:cubicBezTo>
                <a:cubicBezTo>
                  <a:pt x="1012" y="1857"/>
                  <a:pt x="1012" y="1859"/>
                  <a:pt x="1013" y="1861"/>
                </a:cubicBezTo>
                <a:cubicBezTo>
                  <a:pt x="1013" y="1862"/>
                  <a:pt x="1013" y="1864"/>
                  <a:pt x="1013" y="1865"/>
                </a:cubicBezTo>
                <a:cubicBezTo>
                  <a:pt x="1014" y="1869"/>
                  <a:pt x="1013" y="1870"/>
                  <a:pt x="1009" y="1870"/>
                </a:cubicBezTo>
                <a:cubicBezTo>
                  <a:pt x="1007" y="1870"/>
                  <a:pt x="1004" y="1870"/>
                  <a:pt x="1001" y="1870"/>
                </a:cubicBezTo>
                <a:cubicBezTo>
                  <a:pt x="1001" y="1870"/>
                  <a:pt x="1000" y="1870"/>
                  <a:pt x="1000" y="1870"/>
                </a:cubicBezTo>
                <a:cubicBezTo>
                  <a:pt x="998" y="1872"/>
                  <a:pt x="996" y="1873"/>
                  <a:pt x="995" y="1874"/>
                </a:cubicBezTo>
                <a:cubicBezTo>
                  <a:pt x="993" y="1877"/>
                  <a:pt x="990" y="1877"/>
                  <a:pt x="988" y="1875"/>
                </a:cubicBezTo>
                <a:cubicBezTo>
                  <a:pt x="986" y="1873"/>
                  <a:pt x="985" y="1870"/>
                  <a:pt x="983" y="1868"/>
                </a:cubicBezTo>
                <a:cubicBezTo>
                  <a:pt x="982" y="1866"/>
                  <a:pt x="983" y="1865"/>
                  <a:pt x="985" y="1863"/>
                </a:cubicBezTo>
                <a:cubicBezTo>
                  <a:pt x="982" y="1863"/>
                  <a:pt x="981" y="1863"/>
                  <a:pt x="979" y="1863"/>
                </a:cubicBezTo>
                <a:cubicBezTo>
                  <a:pt x="978" y="1865"/>
                  <a:pt x="977" y="1867"/>
                  <a:pt x="976" y="1869"/>
                </a:cubicBezTo>
                <a:cubicBezTo>
                  <a:pt x="976" y="1870"/>
                  <a:pt x="976" y="1870"/>
                  <a:pt x="976" y="1871"/>
                </a:cubicBezTo>
                <a:cubicBezTo>
                  <a:pt x="976" y="1874"/>
                  <a:pt x="975" y="1876"/>
                  <a:pt x="972" y="1875"/>
                </a:cubicBezTo>
                <a:cubicBezTo>
                  <a:pt x="969" y="1875"/>
                  <a:pt x="966" y="1874"/>
                  <a:pt x="963" y="1873"/>
                </a:cubicBezTo>
                <a:cubicBezTo>
                  <a:pt x="961" y="1872"/>
                  <a:pt x="960" y="1871"/>
                  <a:pt x="961" y="1869"/>
                </a:cubicBezTo>
                <a:cubicBezTo>
                  <a:pt x="961" y="1868"/>
                  <a:pt x="961" y="1867"/>
                  <a:pt x="962" y="1867"/>
                </a:cubicBezTo>
                <a:cubicBezTo>
                  <a:pt x="959" y="1866"/>
                  <a:pt x="957" y="1865"/>
                  <a:pt x="955" y="1864"/>
                </a:cubicBezTo>
                <a:cubicBezTo>
                  <a:pt x="954" y="1863"/>
                  <a:pt x="953" y="1861"/>
                  <a:pt x="952" y="1859"/>
                </a:cubicBezTo>
                <a:cubicBezTo>
                  <a:pt x="951" y="1857"/>
                  <a:pt x="951" y="1856"/>
                  <a:pt x="953" y="1854"/>
                </a:cubicBezTo>
                <a:cubicBezTo>
                  <a:pt x="956" y="1852"/>
                  <a:pt x="957" y="1849"/>
                  <a:pt x="956" y="1845"/>
                </a:cubicBezTo>
                <a:cubicBezTo>
                  <a:pt x="956" y="1843"/>
                  <a:pt x="956" y="1841"/>
                  <a:pt x="956" y="1839"/>
                </a:cubicBezTo>
                <a:cubicBezTo>
                  <a:pt x="955" y="1839"/>
                  <a:pt x="953" y="1838"/>
                  <a:pt x="952" y="1837"/>
                </a:cubicBezTo>
                <a:cubicBezTo>
                  <a:pt x="951" y="1835"/>
                  <a:pt x="950" y="1833"/>
                  <a:pt x="950" y="1832"/>
                </a:cubicBezTo>
                <a:cubicBezTo>
                  <a:pt x="950" y="1829"/>
                  <a:pt x="953" y="1826"/>
                  <a:pt x="956" y="1825"/>
                </a:cubicBezTo>
                <a:cubicBezTo>
                  <a:pt x="956" y="1826"/>
                  <a:pt x="956" y="1827"/>
                  <a:pt x="957" y="1828"/>
                </a:cubicBezTo>
                <a:cubicBezTo>
                  <a:pt x="957" y="1829"/>
                  <a:pt x="957" y="1830"/>
                  <a:pt x="957" y="1831"/>
                </a:cubicBezTo>
                <a:cubicBezTo>
                  <a:pt x="956" y="1830"/>
                  <a:pt x="956" y="1830"/>
                  <a:pt x="956" y="1830"/>
                </a:cubicBezTo>
                <a:cubicBezTo>
                  <a:pt x="955" y="1832"/>
                  <a:pt x="955" y="1833"/>
                  <a:pt x="954" y="1835"/>
                </a:cubicBezTo>
                <a:cubicBezTo>
                  <a:pt x="955" y="1834"/>
                  <a:pt x="956" y="1834"/>
                  <a:pt x="956" y="1834"/>
                </a:cubicBezTo>
                <a:cubicBezTo>
                  <a:pt x="958" y="1833"/>
                  <a:pt x="958" y="1832"/>
                  <a:pt x="959" y="1831"/>
                </a:cubicBezTo>
                <a:cubicBezTo>
                  <a:pt x="964" y="1824"/>
                  <a:pt x="969" y="1820"/>
                  <a:pt x="977" y="1819"/>
                </a:cubicBezTo>
                <a:cubicBezTo>
                  <a:pt x="980" y="1818"/>
                  <a:pt x="984" y="1817"/>
                  <a:pt x="986" y="1814"/>
                </a:cubicBezTo>
                <a:cubicBezTo>
                  <a:pt x="986" y="1814"/>
                  <a:pt x="987" y="1813"/>
                  <a:pt x="987" y="1813"/>
                </a:cubicBezTo>
                <a:cubicBezTo>
                  <a:pt x="990" y="1813"/>
                  <a:pt x="991" y="1811"/>
                  <a:pt x="993" y="1809"/>
                </a:cubicBezTo>
                <a:cubicBezTo>
                  <a:pt x="1001" y="1801"/>
                  <a:pt x="1013" y="1801"/>
                  <a:pt x="1020" y="1808"/>
                </a:cubicBezTo>
                <a:cubicBezTo>
                  <a:pt x="1023" y="1809"/>
                  <a:pt x="1025" y="1811"/>
                  <a:pt x="1028" y="1813"/>
                </a:cubicBezTo>
                <a:cubicBezTo>
                  <a:pt x="1029" y="1815"/>
                  <a:pt x="1031" y="1816"/>
                  <a:pt x="1032" y="1818"/>
                </a:cubicBezTo>
                <a:cubicBezTo>
                  <a:pt x="1033" y="1820"/>
                  <a:pt x="1033" y="1820"/>
                  <a:pt x="1034" y="1819"/>
                </a:cubicBezTo>
                <a:cubicBezTo>
                  <a:pt x="1035" y="1818"/>
                  <a:pt x="1036" y="1817"/>
                  <a:pt x="1037" y="1817"/>
                </a:cubicBezTo>
                <a:cubicBezTo>
                  <a:pt x="1039" y="1814"/>
                  <a:pt x="1042" y="1814"/>
                  <a:pt x="1043" y="1817"/>
                </a:cubicBezTo>
                <a:cubicBezTo>
                  <a:pt x="1044" y="1820"/>
                  <a:pt x="1045" y="1823"/>
                  <a:pt x="1045" y="1826"/>
                </a:cubicBezTo>
                <a:cubicBezTo>
                  <a:pt x="1046" y="1830"/>
                  <a:pt x="1046" y="1835"/>
                  <a:pt x="1044" y="1839"/>
                </a:cubicBezTo>
                <a:cubicBezTo>
                  <a:pt x="1042" y="1845"/>
                  <a:pt x="1037" y="1849"/>
                  <a:pt x="1031" y="1849"/>
                </a:cubicBezTo>
                <a:cubicBezTo>
                  <a:pt x="1030" y="1849"/>
                  <a:pt x="1029" y="1849"/>
                  <a:pt x="1029" y="1849"/>
                </a:cubicBezTo>
                <a:cubicBezTo>
                  <a:pt x="1026" y="1848"/>
                  <a:pt x="1025" y="1849"/>
                  <a:pt x="1024" y="1851"/>
                </a:cubicBezTo>
                <a:cubicBezTo>
                  <a:pt x="1023" y="1856"/>
                  <a:pt x="1017" y="1857"/>
                  <a:pt x="1014" y="1854"/>
                </a:cubicBezTo>
                <a:cubicBezTo>
                  <a:pt x="1013" y="1853"/>
                  <a:pt x="1012" y="1852"/>
                  <a:pt x="1011" y="1851"/>
                </a:cubicBezTo>
                <a:cubicBezTo>
                  <a:pt x="1010" y="1851"/>
                  <a:pt x="1010" y="1851"/>
                  <a:pt x="1010" y="1851"/>
                </a:cubicBezTo>
                <a:close/>
                <a:moveTo>
                  <a:pt x="1004" y="1847"/>
                </a:moveTo>
                <a:cubicBezTo>
                  <a:pt x="1008" y="1848"/>
                  <a:pt x="1011" y="1850"/>
                  <a:pt x="1014" y="1852"/>
                </a:cubicBezTo>
                <a:cubicBezTo>
                  <a:pt x="1016" y="1854"/>
                  <a:pt x="1018" y="1855"/>
                  <a:pt x="1020" y="1854"/>
                </a:cubicBezTo>
                <a:cubicBezTo>
                  <a:pt x="1022" y="1853"/>
                  <a:pt x="1024" y="1851"/>
                  <a:pt x="1024" y="1848"/>
                </a:cubicBezTo>
                <a:cubicBezTo>
                  <a:pt x="1024" y="1848"/>
                  <a:pt x="1023" y="1848"/>
                  <a:pt x="1023" y="1849"/>
                </a:cubicBezTo>
                <a:cubicBezTo>
                  <a:pt x="1022" y="1850"/>
                  <a:pt x="1021" y="1851"/>
                  <a:pt x="1020" y="1852"/>
                </a:cubicBezTo>
                <a:cubicBezTo>
                  <a:pt x="1019" y="1854"/>
                  <a:pt x="1018" y="1853"/>
                  <a:pt x="1017" y="1853"/>
                </a:cubicBezTo>
                <a:cubicBezTo>
                  <a:pt x="1016" y="1853"/>
                  <a:pt x="1016" y="1852"/>
                  <a:pt x="1016" y="1851"/>
                </a:cubicBezTo>
                <a:cubicBezTo>
                  <a:pt x="1016" y="1848"/>
                  <a:pt x="1016" y="1846"/>
                  <a:pt x="1017" y="1845"/>
                </a:cubicBezTo>
                <a:cubicBezTo>
                  <a:pt x="1020" y="1845"/>
                  <a:pt x="1023" y="1846"/>
                  <a:pt x="1027" y="1847"/>
                </a:cubicBezTo>
                <a:cubicBezTo>
                  <a:pt x="1034" y="1848"/>
                  <a:pt x="1040" y="1846"/>
                  <a:pt x="1043" y="1838"/>
                </a:cubicBezTo>
                <a:cubicBezTo>
                  <a:pt x="1045" y="1833"/>
                  <a:pt x="1044" y="1828"/>
                  <a:pt x="1044" y="1823"/>
                </a:cubicBezTo>
                <a:cubicBezTo>
                  <a:pt x="1043" y="1821"/>
                  <a:pt x="1042" y="1820"/>
                  <a:pt x="1042" y="1818"/>
                </a:cubicBezTo>
                <a:cubicBezTo>
                  <a:pt x="1041" y="1816"/>
                  <a:pt x="1040" y="1816"/>
                  <a:pt x="1038" y="1817"/>
                </a:cubicBezTo>
                <a:cubicBezTo>
                  <a:pt x="1037" y="1819"/>
                  <a:pt x="1035" y="1821"/>
                  <a:pt x="1033" y="1821"/>
                </a:cubicBezTo>
                <a:cubicBezTo>
                  <a:pt x="1033" y="1822"/>
                  <a:pt x="1032" y="1822"/>
                  <a:pt x="1032" y="1824"/>
                </a:cubicBezTo>
                <a:cubicBezTo>
                  <a:pt x="1033" y="1827"/>
                  <a:pt x="1032" y="1830"/>
                  <a:pt x="1031" y="1833"/>
                </a:cubicBezTo>
                <a:cubicBezTo>
                  <a:pt x="1031" y="1831"/>
                  <a:pt x="1031" y="1829"/>
                  <a:pt x="1031" y="1828"/>
                </a:cubicBezTo>
                <a:cubicBezTo>
                  <a:pt x="1031" y="1827"/>
                  <a:pt x="1031" y="1826"/>
                  <a:pt x="1031" y="1826"/>
                </a:cubicBezTo>
                <a:cubicBezTo>
                  <a:pt x="1030" y="1826"/>
                  <a:pt x="1029" y="1826"/>
                  <a:pt x="1029" y="1827"/>
                </a:cubicBezTo>
                <a:cubicBezTo>
                  <a:pt x="1029" y="1828"/>
                  <a:pt x="1028" y="1830"/>
                  <a:pt x="1027" y="1831"/>
                </a:cubicBezTo>
                <a:cubicBezTo>
                  <a:pt x="1027" y="1831"/>
                  <a:pt x="1027" y="1831"/>
                  <a:pt x="1027" y="1831"/>
                </a:cubicBezTo>
                <a:cubicBezTo>
                  <a:pt x="1027" y="1829"/>
                  <a:pt x="1027" y="1828"/>
                  <a:pt x="1028" y="1825"/>
                </a:cubicBezTo>
                <a:cubicBezTo>
                  <a:pt x="1027" y="1826"/>
                  <a:pt x="1026" y="1826"/>
                  <a:pt x="1025" y="1827"/>
                </a:cubicBezTo>
                <a:cubicBezTo>
                  <a:pt x="1025" y="1828"/>
                  <a:pt x="1025" y="1828"/>
                  <a:pt x="1024" y="1829"/>
                </a:cubicBezTo>
                <a:cubicBezTo>
                  <a:pt x="1025" y="1826"/>
                  <a:pt x="1025" y="1826"/>
                  <a:pt x="1031" y="1824"/>
                </a:cubicBezTo>
                <a:cubicBezTo>
                  <a:pt x="1031" y="1824"/>
                  <a:pt x="1030" y="1823"/>
                  <a:pt x="1030" y="1823"/>
                </a:cubicBezTo>
                <a:cubicBezTo>
                  <a:pt x="1027" y="1824"/>
                  <a:pt x="1026" y="1822"/>
                  <a:pt x="1026" y="1820"/>
                </a:cubicBezTo>
                <a:cubicBezTo>
                  <a:pt x="1027" y="1820"/>
                  <a:pt x="1029" y="1819"/>
                  <a:pt x="1031" y="1819"/>
                </a:cubicBezTo>
                <a:cubicBezTo>
                  <a:pt x="1029" y="1817"/>
                  <a:pt x="1027" y="1814"/>
                  <a:pt x="1024" y="1813"/>
                </a:cubicBezTo>
                <a:cubicBezTo>
                  <a:pt x="1024" y="1813"/>
                  <a:pt x="1024" y="1813"/>
                  <a:pt x="1024" y="1813"/>
                </a:cubicBezTo>
                <a:cubicBezTo>
                  <a:pt x="1021" y="1811"/>
                  <a:pt x="1019" y="1808"/>
                  <a:pt x="1016" y="1806"/>
                </a:cubicBezTo>
                <a:cubicBezTo>
                  <a:pt x="1014" y="1805"/>
                  <a:pt x="1011" y="1804"/>
                  <a:pt x="1009" y="1804"/>
                </a:cubicBezTo>
                <a:cubicBezTo>
                  <a:pt x="1005" y="1805"/>
                  <a:pt x="1002" y="1806"/>
                  <a:pt x="999" y="1807"/>
                </a:cubicBezTo>
                <a:cubicBezTo>
                  <a:pt x="996" y="1808"/>
                  <a:pt x="994" y="1809"/>
                  <a:pt x="992" y="1813"/>
                </a:cubicBezTo>
                <a:cubicBezTo>
                  <a:pt x="994" y="1813"/>
                  <a:pt x="995" y="1813"/>
                  <a:pt x="996" y="1813"/>
                </a:cubicBezTo>
                <a:cubicBezTo>
                  <a:pt x="996" y="1813"/>
                  <a:pt x="995" y="1813"/>
                  <a:pt x="994" y="1813"/>
                </a:cubicBezTo>
                <a:cubicBezTo>
                  <a:pt x="992" y="1814"/>
                  <a:pt x="989" y="1813"/>
                  <a:pt x="987" y="1816"/>
                </a:cubicBezTo>
                <a:cubicBezTo>
                  <a:pt x="984" y="1820"/>
                  <a:pt x="980" y="1823"/>
                  <a:pt x="976" y="1828"/>
                </a:cubicBezTo>
                <a:cubicBezTo>
                  <a:pt x="974" y="1830"/>
                  <a:pt x="974" y="1832"/>
                  <a:pt x="973" y="1834"/>
                </a:cubicBezTo>
                <a:cubicBezTo>
                  <a:pt x="973" y="1835"/>
                  <a:pt x="973" y="1835"/>
                  <a:pt x="973" y="1836"/>
                </a:cubicBezTo>
                <a:cubicBezTo>
                  <a:pt x="974" y="1838"/>
                  <a:pt x="975" y="1840"/>
                  <a:pt x="977" y="1842"/>
                </a:cubicBezTo>
                <a:cubicBezTo>
                  <a:pt x="978" y="1840"/>
                  <a:pt x="979" y="1839"/>
                  <a:pt x="980" y="1837"/>
                </a:cubicBezTo>
                <a:cubicBezTo>
                  <a:pt x="980" y="1839"/>
                  <a:pt x="980" y="1840"/>
                  <a:pt x="979" y="1841"/>
                </a:cubicBezTo>
                <a:cubicBezTo>
                  <a:pt x="978" y="1843"/>
                  <a:pt x="977" y="1844"/>
                  <a:pt x="977" y="1845"/>
                </a:cubicBezTo>
                <a:cubicBezTo>
                  <a:pt x="976" y="1846"/>
                  <a:pt x="977" y="1847"/>
                  <a:pt x="977" y="1848"/>
                </a:cubicBezTo>
                <a:cubicBezTo>
                  <a:pt x="980" y="1852"/>
                  <a:pt x="983" y="1852"/>
                  <a:pt x="987" y="1850"/>
                </a:cubicBezTo>
                <a:cubicBezTo>
                  <a:pt x="989" y="1848"/>
                  <a:pt x="992" y="1847"/>
                  <a:pt x="994" y="1846"/>
                </a:cubicBezTo>
                <a:cubicBezTo>
                  <a:pt x="996" y="1846"/>
                  <a:pt x="997" y="1845"/>
                  <a:pt x="997" y="1843"/>
                </a:cubicBezTo>
                <a:cubicBezTo>
                  <a:pt x="997" y="1840"/>
                  <a:pt x="997" y="1837"/>
                  <a:pt x="997" y="1833"/>
                </a:cubicBezTo>
                <a:cubicBezTo>
                  <a:pt x="997" y="1830"/>
                  <a:pt x="997" y="1828"/>
                  <a:pt x="997" y="1824"/>
                </a:cubicBezTo>
                <a:cubicBezTo>
                  <a:pt x="998" y="1827"/>
                  <a:pt x="998" y="1830"/>
                  <a:pt x="999" y="1832"/>
                </a:cubicBezTo>
                <a:cubicBezTo>
                  <a:pt x="1000" y="1837"/>
                  <a:pt x="1000" y="1841"/>
                  <a:pt x="998" y="1846"/>
                </a:cubicBezTo>
                <a:cubicBezTo>
                  <a:pt x="998" y="1846"/>
                  <a:pt x="997" y="1847"/>
                  <a:pt x="997" y="1847"/>
                </a:cubicBezTo>
                <a:cubicBezTo>
                  <a:pt x="993" y="1848"/>
                  <a:pt x="990" y="1850"/>
                  <a:pt x="987" y="1851"/>
                </a:cubicBezTo>
                <a:cubicBezTo>
                  <a:pt x="982" y="1854"/>
                  <a:pt x="978" y="1852"/>
                  <a:pt x="975" y="1848"/>
                </a:cubicBezTo>
                <a:cubicBezTo>
                  <a:pt x="974" y="1848"/>
                  <a:pt x="974" y="1847"/>
                  <a:pt x="975" y="1846"/>
                </a:cubicBezTo>
                <a:cubicBezTo>
                  <a:pt x="976" y="1844"/>
                  <a:pt x="975" y="1842"/>
                  <a:pt x="973" y="1840"/>
                </a:cubicBezTo>
                <a:cubicBezTo>
                  <a:pt x="972" y="1838"/>
                  <a:pt x="970" y="1836"/>
                  <a:pt x="971" y="1833"/>
                </a:cubicBezTo>
                <a:cubicBezTo>
                  <a:pt x="972" y="1831"/>
                  <a:pt x="973" y="1830"/>
                  <a:pt x="974" y="1828"/>
                </a:cubicBezTo>
                <a:cubicBezTo>
                  <a:pt x="976" y="1825"/>
                  <a:pt x="978" y="1823"/>
                  <a:pt x="980" y="1820"/>
                </a:cubicBezTo>
                <a:cubicBezTo>
                  <a:pt x="980" y="1820"/>
                  <a:pt x="979" y="1820"/>
                  <a:pt x="979" y="1820"/>
                </a:cubicBezTo>
                <a:cubicBezTo>
                  <a:pt x="974" y="1821"/>
                  <a:pt x="969" y="1823"/>
                  <a:pt x="965" y="1826"/>
                </a:cubicBezTo>
                <a:cubicBezTo>
                  <a:pt x="961" y="1830"/>
                  <a:pt x="958" y="1835"/>
                  <a:pt x="958" y="1842"/>
                </a:cubicBezTo>
                <a:cubicBezTo>
                  <a:pt x="957" y="1849"/>
                  <a:pt x="960" y="1855"/>
                  <a:pt x="963" y="1861"/>
                </a:cubicBezTo>
                <a:cubicBezTo>
                  <a:pt x="964" y="1861"/>
                  <a:pt x="964" y="1863"/>
                  <a:pt x="964" y="1864"/>
                </a:cubicBezTo>
                <a:cubicBezTo>
                  <a:pt x="964" y="1866"/>
                  <a:pt x="964" y="1867"/>
                  <a:pt x="963" y="1869"/>
                </a:cubicBezTo>
                <a:cubicBezTo>
                  <a:pt x="962" y="1870"/>
                  <a:pt x="963" y="1871"/>
                  <a:pt x="964" y="1872"/>
                </a:cubicBezTo>
                <a:cubicBezTo>
                  <a:pt x="967" y="1872"/>
                  <a:pt x="970" y="1873"/>
                  <a:pt x="973" y="1873"/>
                </a:cubicBezTo>
                <a:cubicBezTo>
                  <a:pt x="973" y="1873"/>
                  <a:pt x="974" y="1872"/>
                  <a:pt x="974" y="1872"/>
                </a:cubicBezTo>
                <a:cubicBezTo>
                  <a:pt x="974" y="1871"/>
                  <a:pt x="974" y="1869"/>
                  <a:pt x="975" y="1869"/>
                </a:cubicBezTo>
                <a:cubicBezTo>
                  <a:pt x="977" y="1866"/>
                  <a:pt x="977" y="1863"/>
                  <a:pt x="977" y="1861"/>
                </a:cubicBezTo>
                <a:cubicBezTo>
                  <a:pt x="977" y="1860"/>
                  <a:pt x="977" y="1860"/>
                  <a:pt x="977" y="1859"/>
                </a:cubicBezTo>
                <a:cubicBezTo>
                  <a:pt x="977" y="1859"/>
                  <a:pt x="977" y="1859"/>
                  <a:pt x="977" y="1859"/>
                </a:cubicBezTo>
                <a:cubicBezTo>
                  <a:pt x="978" y="1861"/>
                  <a:pt x="979" y="1861"/>
                  <a:pt x="981" y="1861"/>
                </a:cubicBezTo>
                <a:cubicBezTo>
                  <a:pt x="982" y="1861"/>
                  <a:pt x="983" y="1861"/>
                  <a:pt x="984" y="1861"/>
                </a:cubicBezTo>
                <a:cubicBezTo>
                  <a:pt x="986" y="1861"/>
                  <a:pt x="989" y="1862"/>
                  <a:pt x="990" y="1858"/>
                </a:cubicBezTo>
                <a:cubicBezTo>
                  <a:pt x="990" y="1860"/>
                  <a:pt x="990" y="1862"/>
                  <a:pt x="990" y="1863"/>
                </a:cubicBezTo>
                <a:cubicBezTo>
                  <a:pt x="989" y="1863"/>
                  <a:pt x="987" y="1864"/>
                  <a:pt x="986" y="1865"/>
                </a:cubicBezTo>
                <a:cubicBezTo>
                  <a:pt x="985" y="1865"/>
                  <a:pt x="984" y="1867"/>
                  <a:pt x="985" y="1868"/>
                </a:cubicBezTo>
                <a:cubicBezTo>
                  <a:pt x="986" y="1870"/>
                  <a:pt x="987" y="1872"/>
                  <a:pt x="989" y="1874"/>
                </a:cubicBezTo>
                <a:cubicBezTo>
                  <a:pt x="991" y="1875"/>
                  <a:pt x="993" y="1875"/>
                  <a:pt x="994" y="1873"/>
                </a:cubicBezTo>
                <a:cubicBezTo>
                  <a:pt x="994" y="1872"/>
                  <a:pt x="995" y="1872"/>
                  <a:pt x="996" y="1871"/>
                </a:cubicBezTo>
                <a:cubicBezTo>
                  <a:pt x="998" y="1870"/>
                  <a:pt x="999" y="1869"/>
                  <a:pt x="1001" y="1867"/>
                </a:cubicBezTo>
                <a:cubicBezTo>
                  <a:pt x="1005" y="1863"/>
                  <a:pt x="1007" y="1857"/>
                  <a:pt x="1009" y="1851"/>
                </a:cubicBezTo>
                <a:cubicBezTo>
                  <a:pt x="1009" y="1851"/>
                  <a:pt x="1008" y="1850"/>
                  <a:pt x="1007" y="1850"/>
                </a:cubicBezTo>
                <a:cubicBezTo>
                  <a:pt x="1007" y="1848"/>
                  <a:pt x="1005" y="1848"/>
                  <a:pt x="1004" y="1847"/>
                </a:cubicBezTo>
                <a:close/>
                <a:moveTo>
                  <a:pt x="957" y="1853"/>
                </a:moveTo>
                <a:cubicBezTo>
                  <a:pt x="956" y="1854"/>
                  <a:pt x="955" y="1855"/>
                  <a:pt x="954" y="1856"/>
                </a:cubicBezTo>
                <a:cubicBezTo>
                  <a:pt x="953" y="1856"/>
                  <a:pt x="953" y="1857"/>
                  <a:pt x="953" y="1858"/>
                </a:cubicBezTo>
                <a:cubicBezTo>
                  <a:pt x="953" y="1861"/>
                  <a:pt x="957" y="1865"/>
                  <a:pt x="960" y="1865"/>
                </a:cubicBezTo>
                <a:cubicBezTo>
                  <a:pt x="962" y="1865"/>
                  <a:pt x="963" y="1863"/>
                  <a:pt x="962" y="1862"/>
                </a:cubicBezTo>
                <a:cubicBezTo>
                  <a:pt x="960" y="1859"/>
                  <a:pt x="959" y="1856"/>
                  <a:pt x="957" y="1853"/>
                </a:cubicBezTo>
                <a:close/>
                <a:moveTo>
                  <a:pt x="1010" y="1855"/>
                </a:moveTo>
                <a:cubicBezTo>
                  <a:pt x="1007" y="1860"/>
                  <a:pt x="1005" y="1864"/>
                  <a:pt x="1003" y="1869"/>
                </a:cubicBezTo>
                <a:cubicBezTo>
                  <a:pt x="1005" y="1869"/>
                  <a:pt x="1008" y="1869"/>
                  <a:pt x="1011" y="1869"/>
                </a:cubicBezTo>
                <a:cubicBezTo>
                  <a:pt x="1011" y="1869"/>
                  <a:pt x="1011" y="1867"/>
                  <a:pt x="1011" y="1867"/>
                </a:cubicBezTo>
                <a:cubicBezTo>
                  <a:pt x="1011" y="1864"/>
                  <a:pt x="1011" y="1862"/>
                  <a:pt x="1011" y="1859"/>
                </a:cubicBezTo>
                <a:cubicBezTo>
                  <a:pt x="1011" y="1858"/>
                  <a:pt x="1010" y="1857"/>
                  <a:pt x="1010" y="1855"/>
                </a:cubicBezTo>
                <a:close/>
                <a:moveTo>
                  <a:pt x="957" y="1835"/>
                </a:moveTo>
                <a:cubicBezTo>
                  <a:pt x="956" y="1835"/>
                  <a:pt x="956" y="1836"/>
                  <a:pt x="955" y="1836"/>
                </a:cubicBezTo>
                <a:cubicBezTo>
                  <a:pt x="954" y="1836"/>
                  <a:pt x="954" y="1836"/>
                  <a:pt x="954" y="1835"/>
                </a:cubicBezTo>
                <a:cubicBezTo>
                  <a:pt x="953" y="1835"/>
                  <a:pt x="953" y="1834"/>
                  <a:pt x="953" y="1833"/>
                </a:cubicBezTo>
                <a:cubicBezTo>
                  <a:pt x="954" y="1832"/>
                  <a:pt x="954" y="1830"/>
                  <a:pt x="955" y="1828"/>
                </a:cubicBezTo>
                <a:cubicBezTo>
                  <a:pt x="954" y="1828"/>
                  <a:pt x="954" y="1828"/>
                  <a:pt x="954" y="1828"/>
                </a:cubicBezTo>
                <a:cubicBezTo>
                  <a:pt x="953" y="1828"/>
                  <a:pt x="952" y="1829"/>
                  <a:pt x="951" y="1830"/>
                </a:cubicBezTo>
                <a:cubicBezTo>
                  <a:pt x="951" y="1832"/>
                  <a:pt x="952" y="1837"/>
                  <a:pt x="954" y="1837"/>
                </a:cubicBezTo>
                <a:cubicBezTo>
                  <a:pt x="955" y="1838"/>
                  <a:pt x="957" y="1837"/>
                  <a:pt x="957" y="1835"/>
                </a:cubicBezTo>
                <a:close/>
                <a:moveTo>
                  <a:pt x="957" y="1853"/>
                </a:moveTo>
                <a:cubicBezTo>
                  <a:pt x="956" y="1854"/>
                  <a:pt x="955" y="1855"/>
                  <a:pt x="953" y="1856"/>
                </a:cubicBezTo>
                <a:cubicBezTo>
                  <a:pt x="953" y="1856"/>
                  <a:pt x="953" y="1857"/>
                  <a:pt x="953" y="1858"/>
                </a:cubicBezTo>
                <a:cubicBezTo>
                  <a:pt x="953" y="1861"/>
                  <a:pt x="957" y="1865"/>
                  <a:pt x="960" y="1865"/>
                </a:cubicBezTo>
                <a:cubicBezTo>
                  <a:pt x="962" y="1865"/>
                  <a:pt x="963" y="1864"/>
                  <a:pt x="962" y="1862"/>
                </a:cubicBezTo>
                <a:cubicBezTo>
                  <a:pt x="960" y="1859"/>
                  <a:pt x="959" y="1856"/>
                  <a:pt x="957" y="1853"/>
                </a:cubicBezTo>
                <a:close/>
                <a:moveTo>
                  <a:pt x="1010" y="1855"/>
                </a:moveTo>
                <a:cubicBezTo>
                  <a:pt x="1007" y="1860"/>
                  <a:pt x="1005" y="1864"/>
                  <a:pt x="1003" y="1869"/>
                </a:cubicBezTo>
                <a:cubicBezTo>
                  <a:pt x="1005" y="1869"/>
                  <a:pt x="1008" y="1869"/>
                  <a:pt x="1010" y="1869"/>
                </a:cubicBezTo>
                <a:cubicBezTo>
                  <a:pt x="1011" y="1869"/>
                  <a:pt x="1011" y="1867"/>
                  <a:pt x="1011" y="1867"/>
                </a:cubicBezTo>
                <a:cubicBezTo>
                  <a:pt x="1011" y="1864"/>
                  <a:pt x="1011" y="1862"/>
                  <a:pt x="1011" y="1859"/>
                </a:cubicBezTo>
                <a:cubicBezTo>
                  <a:pt x="1010" y="1858"/>
                  <a:pt x="1010" y="1857"/>
                  <a:pt x="1010" y="1855"/>
                </a:cubicBezTo>
                <a:close/>
                <a:moveTo>
                  <a:pt x="957" y="1835"/>
                </a:moveTo>
                <a:cubicBezTo>
                  <a:pt x="956" y="1835"/>
                  <a:pt x="956" y="1836"/>
                  <a:pt x="955" y="1836"/>
                </a:cubicBezTo>
                <a:cubicBezTo>
                  <a:pt x="954" y="1836"/>
                  <a:pt x="954" y="1836"/>
                  <a:pt x="954" y="1835"/>
                </a:cubicBezTo>
                <a:cubicBezTo>
                  <a:pt x="953" y="1835"/>
                  <a:pt x="953" y="1834"/>
                  <a:pt x="953" y="1833"/>
                </a:cubicBezTo>
                <a:cubicBezTo>
                  <a:pt x="954" y="1831"/>
                  <a:pt x="954" y="1829"/>
                  <a:pt x="955" y="1827"/>
                </a:cubicBezTo>
                <a:cubicBezTo>
                  <a:pt x="954" y="1827"/>
                  <a:pt x="954" y="1827"/>
                  <a:pt x="954" y="1827"/>
                </a:cubicBezTo>
                <a:cubicBezTo>
                  <a:pt x="953" y="1828"/>
                  <a:pt x="952" y="1829"/>
                  <a:pt x="951" y="1830"/>
                </a:cubicBezTo>
                <a:cubicBezTo>
                  <a:pt x="951" y="1831"/>
                  <a:pt x="952" y="1837"/>
                  <a:pt x="954" y="1837"/>
                </a:cubicBezTo>
                <a:cubicBezTo>
                  <a:pt x="955" y="1838"/>
                  <a:pt x="957" y="1837"/>
                  <a:pt x="957" y="1835"/>
                </a:cubicBezTo>
                <a:close/>
                <a:moveTo>
                  <a:pt x="1009" y="1827"/>
                </a:moveTo>
                <a:cubicBezTo>
                  <a:pt x="1013" y="1823"/>
                  <a:pt x="1013" y="1823"/>
                  <a:pt x="1017" y="1822"/>
                </a:cubicBezTo>
                <a:cubicBezTo>
                  <a:pt x="1017" y="1824"/>
                  <a:pt x="1018" y="1825"/>
                  <a:pt x="1019" y="1825"/>
                </a:cubicBezTo>
                <a:cubicBezTo>
                  <a:pt x="1017" y="1826"/>
                  <a:pt x="1015" y="1828"/>
                  <a:pt x="1013" y="1829"/>
                </a:cubicBezTo>
                <a:cubicBezTo>
                  <a:pt x="1012" y="1828"/>
                  <a:pt x="1012" y="1828"/>
                  <a:pt x="1011" y="1826"/>
                </a:cubicBezTo>
                <a:cubicBezTo>
                  <a:pt x="1011" y="1826"/>
                  <a:pt x="1010" y="1826"/>
                  <a:pt x="1009" y="1827"/>
                </a:cubicBezTo>
                <a:close/>
                <a:moveTo>
                  <a:pt x="1015" y="1826"/>
                </a:moveTo>
                <a:cubicBezTo>
                  <a:pt x="1015" y="1826"/>
                  <a:pt x="1014" y="1826"/>
                  <a:pt x="1013" y="1826"/>
                </a:cubicBezTo>
                <a:cubicBezTo>
                  <a:pt x="1013" y="1826"/>
                  <a:pt x="1012" y="1826"/>
                  <a:pt x="1012" y="1827"/>
                </a:cubicBezTo>
                <a:cubicBezTo>
                  <a:pt x="1012" y="1827"/>
                  <a:pt x="1013" y="1828"/>
                  <a:pt x="1013" y="1828"/>
                </a:cubicBezTo>
                <a:cubicBezTo>
                  <a:pt x="1014" y="1828"/>
                  <a:pt x="1014" y="1827"/>
                  <a:pt x="1015" y="1826"/>
                </a:cubicBezTo>
                <a:close/>
                <a:moveTo>
                  <a:pt x="996" y="1817"/>
                </a:moveTo>
                <a:cubicBezTo>
                  <a:pt x="990" y="1816"/>
                  <a:pt x="987" y="1819"/>
                  <a:pt x="986" y="1826"/>
                </a:cubicBezTo>
                <a:cubicBezTo>
                  <a:pt x="987" y="1824"/>
                  <a:pt x="988" y="1822"/>
                  <a:pt x="989" y="1820"/>
                </a:cubicBezTo>
                <a:cubicBezTo>
                  <a:pt x="990" y="1820"/>
                  <a:pt x="990" y="1820"/>
                  <a:pt x="990" y="1820"/>
                </a:cubicBezTo>
                <a:cubicBezTo>
                  <a:pt x="990" y="1821"/>
                  <a:pt x="990" y="1822"/>
                  <a:pt x="990" y="1822"/>
                </a:cubicBezTo>
                <a:cubicBezTo>
                  <a:pt x="991" y="1819"/>
                  <a:pt x="993" y="1817"/>
                  <a:pt x="996" y="1817"/>
                </a:cubicBezTo>
                <a:close/>
                <a:moveTo>
                  <a:pt x="1040" y="1818"/>
                </a:moveTo>
                <a:cubicBezTo>
                  <a:pt x="1038" y="1819"/>
                  <a:pt x="1036" y="1821"/>
                  <a:pt x="1035" y="1822"/>
                </a:cubicBezTo>
                <a:cubicBezTo>
                  <a:pt x="1037" y="1823"/>
                  <a:pt x="1039" y="1821"/>
                  <a:pt x="1040" y="1818"/>
                </a:cubicBezTo>
                <a:close/>
                <a:moveTo>
                  <a:pt x="1007" y="1821"/>
                </a:moveTo>
                <a:cubicBezTo>
                  <a:pt x="1008" y="1819"/>
                  <a:pt x="1009" y="1818"/>
                  <a:pt x="1010" y="1817"/>
                </a:cubicBezTo>
                <a:cubicBezTo>
                  <a:pt x="1007" y="1818"/>
                  <a:pt x="1006" y="1819"/>
                  <a:pt x="1007" y="1821"/>
                </a:cubicBezTo>
                <a:close/>
                <a:moveTo>
                  <a:pt x="1016" y="1842"/>
                </a:moveTo>
                <a:cubicBezTo>
                  <a:pt x="1015" y="1842"/>
                  <a:pt x="1014" y="1843"/>
                  <a:pt x="1014" y="1844"/>
                </a:cubicBezTo>
                <a:cubicBezTo>
                  <a:pt x="1014" y="1843"/>
                  <a:pt x="1016" y="1842"/>
                  <a:pt x="1016" y="1842"/>
                </a:cubicBezTo>
                <a:close/>
                <a:moveTo>
                  <a:pt x="1016" y="1826"/>
                </a:moveTo>
                <a:cubicBezTo>
                  <a:pt x="1015" y="1826"/>
                  <a:pt x="1014" y="1825"/>
                  <a:pt x="1013" y="1825"/>
                </a:cubicBezTo>
                <a:cubicBezTo>
                  <a:pt x="1013" y="1825"/>
                  <a:pt x="1012" y="1826"/>
                  <a:pt x="1012" y="1827"/>
                </a:cubicBezTo>
                <a:cubicBezTo>
                  <a:pt x="1012" y="1827"/>
                  <a:pt x="1013" y="1828"/>
                  <a:pt x="1013" y="1828"/>
                </a:cubicBezTo>
                <a:cubicBezTo>
                  <a:pt x="1014" y="1828"/>
                  <a:pt x="1014" y="1827"/>
                  <a:pt x="1016" y="1826"/>
                </a:cubicBezTo>
                <a:close/>
                <a:moveTo>
                  <a:pt x="1540" y="1947"/>
                </a:moveTo>
                <a:cubicBezTo>
                  <a:pt x="1540" y="1949"/>
                  <a:pt x="1541" y="1950"/>
                  <a:pt x="1541" y="1951"/>
                </a:cubicBezTo>
                <a:cubicBezTo>
                  <a:pt x="1542" y="1953"/>
                  <a:pt x="1542" y="1955"/>
                  <a:pt x="1542" y="1957"/>
                </a:cubicBezTo>
                <a:cubicBezTo>
                  <a:pt x="1542" y="1958"/>
                  <a:pt x="1543" y="1960"/>
                  <a:pt x="1543" y="1961"/>
                </a:cubicBezTo>
                <a:cubicBezTo>
                  <a:pt x="1544" y="1964"/>
                  <a:pt x="1542" y="1966"/>
                  <a:pt x="1539" y="1966"/>
                </a:cubicBezTo>
                <a:cubicBezTo>
                  <a:pt x="1537" y="1966"/>
                  <a:pt x="1534" y="1966"/>
                  <a:pt x="1531" y="1966"/>
                </a:cubicBezTo>
                <a:cubicBezTo>
                  <a:pt x="1531" y="1966"/>
                  <a:pt x="1530" y="1966"/>
                  <a:pt x="1530" y="1966"/>
                </a:cubicBezTo>
                <a:cubicBezTo>
                  <a:pt x="1528" y="1968"/>
                  <a:pt x="1526" y="1969"/>
                  <a:pt x="1525" y="1970"/>
                </a:cubicBezTo>
                <a:cubicBezTo>
                  <a:pt x="1523" y="1973"/>
                  <a:pt x="1520" y="1973"/>
                  <a:pt x="1518" y="1971"/>
                </a:cubicBezTo>
                <a:cubicBezTo>
                  <a:pt x="1516" y="1969"/>
                  <a:pt x="1515" y="1966"/>
                  <a:pt x="1513" y="1964"/>
                </a:cubicBezTo>
                <a:cubicBezTo>
                  <a:pt x="1512" y="1962"/>
                  <a:pt x="1513" y="1960"/>
                  <a:pt x="1515" y="1959"/>
                </a:cubicBezTo>
                <a:cubicBezTo>
                  <a:pt x="1512" y="1959"/>
                  <a:pt x="1511" y="1959"/>
                  <a:pt x="1509" y="1959"/>
                </a:cubicBezTo>
                <a:cubicBezTo>
                  <a:pt x="1508" y="1961"/>
                  <a:pt x="1507" y="1963"/>
                  <a:pt x="1506" y="1965"/>
                </a:cubicBezTo>
                <a:cubicBezTo>
                  <a:pt x="1506" y="1966"/>
                  <a:pt x="1506" y="1966"/>
                  <a:pt x="1506" y="1967"/>
                </a:cubicBezTo>
                <a:cubicBezTo>
                  <a:pt x="1506" y="1970"/>
                  <a:pt x="1505" y="1972"/>
                  <a:pt x="1502" y="1971"/>
                </a:cubicBezTo>
                <a:cubicBezTo>
                  <a:pt x="1499" y="1971"/>
                  <a:pt x="1496" y="1970"/>
                  <a:pt x="1493" y="1969"/>
                </a:cubicBezTo>
                <a:cubicBezTo>
                  <a:pt x="1491" y="1968"/>
                  <a:pt x="1490" y="1967"/>
                  <a:pt x="1491" y="1965"/>
                </a:cubicBezTo>
                <a:cubicBezTo>
                  <a:pt x="1491" y="1964"/>
                  <a:pt x="1491" y="1963"/>
                  <a:pt x="1491" y="1963"/>
                </a:cubicBezTo>
                <a:cubicBezTo>
                  <a:pt x="1489" y="1962"/>
                  <a:pt x="1487" y="1961"/>
                  <a:pt x="1485" y="1960"/>
                </a:cubicBezTo>
                <a:cubicBezTo>
                  <a:pt x="1484" y="1959"/>
                  <a:pt x="1482" y="1957"/>
                  <a:pt x="1482" y="1955"/>
                </a:cubicBezTo>
                <a:cubicBezTo>
                  <a:pt x="1481" y="1953"/>
                  <a:pt x="1481" y="1952"/>
                  <a:pt x="1483" y="1950"/>
                </a:cubicBezTo>
                <a:cubicBezTo>
                  <a:pt x="1486" y="1948"/>
                  <a:pt x="1487" y="1945"/>
                  <a:pt x="1486" y="1941"/>
                </a:cubicBezTo>
                <a:cubicBezTo>
                  <a:pt x="1486" y="1939"/>
                  <a:pt x="1486" y="1937"/>
                  <a:pt x="1486" y="1935"/>
                </a:cubicBezTo>
                <a:cubicBezTo>
                  <a:pt x="1485" y="1934"/>
                  <a:pt x="1483" y="1934"/>
                  <a:pt x="1482" y="1933"/>
                </a:cubicBezTo>
                <a:cubicBezTo>
                  <a:pt x="1481" y="1931"/>
                  <a:pt x="1480" y="1929"/>
                  <a:pt x="1480" y="1927"/>
                </a:cubicBezTo>
                <a:cubicBezTo>
                  <a:pt x="1480" y="1924"/>
                  <a:pt x="1483" y="1922"/>
                  <a:pt x="1486" y="1921"/>
                </a:cubicBezTo>
                <a:cubicBezTo>
                  <a:pt x="1486" y="1922"/>
                  <a:pt x="1486" y="1922"/>
                  <a:pt x="1487" y="1923"/>
                </a:cubicBezTo>
                <a:cubicBezTo>
                  <a:pt x="1487" y="1924"/>
                  <a:pt x="1487" y="1925"/>
                  <a:pt x="1487" y="1926"/>
                </a:cubicBezTo>
                <a:cubicBezTo>
                  <a:pt x="1486" y="1926"/>
                  <a:pt x="1486" y="1926"/>
                  <a:pt x="1486" y="1926"/>
                </a:cubicBezTo>
                <a:cubicBezTo>
                  <a:pt x="1485" y="1927"/>
                  <a:pt x="1485" y="1928"/>
                  <a:pt x="1484" y="1930"/>
                </a:cubicBezTo>
                <a:cubicBezTo>
                  <a:pt x="1485" y="1930"/>
                  <a:pt x="1486" y="1930"/>
                  <a:pt x="1486" y="1930"/>
                </a:cubicBezTo>
                <a:cubicBezTo>
                  <a:pt x="1488" y="1928"/>
                  <a:pt x="1488" y="1928"/>
                  <a:pt x="1489" y="1926"/>
                </a:cubicBezTo>
                <a:cubicBezTo>
                  <a:pt x="1493" y="1920"/>
                  <a:pt x="1499" y="1916"/>
                  <a:pt x="1507" y="1914"/>
                </a:cubicBezTo>
                <a:cubicBezTo>
                  <a:pt x="1510" y="1914"/>
                  <a:pt x="1513" y="1913"/>
                  <a:pt x="1516" y="1910"/>
                </a:cubicBezTo>
                <a:cubicBezTo>
                  <a:pt x="1516" y="1909"/>
                  <a:pt x="1517" y="1909"/>
                  <a:pt x="1517" y="1909"/>
                </a:cubicBezTo>
                <a:cubicBezTo>
                  <a:pt x="1520" y="1909"/>
                  <a:pt x="1521" y="1906"/>
                  <a:pt x="1523" y="1904"/>
                </a:cubicBezTo>
                <a:cubicBezTo>
                  <a:pt x="1531" y="1897"/>
                  <a:pt x="1542" y="1896"/>
                  <a:pt x="1550" y="1903"/>
                </a:cubicBezTo>
                <a:cubicBezTo>
                  <a:pt x="1553" y="1905"/>
                  <a:pt x="1555" y="1907"/>
                  <a:pt x="1558" y="1909"/>
                </a:cubicBezTo>
                <a:cubicBezTo>
                  <a:pt x="1559" y="1910"/>
                  <a:pt x="1560" y="1912"/>
                  <a:pt x="1562" y="1914"/>
                </a:cubicBezTo>
                <a:cubicBezTo>
                  <a:pt x="1562" y="1915"/>
                  <a:pt x="1563" y="1915"/>
                  <a:pt x="1564" y="1914"/>
                </a:cubicBezTo>
                <a:cubicBezTo>
                  <a:pt x="1565" y="1914"/>
                  <a:pt x="1566" y="1913"/>
                  <a:pt x="1567" y="1912"/>
                </a:cubicBezTo>
                <a:cubicBezTo>
                  <a:pt x="1569" y="1909"/>
                  <a:pt x="1572" y="1909"/>
                  <a:pt x="1573" y="1913"/>
                </a:cubicBezTo>
                <a:cubicBezTo>
                  <a:pt x="1574" y="1916"/>
                  <a:pt x="1575" y="1919"/>
                  <a:pt x="1575" y="1922"/>
                </a:cubicBezTo>
                <a:cubicBezTo>
                  <a:pt x="1576" y="1926"/>
                  <a:pt x="1576" y="1930"/>
                  <a:pt x="1574" y="1935"/>
                </a:cubicBezTo>
                <a:cubicBezTo>
                  <a:pt x="1572" y="1941"/>
                  <a:pt x="1567" y="1945"/>
                  <a:pt x="1560" y="1945"/>
                </a:cubicBezTo>
                <a:cubicBezTo>
                  <a:pt x="1560" y="1945"/>
                  <a:pt x="1559" y="1945"/>
                  <a:pt x="1559" y="1945"/>
                </a:cubicBezTo>
                <a:cubicBezTo>
                  <a:pt x="1556" y="1944"/>
                  <a:pt x="1555" y="1945"/>
                  <a:pt x="1554" y="1947"/>
                </a:cubicBezTo>
                <a:cubicBezTo>
                  <a:pt x="1553" y="1951"/>
                  <a:pt x="1547" y="1953"/>
                  <a:pt x="1544" y="1950"/>
                </a:cubicBezTo>
                <a:cubicBezTo>
                  <a:pt x="1542" y="1949"/>
                  <a:pt x="1542" y="1948"/>
                  <a:pt x="1540" y="1947"/>
                </a:cubicBezTo>
                <a:cubicBezTo>
                  <a:pt x="1540" y="1947"/>
                  <a:pt x="1540" y="1947"/>
                  <a:pt x="1540" y="1947"/>
                </a:cubicBezTo>
                <a:close/>
                <a:moveTo>
                  <a:pt x="1534" y="1943"/>
                </a:moveTo>
                <a:cubicBezTo>
                  <a:pt x="1538" y="1944"/>
                  <a:pt x="1541" y="1945"/>
                  <a:pt x="1544" y="1948"/>
                </a:cubicBezTo>
                <a:cubicBezTo>
                  <a:pt x="1546" y="1950"/>
                  <a:pt x="1548" y="1951"/>
                  <a:pt x="1550" y="1950"/>
                </a:cubicBezTo>
                <a:cubicBezTo>
                  <a:pt x="1552" y="1949"/>
                  <a:pt x="1554" y="1947"/>
                  <a:pt x="1554" y="1944"/>
                </a:cubicBezTo>
                <a:cubicBezTo>
                  <a:pt x="1553" y="1944"/>
                  <a:pt x="1553" y="1944"/>
                  <a:pt x="1553" y="1945"/>
                </a:cubicBezTo>
                <a:cubicBezTo>
                  <a:pt x="1552" y="1946"/>
                  <a:pt x="1551" y="1947"/>
                  <a:pt x="1550" y="1948"/>
                </a:cubicBezTo>
                <a:cubicBezTo>
                  <a:pt x="1549" y="1949"/>
                  <a:pt x="1548" y="1949"/>
                  <a:pt x="1547" y="1949"/>
                </a:cubicBezTo>
                <a:cubicBezTo>
                  <a:pt x="1546" y="1949"/>
                  <a:pt x="1546" y="1947"/>
                  <a:pt x="1546" y="1947"/>
                </a:cubicBezTo>
                <a:cubicBezTo>
                  <a:pt x="1546" y="1944"/>
                  <a:pt x="1546" y="1942"/>
                  <a:pt x="1547" y="1940"/>
                </a:cubicBezTo>
                <a:cubicBezTo>
                  <a:pt x="1550" y="1941"/>
                  <a:pt x="1553" y="1942"/>
                  <a:pt x="1557" y="1943"/>
                </a:cubicBezTo>
                <a:cubicBezTo>
                  <a:pt x="1564" y="1944"/>
                  <a:pt x="1570" y="1942"/>
                  <a:pt x="1573" y="1934"/>
                </a:cubicBezTo>
                <a:cubicBezTo>
                  <a:pt x="1575" y="1929"/>
                  <a:pt x="1574" y="1924"/>
                  <a:pt x="1573" y="1919"/>
                </a:cubicBezTo>
                <a:cubicBezTo>
                  <a:pt x="1573" y="1917"/>
                  <a:pt x="1572" y="1915"/>
                  <a:pt x="1571" y="1913"/>
                </a:cubicBezTo>
                <a:cubicBezTo>
                  <a:pt x="1571" y="1912"/>
                  <a:pt x="1570" y="1911"/>
                  <a:pt x="1568" y="1913"/>
                </a:cubicBezTo>
                <a:cubicBezTo>
                  <a:pt x="1567" y="1915"/>
                  <a:pt x="1565" y="1916"/>
                  <a:pt x="1563" y="1917"/>
                </a:cubicBezTo>
                <a:cubicBezTo>
                  <a:pt x="1562" y="1917"/>
                  <a:pt x="1562" y="1918"/>
                  <a:pt x="1562" y="1919"/>
                </a:cubicBezTo>
                <a:cubicBezTo>
                  <a:pt x="1563" y="1922"/>
                  <a:pt x="1562" y="1926"/>
                  <a:pt x="1561" y="1929"/>
                </a:cubicBezTo>
                <a:cubicBezTo>
                  <a:pt x="1561" y="1927"/>
                  <a:pt x="1561" y="1925"/>
                  <a:pt x="1561" y="1923"/>
                </a:cubicBezTo>
                <a:cubicBezTo>
                  <a:pt x="1561" y="1922"/>
                  <a:pt x="1561" y="1922"/>
                  <a:pt x="1560" y="1922"/>
                </a:cubicBezTo>
                <a:cubicBezTo>
                  <a:pt x="1560" y="1922"/>
                  <a:pt x="1559" y="1922"/>
                  <a:pt x="1559" y="1922"/>
                </a:cubicBezTo>
                <a:cubicBezTo>
                  <a:pt x="1559" y="1924"/>
                  <a:pt x="1558" y="1925"/>
                  <a:pt x="1557" y="1926"/>
                </a:cubicBezTo>
                <a:cubicBezTo>
                  <a:pt x="1557" y="1926"/>
                  <a:pt x="1557" y="1926"/>
                  <a:pt x="1557" y="1926"/>
                </a:cubicBezTo>
                <a:cubicBezTo>
                  <a:pt x="1557" y="1925"/>
                  <a:pt x="1557" y="1923"/>
                  <a:pt x="1558" y="1921"/>
                </a:cubicBezTo>
                <a:cubicBezTo>
                  <a:pt x="1557" y="1922"/>
                  <a:pt x="1556" y="1922"/>
                  <a:pt x="1555" y="1923"/>
                </a:cubicBezTo>
                <a:cubicBezTo>
                  <a:pt x="1555" y="1923"/>
                  <a:pt x="1555" y="1924"/>
                  <a:pt x="1554" y="1925"/>
                </a:cubicBezTo>
                <a:cubicBezTo>
                  <a:pt x="1555" y="1921"/>
                  <a:pt x="1555" y="1921"/>
                  <a:pt x="1561" y="1920"/>
                </a:cubicBezTo>
                <a:cubicBezTo>
                  <a:pt x="1560" y="1920"/>
                  <a:pt x="1560" y="1919"/>
                  <a:pt x="1560" y="1919"/>
                </a:cubicBezTo>
                <a:cubicBezTo>
                  <a:pt x="1557" y="1920"/>
                  <a:pt x="1556" y="1918"/>
                  <a:pt x="1556" y="1916"/>
                </a:cubicBezTo>
                <a:cubicBezTo>
                  <a:pt x="1557" y="1915"/>
                  <a:pt x="1559" y="1915"/>
                  <a:pt x="1560" y="1915"/>
                </a:cubicBezTo>
                <a:cubicBezTo>
                  <a:pt x="1559" y="1912"/>
                  <a:pt x="1557" y="1909"/>
                  <a:pt x="1554" y="1909"/>
                </a:cubicBezTo>
                <a:cubicBezTo>
                  <a:pt x="1554" y="1909"/>
                  <a:pt x="1553" y="1909"/>
                  <a:pt x="1553" y="1908"/>
                </a:cubicBezTo>
                <a:cubicBezTo>
                  <a:pt x="1551" y="1906"/>
                  <a:pt x="1549" y="1904"/>
                  <a:pt x="1546" y="1902"/>
                </a:cubicBezTo>
                <a:cubicBezTo>
                  <a:pt x="1544" y="1901"/>
                  <a:pt x="1541" y="1900"/>
                  <a:pt x="1539" y="1900"/>
                </a:cubicBezTo>
                <a:cubicBezTo>
                  <a:pt x="1535" y="1900"/>
                  <a:pt x="1532" y="1902"/>
                  <a:pt x="1529" y="1902"/>
                </a:cubicBezTo>
                <a:cubicBezTo>
                  <a:pt x="1526" y="1903"/>
                  <a:pt x="1524" y="1905"/>
                  <a:pt x="1522" y="1908"/>
                </a:cubicBezTo>
                <a:cubicBezTo>
                  <a:pt x="1524" y="1908"/>
                  <a:pt x="1525" y="1908"/>
                  <a:pt x="1526" y="1908"/>
                </a:cubicBezTo>
                <a:cubicBezTo>
                  <a:pt x="1526" y="1909"/>
                  <a:pt x="1525" y="1909"/>
                  <a:pt x="1524" y="1909"/>
                </a:cubicBezTo>
                <a:cubicBezTo>
                  <a:pt x="1522" y="1910"/>
                  <a:pt x="1519" y="1909"/>
                  <a:pt x="1517" y="1911"/>
                </a:cubicBezTo>
                <a:cubicBezTo>
                  <a:pt x="1513" y="1915"/>
                  <a:pt x="1510" y="1919"/>
                  <a:pt x="1506" y="1923"/>
                </a:cubicBezTo>
                <a:cubicBezTo>
                  <a:pt x="1504" y="1925"/>
                  <a:pt x="1504" y="1928"/>
                  <a:pt x="1502" y="1930"/>
                </a:cubicBezTo>
                <a:cubicBezTo>
                  <a:pt x="1502" y="1930"/>
                  <a:pt x="1502" y="1931"/>
                  <a:pt x="1503" y="1932"/>
                </a:cubicBezTo>
                <a:cubicBezTo>
                  <a:pt x="1504" y="1934"/>
                  <a:pt x="1505" y="1936"/>
                  <a:pt x="1507" y="1938"/>
                </a:cubicBezTo>
                <a:cubicBezTo>
                  <a:pt x="1508" y="1936"/>
                  <a:pt x="1509" y="1934"/>
                  <a:pt x="1510" y="1933"/>
                </a:cubicBezTo>
                <a:cubicBezTo>
                  <a:pt x="1510" y="1934"/>
                  <a:pt x="1510" y="1936"/>
                  <a:pt x="1509" y="1937"/>
                </a:cubicBezTo>
                <a:cubicBezTo>
                  <a:pt x="1508" y="1938"/>
                  <a:pt x="1507" y="1940"/>
                  <a:pt x="1507" y="1941"/>
                </a:cubicBezTo>
                <a:cubicBezTo>
                  <a:pt x="1506" y="1942"/>
                  <a:pt x="1507" y="1943"/>
                  <a:pt x="1507" y="1944"/>
                </a:cubicBezTo>
                <a:cubicBezTo>
                  <a:pt x="1510" y="1947"/>
                  <a:pt x="1513" y="1947"/>
                  <a:pt x="1517" y="1945"/>
                </a:cubicBezTo>
                <a:cubicBezTo>
                  <a:pt x="1519" y="1944"/>
                  <a:pt x="1522" y="1943"/>
                  <a:pt x="1524" y="1942"/>
                </a:cubicBezTo>
                <a:cubicBezTo>
                  <a:pt x="1526" y="1941"/>
                  <a:pt x="1527" y="1941"/>
                  <a:pt x="1527" y="1939"/>
                </a:cubicBezTo>
                <a:cubicBezTo>
                  <a:pt x="1527" y="1936"/>
                  <a:pt x="1527" y="1932"/>
                  <a:pt x="1527" y="1929"/>
                </a:cubicBezTo>
                <a:cubicBezTo>
                  <a:pt x="1527" y="1926"/>
                  <a:pt x="1527" y="1923"/>
                  <a:pt x="1527" y="1920"/>
                </a:cubicBezTo>
                <a:cubicBezTo>
                  <a:pt x="1528" y="1923"/>
                  <a:pt x="1528" y="1926"/>
                  <a:pt x="1529" y="1928"/>
                </a:cubicBezTo>
                <a:cubicBezTo>
                  <a:pt x="1530" y="1933"/>
                  <a:pt x="1530" y="1937"/>
                  <a:pt x="1528" y="1941"/>
                </a:cubicBezTo>
                <a:cubicBezTo>
                  <a:pt x="1528" y="1942"/>
                  <a:pt x="1527" y="1943"/>
                  <a:pt x="1527" y="1943"/>
                </a:cubicBezTo>
                <a:cubicBezTo>
                  <a:pt x="1523" y="1943"/>
                  <a:pt x="1520" y="1945"/>
                  <a:pt x="1517" y="1947"/>
                </a:cubicBezTo>
                <a:cubicBezTo>
                  <a:pt x="1512" y="1950"/>
                  <a:pt x="1508" y="1948"/>
                  <a:pt x="1505" y="1944"/>
                </a:cubicBezTo>
                <a:cubicBezTo>
                  <a:pt x="1504" y="1944"/>
                  <a:pt x="1504" y="1943"/>
                  <a:pt x="1505" y="1942"/>
                </a:cubicBezTo>
                <a:cubicBezTo>
                  <a:pt x="1506" y="1940"/>
                  <a:pt x="1505" y="1938"/>
                  <a:pt x="1503" y="1936"/>
                </a:cubicBezTo>
                <a:cubicBezTo>
                  <a:pt x="1502" y="1934"/>
                  <a:pt x="1500" y="1932"/>
                  <a:pt x="1501" y="1929"/>
                </a:cubicBezTo>
                <a:cubicBezTo>
                  <a:pt x="1502" y="1927"/>
                  <a:pt x="1503" y="1925"/>
                  <a:pt x="1504" y="1924"/>
                </a:cubicBezTo>
                <a:cubicBezTo>
                  <a:pt x="1506" y="1921"/>
                  <a:pt x="1508" y="1919"/>
                  <a:pt x="1510" y="1916"/>
                </a:cubicBezTo>
                <a:cubicBezTo>
                  <a:pt x="1510" y="1916"/>
                  <a:pt x="1509" y="1916"/>
                  <a:pt x="1509" y="1916"/>
                </a:cubicBezTo>
                <a:cubicBezTo>
                  <a:pt x="1504" y="1917"/>
                  <a:pt x="1499" y="1919"/>
                  <a:pt x="1495" y="1922"/>
                </a:cubicBezTo>
                <a:cubicBezTo>
                  <a:pt x="1491" y="1926"/>
                  <a:pt x="1488" y="1931"/>
                  <a:pt x="1488" y="1938"/>
                </a:cubicBezTo>
                <a:cubicBezTo>
                  <a:pt x="1487" y="1945"/>
                  <a:pt x="1489" y="1951"/>
                  <a:pt x="1493" y="1957"/>
                </a:cubicBezTo>
                <a:cubicBezTo>
                  <a:pt x="1493" y="1957"/>
                  <a:pt x="1494" y="1959"/>
                  <a:pt x="1494" y="1960"/>
                </a:cubicBezTo>
                <a:cubicBezTo>
                  <a:pt x="1494" y="1962"/>
                  <a:pt x="1493" y="1963"/>
                  <a:pt x="1493" y="1964"/>
                </a:cubicBezTo>
                <a:cubicBezTo>
                  <a:pt x="1492" y="1966"/>
                  <a:pt x="1493" y="1967"/>
                  <a:pt x="1494" y="1968"/>
                </a:cubicBezTo>
                <a:cubicBezTo>
                  <a:pt x="1497" y="1968"/>
                  <a:pt x="1500" y="1969"/>
                  <a:pt x="1502" y="1969"/>
                </a:cubicBezTo>
                <a:cubicBezTo>
                  <a:pt x="1503" y="1969"/>
                  <a:pt x="1504" y="1968"/>
                  <a:pt x="1504" y="1968"/>
                </a:cubicBezTo>
                <a:cubicBezTo>
                  <a:pt x="1504" y="1967"/>
                  <a:pt x="1504" y="1965"/>
                  <a:pt x="1505" y="1964"/>
                </a:cubicBezTo>
                <a:cubicBezTo>
                  <a:pt x="1507" y="1962"/>
                  <a:pt x="1507" y="1959"/>
                  <a:pt x="1507" y="1957"/>
                </a:cubicBezTo>
                <a:cubicBezTo>
                  <a:pt x="1507" y="1956"/>
                  <a:pt x="1507" y="1956"/>
                  <a:pt x="1507" y="1955"/>
                </a:cubicBezTo>
                <a:cubicBezTo>
                  <a:pt x="1507" y="1955"/>
                  <a:pt x="1507" y="1955"/>
                  <a:pt x="1507" y="1955"/>
                </a:cubicBezTo>
                <a:cubicBezTo>
                  <a:pt x="1508" y="1957"/>
                  <a:pt x="1509" y="1957"/>
                  <a:pt x="1511" y="1957"/>
                </a:cubicBezTo>
                <a:cubicBezTo>
                  <a:pt x="1512" y="1957"/>
                  <a:pt x="1513" y="1957"/>
                  <a:pt x="1514" y="1957"/>
                </a:cubicBezTo>
                <a:cubicBezTo>
                  <a:pt x="1516" y="1957"/>
                  <a:pt x="1519" y="1958"/>
                  <a:pt x="1520" y="1954"/>
                </a:cubicBezTo>
                <a:cubicBezTo>
                  <a:pt x="1520" y="1956"/>
                  <a:pt x="1520" y="1958"/>
                  <a:pt x="1520" y="1959"/>
                </a:cubicBezTo>
                <a:cubicBezTo>
                  <a:pt x="1519" y="1959"/>
                  <a:pt x="1517" y="1960"/>
                  <a:pt x="1516" y="1960"/>
                </a:cubicBezTo>
                <a:cubicBezTo>
                  <a:pt x="1515" y="1961"/>
                  <a:pt x="1514" y="1963"/>
                  <a:pt x="1515" y="1964"/>
                </a:cubicBezTo>
                <a:cubicBezTo>
                  <a:pt x="1516" y="1966"/>
                  <a:pt x="1517" y="1968"/>
                  <a:pt x="1519" y="1970"/>
                </a:cubicBezTo>
                <a:cubicBezTo>
                  <a:pt x="1520" y="1971"/>
                  <a:pt x="1522" y="1971"/>
                  <a:pt x="1524" y="1969"/>
                </a:cubicBezTo>
                <a:cubicBezTo>
                  <a:pt x="1524" y="1968"/>
                  <a:pt x="1525" y="1968"/>
                  <a:pt x="1526" y="1967"/>
                </a:cubicBezTo>
                <a:cubicBezTo>
                  <a:pt x="1528" y="1966"/>
                  <a:pt x="1529" y="1964"/>
                  <a:pt x="1531" y="1963"/>
                </a:cubicBezTo>
                <a:cubicBezTo>
                  <a:pt x="1535" y="1959"/>
                  <a:pt x="1537" y="1953"/>
                  <a:pt x="1539" y="1947"/>
                </a:cubicBezTo>
                <a:cubicBezTo>
                  <a:pt x="1539" y="1947"/>
                  <a:pt x="1538" y="1946"/>
                  <a:pt x="1537" y="1945"/>
                </a:cubicBezTo>
                <a:cubicBezTo>
                  <a:pt x="1537" y="1944"/>
                  <a:pt x="1535" y="1943"/>
                  <a:pt x="1534" y="1943"/>
                </a:cubicBezTo>
                <a:close/>
                <a:moveTo>
                  <a:pt x="1487" y="1949"/>
                </a:moveTo>
                <a:cubicBezTo>
                  <a:pt x="1486" y="1950"/>
                  <a:pt x="1485" y="1951"/>
                  <a:pt x="1484" y="1952"/>
                </a:cubicBezTo>
                <a:cubicBezTo>
                  <a:pt x="1483" y="1952"/>
                  <a:pt x="1483" y="1953"/>
                  <a:pt x="1483" y="1954"/>
                </a:cubicBezTo>
                <a:cubicBezTo>
                  <a:pt x="1483" y="1957"/>
                  <a:pt x="1487" y="1961"/>
                  <a:pt x="1490" y="1960"/>
                </a:cubicBezTo>
                <a:cubicBezTo>
                  <a:pt x="1492" y="1960"/>
                  <a:pt x="1493" y="1959"/>
                  <a:pt x="1492" y="1958"/>
                </a:cubicBezTo>
                <a:cubicBezTo>
                  <a:pt x="1490" y="1955"/>
                  <a:pt x="1489" y="1952"/>
                  <a:pt x="1487" y="1949"/>
                </a:cubicBezTo>
                <a:close/>
                <a:moveTo>
                  <a:pt x="1540" y="1951"/>
                </a:moveTo>
                <a:cubicBezTo>
                  <a:pt x="1537" y="1956"/>
                  <a:pt x="1535" y="1960"/>
                  <a:pt x="1533" y="1964"/>
                </a:cubicBezTo>
                <a:cubicBezTo>
                  <a:pt x="1535" y="1964"/>
                  <a:pt x="1538" y="1965"/>
                  <a:pt x="1540" y="1964"/>
                </a:cubicBezTo>
                <a:cubicBezTo>
                  <a:pt x="1541" y="1964"/>
                  <a:pt x="1541" y="1963"/>
                  <a:pt x="1541" y="1963"/>
                </a:cubicBezTo>
                <a:cubicBezTo>
                  <a:pt x="1541" y="1960"/>
                  <a:pt x="1541" y="1958"/>
                  <a:pt x="1541" y="1955"/>
                </a:cubicBezTo>
                <a:cubicBezTo>
                  <a:pt x="1540" y="1954"/>
                  <a:pt x="1540" y="1953"/>
                  <a:pt x="1540" y="1951"/>
                </a:cubicBezTo>
                <a:close/>
                <a:moveTo>
                  <a:pt x="1487" y="1931"/>
                </a:moveTo>
                <a:cubicBezTo>
                  <a:pt x="1486" y="1931"/>
                  <a:pt x="1486" y="1932"/>
                  <a:pt x="1485" y="1932"/>
                </a:cubicBezTo>
                <a:cubicBezTo>
                  <a:pt x="1484" y="1932"/>
                  <a:pt x="1484" y="1932"/>
                  <a:pt x="1484" y="1931"/>
                </a:cubicBezTo>
                <a:cubicBezTo>
                  <a:pt x="1483" y="1931"/>
                  <a:pt x="1483" y="1930"/>
                  <a:pt x="1483" y="1929"/>
                </a:cubicBezTo>
                <a:cubicBezTo>
                  <a:pt x="1484" y="1927"/>
                  <a:pt x="1484" y="1925"/>
                  <a:pt x="1485" y="1923"/>
                </a:cubicBezTo>
                <a:cubicBezTo>
                  <a:pt x="1484" y="1923"/>
                  <a:pt x="1484" y="1923"/>
                  <a:pt x="1484" y="1923"/>
                </a:cubicBezTo>
                <a:cubicBezTo>
                  <a:pt x="1483" y="1924"/>
                  <a:pt x="1482" y="1925"/>
                  <a:pt x="1481" y="1926"/>
                </a:cubicBezTo>
                <a:cubicBezTo>
                  <a:pt x="1480" y="1927"/>
                  <a:pt x="1482" y="1932"/>
                  <a:pt x="1484" y="1933"/>
                </a:cubicBezTo>
                <a:cubicBezTo>
                  <a:pt x="1485" y="1934"/>
                  <a:pt x="1487" y="1933"/>
                  <a:pt x="1487" y="1931"/>
                </a:cubicBezTo>
                <a:close/>
                <a:moveTo>
                  <a:pt x="1487" y="1949"/>
                </a:moveTo>
                <a:cubicBezTo>
                  <a:pt x="1486" y="1950"/>
                  <a:pt x="1485" y="1951"/>
                  <a:pt x="1483" y="1952"/>
                </a:cubicBezTo>
                <a:cubicBezTo>
                  <a:pt x="1483" y="1952"/>
                  <a:pt x="1483" y="1953"/>
                  <a:pt x="1483" y="1954"/>
                </a:cubicBezTo>
                <a:cubicBezTo>
                  <a:pt x="1483" y="1957"/>
                  <a:pt x="1487" y="1961"/>
                  <a:pt x="1490" y="1961"/>
                </a:cubicBezTo>
                <a:cubicBezTo>
                  <a:pt x="1492" y="1961"/>
                  <a:pt x="1493" y="1960"/>
                  <a:pt x="1492" y="1958"/>
                </a:cubicBezTo>
                <a:cubicBezTo>
                  <a:pt x="1490" y="1955"/>
                  <a:pt x="1489" y="1952"/>
                  <a:pt x="1487" y="1949"/>
                </a:cubicBezTo>
                <a:close/>
                <a:moveTo>
                  <a:pt x="1540" y="1951"/>
                </a:moveTo>
                <a:cubicBezTo>
                  <a:pt x="1537" y="1956"/>
                  <a:pt x="1535" y="1960"/>
                  <a:pt x="1532" y="1965"/>
                </a:cubicBezTo>
                <a:cubicBezTo>
                  <a:pt x="1535" y="1965"/>
                  <a:pt x="1538" y="1965"/>
                  <a:pt x="1540" y="1965"/>
                </a:cubicBezTo>
                <a:cubicBezTo>
                  <a:pt x="1541" y="1965"/>
                  <a:pt x="1541" y="1963"/>
                  <a:pt x="1541" y="1963"/>
                </a:cubicBezTo>
                <a:cubicBezTo>
                  <a:pt x="1541" y="1960"/>
                  <a:pt x="1541" y="1958"/>
                  <a:pt x="1541" y="1955"/>
                </a:cubicBezTo>
                <a:cubicBezTo>
                  <a:pt x="1540" y="1954"/>
                  <a:pt x="1540" y="1953"/>
                  <a:pt x="1540" y="1951"/>
                </a:cubicBezTo>
                <a:close/>
                <a:moveTo>
                  <a:pt x="1487" y="1931"/>
                </a:moveTo>
                <a:cubicBezTo>
                  <a:pt x="1486" y="1931"/>
                  <a:pt x="1485" y="1932"/>
                  <a:pt x="1485" y="1932"/>
                </a:cubicBezTo>
                <a:cubicBezTo>
                  <a:pt x="1484" y="1932"/>
                  <a:pt x="1484" y="1932"/>
                  <a:pt x="1484" y="1931"/>
                </a:cubicBezTo>
                <a:cubicBezTo>
                  <a:pt x="1483" y="1931"/>
                  <a:pt x="1483" y="1930"/>
                  <a:pt x="1483" y="1929"/>
                </a:cubicBezTo>
                <a:cubicBezTo>
                  <a:pt x="1484" y="1927"/>
                  <a:pt x="1484" y="1925"/>
                  <a:pt x="1485" y="1923"/>
                </a:cubicBezTo>
                <a:cubicBezTo>
                  <a:pt x="1484" y="1923"/>
                  <a:pt x="1484" y="1923"/>
                  <a:pt x="1484" y="1923"/>
                </a:cubicBezTo>
                <a:cubicBezTo>
                  <a:pt x="1483" y="1924"/>
                  <a:pt x="1482" y="1925"/>
                  <a:pt x="1481" y="1926"/>
                </a:cubicBezTo>
                <a:cubicBezTo>
                  <a:pt x="1481" y="1927"/>
                  <a:pt x="1482" y="1933"/>
                  <a:pt x="1484" y="1933"/>
                </a:cubicBezTo>
                <a:cubicBezTo>
                  <a:pt x="1485" y="1934"/>
                  <a:pt x="1487" y="1933"/>
                  <a:pt x="1487" y="1931"/>
                </a:cubicBezTo>
                <a:close/>
                <a:moveTo>
                  <a:pt x="1539" y="1923"/>
                </a:moveTo>
                <a:cubicBezTo>
                  <a:pt x="1542" y="1919"/>
                  <a:pt x="1542" y="1919"/>
                  <a:pt x="1546" y="1918"/>
                </a:cubicBezTo>
                <a:cubicBezTo>
                  <a:pt x="1546" y="1920"/>
                  <a:pt x="1548" y="1921"/>
                  <a:pt x="1549" y="1921"/>
                </a:cubicBezTo>
                <a:cubicBezTo>
                  <a:pt x="1547" y="1922"/>
                  <a:pt x="1545" y="1924"/>
                  <a:pt x="1543" y="1925"/>
                </a:cubicBezTo>
                <a:cubicBezTo>
                  <a:pt x="1542" y="1924"/>
                  <a:pt x="1542" y="1924"/>
                  <a:pt x="1541" y="1922"/>
                </a:cubicBezTo>
                <a:cubicBezTo>
                  <a:pt x="1540" y="1922"/>
                  <a:pt x="1540" y="1922"/>
                  <a:pt x="1539" y="1923"/>
                </a:cubicBezTo>
                <a:close/>
                <a:moveTo>
                  <a:pt x="1545" y="1922"/>
                </a:moveTo>
                <a:cubicBezTo>
                  <a:pt x="1544" y="1922"/>
                  <a:pt x="1544" y="1922"/>
                  <a:pt x="1543" y="1922"/>
                </a:cubicBezTo>
                <a:cubicBezTo>
                  <a:pt x="1543" y="1922"/>
                  <a:pt x="1542" y="1922"/>
                  <a:pt x="1542" y="1923"/>
                </a:cubicBezTo>
                <a:cubicBezTo>
                  <a:pt x="1542" y="1923"/>
                  <a:pt x="1542" y="1924"/>
                  <a:pt x="1543" y="1924"/>
                </a:cubicBezTo>
                <a:cubicBezTo>
                  <a:pt x="1544" y="1924"/>
                  <a:pt x="1544" y="1923"/>
                  <a:pt x="1545" y="1922"/>
                </a:cubicBezTo>
                <a:close/>
                <a:moveTo>
                  <a:pt x="1526" y="1913"/>
                </a:moveTo>
                <a:cubicBezTo>
                  <a:pt x="1520" y="1912"/>
                  <a:pt x="1517" y="1915"/>
                  <a:pt x="1516" y="1922"/>
                </a:cubicBezTo>
                <a:cubicBezTo>
                  <a:pt x="1517" y="1920"/>
                  <a:pt x="1518" y="1918"/>
                  <a:pt x="1519" y="1916"/>
                </a:cubicBezTo>
                <a:cubicBezTo>
                  <a:pt x="1520" y="1916"/>
                  <a:pt x="1520" y="1916"/>
                  <a:pt x="1520" y="1916"/>
                </a:cubicBezTo>
                <a:cubicBezTo>
                  <a:pt x="1520" y="1917"/>
                  <a:pt x="1520" y="1918"/>
                  <a:pt x="1520" y="1918"/>
                </a:cubicBezTo>
                <a:cubicBezTo>
                  <a:pt x="1521" y="1915"/>
                  <a:pt x="1523" y="1913"/>
                  <a:pt x="1526" y="1913"/>
                </a:cubicBezTo>
                <a:close/>
                <a:moveTo>
                  <a:pt x="1570" y="1914"/>
                </a:moveTo>
                <a:cubicBezTo>
                  <a:pt x="1568" y="1915"/>
                  <a:pt x="1566" y="1917"/>
                  <a:pt x="1565" y="1918"/>
                </a:cubicBezTo>
                <a:cubicBezTo>
                  <a:pt x="1567" y="1919"/>
                  <a:pt x="1569" y="1917"/>
                  <a:pt x="1570" y="1914"/>
                </a:cubicBezTo>
                <a:close/>
                <a:moveTo>
                  <a:pt x="1537" y="1917"/>
                </a:moveTo>
                <a:cubicBezTo>
                  <a:pt x="1538" y="1915"/>
                  <a:pt x="1539" y="1914"/>
                  <a:pt x="1540" y="1913"/>
                </a:cubicBezTo>
                <a:cubicBezTo>
                  <a:pt x="1537" y="1914"/>
                  <a:pt x="1536" y="1915"/>
                  <a:pt x="1537" y="1917"/>
                </a:cubicBezTo>
                <a:close/>
                <a:moveTo>
                  <a:pt x="1546" y="1938"/>
                </a:moveTo>
                <a:cubicBezTo>
                  <a:pt x="1545" y="1938"/>
                  <a:pt x="1544" y="1939"/>
                  <a:pt x="1544" y="1940"/>
                </a:cubicBezTo>
                <a:cubicBezTo>
                  <a:pt x="1544" y="1939"/>
                  <a:pt x="1546" y="1938"/>
                  <a:pt x="1546" y="1938"/>
                </a:cubicBezTo>
                <a:close/>
                <a:moveTo>
                  <a:pt x="1545" y="1922"/>
                </a:moveTo>
                <a:cubicBezTo>
                  <a:pt x="1545" y="1922"/>
                  <a:pt x="1544" y="1921"/>
                  <a:pt x="1543" y="1921"/>
                </a:cubicBezTo>
                <a:cubicBezTo>
                  <a:pt x="1543" y="1921"/>
                  <a:pt x="1542" y="1922"/>
                  <a:pt x="1542" y="1923"/>
                </a:cubicBezTo>
                <a:cubicBezTo>
                  <a:pt x="1542" y="1923"/>
                  <a:pt x="1543" y="1923"/>
                  <a:pt x="1543" y="1924"/>
                </a:cubicBezTo>
                <a:cubicBezTo>
                  <a:pt x="1544" y="1923"/>
                  <a:pt x="1544" y="1923"/>
                  <a:pt x="1545" y="1922"/>
                </a:cubicBezTo>
                <a:close/>
                <a:moveTo>
                  <a:pt x="1093" y="1804"/>
                </a:moveTo>
                <a:cubicBezTo>
                  <a:pt x="1093" y="1804"/>
                  <a:pt x="1093" y="1804"/>
                  <a:pt x="1093" y="1804"/>
                </a:cubicBezTo>
                <a:cubicBezTo>
                  <a:pt x="1088" y="1804"/>
                  <a:pt x="1088" y="1804"/>
                  <a:pt x="1088" y="1804"/>
                </a:cubicBezTo>
                <a:cubicBezTo>
                  <a:pt x="1086" y="1806"/>
                  <a:pt x="1085" y="1807"/>
                  <a:pt x="1082" y="1808"/>
                </a:cubicBezTo>
                <a:cubicBezTo>
                  <a:pt x="1081" y="1809"/>
                  <a:pt x="1079" y="1810"/>
                  <a:pt x="1077" y="1811"/>
                </a:cubicBezTo>
                <a:cubicBezTo>
                  <a:pt x="1076" y="1812"/>
                  <a:pt x="1074" y="1813"/>
                  <a:pt x="1072" y="1814"/>
                </a:cubicBezTo>
                <a:cubicBezTo>
                  <a:pt x="1070" y="1814"/>
                  <a:pt x="1069" y="1815"/>
                  <a:pt x="1066" y="1815"/>
                </a:cubicBezTo>
                <a:cubicBezTo>
                  <a:pt x="1066" y="1815"/>
                  <a:pt x="1066" y="1815"/>
                  <a:pt x="1066" y="1825"/>
                </a:cubicBezTo>
                <a:cubicBezTo>
                  <a:pt x="1069" y="1824"/>
                  <a:pt x="1072" y="1824"/>
                  <a:pt x="1074" y="1822"/>
                </a:cubicBezTo>
                <a:cubicBezTo>
                  <a:pt x="1077" y="1822"/>
                  <a:pt x="1079" y="1820"/>
                  <a:pt x="1082" y="1819"/>
                </a:cubicBezTo>
                <a:cubicBezTo>
                  <a:pt x="1082" y="1819"/>
                  <a:pt x="1082" y="1819"/>
                  <a:pt x="1082" y="1877"/>
                </a:cubicBezTo>
                <a:cubicBezTo>
                  <a:pt x="1082" y="1877"/>
                  <a:pt x="1082" y="1877"/>
                  <a:pt x="1093" y="1877"/>
                </a:cubicBezTo>
                <a:cubicBezTo>
                  <a:pt x="1093" y="1877"/>
                  <a:pt x="1093" y="1877"/>
                  <a:pt x="1093" y="1804"/>
                </a:cubicBezTo>
                <a:close/>
                <a:moveTo>
                  <a:pt x="1140" y="1804"/>
                </a:moveTo>
                <a:cubicBezTo>
                  <a:pt x="1140" y="1804"/>
                  <a:pt x="1140" y="1804"/>
                  <a:pt x="1140" y="1804"/>
                </a:cubicBezTo>
                <a:cubicBezTo>
                  <a:pt x="1135" y="1804"/>
                  <a:pt x="1135" y="1804"/>
                  <a:pt x="1135" y="1804"/>
                </a:cubicBezTo>
                <a:cubicBezTo>
                  <a:pt x="1134" y="1806"/>
                  <a:pt x="1131" y="1807"/>
                  <a:pt x="1130" y="1808"/>
                </a:cubicBezTo>
                <a:cubicBezTo>
                  <a:pt x="1128" y="1809"/>
                  <a:pt x="1126" y="1810"/>
                  <a:pt x="1124" y="1811"/>
                </a:cubicBezTo>
                <a:cubicBezTo>
                  <a:pt x="1123" y="1812"/>
                  <a:pt x="1120" y="1813"/>
                  <a:pt x="1119" y="1814"/>
                </a:cubicBezTo>
                <a:cubicBezTo>
                  <a:pt x="1117" y="1814"/>
                  <a:pt x="1115" y="1815"/>
                  <a:pt x="1113" y="1815"/>
                </a:cubicBezTo>
                <a:cubicBezTo>
                  <a:pt x="1113" y="1815"/>
                  <a:pt x="1113" y="1815"/>
                  <a:pt x="1113" y="1825"/>
                </a:cubicBezTo>
                <a:cubicBezTo>
                  <a:pt x="1116" y="1824"/>
                  <a:pt x="1119" y="1824"/>
                  <a:pt x="1122" y="1822"/>
                </a:cubicBezTo>
                <a:cubicBezTo>
                  <a:pt x="1124" y="1822"/>
                  <a:pt x="1126" y="1820"/>
                  <a:pt x="1129" y="1819"/>
                </a:cubicBezTo>
                <a:cubicBezTo>
                  <a:pt x="1129" y="1819"/>
                  <a:pt x="1129" y="1819"/>
                  <a:pt x="1129" y="1877"/>
                </a:cubicBezTo>
                <a:cubicBezTo>
                  <a:pt x="1129" y="1877"/>
                  <a:pt x="1129" y="1877"/>
                  <a:pt x="1140" y="1877"/>
                </a:cubicBezTo>
                <a:cubicBezTo>
                  <a:pt x="1140" y="1877"/>
                  <a:pt x="1140" y="1877"/>
                  <a:pt x="1140" y="1804"/>
                </a:cubicBezTo>
                <a:close/>
                <a:moveTo>
                  <a:pt x="1186" y="1804"/>
                </a:moveTo>
                <a:cubicBezTo>
                  <a:pt x="1186" y="1804"/>
                  <a:pt x="1186" y="1804"/>
                  <a:pt x="1186" y="1804"/>
                </a:cubicBezTo>
                <a:cubicBezTo>
                  <a:pt x="1182" y="1804"/>
                  <a:pt x="1182" y="1804"/>
                  <a:pt x="1182" y="1804"/>
                </a:cubicBezTo>
                <a:cubicBezTo>
                  <a:pt x="1179" y="1806"/>
                  <a:pt x="1178" y="1807"/>
                  <a:pt x="1176" y="1808"/>
                </a:cubicBezTo>
                <a:cubicBezTo>
                  <a:pt x="1174" y="1809"/>
                  <a:pt x="1172" y="1810"/>
                  <a:pt x="1171" y="1811"/>
                </a:cubicBezTo>
                <a:cubicBezTo>
                  <a:pt x="1169" y="1811"/>
                  <a:pt x="1167" y="1812"/>
                  <a:pt x="1165" y="1813"/>
                </a:cubicBezTo>
                <a:cubicBezTo>
                  <a:pt x="1164" y="1814"/>
                  <a:pt x="1161" y="1814"/>
                  <a:pt x="1160" y="1815"/>
                </a:cubicBezTo>
                <a:cubicBezTo>
                  <a:pt x="1160" y="1815"/>
                  <a:pt x="1160" y="1815"/>
                  <a:pt x="1160" y="1825"/>
                </a:cubicBezTo>
                <a:cubicBezTo>
                  <a:pt x="1163" y="1824"/>
                  <a:pt x="1166" y="1823"/>
                  <a:pt x="1168" y="1822"/>
                </a:cubicBezTo>
                <a:cubicBezTo>
                  <a:pt x="1170" y="1822"/>
                  <a:pt x="1173" y="1820"/>
                  <a:pt x="1174" y="1819"/>
                </a:cubicBezTo>
                <a:cubicBezTo>
                  <a:pt x="1174" y="1819"/>
                  <a:pt x="1174" y="1819"/>
                  <a:pt x="1174" y="1877"/>
                </a:cubicBezTo>
                <a:cubicBezTo>
                  <a:pt x="1174" y="1877"/>
                  <a:pt x="1174" y="1877"/>
                  <a:pt x="1186" y="1877"/>
                </a:cubicBezTo>
                <a:cubicBezTo>
                  <a:pt x="1186" y="1877"/>
                  <a:pt x="1186" y="1877"/>
                  <a:pt x="1186" y="1804"/>
                </a:cubicBezTo>
                <a:close/>
                <a:moveTo>
                  <a:pt x="1323" y="1836"/>
                </a:moveTo>
                <a:cubicBezTo>
                  <a:pt x="1323" y="1836"/>
                  <a:pt x="1323" y="1836"/>
                  <a:pt x="1323" y="1836"/>
                </a:cubicBezTo>
                <a:cubicBezTo>
                  <a:pt x="1322" y="1844"/>
                  <a:pt x="1322" y="1844"/>
                  <a:pt x="1322" y="1844"/>
                </a:cubicBezTo>
                <a:cubicBezTo>
                  <a:pt x="1329" y="1845"/>
                  <a:pt x="1329" y="1848"/>
                  <a:pt x="1329" y="1850"/>
                </a:cubicBezTo>
                <a:cubicBezTo>
                  <a:pt x="1329" y="1853"/>
                  <a:pt x="1329" y="1855"/>
                  <a:pt x="1329" y="1857"/>
                </a:cubicBezTo>
                <a:cubicBezTo>
                  <a:pt x="1329" y="1860"/>
                  <a:pt x="1328" y="1862"/>
                  <a:pt x="1328" y="1865"/>
                </a:cubicBezTo>
                <a:cubicBezTo>
                  <a:pt x="1328" y="1874"/>
                  <a:pt x="1334" y="1877"/>
                  <a:pt x="1343" y="1877"/>
                </a:cubicBezTo>
                <a:cubicBezTo>
                  <a:pt x="1343" y="1877"/>
                  <a:pt x="1343" y="1877"/>
                  <a:pt x="1347" y="1877"/>
                </a:cubicBezTo>
                <a:cubicBezTo>
                  <a:pt x="1347" y="1877"/>
                  <a:pt x="1347" y="1877"/>
                  <a:pt x="1347" y="1868"/>
                </a:cubicBezTo>
                <a:cubicBezTo>
                  <a:pt x="1347" y="1868"/>
                  <a:pt x="1347" y="1868"/>
                  <a:pt x="1345" y="1868"/>
                </a:cubicBezTo>
                <a:cubicBezTo>
                  <a:pt x="1341" y="1868"/>
                  <a:pt x="1340" y="1866"/>
                  <a:pt x="1340" y="1862"/>
                </a:cubicBezTo>
                <a:cubicBezTo>
                  <a:pt x="1340" y="1861"/>
                  <a:pt x="1340" y="1859"/>
                  <a:pt x="1341" y="1857"/>
                </a:cubicBezTo>
                <a:cubicBezTo>
                  <a:pt x="1341" y="1856"/>
                  <a:pt x="1341" y="1854"/>
                  <a:pt x="1341" y="1852"/>
                </a:cubicBezTo>
                <a:cubicBezTo>
                  <a:pt x="1341" y="1844"/>
                  <a:pt x="1338" y="1842"/>
                  <a:pt x="1332" y="1840"/>
                </a:cubicBezTo>
                <a:cubicBezTo>
                  <a:pt x="1332" y="1840"/>
                  <a:pt x="1332" y="1840"/>
                  <a:pt x="1332" y="1840"/>
                </a:cubicBezTo>
                <a:cubicBezTo>
                  <a:pt x="1338" y="1839"/>
                  <a:pt x="1341" y="1837"/>
                  <a:pt x="1341" y="1829"/>
                </a:cubicBezTo>
                <a:cubicBezTo>
                  <a:pt x="1341" y="1827"/>
                  <a:pt x="1341" y="1825"/>
                  <a:pt x="1341" y="1823"/>
                </a:cubicBezTo>
                <a:cubicBezTo>
                  <a:pt x="1340" y="1821"/>
                  <a:pt x="1340" y="1820"/>
                  <a:pt x="1340" y="1818"/>
                </a:cubicBezTo>
                <a:cubicBezTo>
                  <a:pt x="1340" y="1815"/>
                  <a:pt x="1341" y="1813"/>
                  <a:pt x="1345" y="1813"/>
                </a:cubicBezTo>
                <a:cubicBezTo>
                  <a:pt x="1345" y="1813"/>
                  <a:pt x="1345" y="1813"/>
                  <a:pt x="1347" y="1813"/>
                </a:cubicBezTo>
                <a:cubicBezTo>
                  <a:pt x="1347" y="1813"/>
                  <a:pt x="1347" y="1813"/>
                  <a:pt x="1347" y="1803"/>
                </a:cubicBezTo>
                <a:cubicBezTo>
                  <a:pt x="1347" y="1803"/>
                  <a:pt x="1347" y="1803"/>
                  <a:pt x="1343" y="1803"/>
                </a:cubicBezTo>
                <a:cubicBezTo>
                  <a:pt x="1334" y="1803"/>
                  <a:pt x="1328" y="1807"/>
                  <a:pt x="1328" y="1816"/>
                </a:cubicBezTo>
                <a:cubicBezTo>
                  <a:pt x="1328" y="1818"/>
                  <a:pt x="1329" y="1821"/>
                  <a:pt x="1329" y="1823"/>
                </a:cubicBezTo>
                <a:cubicBezTo>
                  <a:pt x="1329" y="1826"/>
                  <a:pt x="1329" y="1828"/>
                  <a:pt x="1329" y="1830"/>
                </a:cubicBezTo>
                <a:cubicBezTo>
                  <a:pt x="1329" y="1833"/>
                  <a:pt x="1329" y="1836"/>
                  <a:pt x="1323" y="1836"/>
                </a:cubicBezTo>
                <a:close/>
                <a:moveTo>
                  <a:pt x="1377" y="1844"/>
                </a:moveTo>
                <a:cubicBezTo>
                  <a:pt x="1377" y="1844"/>
                  <a:pt x="1377" y="1844"/>
                  <a:pt x="1377" y="1844"/>
                </a:cubicBezTo>
                <a:cubicBezTo>
                  <a:pt x="1377" y="1836"/>
                  <a:pt x="1377" y="1836"/>
                  <a:pt x="1377" y="1836"/>
                </a:cubicBezTo>
                <a:cubicBezTo>
                  <a:pt x="1371" y="1836"/>
                  <a:pt x="1371" y="1833"/>
                  <a:pt x="1371" y="1830"/>
                </a:cubicBezTo>
                <a:cubicBezTo>
                  <a:pt x="1371" y="1828"/>
                  <a:pt x="1371" y="1826"/>
                  <a:pt x="1371" y="1823"/>
                </a:cubicBezTo>
                <a:cubicBezTo>
                  <a:pt x="1372" y="1821"/>
                  <a:pt x="1372" y="1818"/>
                  <a:pt x="1372" y="1816"/>
                </a:cubicBezTo>
                <a:cubicBezTo>
                  <a:pt x="1372" y="1807"/>
                  <a:pt x="1366" y="1803"/>
                  <a:pt x="1357" y="1803"/>
                </a:cubicBezTo>
                <a:cubicBezTo>
                  <a:pt x="1357" y="1803"/>
                  <a:pt x="1357" y="1803"/>
                  <a:pt x="1353" y="1803"/>
                </a:cubicBezTo>
                <a:cubicBezTo>
                  <a:pt x="1353" y="1803"/>
                  <a:pt x="1353" y="1803"/>
                  <a:pt x="1353" y="1813"/>
                </a:cubicBezTo>
                <a:cubicBezTo>
                  <a:pt x="1353" y="1813"/>
                  <a:pt x="1353" y="1813"/>
                  <a:pt x="1355" y="1813"/>
                </a:cubicBezTo>
                <a:cubicBezTo>
                  <a:pt x="1359" y="1813"/>
                  <a:pt x="1360" y="1815"/>
                  <a:pt x="1360" y="1818"/>
                </a:cubicBezTo>
                <a:cubicBezTo>
                  <a:pt x="1360" y="1820"/>
                  <a:pt x="1360" y="1821"/>
                  <a:pt x="1360" y="1823"/>
                </a:cubicBezTo>
                <a:cubicBezTo>
                  <a:pt x="1359" y="1825"/>
                  <a:pt x="1359" y="1827"/>
                  <a:pt x="1359" y="1829"/>
                </a:cubicBezTo>
                <a:cubicBezTo>
                  <a:pt x="1359" y="1837"/>
                  <a:pt x="1362" y="1839"/>
                  <a:pt x="1368" y="1840"/>
                </a:cubicBezTo>
                <a:cubicBezTo>
                  <a:pt x="1368" y="1840"/>
                  <a:pt x="1368" y="1840"/>
                  <a:pt x="1368" y="1840"/>
                </a:cubicBezTo>
                <a:cubicBezTo>
                  <a:pt x="1362" y="1842"/>
                  <a:pt x="1359" y="1844"/>
                  <a:pt x="1359" y="1852"/>
                </a:cubicBezTo>
                <a:cubicBezTo>
                  <a:pt x="1359" y="1854"/>
                  <a:pt x="1359" y="1856"/>
                  <a:pt x="1360" y="1857"/>
                </a:cubicBezTo>
                <a:cubicBezTo>
                  <a:pt x="1360" y="1859"/>
                  <a:pt x="1360" y="1861"/>
                  <a:pt x="1360" y="1862"/>
                </a:cubicBezTo>
                <a:cubicBezTo>
                  <a:pt x="1360" y="1866"/>
                  <a:pt x="1359" y="1868"/>
                  <a:pt x="1355" y="1868"/>
                </a:cubicBezTo>
                <a:cubicBezTo>
                  <a:pt x="1355" y="1868"/>
                  <a:pt x="1355" y="1868"/>
                  <a:pt x="1353" y="1868"/>
                </a:cubicBezTo>
                <a:cubicBezTo>
                  <a:pt x="1353" y="1868"/>
                  <a:pt x="1353" y="1868"/>
                  <a:pt x="1353" y="1877"/>
                </a:cubicBezTo>
                <a:cubicBezTo>
                  <a:pt x="1353" y="1877"/>
                  <a:pt x="1353" y="1877"/>
                  <a:pt x="1357" y="1877"/>
                </a:cubicBezTo>
                <a:cubicBezTo>
                  <a:pt x="1366" y="1877"/>
                  <a:pt x="1372" y="1874"/>
                  <a:pt x="1372" y="1865"/>
                </a:cubicBezTo>
                <a:cubicBezTo>
                  <a:pt x="1372" y="1862"/>
                  <a:pt x="1372" y="1860"/>
                  <a:pt x="1371" y="1857"/>
                </a:cubicBezTo>
                <a:cubicBezTo>
                  <a:pt x="1371" y="1855"/>
                  <a:pt x="1371" y="1853"/>
                  <a:pt x="1371" y="1850"/>
                </a:cubicBezTo>
                <a:cubicBezTo>
                  <a:pt x="1371" y="1848"/>
                  <a:pt x="1371" y="1845"/>
                  <a:pt x="1377" y="1844"/>
                </a:cubicBezTo>
                <a:close/>
                <a:moveTo>
                  <a:pt x="1424" y="1804"/>
                </a:moveTo>
                <a:cubicBezTo>
                  <a:pt x="1424" y="1804"/>
                  <a:pt x="1424" y="1804"/>
                  <a:pt x="1424" y="1804"/>
                </a:cubicBezTo>
                <a:cubicBezTo>
                  <a:pt x="1419" y="1804"/>
                  <a:pt x="1419" y="1804"/>
                  <a:pt x="1419" y="1804"/>
                </a:cubicBezTo>
                <a:cubicBezTo>
                  <a:pt x="1417" y="1806"/>
                  <a:pt x="1416" y="1807"/>
                  <a:pt x="1413" y="1808"/>
                </a:cubicBezTo>
                <a:cubicBezTo>
                  <a:pt x="1412" y="1809"/>
                  <a:pt x="1410" y="1810"/>
                  <a:pt x="1408" y="1811"/>
                </a:cubicBezTo>
                <a:cubicBezTo>
                  <a:pt x="1406" y="1811"/>
                  <a:pt x="1405" y="1812"/>
                  <a:pt x="1403" y="1813"/>
                </a:cubicBezTo>
                <a:cubicBezTo>
                  <a:pt x="1401" y="1814"/>
                  <a:pt x="1399" y="1814"/>
                  <a:pt x="1397" y="1815"/>
                </a:cubicBezTo>
                <a:cubicBezTo>
                  <a:pt x="1397" y="1815"/>
                  <a:pt x="1397" y="1815"/>
                  <a:pt x="1397" y="1825"/>
                </a:cubicBezTo>
                <a:cubicBezTo>
                  <a:pt x="1400" y="1824"/>
                  <a:pt x="1403" y="1823"/>
                  <a:pt x="1405" y="1822"/>
                </a:cubicBezTo>
                <a:cubicBezTo>
                  <a:pt x="1408" y="1822"/>
                  <a:pt x="1410" y="1820"/>
                  <a:pt x="1413" y="1819"/>
                </a:cubicBezTo>
                <a:cubicBezTo>
                  <a:pt x="1413" y="1819"/>
                  <a:pt x="1413" y="1819"/>
                  <a:pt x="1413" y="1877"/>
                </a:cubicBezTo>
                <a:cubicBezTo>
                  <a:pt x="1413" y="1877"/>
                  <a:pt x="1413" y="1877"/>
                  <a:pt x="1424" y="1877"/>
                </a:cubicBezTo>
                <a:cubicBezTo>
                  <a:pt x="1424" y="1877"/>
                  <a:pt x="1424" y="1877"/>
                  <a:pt x="1424" y="1804"/>
                </a:cubicBezTo>
                <a:close/>
                <a:moveTo>
                  <a:pt x="1471" y="1804"/>
                </a:moveTo>
                <a:cubicBezTo>
                  <a:pt x="1471" y="1804"/>
                  <a:pt x="1471" y="1804"/>
                  <a:pt x="1471" y="1804"/>
                </a:cubicBezTo>
                <a:cubicBezTo>
                  <a:pt x="1466" y="1804"/>
                  <a:pt x="1466" y="1804"/>
                  <a:pt x="1466" y="1804"/>
                </a:cubicBezTo>
                <a:cubicBezTo>
                  <a:pt x="1463" y="1806"/>
                  <a:pt x="1462" y="1807"/>
                  <a:pt x="1460" y="1808"/>
                </a:cubicBezTo>
                <a:cubicBezTo>
                  <a:pt x="1458" y="1809"/>
                  <a:pt x="1456" y="1810"/>
                  <a:pt x="1455" y="1811"/>
                </a:cubicBezTo>
                <a:cubicBezTo>
                  <a:pt x="1453" y="1812"/>
                  <a:pt x="1451" y="1813"/>
                  <a:pt x="1450" y="1814"/>
                </a:cubicBezTo>
                <a:cubicBezTo>
                  <a:pt x="1448" y="1814"/>
                  <a:pt x="1446" y="1815"/>
                  <a:pt x="1444" y="1815"/>
                </a:cubicBezTo>
                <a:cubicBezTo>
                  <a:pt x="1444" y="1815"/>
                  <a:pt x="1444" y="1815"/>
                  <a:pt x="1444" y="1825"/>
                </a:cubicBezTo>
                <a:cubicBezTo>
                  <a:pt x="1447" y="1824"/>
                  <a:pt x="1450" y="1824"/>
                  <a:pt x="1452" y="1822"/>
                </a:cubicBezTo>
                <a:cubicBezTo>
                  <a:pt x="1455" y="1822"/>
                  <a:pt x="1457" y="1820"/>
                  <a:pt x="1459" y="1819"/>
                </a:cubicBezTo>
                <a:cubicBezTo>
                  <a:pt x="1459" y="1819"/>
                  <a:pt x="1459" y="1819"/>
                  <a:pt x="1459" y="1877"/>
                </a:cubicBezTo>
                <a:cubicBezTo>
                  <a:pt x="1459" y="1877"/>
                  <a:pt x="1459" y="1877"/>
                  <a:pt x="1471" y="1877"/>
                </a:cubicBezTo>
                <a:cubicBezTo>
                  <a:pt x="1471" y="1877"/>
                  <a:pt x="1471" y="1877"/>
                  <a:pt x="1471" y="1804"/>
                </a:cubicBezTo>
                <a:close/>
                <a:moveTo>
                  <a:pt x="1517" y="1804"/>
                </a:moveTo>
                <a:cubicBezTo>
                  <a:pt x="1517" y="1804"/>
                  <a:pt x="1517" y="1804"/>
                  <a:pt x="1517" y="1804"/>
                </a:cubicBezTo>
                <a:cubicBezTo>
                  <a:pt x="1512" y="1804"/>
                  <a:pt x="1512" y="1804"/>
                  <a:pt x="1512" y="1804"/>
                </a:cubicBezTo>
                <a:cubicBezTo>
                  <a:pt x="1510" y="1806"/>
                  <a:pt x="1509" y="1807"/>
                  <a:pt x="1507" y="1808"/>
                </a:cubicBezTo>
                <a:cubicBezTo>
                  <a:pt x="1505" y="1809"/>
                  <a:pt x="1503" y="1810"/>
                  <a:pt x="1502" y="1811"/>
                </a:cubicBezTo>
                <a:cubicBezTo>
                  <a:pt x="1499" y="1812"/>
                  <a:pt x="1498" y="1813"/>
                  <a:pt x="1496" y="1814"/>
                </a:cubicBezTo>
                <a:cubicBezTo>
                  <a:pt x="1494" y="1814"/>
                  <a:pt x="1492" y="1815"/>
                  <a:pt x="1491" y="1815"/>
                </a:cubicBezTo>
                <a:cubicBezTo>
                  <a:pt x="1491" y="1815"/>
                  <a:pt x="1491" y="1815"/>
                  <a:pt x="1491" y="1825"/>
                </a:cubicBezTo>
                <a:cubicBezTo>
                  <a:pt x="1494" y="1824"/>
                  <a:pt x="1496" y="1824"/>
                  <a:pt x="1499" y="1822"/>
                </a:cubicBezTo>
                <a:cubicBezTo>
                  <a:pt x="1501" y="1822"/>
                  <a:pt x="1504" y="1820"/>
                  <a:pt x="1505" y="1819"/>
                </a:cubicBezTo>
                <a:cubicBezTo>
                  <a:pt x="1505" y="1819"/>
                  <a:pt x="1505" y="1819"/>
                  <a:pt x="1505" y="1877"/>
                </a:cubicBezTo>
                <a:cubicBezTo>
                  <a:pt x="1505" y="1877"/>
                  <a:pt x="1505" y="1877"/>
                  <a:pt x="1517" y="1877"/>
                </a:cubicBezTo>
                <a:cubicBezTo>
                  <a:pt x="1517" y="1877"/>
                  <a:pt x="1517" y="1877"/>
                  <a:pt x="1517" y="1804"/>
                </a:cubicBezTo>
                <a:close/>
                <a:moveTo>
                  <a:pt x="1266" y="1851"/>
                </a:moveTo>
                <a:cubicBezTo>
                  <a:pt x="1266" y="1853"/>
                  <a:pt x="1267" y="1854"/>
                  <a:pt x="1268" y="1856"/>
                </a:cubicBezTo>
                <a:cubicBezTo>
                  <a:pt x="1268" y="1857"/>
                  <a:pt x="1268" y="1859"/>
                  <a:pt x="1269" y="1861"/>
                </a:cubicBezTo>
                <a:cubicBezTo>
                  <a:pt x="1269" y="1862"/>
                  <a:pt x="1269" y="1864"/>
                  <a:pt x="1269" y="1865"/>
                </a:cubicBezTo>
                <a:cubicBezTo>
                  <a:pt x="1270" y="1869"/>
                  <a:pt x="1269" y="1870"/>
                  <a:pt x="1266" y="1870"/>
                </a:cubicBezTo>
                <a:cubicBezTo>
                  <a:pt x="1263" y="1870"/>
                  <a:pt x="1260" y="1870"/>
                  <a:pt x="1257" y="1870"/>
                </a:cubicBezTo>
                <a:cubicBezTo>
                  <a:pt x="1257" y="1870"/>
                  <a:pt x="1256" y="1870"/>
                  <a:pt x="1256" y="1870"/>
                </a:cubicBezTo>
                <a:cubicBezTo>
                  <a:pt x="1254" y="1872"/>
                  <a:pt x="1253" y="1873"/>
                  <a:pt x="1252" y="1874"/>
                </a:cubicBezTo>
                <a:cubicBezTo>
                  <a:pt x="1250" y="1877"/>
                  <a:pt x="1246" y="1877"/>
                  <a:pt x="1244" y="1875"/>
                </a:cubicBezTo>
                <a:cubicBezTo>
                  <a:pt x="1242" y="1873"/>
                  <a:pt x="1241" y="1870"/>
                  <a:pt x="1239" y="1868"/>
                </a:cubicBezTo>
                <a:cubicBezTo>
                  <a:pt x="1239" y="1866"/>
                  <a:pt x="1239" y="1865"/>
                  <a:pt x="1241" y="1863"/>
                </a:cubicBezTo>
                <a:cubicBezTo>
                  <a:pt x="1239" y="1863"/>
                  <a:pt x="1237" y="1863"/>
                  <a:pt x="1236" y="1863"/>
                </a:cubicBezTo>
                <a:cubicBezTo>
                  <a:pt x="1235" y="1865"/>
                  <a:pt x="1234" y="1867"/>
                  <a:pt x="1233" y="1869"/>
                </a:cubicBezTo>
                <a:cubicBezTo>
                  <a:pt x="1233" y="1870"/>
                  <a:pt x="1232" y="1870"/>
                  <a:pt x="1232" y="1871"/>
                </a:cubicBezTo>
                <a:cubicBezTo>
                  <a:pt x="1232" y="1874"/>
                  <a:pt x="1231" y="1876"/>
                  <a:pt x="1228" y="1875"/>
                </a:cubicBezTo>
                <a:cubicBezTo>
                  <a:pt x="1225" y="1875"/>
                  <a:pt x="1222" y="1874"/>
                  <a:pt x="1219" y="1873"/>
                </a:cubicBezTo>
                <a:cubicBezTo>
                  <a:pt x="1217" y="1872"/>
                  <a:pt x="1217" y="1871"/>
                  <a:pt x="1217" y="1869"/>
                </a:cubicBezTo>
                <a:cubicBezTo>
                  <a:pt x="1217" y="1868"/>
                  <a:pt x="1217" y="1867"/>
                  <a:pt x="1218" y="1867"/>
                </a:cubicBezTo>
                <a:cubicBezTo>
                  <a:pt x="1216" y="1866"/>
                  <a:pt x="1213" y="1865"/>
                  <a:pt x="1211" y="1864"/>
                </a:cubicBezTo>
                <a:cubicBezTo>
                  <a:pt x="1210" y="1863"/>
                  <a:pt x="1209" y="1861"/>
                  <a:pt x="1208" y="1859"/>
                </a:cubicBezTo>
                <a:cubicBezTo>
                  <a:pt x="1207" y="1857"/>
                  <a:pt x="1207" y="1856"/>
                  <a:pt x="1209" y="1854"/>
                </a:cubicBezTo>
                <a:cubicBezTo>
                  <a:pt x="1212" y="1852"/>
                  <a:pt x="1213" y="1849"/>
                  <a:pt x="1212" y="1845"/>
                </a:cubicBezTo>
                <a:cubicBezTo>
                  <a:pt x="1212" y="1843"/>
                  <a:pt x="1212" y="1841"/>
                  <a:pt x="1212" y="1839"/>
                </a:cubicBezTo>
                <a:cubicBezTo>
                  <a:pt x="1211" y="1839"/>
                  <a:pt x="1209" y="1838"/>
                  <a:pt x="1208" y="1837"/>
                </a:cubicBezTo>
                <a:cubicBezTo>
                  <a:pt x="1207" y="1835"/>
                  <a:pt x="1206" y="1833"/>
                  <a:pt x="1206" y="1832"/>
                </a:cubicBezTo>
                <a:cubicBezTo>
                  <a:pt x="1206" y="1829"/>
                  <a:pt x="1210" y="1826"/>
                  <a:pt x="1212" y="1825"/>
                </a:cubicBezTo>
                <a:cubicBezTo>
                  <a:pt x="1213" y="1826"/>
                  <a:pt x="1213" y="1827"/>
                  <a:pt x="1213" y="1828"/>
                </a:cubicBezTo>
                <a:cubicBezTo>
                  <a:pt x="1213" y="1829"/>
                  <a:pt x="1213" y="1830"/>
                  <a:pt x="1214" y="1831"/>
                </a:cubicBezTo>
                <a:cubicBezTo>
                  <a:pt x="1213" y="1830"/>
                  <a:pt x="1212" y="1830"/>
                  <a:pt x="1212" y="1830"/>
                </a:cubicBezTo>
                <a:cubicBezTo>
                  <a:pt x="1212" y="1832"/>
                  <a:pt x="1211" y="1833"/>
                  <a:pt x="1210" y="1835"/>
                </a:cubicBezTo>
                <a:cubicBezTo>
                  <a:pt x="1212" y="1834"/>
                  <a:pt x="1212" y="1834"/>
                  <a:pt x="1213" y="1834"/>
                </a:cubicBezTo>
                <a:cubicBezTo>
                  <a:pt x="1214" y="1833"/>
                  <a:pt x="1215" y="1832"/>
                  <a:pt x="1216" y="1831"/>
                </a:cubicBezTo>
                <a:cubicBezTo>
                  <a:pt x="1220" y="1824"/>
                  <a:pt x="1226" y="1820"/>
                  <a:pt x="1234" y="1819"/>
                </a:cubicBezTo>
                <a:cubicBezTo>
                  <a:pt x="1237" y="1818"/>
                  <a:pt x="1240" y="1817"/>
                  <a:pt x="1242" y="1814"/>
                </a:cubicBezTo>
                <a:cubicBezTo>
                  <a:pt x="1242" y="1814"/>
                  <a:pt x="1243" y="1813"/>
                  <a:pt x="1243" y="1813"/>
                </a:cubicBezTo>
                <a:cubicBezTo>
                  <a:pt x="1246" y="1813"/>
                  <a:pt x="1248" y="1811"/>
                  <a:pt x="1250" y="1809"/>
                </a:cubicBezTo>
                <a:cubicBezTo>
                  <a:pt x="1257" y="1801"/>
                  <a:pt x="1269" y="1801"/>
                  <a:pt x="1277" y="1808"/>
                </a:cubicBezTo>
                <a:cubicBezTo>
                  <a:pt x="1279" y="1809"/>
                  <a:pt x="1282" y="1811"/>
                  <a:pt x="1284" y="1813"/>
                </a:cubicBezTo>
                <a:cubicBezTo>
                  <a:pt x="1286" y="1815"/>
                  <a:pt x="1287" y="1816"/>
                  <a:pt x="1288" y="1818"/>
                </a:cubicBezTo>
                <a:cubicBezTo>
                  <a:pt x="1289" y="1820"/>
                  <a:pt x="1290" y="1820"/>
                  <a:pt x="1291" y="1819"/>
                </a:cubicBezTo>
                <a:cubicBezTo>
                  <a:pt x="1292" y="1818"/>
                  <a:pt x="1292" y="1817"/>
                  <a:pt x="1293" y="1817"/>
                </a:cubicBezTo>
                <a:cubicBezTo>
                  <a:pt x="1295" y="1814"/>
                  <a:pt x="1298" y="1814"/>
                  <a:pt x="1299" y="1817"/>
                </a:cubicBezTo>
                <a:cubicBezTo>
                  <a:pt x="1301" y="1820"/>
                  <a:pt x="1301" y="1823"/>
                  <a:pt x="1302" y="1826"/>
                </a:cubicBezTo>
                <a:cubicBezTo>
                  <a:pt x="1303" y="1830"/>
                  <a:pt x="1302" y="1835"/>
                  <a:pt x="1301" y="1839"/>
                </a:cubicBezTo>
                <a:cubicBezTo>
                  <a:pt x="1298" y="1845"/>
                  <a:pt x="1294" y="1849"/>
                  <a:pt x="1287" y="1849"/>
                </a:cubicBezTo>
                <a:cubicBezTo>
                  <a:pt x="1286" y="1849"/>
                  <a:pt x="1286" y="1849"/>
                  <a:pt x="1285" y="1849"/>
                </a:cubicBezTo>
                <a:cubicBezTo>
                  <a:pt x="1283" y="1848"/>
                  <a:pt x="1281" y="1849"/>
                  <a:pt x="1281" y="1851"/>
                </a:cubicBezTo>
                <a:cubicBezTo>
                  <a:pt x="1279" y="1856"/>
                  <a:pt x="1274" y="1857"/>
                  <a:pt x="1270" y="1854"/>
                </a:cubicBezTo>
                <a:cubicBezTo>
                  <a:pt x="1269" y="1853"/>
                  <a:pt x="1268" y="1852"/>
                  <a:pt x="1267" y="1851"/>
                </a:cubicBezTo>
                <a:cubicBezTo>
                  <a:pt x="1266" y="1851"/>
                  <a:pt x="1266" y="1851"/>
                  <a:pt x="1266" y="1851"/>
                </a:cubicBezTo>
                <a:close/>
                <a:moveTo>
                  <a:pt x="1261" y="1847"/>
                </a:moveTo>
                <a:cubicBezTo>
                  <a:pt x="1264" y="1848"/>
                  <a:pt x="1268" y="1850"/>
                  <a:pt x="1270" y="1852"/>
                </a:cubicBezTo>
                <a:cubicBezTo>
                  <a:pt x="1272" y="1854"/>
                  <a:pt x="1274" y="1855"/>
                  <a:pt x="1276" y="1854"/>
                </a:cubicBezTo>
                <a:cubicBezTo>
                  <a:pt x="1279" y="1853"/>
                  <a:pt x="1280" y="1851"/>
                  <a:pt x="1280" y="1848"/>
                </a:cubicBezTo>
                <a:cubicBezTo>
                  <a:pt x="1280" y="1848"/>
                  <a:pt x="1279" y="1848"/>
                  <a:pt x="1279" y="1849"/>
                </a:cubicBezTo>
                <a:cubicBezTo>
                  <a:pt x="1279" y="1850"/>
                  <a:pt x="1277" y="1851"/>
                  <a:pt x="1277" y="1852"/>
                </a:cubicBezTo>
                <a:cubicBezTo>
                  <a:pt x="1276" y="1854"/>
                  <a:pt x="1274" y="1853"/>
                  <a:pt x="1274" y="1853"/>
                </a:cubicBezTo>
                <a:cubicBezTo>
                  <a:pt x="1273" y="1853"/>
                  <a:pt x="1272" y="1852"/>
                  <a:pt x="1272" y="1851"/>
                </a:cubicBezTo>
                <a:cubicBezTo>
                  <a:pt x="1272" y="1848"/>
                  <a:pt x="1273" y="1846"/>
                  <a:pt x="1273" y="1845"/>
                </a:cubicBezTo>
                <a:cubicBezTo>
                  <a:pt x="1276" y="1845"/>
                  <a:pt x="1279" y="1846"/>
                  <a:pt x="1283" y="1847"/>
                </a:cubicBezTo>
                <a:cubicBezTo>
                  <a:pt x="1290" y="1848"/>
                  <a:pt x="1296" y="1846"/>
                  <a:pt x="1299" y="1838"/>
                </a:cubicBezTo>
                <a:cubicBezTo>
                  <a:pt x="1301" y="1833"/>
                  <a:pt x="1301" y="1828"/>
                  <a:pt x="1300" y="1823"/>
                </a:cubicBezTo>
                <a:cubicBezTo>
                  <a:pt x="1299" y="1821"/>
                  <a:pt x="1299" y="1820"/>
                  <a:pt x="1298" y="1818"/>
                </a:cubicBezTo>
                <a:cubicBezTo>
                  <a:pt x="1297" y="1816"/>
                  <a:pt x="1296" y="1816"/>
                  <a:pt x="1295" y="1817"/>
                </a:cubicBezTo>
                <a:cubicBezTo>
                  <a:pt x="1293" y="1819"/>
                  <a:pt x="1292" y="1821"/>
                  <a:pt x="1290" y="1821"/>
                </a:cubicBezTo>
                <a:cubicBezTo>
                  <a:pt x="1289" y="1822"/>
                  <a:pt x="1288" y="1822"/>
                  <a:pt x="1288" y="1824"/>
                </a:cubicBezTo>
                <a:cubicBezTo>
                  <a:pt x="1289" y="1827"/>
                  <a:pt x="1288" y="1830"/>
                  <a:pt x="1287" y="1833"/>
                </a:cubicBezTo>
                <a:cubicBezTo>
                  <a:pt x="1287" y="1831"/>
                  <a:pt x="1288" y="1829"/>
                  <a:pt x="1288" y="1828"/>
                </a:cubicBezTo>
                <a:cubicBezTo>
                  <a:pt x="1288" y="1827"/>
                  <a:pt x="1287" y="1826"/>
                  <a:pt x="1287" y="1826"/>
                </a:cubicBezTo>
                <a:cubicBezTo>
                  <a:pt x="1286" y="1826"/>
                  <a:pt x="1286" y="1826"/>
                  <a:pt x="1286" y="1827"/>
                </a:cubicBezTo>
                <a:cubicBezTo>
                  <a:pt x="1285" y="1828"/>
                  <a:pt x="1284" y="1830"/>
                  <a:pt x="1283" y="1831"/>
                </a:cubicBezTo>
                <a:cubicBezTo>
                  <a:pt x="1283" y="1831"/>
                  <a:pt x="1283" y="1831"/>
                  <a:pt x="1283" y="1831"/>
                </a:cubicBezTo>
                <a:cubicBezTo>
                  <a:pt x="1283" y="1829"/>
                  <a:pt x="1284" y="1828"/>
                  <a:pt x="1284" y="1825"/>
                </a:cubicBezTo>
                <a:cubicBezTo>
                  <a:pt x="1283" y="1826"/>
                  <a:pt x="1283" y="1826"/>
                  <a:pt x="1282" y="1827"/>
                </a:cubicBezTo>
                <a:cubicBezTo>
                  <a:pt x="1281" y="1828"/>
                  <a:pt x="1281" y="1828"/>
                  <a:pt x="1281" y="1829"/>
                </a:cubicBezTo>
                <a:cubicBezTo>
                  <a:pt x="1281" y="1826"/>
                  <a:pt x="1281" y="1826"/>
                  <a:pt x="1287" y="1824"/>
                </a:cubicBezTo>
                <a:cubicBezTo>
                  <a:pt x="1287" y="1824"/>
                  <a:pt x="1286" y="1823"/>
                  <a:pt x="1286" y="1823"/>
                </a:cubicBezTo>
                <a:cubicBezTo>
                  <a:pt x="1283" y="1824"/>
                  <a:pt x="1283" y="1822"/>
                  <a:pt x="1282" y="1820"/>
                </a:cubicBezTo>
                <a:cubicBezTo>
                  <a:pt x="1284" y="1820"/>
                  <a:pt x="1285" y="1819"/>
                  <a:pt x="1287" y="1819"/>
                </a:cubicBezTo>
                <a:cubicBezTo>
                  <a:pt x="1285" y="1817"/>
                  <a:pt x="1284" y="1814"/>
                  <a:pt x="1281" y="1813"/>
                </a:cubicBezTo>
                <a:cubicBezTo>
                  <a:pt x="1280" y="1813"/>
                  <a:pt x="1280" y="1813"/>
                  <a:pt x="1280" y="1813"/>
                </a:cubicBezTo>
                <a:cubicBezTo>
                  <a:pt x="1277" y="1811"/>
                  <a:pt x="1275" y="1808"/>
                  <a:pt x="1272" y="1806"/>
                </a:cubicBezTo>
                <a:cubicBezTo>
                  <a:pt x="1270" y="1805"/>
                  <a:pt x="1267" y="1804"/>
                  <a:pt x="1265" y="1804"/>
                </a:cubicBezTo>
                <a:cubicBezTo>
                  <a:pt x="1262" y="1805"/>
                  <a:pt x="1259" y="1806"/>
                  <a:pt x="1256" y="1807"/>
                </a:cubicBezTo>
                <a:cubicBezTo>
                  <a:pt x="1253" y="1808"/>
                  <a:pt x="1250" y="1809"/>
                  <a:pt x="1248" y="1813"/>
                </a:cubicBezTo>
                <a:cubicBezTo>
                  <a:pt x="1250" y="1813"/>
                  <a:pt x="1251" y="1813"/>
                  <a:pt x="1252" y="1813"/>
                </a:cubicBezTo>
                <a:cubicBezTo>
                  <a:pt x="1252" y="1813"/>
                  <a:pt x="1251" y="1813"/>
                  <a:pt x="1250" y="1813"/>
                </a:cubicBezTo>
                <a:cubicBezTo>
                  <a:pt x="1248" y="1814"/>
                  <a:pt x="1245" y="1813"/>
                  <a:pt x="1243" y="1816"/>
                </a:cubicBezTo>
                <a:cubicBezTo>
                  <a:pt x="1240" y="1820"/>
                  <a:pt x="1236" y="1823"/>
                  <a:pt x="1232" y="1828"/>
                </a:cubicBezTo>
                <a:cubicBezTo>
                  <a:pt x="1231" y="1830"/>
                  <a:pt x="1230" y="1832"/>
                  <a:pt x="1229" y="1834"/>
                </a:cubicBezTo>
                <a:cubicBezTo>
                  <a:pt x="1229" y="1835"/>
                  <a:pt x="1229" y="1835"/>
                  <a:pt x="1229" y="1836"/>
                </a:cubicBezTo>
                <a:cubicBezTo>
                  <a:pt x="1230" y="1838"/>
                  <a:pt x="1232" y="1840"/>
                  <a:pt x="1233" y="1842"/>
                </a:cubicBezTo>
                <a:cubicBezTo>
                  <a:pt x="1234" y="1840"/>
                  <a:pt x="1236" y="1839"/>
                  <a:pt x="1237" y="1837"/>
                </a:cubicBezTo>
                <a:cubicBezTo>
                  <a:pt x="1236" y="1839"/>
                  <a:pt x="1236" y="1840"/>
                  <a:pt x="1235" y="1841"/>
                </a:cubicBezTo>
                <a:cubicBezTo>
                  <a:pt x="1234" y="1843"/>
                  <a:pt x="1234" y="1844"/>
                  <a:pt x="1233" y="1845"/>
                </a:cubicBezTo>
                <a:cubicBezTo>
                  <a:pt x="1233" y="1846"/>
                  <a:pt x="1233" y="1847"/>
                  <a:pt x="1234" y="1848"/>
                </a:cubicBezTo>
                <a:cubicBezTo>
                  <a:pt x="1236" y="1852"/>
                  <a:pt x="1239" y="1852"/>
                  <a:pt x="1243" y="1850"/>
                </a:cubicBezTo>
                <a:cubicBezTo>
                  <a:pt x="1245" y="1848"/>
                  <a:pt x="1248" y="1847"/>
                  <a:pt x="1251" y="1846"/>
                </a:cubicBezTo>
                <a:cubicBezTo>
                  <a:pt x="1252" y="1846"/>
                  <a:pt x="1254" y="1845"/>
                  <a:pt x="1254" y="1843"/>
                </a:cubicBezTo>
                <a:cubicBezTo>
                  <a:pt x="1254" y="1840"/>
                  <a:pt x="1254" y="1837"/>
                  <a:pt x="1254" y="1833"/>
                </a:cubicBezTo>
                <a:cubicBezTo>
                  <a:pt x="1254" y="1830"/>
                  <a:pt x="1254" y="1828"/>
                  <a:pt x="1254" y="1824"/>
                </a:cubicBezTo>
                <a:cubicBezTo>
                  <a:pt x="1254" y="1827"/>
                  <a:pt x="1255" y="1830"/>
                  <a:pt x="1255" y="1832"/>
                </a:cubicBezTo>
                <a:cubicBezTo>
                  <a:pt x="1256" y="1837"/>
                  <a:pt x="1256" y="1841"/>
                  <a:pt x="1255" y="1846"/>
                </a:cubicBezTo>
                <a:cubicBezTo>
                  <a:pt x="1254" y="1846"/>
                  <a:pt x="1254" y="1847"/>
                  <a:pt x="1253" y="1847"/>
                </a:cubicBezTo>
                <a:cubicBezTo>
                  <a:pt x="1250" y="1848"/>
                  <a:pt x="1246" y="1850"/>
                  <a:pt x="1243" y="1851"/>
                </a:cubicBezTo>
                <a:cubicBezTo>
                  <a:pt x="1238" y="1854"/>
                  <a:pt x="1235" y="1852"/>
                  <a:pt x="1231" y="1848"/>
                </a:cubicBezTo>
                <a:cubicBezTo>
                  <a:pt x="1231" y="1848"/>
                  <a:pt x="1231" y="1847"/>
                  <a:pt x="1231" y="1846"/>
                </a:cubicBezTo>
                <a:cubicBezTo>
                  <a:pt x="1232" y="1844"/>
                  <a:pt x="1231" y="1842"/>
                  <a:pt x="1230" y="1840"/>
                </a:cubicBezTo>
                <a:cubicBezTo>
                  <a:pt x="1228" y="1838"/>
                  <a:pt x="1226" y="1836"/>
                  <a:pt x="1228" y="1833"/>
                </a:cubicBezTo>
                <a:cubicBezTo>
                  <a:pt x="1228" y="1831"/>
                  <a:pt x="1229" y="1830"/>
                  <a:pt x="1230" y="1828"/>
                </a:cubicBezTo>
                <a:cubicBezTo>
                  <a:pt x="1232" y="1825"/>
                  <a:pt x="1234" y="1823"/>
                  <a:pt x="1236" y="1820"/>
                </a:cubicBezTo>
                <a:cubicBezTo>
                  <a:pt x="1236" y="1820"/>
                  <a:pt x="1235" y="1820"/>
                  <a:pt x="1235" y="1820"/>
                </a:cubicBezTo>
                <a:cubicBezTo>
                  <a:pt x="1230" y="1821"/>
                  <a:pt x="1226" y="1823"/>
                  <a:pt x="1222" y="1826"/>
                </a:cubicBezTo>
                <a:cubicBezTo>
                  <a:pt x="1217" y="1830"/>
                  <a:pt x="1214" y="1835"/>
                  <a:pt x="1214" y="1842"/>
                </a:cubicBezTo>
                <a:cubicBezTo>
                  <a:pt x="1214" y="1849"/>
                  <a:pt x="1216" y="1855"/>
                  <a:pt x="1219" y="1861"/>
                </a:cubicBezTo>
                <a:cubicBezTo>
                  <a:pt x="1220" y="1861"/>
                  <a:pt x="1221" y="1863"/>
                  <a:pt x="1220" y="1864"/>
                </a:cubicBezTo>
                <a:cubicBezTo>
                  <a:pt x="1220" y="1866"/>
                  <a:pt x="1220" y="1867"/>
                  <a:pt x="1219" y="1869"/>
                </a:cubicBezTo>
                <a:cubicBezTo>
                  <a:pt x="1219" y="1870"/>
                  <a:pt x="1219" y="1871"/>
                  <a:pt x="1220" y="1872"/>
                </a:cubicBezTo>
                <a:cubicBezTo>
                  <a:pt x="1223" y="1872"/>
                  <a:pt x="1226" y="1873"/>
                  <a:pt x="1229" y="1873"/>
                </a:cubicBezTo>
                <a:cubicBezTo>
                  <a:pt x="1230" y="1873"/>
                  <a:pt x="1230" y="1872"/>
                  <a:pt x="1230" y="1872"/>
                </a:cubicBezTo>
                <a:cubicBezTo>
                  <a:pt x="1231" y="1871"/>
                  <a:pt x="1231" y="1869"/>
                  <a:pt x="1232" y="1869"/>
                </a:cubicBezTo>
                <a:cubicBezTo>
                  <a:pt x="1234" y="1866"/>
                  <a:pt x="1234" y="1863"/>
                  <a:pt x="1234" y="1861"/>
                </a:cubicBezTo>
                <a:cubicBezTo>
                  <a:pt x="1234" y="1860"/>
                  <a:pt x="1234" y="1860"/>
                  <a:pt x="1234" y="1859"/>
                </a:cubicBezTo>
                <a:cubicBezTo>
                  <a:pt x="1234" y="1859"/>
                  <a:pt x="1234" y="1859"/>
                  <a:pt x="1234" y="1859"/>
                </a:cubicBezTo>
                <a:cubicBezTo>
                  <a:pt x="1234" y="1861"/>
                  <a:pt x="1236" y="1861"/>
                  <a:pt x="1237" y="1861"/>
                </a:cubicBezTo>
                <a:cubicBezTo>
                  <a:pt x="1238" y="1861"/>
                  <a:pt x="1239" y="1861"/>
                  <a:pt x="1240" y="1861"/>
                </a:cubicBezTo>
                <a:cubicBezTo>
                  <a:pt x="1243" y="1861"/>
                  <a:pt x="1246" y="1862"/>
                  <a:pt x="1246" y="1858"/>
                </a:cubicBezTo>
                <a:cubicBezTo>
                  <a:pt x="1246" y="1860"/>
                  <a:pt x="1246" y="1862"/>
                  <a:pt x="1246" y="1863"/>
                </a:cubicBezTo>
                <a:cubicBezTo>
                  <a:pt x="1245" y="1863"/>
                  <a:pt x="1244" y="1864"/>
                  <a:pt x="1243" y="1865"/>
                </a:cubicBezTo>
                <a:cubicBezTo>
                  <a:pt x="1241" y="1865"/>
                  <a:pt x="1241" y="1867"/>
                  <a:pt x="1241" y="1868"/>
                </a:cubicBezTo>
                <a:cubicBezTo>
                  <a:pt x="1243" y="1870"/>
                  <a:pt x="1244" y="1872"/>
                  <a:pt x="1245" y="1874"/>
                </a:cubicBezTo>
                <a:cubicBezTo>
                  <a:pt x="1247" y="1875"/>
                  <a:pt x="1249" y="1875"/>
                  <a:pt x="1250" y="1873"/>
                </a:cubicBezTo>
                <a:cubicBezTo>
                  <a:pt x="1251" y="1872"/>
                  <a:pt x="1252" y="1872"/>
                  <a:pt x="1252" y="1871"/>
                </a:cubicBezTo>
                <a:cubicBezTo>
                  <a:pt x="1254" y="1870"/>
                  <a:pt x="1256" y="1869"/>
                  <a:pt x="1257" y="1867"/>
                </a:cubicBezTo>
                <a:cubicBezTo>
                  <a:pt x="1261" y="1863"/>
                  <a:pt x="1263" y="1857"/>
                  <a:pt x="1265" y="1851"/>
                </a:cubicBezTo>
                <a:cubicBezTo>
                  <a:pt x="1265" y="1851"/>
                  <a:pt x="1264" y="1850"/>
                  <a:pt x="1264" y="1850"/>
                </a:cubicBezTo>
                <a:cubicBezTo>
                  <a:pt x="1263" y="1848"/>
                  <a:pt x="1262" y="1848"/>
                  <a:pt x="1261" y="1847"/>
                </a:cubicBezTo>
                <a:close/>
                <a:moveTo>
                  <a:pt x="1214" y="1853"/>
                </a:moveTo>
                <a:cubicBezTo>
                  <a:pt x="1213" y="1854"/>
                  <a:pt x="1211" y="1855"/>
                  <a:pt x="1210" y="1856"/>
                </a:cubicBezTo>
                <a:cubicBezTo>
                  <a:pt x="1210" y="1856"/>
                  <a:pt x="1209" y="1857"/>
                  <a:pt x="1209" y="1858"/>
                </a:cubicBezTo>
                <a:cubicBezTo>
                  <a:pt x="1209" y="1861"/>
                  <a:pt x="1214" y="1865"/>
                  <a:pt x="1217" y="1865"/>
                </a:cubicBezTo>
                <a:cubicBezTo>
                  <a:pt x="1218" y="1865"/>
                  <a:pt x="1219" y="1863"/>
                  <a:pt x="1218" y="1862"/>
                </a:cubicBezTo>
                <a:cubicBezTo>
                  <a:pt x="1217" y="1859"/>
                  <a:pt x="1215" y="1856"/>
                  <a:pt x="1214" y="1853"/>
                </a:cubicBezTo>
                <a:close/>
                <a:moveTo>
                  <a:pt x="1266" y="1855"/>
                </a:moveTo>
                <a:cubicBezTo>
                  <a:pt x="1264" y="1860"/>
                  <a:pt x="1261" y="1864"/>
                  <a:pt x="1259" y="1869"/>
                </a:cubicBezTo>
                <a:cubicBezTo>
                  <a:pt x="1262" y="1869"/>
                  <a:pt x="1264" y="1869"/>
                  <a:pt x="1267" y="1869"/>
                </a:cubicBezTo>
                <a:cubicBezTo>
                  <a:pt x="1267" y="1869"/>
                  <a:pt x="1268" y="1867"/>
                  <a:pt x="1268" y="1867"/>
                </a:cubicBezTo>
                <a:cubicBezTo>
                  <a:pt x="1268" y="1864"/>
                  <a:pt x="1268" y="1862"/>
                  <a:pt x="1267" y="1859"/>
                </a:cubicBezTo>
                <a:cubicBezTo>
                  <a:pt x="1267" y="1858"/>
                  <a:pt x="1266" y="1857"/>
                  <a:pt x="1266" y="1855"/>
                </a:cubicBezTo>
                <a:close/>
                <a:moveTo>
                  <a:pt x="1214" y="1835"/>
                </a:moveTo>
                <a:cubicBezTo>
                  <a:pt x="1213" y="1835"/>
                  <a:pt x="1212" y="1836"/>
                  <a:pt x="1212" y="1836"/>
                </a:cubicBezTo>
                <a:cubicBezTo>
                  <a:pt x="1211" y="1836"/>
                  <a:pt x="1210" y="1836"/>
                  <a:pt x="1210" y="1835"/>
                </a:cubicBezTo>
                <a:cubicBezTo>
                  <a:pt x="1210" y="1835"/>
                  <a:pt x="1209" y="1834"/>
                  <a:pt x="1209" y="1833"/>
                </a:cubicBezTo>
                <a:cubicBezTo>
                  <a:pt x="1210" y="1832"/>
                  <a:pt x="1210" y="1830"/>
                  <a:pt x="1211" y="1828"/>
                </a:cubicBezTo>
                <a:cubicBezTo>
                  <a:pt x="1211" y="1828"/>
                  <a:pt x="1211" y="1828"/>
                  <a:pt x="1210" y="1828"/>
                </a:cubicBezTo>
                <a:cubicBezTo>
                  <a:pt x="1210" y="1828"/>
                  <a:pt x="1208" y="1829"/>
                  <a:pt x="1208" y="1830"/>
                </a:cubicBezTo>
                <a:cubicBezTo>
                  <a:pt x="1207" y="1832"/>
                  <a:pt x="1208" y="1837"/>
                  <a:pt x="1210" y="1837"/>
                </a:cubicBezTo>
                <a:cubicBezTo>
                  <a:pt x="1212" y="1838"/>
                  <a:pt x="1214" y="1837"/>
                  <a:pt x="1214" y="1835"/>
                </a:cubicBezTo>
                <a:close/>
                <a:moveTo>
                  <a:pt x="1213" y="1853"/>
                </a:moveTo>
                <a:cubicBezTo>
                  <a:pt x="1213" y="1854"/>
                  <a:pt x="1211" y="1855"/>
                  <a:pt x="1210" y="1856"/>
                </a:cubicBezTo>
                <a:cubicBezTo>
                  <a:pt x="1209" y="1856"/>
                  <a:pt x="1209" y="1857"/>
                  <a:pt x="1209" y="1858"/>
                </a:cubicBezTo>
                <a:cubicBezTo>
                  <a:pt x="1209" y="1861"/>
                  <a:pt x="1213" y="1865"/>
                  <a:pt x="1217" y="1865"/>
                </a:cubicBezTo>
                <a:cubicBezTo>
                  <a:pt x="1218" y="1865"/>
                  <a:pt x="1219" y="1864"/>
                  <a:pt x="1218" y="1862"/>
                </a:cubicBezTo>
                <a:cubicBezTo>
                  <a:pt x="1217" y="1859"/>
                  <a:pt x="1215" y="1856"/>
                  <a:pt x="1213" y="1853"/>
                </a:cubicBezTo>
                <a:close/>
                <a:moveTo>
                  <a:pt x="1266" y="1855"/>
                </a:moveTo>
                <a:cubicBezTo>
                  <a:pt x="1264" y="1860"/>
                  <a:pt x="1261" y="1864"/>
                  <a:pt x="1259" y="1869"/>
                </a:cubicBezTo>
                <a:cubicBezTo>
                  <a:pt x="1262" y="1869"/>
                  <a:pt x="1264" y="1869"/>
                  <a:pt x="1267" y="1869"/>
                </a:cubicBezTo>
                <a:cubicBezTo>
                  <a:pt x="1267" y="1869"/>
                  <a:pt x="1268" y="1867"/>
                  <a:pt x="1268" y="1867"/>
                </a:cubicBezTo>
                <a:cubicBezTo>
                  <a:pt x="1268" y="1864"/>
                  <a:pt x="1268" y="1862"/>
                  <a:pt x="1267" y="1859"/>
                </a:cubicBezTo>
                <a:cubicBezTo>
                  <a:pt x="1267" y="1858"/>
                  <a:pt x="1266" y="1857"/>
                  <a:pt x="1266" y="1855"/>
                </a:cubicBezTo>
                <a:close/>
                <a:moveTo>
                  <a:pt x="1213" y="1835"/>
                </a:moveTo>
                <a:cubicBezTo>
                  <a:pt x="1213" y="1835"/>
                  <a:pt x="1212" y="1836"/>
                  <a:pt x="1211" y="1836"/>
                </a:cubicBezTo>
                <a:cubicBezTo>
                  <a:pt x="1211" y="1836"/>
                  <a:pt x="1210" y="1836"/>
                  <a:pt x="1210" y="1835"/>
                </a:cubicBezTo>
                <a:cubicBezTo>
                  <a:pt x="1209" y="1835"/>
                  <a:pt x="1209" y="1834"/>
                  <a:pt x="1209" y="1833"/>
                </a:cubicBezTo>
                <a:cubicBezTo>
                  <a:pt x="1210" y="1831"/>
                  <a:pt x="1210" y="1829"/>
                  <a:pt x="1211" y="1827"/>
                </a:cubicBezTo>
                <a:cubicBezTo>
                  <a:pt x="1211" y="1827"/>
                  <a:pt x="1211" y="1827"/>
                  <a:pt x="1210" y="1827"/>
                </a:cubicBezTo>
                <a:cubicBezTo>
                  <a:pt x="1209" y="1828"/>
                  <a:pt x="1208" y="1829"/>
                  <a:pt x="1207" y="1830"/>
                </a:cubicBezTo>
                <a:cubicBezTo>
                  <a:pt x="1207" y="1831"/>
                  <a:pt x="1208" y="1837"/>
                  <a:pt x="1210" y="1837"/>
                </a:cubicBezTo>
                <a:cubicBezTo>
                  <a:pt x="1211" y="1838"/>
                  <a:pt x="1213" y="1837"/>
                  <a:pt x="1213" y="1835"/>
                </a:cubicBezTo>
                <a:close/>
                <a:moveTo>
                  <a:pt x="1266" y="1827"/>
                </a:moveTo>
                <a:cubicBezTo>
                  <a:pt x="1269" y="1823"/>
                  <a:pt x="1269" y="1823"/>
                  <a:pt x="1273" y="1822"/>
                </a:cubicBezTo>
                <a:cubicBezTo>
                  <a:pt x="1273" y="1824"/>
                  <a:pt x="1274" y="1825"/>
                  <a:pt x="1275" y="1825"/>
                </a:cubicBezTo>
                <a:cubicBezTo>
                  <a:pt x="1273" y="1826"/>
                  <a:pt x="1271" y="1828"/>
                  <a:pt x="1269" y="1829"/>
                </a:cubicBezTo>
                <a:cubicBezTo>
                  <a:pt x="1268" y="1828"/>
                  <a:pt x="1268" y="1828"/>
                  <a:pt x="1267" y="1826"/>
                </a:cubicBezTo>
                <a:cubicBezTo>
                  <a:pt x="1267" y="1826"/>
                  <a:pt x="1266" y="1826"/>
                  <a:pt x="1266" y="1827"/>
                </a:cubicBezTo>
                <a:close/>
                <a:moveTo>
                  <a:pt x="1271" y="1826"/>
                </a:moveTo>
                <a:cubicBezTo>
                  <a:pt x="1271" y="1826"/>
                  <a:pt x="1270" y="1826"/>
                  <a:pt x="1269" y="1826"/>
                </a:cubicBezTo>
                <a:cubicBezTo>
                  <a:pt x="1269" y="1826"/>
                  <a:pt x="1268" y="1826"/>
                  <a:pt x="1268" y="1827"/>
                </a:cubicBezTo>
                <a:cubicBezTo>
                  <a:pt x="1268" y="1827"/>
                  <a:pt x="1269" y="1828"/>
                  <a:pt x="1269" y="1828"/>
                </a:cubicBezTo>
                <a:cubicBezTo>
                  <a:pt x="1270" y="1828"/>
                  <a:pt x="1270" y="1827"/>
                  <a:pt x="1271" y="1826"/>
                </a:cubicBezTo>
                <a:close/>
                <a:moveTo>
                  <a:pt x="1253" y="1817"/>
                </a:moveTo>
                <a:cubicBezTo>
                  <a:pt x="1246" y="1816"/>
                  <a:pt x="1243" y="1819"/>
                  <a:pt x="1242" y="1826"/>
                </a:cubicBezTo>
                <a:cubicBezTo>
                  <a:pt x="1243" y="1824"/>
                  <a:pt x="1244" y="1822"/>
                  <a:pt x="1246" y="1820"/>
                </a:cubicBezTo>
                <a:cubicBezTo>
                  <a:pt x="1246" y="1820"/>
                  <a:pt x="1246" y="1820"/>
                  <a:pt x="1246" y="1820"/>
                </a:cubicBezTo>
                <a:cubicBezTo>
                  <a:pt x="1246" y="1821"/>
                  <a:pt x="1246" y="1822"/>
                  <a:pt x="1246" y="1822"/>
                </a:cubicBezTo>
                <a:cubicBezTo>
                  <a:pt x="1248" y="1819"/>
                  <a:pt x="1249" y="1817"/>
                  <a:pt x="1253" y="1817"/>
                </a:cubicBezTo>
                <a:close/>
                <a:moveTo>
                  <a:pt x="1296" y="1818"/>
                </a:moveTo>
                <a:cubicBezTo>
                  <a:pt x="1294" y="1819"/>
                  <a:pt x="1292" y="1821"/>
                  <a:pt x="1291" y="1822"/>
                </a:cubicBezTo>
                <a:cubicBezTo>
                  <a:pt x="1293" y="1823"/>
                  <a:pt x="1295" y="1821"/>
                  <a:pt x="1296" y="1818"/>
                </a:cubicBezTo>
                <a:close/>
                <a:moveTo>
                  <a:pt x="1263" y="1821"/>
                </a:moveTo>
                <a:cubicBezTo>
                  <a:pt x="1264" y="1819"/>
                  <a:pt x="1265" y="1818"/>
                  <a:pt x="1267" y="1817"/>
                </a:cubicBezTo>
                <a:cubicBezTo>
                  <a:pt x="1263" y="1818"/>
                  <a:pt x="1262" y="1819"/>
                  <a:pt x="1263" y="1821"/>
                </a:cubicBezTo>
                <a:close/>
                <a:moveTo>
                  <a:pt x="1273" y="1842"/>
                </a:moveTo>
                <a:cubicBezTo>
                  <a:pt x="1271" y="1842"/>
                  <a:pt x="1270" y="1843"/>
                  <a:pt x="1270" y="1844"/>
                </a:cubicBezTo>
                <a:cubicBezTo>
                  <a:pt x="1271" y="1843"/>
                  <a:pt x="1272" y="1842"/>
                  <a:pt x="1273" y="1842"/>
                </a:cubicBezTo>
                <a:close/>
                <a:moveTo>
                  <a:pt x="1271" y="1826"/>
                </a:moveTo>
                <a:cubicBezTo>
                  <a:pt x="1271" y="1826"/>
                  <a:pt x="1270" y="1825"/>
                  <a:pt x="1270" y="1825"/>
                </a:cubicBezTo>
                <a:cubicBezTo>
                  <a:pt x="1269" y="1825"/>
                  <a:pt x="1268" y="1826"/>
                  <a:pt x="1268" y="1827"/>
                </a:cubicBezTo>
                <a:cubicBezTo>
                  <a:pt x="1268" y="1827"/>
                  <a:pt x="1269" y="1828"/>
                  <a:pt x="1269" y="1828"/>
                </a:cubicBezTo>
                <a:cubicBezTo>
                  <a:pt x="1270" y="1828"/>
                  <a:pt x="1270" y="1827"/>
                  <a:pt x="1271" y="1826"/>
                </a:cubicBezTo>
                <a:close/>
                <a:moveTo>
                  <a:pt x="1562" y="1804"/>
                </a:moveTo>
                <a:cubicBezTo>
                  <a:pt x="1562" y="1804"/>
                  <a:pt x="1562" y="1804"/>
                  <a:pt x="1562" y="1804"/>
                </a:cubicBezTo>
                <a:cubicBezTo>
                  <a:pt x="1558" y="1804"/>
                  <a:pt x="1558" y="1804"/>
                  <a:pt x="1558" y="1804"/>
                </a:cubicBezTo>
                <a:cubicBezTo>
                  <a:pt x="1556" y="1806"/>
                  <a:pt x="1554" y="1807"/>
                  <a:pt x="1552" y="1808"/>
                </a:cubicBezTo>
                <a:cubicBezTo>
                  <a:pt x="1551" y="1809"/>
                  <a:pt x="1549" y="1810"/>
                  <a:pt x="1547" y="1811"/>
                </a:cubicBezTo>
                <a:cubicBezTo>
                  <a:pt x="1545" y="1812"/>
                  <a:pt x="1544" y="1813"/>
                  <a:pt x="1541" y="1814"/>
                </a:cubicBezTo>
                <a:cubicBezTo>
                  <a:pt x="1540" y="1814"/>
                  <a:pt x="1538" y="1815"/>
                  <a:pt x="1536" y="1815"/>
                </a:cubicBezTo>
                <a:cubicBezTo>
                  <a:pt x="1536" y="1815"/>
                  <a:pt x="1536" y="1815"/>
                  <a:pt x="1536" y="1825"/>
                </a:cubicBezTo>
                <a:cubicBezTo>
                  <a:pt x="1539" y="1824"/>
                  <a:pt x="1542" y="1824"/>
                  <a:pt x="1544" y="1822"/>
                </a:cubicBezTo>
                <a:cubicBezTo>
                  <a:pt x="1546" y="1822"/>
                  <a:pt x="1549" y="1820"/>
                  <a:pt x="1551" y="1819"/>
                </a:cubicBezTo>
                <a:cubicBezTo>
                  <a:pt x="1551" y="1819"/>
                  <a:pt x="1551" y="1819"/>
                  <a:pt x="1551" y="1877"/>
                </a:cubicBezTo>
                <a:cubicBezTo>
                  <a:pt x="1551" y="1877"/>
                  <a:pt x="1551" y="1877"/>
                  <a:pt x="1562" y="1877"/>
                </a:cubicBezTo>
                <a:cubicBezTo>
                  <a:pt x="1562" y="1877"/>
                  <a:pt x="1562" y="1877"/>
                  <a:pt x="1562" y="1804"/>
                </a:cubicBezTo>
                <a:close/>
                <a:moveTo>
                  <a:pt x="1684" y="1804"/>
                </a:moveTo>
                <a:cubicBezTo>
                  <a:pt x="1684" y="1804"/>
                  <a:pt x="1684" y="1804"/>
                  <a:pt x="1684" y="1804"/>
                </a:cubicBezTo>
                <a:cubicBezTo>
                  <a:pt x="1679" y="1804"/>
                  <a:pt x="1679" y="1804"/>
                  <a:pt x="1679" y="1804"/>
                </a:cubicBezTo>
                <a:cubicBezTo>
                  <a:pt x="1677" y="1806"/>
                  <a:pt x="1675" y="1807"/>
                  <a:pt x="1673" y="1808"/>
                </a:cubicBezTo>
                <a:cubicBezTo>
                  <a:pt x="1672" y="1809"/>
                  <a:pt x="1670" y="1810"/>
                  <a:pt x="1668" y="1811"/>
                </a:cubicBezTo>
                <a:cubicBezTo>
                  <a:pt x="1667" y="1812"/>
                  <a:pt x="1665" y="1813"/>
                  <a:pt x="1663" y="1814"/>
                </a:cubicBezTo>
                <a:cubicBezTo>
                  <a:pt x="1661" y="1814"/>
                  <a:pt x="1659" y="1815"/>
                  <a:pt x="1657" y="1815"/>
                </a:cubicBezTo>
                <a:cubicBezTo>
                  <a:pt x="1657" y="1815"/>
                  <a:pt x="1657" y="1815"/>
                  <a:pt x="1657" y="1825"/>
                </a:cubicBezTo>
                <a:cubicBezTo>
                  <a:pt x="1660" y="1824"/>
                  <a:pt x="1663" y="1824"/>
                  <a:pt x="1666" y="1822"/>
                </a:cubicBezTo>
                <a:cubicBezTo>
                  <a:pt x="1668" y="1822"/>
                  <a:pt x="1670" y="1820"/>
                  <a:pt x="1673" y="1819"/>
                </a:cubicBezTo>
                <a:cubicBezTo>
                  <a:pt x="1673" y="1819"/>
                  <a:pt x="1673" y="1819"/>
                  <a:pt x="1673" y="1877"/>
                </a:cubicBezTo>
                <a:cubicBezTo>
                  <a:pt x="1673" y="1877"/>
                  <a:pt x="1673" y="1877"/>
                  <a:pt x="1684" y="1877"/>
                </a:cubicBezTo>
                <a:cubicBezTo>
                  <a:pt x="1684" y="1877"/>
                  <a:pt x="1684" y="1877"/>
                  <a:pt x="1684" y="1804"/>
                </a:cubicBezTo>
                <a:close/>
                <a:moveTo>
                  <a:pt x="1731" y="1804"/>
                </a:moveTo>
                <a:cubicBezTo>
                  <a:pt x="1731" y="1804"/>
                  <a:pt x="1731" y="1804"/>
                  <a:pt x="1731" y="1804"/>
                </a:cubicBezTo>
                <a:cubicBezTo>
                  <a:pt x="1726" y="1804"/>
                  <a:pt x="1726" y="1804"/>
                  <a:pt x="1726" y="1804"/>
                </a:cubicBezTo>
                <a:cubicBezTo>
                  <a:pt x="1724" y="1806"/>
                  <a:pt x="1722" y="1807"/>
                  <a:pt x="1720" y="1808"/>
                </a:cubicBezTo>
                <a:cubicBezTo>
                  <a:pt x="1719" y="1809"/>
                  <a:pt x="1717" y="1810"/>
                  <a:pt x="1715" y="1811"/>
                </a:cubicBezTo>
                <a:cubicBezTo>
                  <a:pt x="1714" y="1812"/>
                  <a:pt x="1712" y="1813"/>
                  <a:pt x="1710" y="1814"/>
                </a:cubicBezTo>
                <a:cubicBezTo>
                  <a:pt x="1708" y="1814"/>
                  <a:pt x="1707" y="1815"/>
                  <a:pt x="1704" y="1815"/>
                </a:cubicBezTo>
                <a:cubicBezTo>
                  <a:pt x="1704" y="1815"/>
                  <a:pt x="1704" y="1815"/>
                  <a:pt x="1704" y="1825"/>
                </a:cubicBezTo>
                <a:cubicBezTo>
                  <a:pt x="1707" y="1824"/>
                  <a:pt x="1710" y="1824"/>
                  <a:pt x="1712" y="1822"/>
                </a:cubicBezTo>
                <a:cubicBezTo>
                  <a:pt x="1715" y="1822"/>
                  <a:pt x="1717" y="1820"/>
                  <a:pt x="1720" y="1819"/>
                </a:cubicBezTo>
                <a:cubicBezTo>
                  <a:pt x="1720" y="1819"/>
                  <a:pt x="1720" y="1819"/>
                  <a:pt x="1720" y="1877"/>
                </a:cubicBezTo>
                <a:cubicBezTo>
                  <a:pt x="1720" y="1877"/>
                  <a:pt x="1720" y="1877"/>
                  <a:pt x="1731" y="1877"/>
                </a:cubicBezTo>
                <a:cubicBezTo>
                  <a:pt x="1731" y="1877"/>
                  <a:pt x="1731" y="1877"/>
                  <a:pt x="1731" y="1804"/>
                </a:cubicBezTo>
                <a:close/>
                <a:moveTo>
                  <a:pt x="1777" y="1804"/>
                </a:moveTo>
                <a:cubicBezTo>
                  <a:pt x="1777" y="1804"/>
                  <a:pt x="1777" y="1804"/>
                  <a:pt x="1777" y="1804"/>
                </a:cubicBezTo>
                <a:cubicBezTo>
                  <a:pt x="1773" y="1804"/>
                  <a:pt x="1773" y="1804"/>
                  <a:pt x="1773" y="1804"/>
                </a:cubicBezTo>
                <a:cubicBezTo>
                  <a:pt x="1771" y="1806"/>
                  <a:pt x="1769" y="1807"/>
                  <a:pt x="1767" y="1808"/>
                </a:cubicBezTo>
                <a:cubicBezTo>
                  <a:pt x="1766" y="1809"/>
                  <a:pt x="1763" y="1810"/>
                  <a:pt x="1762" y="1811"/>
                </a:cubicBezTo>
                <a:cubicBezTo>
                  <a:pt x="1760" y="1811"/>
                  <a:pt x="1758" y="1812"/>
                  <a:pt x="1756" y="1813"/>
                </a:cubicBezTo>
                <a:cubicBezTo>
                  <a:pt x="1755" y="1814"/>
                  <a:pt x="1752" y="1814"/>
                  <a:pt x="1751" y="1815"/>
                </a:cubicBezTo>
                <a:cubicBezTo>
                  <a:pt x="1751" y="1815"/>
                  <a:pt x="1751" y="1815"/>
                  <a:pt x="1751" y="1825"/>
                </a:cubicBezTo>
                <a:cubicBezTo>
                  <a:pt x="1754" y="1824"/>
                  <a:pt x="1757" y="1823"/>
                  <a:pt x="1759" y="1822"/>
                </a:cubicBezTo>
                <a:cubicBezTo>
                  <a:pt x="1761" y="1822"/>
                  <a:pt x="1764" y="1820"/>
                  <a:pt x="1766" y="1819"/>
                </a:cubicBezTo>
                <a:cubicBezTo>
                  <a:pt x="1766" y="1819"/>
                  <a:pt x="1766" y="1819"/>
                  <a:pt x="1766" y="1877"/>
                </a:cubicBezTo>
                <a:cubicBezTo>
                  <a:pt x="1766" y="1877"/>
                  <a:pt x="1766" y="1877"/>
                  <a:pt x="1777" y="1877"/>
                </a:cubicBezTo>
                <a:cubicBezTo>
                  <a:pt x="1777" y="1877"/>
                  <a:pt x="1777" y="1877"/>
                  <a:pt x="1777" y="1804"/>
                </a:cubicBezTo>
                <a:close/>
                <a:moveTo>
                  <a:pt x="1583" y="1836"/>
                </a:moveTo>
                <a:cubicBezTo>
                  <a:pt x="1583" y="1836"/>
                  <a:pt x="1583" y="1836"/>
                  <a:pt x="1583" y="1836"/>
                </a:cubicBezTo>
                <a:cubicBezTo>
                  <a:pt x="1582" y="1844"/>
                  <a:pt x="1582" y="1844"/>
                  <a:pt x="1582" y="1844"/>
                </a:cubicBezTo>
                <a:cubicBezTo>
                  <a:pt x="1589" y="1845"/>
                  <a:pt x="1589" y="1848"/>
                  <a:pt x="1589" y="1850"/>
                </a:cubicBezTo>
                <a:cubicBezTo>
                  <a:pt x="1589" y="1853"/>
                  <a:pt x="1589" y="1855"/>
                  <a:pt x="1589" y="1857"/>
                </a:cubicBezTo>
                <a:cubicBezTo>
                  <a:pt x="1589" y="1860"/>
                  <a:pt x="1588" y="1862"/>
                  <a:pt x="1588" y="1865"/>
                </a:cubicBezTo>
                <a:cubicBezTo>
                  <a:pt x="1588" y="1874"/>
                  <a:pt x="1594" y="1877"/>
                  <a:pt x="1603" y="1877"/>
                </a:cubicBezTo>
                <a:cubicBezTo>
                  <a:pt x="1603" y="1877"/>
                  <a:pt x="1603" y="1877"/>
                  <a:pt x="1606" y="1877"/>
                </a:cubicBezTo>
                <a:cubicBezTo>
                  <a:pt x="1606" y="1877"/>
                  <a:pt x="1606" y="1877"/>
                  <a:pt x="1606" y="1868"/>
                </a:cubicBezTo>
                <a:cubicBezTo>
                  <a:pt x="1606" y="1868"/>
                  <a:pt x="1606" y="1868"/>
                  <a:pt x="1605" y="1868"/>
                </a:cubicBezTo>
                <a:cubicBezTo>
                  <a:pt x="1601" y="1868"/>
                  <a:pt x="1600" y="1866"/>
                  <a:pt x="1600" y="1862"/>
                </a:cubicBezTo>
                <a:cubicBezTo>
                  <a:pt x="1600" y="1861"/>
                  <a:pt x="1600" y="1859"/>
                  <a:pt x="1601" y="1857"/>
                </a:cubicBezTo>
                <a:cubicBezTo>
                  <a:pt x="1601" y="1856"/>
                  <a:pt x="1601" y="1854"/>
                  <a:pt x="1601" y="1852"/>
                </a:cubicBezTo>
                <a:cubicBezTo>
                  <a:pt x="1601" y="1844"/>
                  <a:pt x="1598" y="1842"/>
                  <a:pt x="1592" y="1840"/>
                </a:cubicBezTo>
                <a:cubicBezTo>
                  <a:pt x="1592" y="1840"/>
                  <a:pt x="1592" y="1840"/>
                  <a:pt x="1592" y="1840"/>
                </a:cubicBezTo>
                <a:cubicBezTo>
                  <a:pt x="1598" y="1839"/>
                  <a:pt x="1601" y="1837"/>
                  <a:pt x="1601" y="1829"/>
                </a:cubicBezTo>
                <a:cubicBezTo>
                  <a:pt x="1601" y="1827"/>
                  <a:pt x="1601" y="1825"/>
                  <a:pt x="1601" y="1823"/>
                </a:cubicBezTo>
                <a:cubicBezTo>
                  <a:pt x="1600" y="1821"/>
                  <a:pt x="1600" y="1820"/>
                  <a:pt x="1600" y="1818"/>
                </a:cubicBezTo>
                <a:cubicBezTo>
                  <a:pt x="1600" y="1815"/>
                  <a:pt x="1601" y="1813"/>
                  <a:pt x="1605" y="1813"/>
                </a:cubicBezTo>
                <a:cubicBezTo>
                  <a:pt x="1605" y="1813"/>
                  <a:pt x="1605" y="1813"/>
                  <a:pt x="1606" y="1813"/>
                </a:cubicBezTo>
                <a:cubicBezTo>
                  <a:pt x="1606" y="1813"/>
                  <a:pt x="1606" y="1813"/>
                  <a:pt x="1606" y="1803"/>
                </a:cubicBezTo>
                <a:cubicBezTo>
                  <a:pt x="1606" y="1803"/>
                  <a:pt x="1606" y="1803"/>
                  <a:pt x="1603" y="1803"/>
                </a:cubicBezTo>
                <a:cubicBezTo>
                  <a:pt x="1594" y="1803"/>
                  <a:pt x="1588" y="1807"/>
                  <a:pt x="1588" y="1816"/>
                </a:cubicBezTo>
                <a:cubicBezTo>
                  <a:pt x="1588" y="1818"/>
                  <a:pt x="1589" y="1821"/>
                  <a:pt x="1589" y="1823"/>
                </a:cubicBezTo>
                <a:cubicBezTo>
                  <a:pt x="1589" y="1826"/>
                  <a:pt x="1589" y="1828"/>
                  <a:pt x="1589" y="1830"/>
                </a:cubicBezTo>
                <a:cubicBezTo>
                  <a:pt x="1589" y="1833"/>
                  <a:pt x="1589" y="1836"/>
                  <a:pt x="1583" y="1836"/>
                </a:cubicBezTo>
                <a:close/>
                <a:moveTo>
                  <a:pt x="1637" y="1844"/>
                </a:moveTo>
                <a:cubicBezTo>
                  <a:pt x="1637" y="1844"/>
                  <a:pt x="1637" y="1844"/>
                  <a:pt x="1637" y="1844"/>
                </a:cubicBezTo>
                <a:cubicBezTo>
                  <a:pt x="1637" y="1836"/>
                  <a:pt x="1637" y="1836"/>
                  <a:pt x="1637" y="1836"/>
                </a:cubicBezTo>
                <a:cubicBezTo>
                  <a:pt x="1631" y="1836"/>
                  <a:pt x="1630" y="1833"/>
                  <a:pt x="1630" y="1830"/>
                </a:cubicBezTo>
                <a:cubicBezTo>
                  <a:pt x="1630" y="1828"/>
                  <a:pt x="1630" y="1826"/>
                  <a:pt x="1631" y="1823"/>
                </a:cubicBezTo>
                <a:cubicBezTo>
                  <a:pt x="1631" y="1821"/>
                  <a:pt x="1631" y="1818"/>
                  <a:pt x="1631" y="1816"/>
                </a:cubicBezTo>
                <a:cubicBezTo>
                  <a:pt x="1631" y="1807"/>
                  <a:pt x="1626" y="1803"/>
                  <a:pt x="1617" y="1803"/>
                </a:cubicBezTo>
                <a:cubicBezTo>
                  <a:pt x="1617" y="1803"/>
                  <a:pt x="1617" y="1803"/>
                  <a:pt x="1613" y="1803"/>
                </a:cubicBezTo>
                <a:cubicBezTo>
                  <a:pt x="1613" y="1803"/>
                  <a:pt x="1613" y="1803"/>
                  <a:pt x="1613" y="1813"/>
                </a:cubicBezTo>
                <a:cubicBezTo>
                  <a:pt x="1613" y="1813"/>
                  <a:pt x="1613" y="1813"/>
                  <a:pt x="1615" y="1813"/>
                </a:cubicBezTo>
                <a:cubicBezTo>
                  <a:pt x="1618" y="1813"/>
                  <a:pt x="1620" y="1815"/>
                  <a:pt x="1620" y="1818"/>
                </a:cubicBezTo>
                <a:cubicBezTo>
                  <a:pt x="1620" y="1820"/>
                  <a:pt x="1619" y="1821"/>
                  <a:pt x="1619" y="1823"/>
                </a:cubicBezTo>
                <a:cubicBezTo>
                  <a:pt x="1619" y="1825"/>
                  <a:pt x="1619" y="1827"/>
                  <a:pt x="1619" y="1829"/>
                </a:cubicBezTo>
                <a:cubicBezTo>
                  <a:pt x="1619" y="1837"/>
                  <a:pt x="1622" y="1839"/>
                  <a:pt x="1628" y="1840"/>
                </a:cubicBezTo>
                <a:cubicBezTo>
                  <a:pt x="1628" y="1840"/>
                  <a:pt x="1628" y="1840"/>
                  <a:pt x="1628" y="1840"/>
                </a:cubicBezTo>
                <a:cubicBezTo>
                  <a:pt x="1622" y="1842"/>
                  <a:pt x="1619" y="1844"/>
                  <a:pt x="1619" y="1852"/>
                </a:cubicBezTo>
                <a:cubicBezTo>
                  <a:pt x="1619" y="1854"/>
                  <a:pt x="1619" y="1856"/>
                  <a:pt x="1619" y="1857"/>
                </a:cubicBezTo>
                <a:cubicBezTo>
                  <a:pt x="1619" y="1859"/>
                  <a:pt x="1620" y="1861"/>
                  <a:pt x="1620" y="1862"/>
                </a:cubicBezTo>
                <a:cubicBezTo>
                  <a:pt x="1620" y="1866"/>
                  <a:pt x="1619" y="1868"/>
                  <a:pt x="1615" y="1868"/>
                </a:cubicBezTo>
                <a:cubicBezTo>
                  <a:pt x="1615" y="1868"/>
                  <a:pt x="1615" y="1868"/>
                  <a:pt x="1613" y="1868"/>
                </a:cubicBezTo>
                <a:cubicBezTo>
                  <a:pt x="1613" y="1868"/>
                  <a:pt x="1613" y="1868"/>
                  <a:pt x="1613" y="1877"/>
                </a:cubicBezTo>
                <a:cubicBezTo>
                  <a:pt x="1613" y="1877"/>
                  <a:pt x="1613" y="1877"/>
                  <a:pt x="1617" y="1877"/>
                </a:cubicBezTo>
                <a:cubicBezTo>
                  <a:pt x="1626" y="1877"/>
                  <a:pt x="1631" y="1874"/>
                  <a:pt x="1631" y="1865"/>
                </a:cubicBezTo>
                <a:cubicBezTo>
                  <a:pt x="1631" y="1862"/>
                  <a:pt x="1631" y="1860"/>
                  <a:pt x="1631" y="1857"/>
                </a:cubicBezTo>
                <a:cubicBezTo>
                  <a:pt x="1630" y="1855"/>
                  <a:pt x="1630" y="1853"/>
                  <a:pt x="1630" y="1850"/>
                </a:cubicBezTo>
                <a:cubicBezTo>
                  <a:pt x="1630" y="1848"/>
                  <a:pt x="1631" y="1845"/>
                  <a:pt x="1637" y="1844"/>
                </a:cubicBezTo>
                <a:close/>
                <a:moveTo>
                  <a:pt x="1821" y="1877"/>
                </a:moveTo>
                <a:cubicBezTo>
                  <a:pt x="1814" y="1877"/>
                  <a:pt x="1807" y="1874"/>
                  <a:pt x="1803" y="1868"/>
                </a:cubicBezTo>
                <a:cubicBezTo>
                  <a:pt x="1799" y="1862"/>
                  <a:pt x="1797" y="1853"/>
                  <a:pt x="1797" y="1841"/>
                </a:cubicBezTo>
                <a:cubicBezTo>
                  <a:pt x="1797" y="1828"/>
                  <a:pt x="1799" y="1818"/>
                  <a:pt x="1804" y="1812"/>
                </a:cubicBezTo>
                <a:cubicBezTo>
                  <a:pt x="1808" y="1805"/>
                  <a:pt x="1815" y="1801"/>
                  <a:pt x="1823" y="1801"/>
                </a:cubicBezTo>
                <a:cubicBezTo>
                  <a:pt x="1839" y="1801"/>
                  <a:pt x="1847" y="1814"/>
                  <a:pt x="1847" y="1839"/>
                </a:cubicBezTo>
                <a:cubicBezTo>
                  <a:pt x="1847" y="1852"/>
                  <a:pt x="1845" y="1861"/>
                  <a:pt x="1840" y="1868"/>
                </a:cubicBezTo>
                <a:cubicBezTo>
                  <a:pt x="1836" y="1874"/>
                  <a:pt x="1829" y="1877"/>
                  <a:pt x="1821" y="1877"/>
                </a:cubicBezTo>
                <a:close/>
                <a:moveTo>
                  <a:pt x="1823" y="1811"/>
                </a:moveTo>
                <a:cubicBezTo>
                  <a:pt x="1813" y="1811"/>
                  <a:pt x="1809" y="1821"/>
                  <a:pt x="1809" y="1841"/>
                </a:cubicBezTo>
                <a:cubicBezTo>
                  <a:pt x="1809" y="1859"/>
                  <a:pt x="1813" y="1868"/>
                  <a:pt x="1822" y="1868"/>
                </a:cubicBezTo>
                <a:cubicBezTo>
                  <a:pt x="1831" y="1868"/>
                  <a:pt x="1835" y="1859"/>
                  <a:pt x="1835" y="1840"/>
                </a:cubicBezTo>
                <a:cubicBezTo>
                  <a:pt x="1835" y="1820"/>
                  <a:pt x="1831" y="1811"/>
                  <a:pt x="1823" y="1811"/>
                </a:cubicBezTo>
                <a:close/>
                <a:moveTo>
                  <a:pt x="1891" y="1877"/>
                </a:moveTo>
                <a:cubicBezTo>
                  <a:pt x="1884" y="1877"/>
                  <a:pt x="1877" y="1874"/>
                  <a:pt x="1874" y="1868"/>
                </a:cubicBezTo>
                <a:cubicBezTo>
                  <a:pt x="1869" y="1862"/>
                  <a:pt x="1867" y="1853"/>
                  <a:pt x="1867" y="1841"/>
                </a:cubicBezTo>
                <a:cubicBezTo>
                  <a:pt x="1867" y="1828"/>
                  <a:pt x="1869" y="1818"/>
                  <a:pt x="1874" y="1812"/>
                </a:cubicBezTo>
                <a:cubicBezTo>
                  <a:pt x="1878" y="1805"/>
                  <a:pt x="1885" y="1801"/>
                  <a:pt x="1894" y="1801"/>
                </a:cubicBezTo>
                <a:cubicBezTo>
                  <a:pt x="1910" y="1801"/>
                  <a:pt x="1918" y="1814"/>
                  <a:pt x="1918" y="1839"/>
                </a:cubicBezTo>
                <a:cubicBezTo>
                  <a:pt x="1918" y="1852"/>
                  <a:pt x="1916" y="1861"/>
                  <a:pt x="1911" y="1868"/>
                </a:cubicBezTo>
                <a:cubicBezTo>
                  <a:pt x="1906" y="1874"/>
                  <a:pt x="1900" y="1877"/>
                  <a:pt x="1891" y="1877"/>
                </a:cubicBezTo>
                <a:close/>
                <a:moveTo>
                  <a:pt x="1893" y="1811"/>
                </a:moveTo>
                <a:cubicBezTo>
                  <a:pt x="1884" y="1811"/>
                  <a:pt x="1879" y="1821"/>
                  <a:pt x="1879" y="1841"/>
                </a:cubicBezTo>
                <a:cubicBezTo>
                  <a:pt x="1879" y="1859"/>
                  <a:pt x="1883" y="1868"/>
                  <a:pt x="1892" y="1868"/>
                </a:cubicBezTo>
                <a:cubicBezTo>
                  <a:pt x="1901" y="1868"/>
                  <a:pt x="1905" y="1859"/>
                  <a:pt x="1905" y="1840"/>
                </a:cubicBezTo>
                <a:cubicBezTo>
                  <a:pt x="1905" y="1820"/>
                  <a:pt x="1901" y="1811"/>
                  <a:pt x="1893" y="1811"/>
                </a:cubicBezTo>
                <a:close/>
                <a:moveTo>
                  <a:pt x="37" y="1900"/>
                </a:moveTo>
                <a:cubicBezTo>
                  <a:pt x="37" y="1900"/>
                  <a:pt x="37" y="1900"/>
                  <a:pt x="37" y="1900"/>
                </a:cubicBezTo>
                <a:cubicBezTo>
                  <a:pt x="32" y="1900"/>
                  <a:pt x="32" y="1900"/>
                  <a:pt x="32" y="1900"/>
                </a:cubicBezTo>
                <a:cubicBezTo>
                  <a:pt x="29" y="1901"/>
                  <a:pt x="28" y="1903"/>
                  <a:pt x="26" y="1903"/>
                </a:cubicBezTo>
                <a:cubicBezTo>
                  <a:pt x="24" y="1905"/>
                  <a:pt x="23" y="1906"/>
                  <a:pt x="21" y="1906"/>
                </a:cubicBezTo>
                <a:cubicBezTo>
                  <a:pt x="19" y="1908"/>
                  <a:pt x="17" y="1908"/>
                  <a:pt x="15" y="1909"/>
                </a:cubicBezTo>
                <a:cubicBezTo>
                  <a:pt x="13" y="1910"/>
                  <a:pt x="12" y="1911"/>
                  <a:pt x="9" y="1911"/>
                </a:cubicBezTo>
                <a:cubicBezTo>
                  <a:pt x="9" y="1911"/>
                  <a:pt x="9" y="1911"/>
                  <a:pt x="9" y="1921"/>
                </a:cubicBezTo>
                <a:cubicBezTo>
                  <a:pt x="12" y="1920"/>
                  <a:pt x="15" y="1919"/>
                  <a:pt x="18" y="1918"/>
                </a:cubicBezTo>
                <a:cubicBezTo>
                  <a:pt x="21" y="1917"/>
                  <a:pt x="23" y="1916"/>
                  <a:pt x="25" y="1914"/>
                </a:cubicBezTo>
                <a:cubicBezTo>
                  <a:pt x="25" y="1914"/>
                  <a:pt x="25" y="1914"/>
                  <a:pt x="25" y="1973"/>
                </a:cubicBezTo>
                <a:cubicBezTo>
                  <a:pt x="25" y="1973"/>
                  <a:pt x="25" y="1973"/>
                  <a:pt x="37" y="1973"/>
                </a:cubicBezTo>
                <a:cubicBezTo>
                  <a:pt x="37" y="1973"/>
                  <a:pt x="37" y="1973"/>
                  <a:pt x="37" y="1900"/>
                </a:cubicBezTo>
                <a:close/>
                <a:moveTo>
                  <a:pt x="84" y="1900"/>
                </a:moveTo>
                <a:cubicBezTo>
                  <a:pt x="84" y="1900"/>
                  <a:pt x="84" y="1900"/>
                  <a:pt x="84" y="1900"/>
                </a:cubicBezTo>
                <a:cubicBezTo>
                  <a:pt x="79" y="1900"/>
                  <a:pt x="79" y="1900"/>
                  <a:pt x="79" y="1900"/>
                </a:cubicBezTo>
                <a:cubicBezTo>
                  <a:pt x="77" y="1901"/>
                  <a:pt x="76" y="1903"/>
                  <a:pt x="73" y="1903"/>
                </a:cubicBezTo>
                <a:cubicBezTo>
                  <a:pt x="72" y="1905"/>
                  <a:pt x="70" y="1906"/>
                  <a:pt x="68" y="1906"/>
                </a:cubicBezTo>
                <a:cubicBezTo>
                  <a:pt x="67" y="1908"/>
                  <a:pt x="65" y="1908"/>
                  <a:pt x="63" y="1909"/>
                </a:cubicBezTo>
                <a:cubicBezTo>
                  <a:pt x="61" y="1910"/>
                  <a:pt x="60" y="1911"/>
                  <a:pt x="57" y="1911"/>
                </a:cubicBezTo>
                <a:cubicBezTo>
                  <a:pt x="57" y="1911"/>
                  <a:pt x="57" y="1911"/>
                  <a:pt x="57" y="1921"/>
                </a:cubicBezTo>
                <a:cubicBezTo>
                  <a:pt x="60" y="1920"/>
                  <a:pt x="63" y="1919"/>
                  <a:pt x="65" y="1918"/>
                </a:cubicBezTo>
                <a:cubicBezTo>
                  <a:pt x="68" y="1917"/>
                  <a:pt x="71" y="1916"/>
                  <a:pt x="73" y="1914"/>
                </a:cubicBezTo>
                <a:cubicBezTo>
                  <a:pt x="73" y="1914"/>
                  <a:pt x="73" y="1914"/>
                  <a:pt x="73" y="1973"/>
                </a:cubicBezTo>
                <a:cubicBezTo>
                  <a:pt x="73" y="1973"/>
                  <a:pt x="73" y="1973"/>
                  <a:pt x="84" y="1973"/>
                </a:cubicBezTo>
                <a:cubicBezTo>
                  <a:pt x="84" y="1973"/>
                  <a:pt x="84" y="1973"/>
                  <a:pt x="84" y="1900"/>
                </a:cubicBezTo>
                <a:close/>
                <a:moveTo>
                  <a:pt x="131" y="1900"/>
                </a:moveTo>
                <a:cubicBezTo>
                  <a:pt x="131" y="1900"/>
                  <a:pt x="131" y="1900"/>
                  <a:pt x="131" y="1900"/>
                </a:cubicBezTo>
                <a:cubicBezTo>
                  <a:pt x="127" y="1900"/>
                  <a:pt x="127" y="1900"/>
                  <a:pt x="127" y="1900"/>
                </a:cubicBezTo>
                <a:cubicBezTo>
                  <a:pt x="124" y="1901"/>
                  <a:pt x="123" y="1903"/>
                  <a:pt x="121" y="1903"/>
                </a:cubicBezTo>
                <a:cubicBezTo>
                  <a:pt x="119" y="1905"/>
                  <a:pt x="117" y="1906"/>
                  <a:pt x="116" y="1906"/>
                </a:cubicBezTo>
                <a:cubicBezTo>
                  <a:pt x="114" y="1907"/>
                  <a:pt x="112" y="1908"/>
                  <a:pt x="110" y="1908"/>
                </a:cubicBezTo>
                <a:cubicBezTo>
                  <a:pt x="109" y="1909"/>
                  <a:pt x="106" y="1910"/>
                  <a:pt x="105" y="1911"/>
                </a:cubicBezTo>
                <a:cubicBezTo>
                  <a:pt x="105" y="1911"/>
                  <a:pt x="105" y="1911"/>
                  <a:pt x="105" y="1921"/>
                </a:cubicBezTo>
                <a:cubicBezTo>
                  <a:pt x="108" y="1920"/>
                  <a:pt x="111" y="1919"/>
                  <a:pt x="113" y="1918"/>
                </a:cubicBezTo>
                <a:cubicBezTo>
                  <a:pt x="115" y="1917"/>
                  <a:pt x="118" y="1916"/>
                  <a:pt x="119" y="1914"/>
                </a:cubicBezTo>
                <a:cubicBezTo>
                  <a:pt x="119" y="1914"/>
                  <a:pt x="119" y="1914"/>
                  <a:pt x="119" y="1973"/>
                </a:cubicBezTo>
                <a:cubicBezTo>
                  <a:pt x="119" y="1973"/>
                  <a:pt x="119" y="1973"/>
                  <a:pt x="131" y="1973"/>
                </a:cubicBezTo>
                <a:cubicBezTo>
                  <a:pt x="131" y="1973"/>
                  <a:pt x="131" y="1973"/>
                  <a:pt x="131" y="1900"/>
                </a:cubicBezTo>
                <a:close/>
                <a:moveTo>
                  <a:pt x="176" y="1973"/>
                </a:moveTo>
                <a:cubicBezTo>
                  <a:pt x="168" y="1973"/>
                  <a:pt x="162" y="1970"/>
                  <a:pt x="157" y="1964"/>
                </a:cubicBezTo>
                <a:cubicBezTo>
                  <a:pt x="154" y="1958"/>
                  <a:pt x="152" y="1949"/>
                  <a:pt x="152" y="1937"/>
                </a:cubicBezTo>
                <a:cubicBezTo>
                  <a:pt x="152" y="1924"/>
                  <a:pt x="154" y="1914"/>
                  <a:pt x="158" y="1908"/>
                </a:cubicBezTo>
                <a:cubicBezTo>
                  <a:pt x="162" y="1901"/>
                  <a:pt x="169" y="1897"/>
                  <a:pt x="178" y="1897"/>
                </a:cubicBezTo>
                <a:cubicBezTo>
                  <a:pt x="194" y="1897"/>
                  <a:pt x="202" y="1910"/>
                  <a:pt x="202" y="1935"/>
                </a:cubicBezTo>
                <a:cubicBezTo>
                  <a:pt x="202" y="1948"/>
                  <a:pt x="200" y="1957"/>
                  <a:pt x="195" y="1964"/>
                </a:cubicBezTo>
                <a:cubicBezTo>
                  <a:pt x="190" y="1970"/>
                  <a:pt x="184" y="1973"/>
                  <a:pt x="176" y="1973"/>
                </a:cubicBezTo>
                <a:close/>
                <a:moveTo>
                  <a:pt x="177" y="1907"/>
                </a:moveTo>
                <a:cubicBezTo>
                  <a:pt x="168" y="1907"/>
                  <a:pt x="163" y="1917"/>
                  <a:pt x="163" y="1937"/>
                </a:cubicBezTo>
                <a:cubicBezTo>
                  <a:pt x="163" y="1955"/>
                  <a:pt x="168" y="1964"/>
                  <a:pt x="176" y="1964"/>
                </a:cubicBezTo>
                <a:cubicBezTo>
                  <a:pt x="185" y="1964"/>
                  <a:pt x="190" y="1955"/>
                  <a:pt x="190" y="1936"/>
                </a:cubicBezTo>
                <a:cubicBezTo>
                  <a:pt x="190" y="1916"/>
                  <a:pt x="185" y="1907"/>
                  <a:pt x="177" y="1907"/>
                </a:cubicBezTo>
                <a:close/>
                <a:moveTo>
                  <a:pt x="247" y="1973"/>
                </a:moveTo>
                <a:cubicBezTo>
                  <a:pt x="239" y="1973"/>
                  <a:pt x="233" y="1970"/>
                  <a:pt x="229" y="1964"/>
                </a:cubicBezTo>
                <a:cubicBezTo>
                  <a:pt x="225" y="1958"/>
                  <a:pt x="223" y="1949"/>
                  <a:pt x="223" y="1937"/>
                </a:cubicBezTo>
                <a:cubicBezTo>
                  <a:pt x="223" y="1924"/>
                  <a:pt x="225" y="1914"/>
                  <a:pt x="229" y="1908"/>
                </a:cubicBezTo>
                <a:cubicBezTo>
                  <a:pt x="234" y="1901"/>
                  <a:pt x="240" y="1897"/>
                  <a:pt x="249" y="1897"/>
                </a:cubicBezTo>
                <a:cubicBezTo>
                  <a:pt x="265" y="1897"/>
                  <a:pt x="273" y="1910"/>
                  <a:pt x="273" y="1935"/>
                </a:cubicBezTo>
                <a:cubicBezTo>
                  <a:pt x="273" y="1948"/>
                  <a:pt x="271" y="1957"/>
                  <a:pt x="266" y="1964"/>
                </a:cubicBezTo>
                <a:cubicBezTo>
                  <a:pt x="261" y="1970"/>
                  <a:pt x="255" y="1973"/>
                  <a:pt x="247" y="1973"/>
                </a:cubicBezTo>
                <a:close/>
                <a:moveTo>
                  <a:pt x="248" y="1907"/>
                </a:moveTo>
                <a:cubicBezTo>
                  <a:pt x="239" y="1907"/>
                  <a:pt x="234" y="1917"/>
                  <a:pt x="234" y="1937"/>
                </a:cubicBezTo>
                <a:cubicBezTo>
                  <a:pt x="234" y="1955"/>
                  <a:pt x="239" y="1964"/>
                  <a:pt x="247" y="1964"/>
                </a:cubicBezTo>
                <a:cubicBezTo>
                  <a:pt x="256" y="1964"/>
                  <a:pt x="261" y="1955"/>
                  <a:pt x="261" y="1936"/>
                </a:cubicBezTo>
                <a:cubicBezTo>
                  <a:pt x="261" y="1916"/>
                  <a:pt x="256" y="1907"/>
                  <a:pt x="248" y="1907"/>
                </a:cubicBezTo>
                <a:close/>
                <a:moveTo>
                  <a:pt x="459" y="1973"/>
                </a:moveTo>
                <a:cubicBezTo>
                  <a:pt x="452" y="1973"/>
                  <a:pt x="446" y="1970"/>
                  <a:pt x="442" y="1964"/>
                </a:cubicBezTo>
                <a:cubicBezTo>
                  <a:pt x="437" y="1958"/>
                  <a:pt x="435" y="1948"/>
                  <a:pt x="435" y="1937"/>
                </a:cubicBezTo>
                <a:cubicBezTo>
                  <a:pt x="435" y="1924"/>
                  <a:pt x="437" y="1914"/>
                  <a:pt x="442" y="1907"/>
                </a:cubicBezTo>
                <a:cubicBezTo>
                  <a:pt x="446" y="1900"/>
                  <a:pt x="453" y="1897"/>
                  <a:pt x="462" y="1897"/>
                </a:cubicBezTo>
                <a:cubicBezTo>
                  <a:pt x="478" y="1897"/>
                  <a:pt x="486" y="1910"/>
                  <a:pt x="486" y="1935"/>
                </a:cubicBezTo>
                <a:cubicBezTo>
                  <a:pt x="486" y="1948"/>
                  <a:pt x="483" y="1957"/>
                  <a:pt x="479" y="1964"/>
                </a:cubicBezTo>
                <a:cubicBezTo>
                  <a:pt x="474" y="1970"/>
                  <a:pt x="468" y="1973"/>
                  <a:pt x="459" y="1973"/>
                </a:cubicBezTo>
                <a:close/>
                <a:moveTo>
                  <a:pt x="461" y="1907"/>
                </a:moveTo>
                <a:cubicBezTo>
                  <a:pt x="452" y="1907"/>
                  <a:pt x="448" y="1916"/>
                  <a:pt x="448" y="1936"/>
                </a:cubicBezTo>
                <a:cubicBezTo>
                  <a:pt x="448" y="1954"/>
                  <a:pt x="452" y="1964"/>
                  <a:pt x="461" y="1964"/>
                </a:cubicBezTo>
                <a:cubicBezTo>
                  <a:pt x="469" y="1964"/>
                  <a:pt x="473" y="1954"/>
                  <a:pt x="473" y="1936"/>
                </a:cubicBezTo>
                <a:cubicBezTo>
                  <a:pt x="473" y="1916"/>
                  <a:pt x="470" y="1907"/>
                  <a:pt x="461" y="1907"/>
                </a:cubicBezTo>
                <a:close/>
                <a:moveTo>
                  <a:pt x="577" y="1973"/>
                </a:moveTo>
                <a:cubicBezTo>
                  <a:pt x="570" y="1973"/>
                  <a:pt x="564" y="1970"/>
                  <a:pt x="560" y="1964"/>
                </a:cubicBezTo>
                <a:cubicBezTo>
                  <a:pt x="555" y="1958"/>
                  <a:pt x="553" y="1948"/>
                  <a:pt x="553" y="1937"/>
                </a:cubicBezTo>
                <a:cubicBezTo>
                  <a:pt x="553" y="1924"/>
                  <a:pt x="555" y="1914"/>
                  <a:pt x="560" y="1907"/>
                </a:cubicBezTo>
                <a:cubicBezTo>
                  <a:pt x="564" y="1900"/>
                  <a:pt x="571" y="1897"/>
                  <a:pt x="580" y="1897"/>
                </a:cubicBezTo>
                <a:cubicBezTo>
                  <a:pt x="596" y="1897"/>
                  <a:pt x="604" y="1910"/>
                  <a:pt x="604" y="1935"/>
                </a:cubicBezTo>
                <a:cubicBezTo>
                  <a:pt x="604" y="1948"/>
                  <a:pt x="602" y="1957"/>
                  <a:pt x="597" y="1964"/>
                </a:cubicBezTo>
                <a:cubicBezTo>
                  <a:pt x="592" y="1970"/>
                  <a:pt x="586" y="1973"/>
                  <a:pt x="577" y="1973"/>
                </a:cubicBezTo>
                <a:close/>
                <a:moveTo>
                  <a:pt x="579" y="1907"/>
                </a:moveTo>
                <a:cubicBezTo>
                  <a:pt x="570" y="1907"/>
                  <a:pt x="566" y="1916"/>
                  <a:pt x="566" y="1936"/>
                </a:cubicBezTo>
                <a:cubicBezTo>
                  <a:pt x="566" y="1954"/>
                  <a:pt x="570" y="1964"/>
                  <a:pt x="579" y="1964"/>
                </a:cubicBezTo>
                <a:cubicBezTo>
                  <a:pt x="587" y="1964"/>
                  <a:pt x="591" y="1954"/>
                  <a:pt x="591" y="1936"/>
                </a:cubicBezTo>
                <a:cubicBezTo>
                  <a:pt x="591" y="1916"/>
                  <a:pt x="588" y="1907"/>
                  <a:pt x="579" y="1907"/>
                </a:cubicBezTo>
                <a:close/>
                <a:moveTo>
                  <a:pt x="533" y="1900"/>
                </a:moveTo>
                <a:cubicBezTo>
                  <a:pt x="533" y="1900"/>
                  <a:pt x="533" y="1900"/>
                  <a:pt x="533" y="1900"/>
                </a:cubicBezTo>
                <a:cubicBezTo>
                  <a:pt x="528" y="1900"/>
                  <a:pt x="528" y="1900"/>
                  <a:pt x="528" y="1900"/>
                </a:cubicBezTo>
                <a:cubicBezTo>
                  <a:pt x="526" y="1901"/>
                  <a:pt x="524" y="1903"/>
                  <a:pt x="522" y="1903"/>
                </a:cubicBezTo>
                <a:cubicBezTo>
                  <a:pt x="521" y="1905"/>
                  <a:pt x="518" y="1906"/>
                  <a:pt x="517" y="1906"/>
                </a:cubicBezTo>
                <a:cubicBezTo>
                  <a:pt x="516" y="1907"/>
                  <a:pt x="513" y="1908"/>
                  <a:pt x="512" y="1908"/>
                </a:cubicBezTo>
                <a:cubicBezTo>
                  <a:pt x="510" y="1909"/>
                  <a:pt x="508" y="1910"/>
                  <a:pt x="506" y="1911"/>
                </a:cubicBezTo>
                <a:cubicBezTo>
                  <a:pt x="506" y="1911"/>
                  <a:pt x="506" y="1911"/>
                  <a:pt x="506" y="1921"/>
                </a:cubicBezTo>
                <a:cubicBezTo>
                  <a:pt x="509" y="1920"/>
                  <a:pt x="512" y="1919"/>
                  <a:pt x="514" y="1918"/>
                </a:cubicBezTo>
                <a:cubicBezTo>
                  <a:pt x="517" y="1917"/>
                  <a:pt x="519" y="1916"/>
                  <a:pt x="521" y="1914"/>
                </a:cubicBezTo>
                <a:cubicBezTo>
                  <a:pt x="521" y="1914"/>
                  <a:pt x="521" y="1914"/>
                  <a:pt x="521" y="1973"/>
                </a:cubicBezTo>
                <a:cubicBezTo>
                  <a:pt x="521" y="1973"/>
                  <a:pt x="521" y="1973"/>
                  <a:pt x="533" y="1973"/>
                </a:cubicBezTo>
                <a:cubicBezTo>
                  <a:pt x="533" y="1973"/>
                  <a:pt x="533" y="1973"/>
                  <a:pt x="533" y="1900"/>
                </a:cubicBezTo>
                <a:close/>
                <a:moveTo>
                  <a:pt x="648" y="1973"/>
                </a:moveTo>
                <a:cubicBezTo>
                  <a:pt x="641" y="1973"/>
                  <a:pt x="635" y="1970"/>
                  <a:pt x="631" y="1964"/>
                </a:cubicBezTo>
                <a:cubicBezTo>
                  <a:pt x="627" y="1958"/>
                  <a:pt x="624" y="1949"/>
                  <a:pt x="624" y="1937"/>
                </a:cubicBezTo>
                <a:cubicBezTo>
                  <a:pt x="624" y="1924"/>
                  <a:pt x="627" y="1914"/>
                  <a:pt x="631" y="1908"/>
                </a:cubicBezTo>
                <a:cubicBezTo>
                  <a:pt x="635" y="1901"/>
                  <a:pt x="642" y="1897"/>
                  <a:pt x="651" y="1897"/>
                </a:cubicBezTo>
                <a:cubicBezTo>
                  <a:pt x="667" y="1897"/>
                  <a:pt x="675" y="1910"/>
                  <a:pt x="675" y="1935"/>
                </a:cubicBezTo>
                <a:cubicBezTo>
                  <a:pt x="675" y="1948"/>
                  <a:pt x="673" y="1957"/>
                  <a:pt x="668" y="1964"/>
                </a:cubicBezTo>
                <a:cubicBezTo>
                  <a:pt x="663" y="1970"/>
                  <a:pt x="657" y="1973"/>
                  <a:pt x="648" y="1973"/>
                </a:cubicBezTo>
                <a:close/>
                <a:moveTo>
                  <a:pt x="650" y="1907"/>
                </a:moveTo>
                <a:cubicBezTo>
                  <a:pt x="641" y="1907"/>
                  <a:pt x="636" y="1917"/>
                  <a:pt x="636" y="1937"/>
                </a:cubicBezTo>
                <a:cubicBezTo>
                  <a:pt x="636" y="1955"/>
                  <a:pt x="640" y="1964"/>
                  <a:pt x="649" y="1964"/>
                </a:cubicBezTo>
                <a:cubicBezTo>
                  <a:pt x="658" y="1964"/>
                  <a:pt x="662" y="1955"/>
                  <a:pt x="662" y="1936"/>
                </a:cubicBezTo>
                <a:cubicBezTo>
                  <a:pt x="662" y="1916"/>
                  <a:pt x="658" y="1907"/>
                  <a:pt x="650" y="1907"/>
                </a:cubicBezTo>
                <a:close/>
                <a:moveTo>
                  <a:pt x="696" y="1932"/>
                </a:moveTo>
                <a:cubicBezTo>
                  <a:pt x="696" y="1932"/>
                  <a:pt x="696" y="1932"/>
                  <a:pt x="696" y="1932"/>
                </a:cubicBezTo>
                <a:cubicBezTo>
                  <a:pt x="695" y="1940"/>
                  <a:pt x="695" y="1940"/>
                  <a:pt x="695" y="1940"/>
                </a:cubicBezTo>
                <a:cubicBezTo>
                  <a:pt x="702" y="1941"/>
                  <a:pt x="702" y="1944"/>
                  <a:pt x="702" y="1946"/>
                </a:cubicBezTo>
                <a:cubicBezTo>
                  <a:pt x="702" y="1948"/>
                  <a:pt x="702" y="1951"/>
                  <a:pt x="702" y="1953"/>
                </a:cubicBezTo>
                <a:cubicBezTo>
                  <a:pt x="702" y="1956"/>
                  <a:pt x="701" y="1958"/>
                  <a:pt x="701" y="1960"/>
                </a:cubicBezTo>
                <a:cubicBezTo>
                  <a:pt x="701" y="1970"/>
                  <a:pt x="707" y="1973"/>
                  <a:pt x="716" y="1973"/>
                </a:cubicBezTo>
                <a:cubicBezTo>
                  <a:pt x="716" y="1973"/>
                  <a:pt x="716" y="1973"/>
                  <a:pt x="719" y="1973"/>
                </a:cubicBezTo>
                <a:cubicBezTo>
                  <a:pt x="719" y="1973"/>
                  <a:pt x="719" y="1973"/>
                  <a:pt x="719" y="1964"/>
                </a:cubicBezTo>
                <a:cubicBezTo>
                  <a:pt x="719" y="1964"/>
                  <a:pt x="719" y="1964"/>
                  <a:pt x="718" y="1964"/>
                </a:cubicBezTo>
                <a:cubicBezTo>
                  <a:pt x="714" y="1964"/>
                  <a:pt x="713" y="1962"/>
                  <a:pt x="713" y="1958"/>
                </a:cubicBezTo>
                <a:cubicBezTo>
                  <a:pt x="713" y="1957"/>
                  <a:pt x="713" y="1955"/>
                  <a:pt x="713" y="1953"/>
                </a:cubicBezTo>
                <a:cubicBezTo>
                  <a:pt x="713" y="1952"/>
                  <a:pt x="714" y="1950"/>
                  <a:pt x="714" y="1947"/>
                </a:cubicBezTo>
                <a:cubicBezTo>
                  <a:pt x="714" y="1940"/>
                  <a:pt x="711" y="1937"/>
                  <a:pt x="705" y="1936"/>
                </a:cubicBezTo>
                <a:cubicBezTo>
                  <a:pt x="705" y="1936"/>
                  <a:pt x="705" y="1936"/>
                  <a:pt x="705" y="1936"/>
                </a:cubicBezTo>
                <a:cubicBezTo>
                  <a:pt x="711" y="1935"/>
                  <a:pt x="714" y="1932"/>
                  <a:pt x="714" y="1925"/>
                </a:cubicBezTo>
                <a:cubicBezTo>
                  <a:pt x="714" y="1922"/>
                  <a:pt x="713" y="1920"/>
                  <a:pt x="713" y="1919"/>
                </a:cubicBezTo>
                <a:cubicBezTo>
                  <a:pt x="713" y="1917"/>
                  <a:pt x="713" y="1915"/>
                  <a:pt x="713" y="1914"/>
                </a:cubicBezTo>
                <a:cubicBezTo>
                  <a:pt x="713" y="1910"/>
                  <a:pt x="714" y="1908"/>
                  <a:pt x="718" y="1908"/>
                </a:cubicBezTo>
                <a:cubicBezTo>
                  <a:pt x="718" y="1908"/>
                  <a:pt x="718" y="1908"/>
                  <a:pt x="719" y="1908"/>
                </a:cubicBezTo>
                <a:cubicBezTo>
                  <a:pt x="719" y="1908"/>
                  <a:pt x="719" y="1908"/>
                  <a:pt x="719" y="1899"/>
                </a:cubicBezTo>
                <a:cubicBezTo>
                  <a:pt x="719" y="1899"/>
                  <a:pt x="719" y="1899"/>
                  <a:pt x="716" y="1899"/>
                </a:cubicBezTo>
                <a:cubicBezTo>
                  <a:pt x="707" y="1899"/>
                  <a:pt x="701" y="1903"/>
                  <a:pt x="701" y="1911"/>
                </a:cubicBezTo>
                <a:cubicBezTo>
                  <a:pt x="701" y="1914"/>
                  <a:pt x="702" y="1916"/>
                  <a:pt x="702" y="1919"/>
                </a:cubicBezTo>
                <a:cubicBezTo>
                  <a:pt x="702" y="1921"/>
                  <a:pt x="702" y="1924"/>
                  <a:pt x="702" y="1926"/>
                </a:cubicBezTo>
                <a:cubicBezTo>
                  <a:pt x="702" y="1928"/>
                  <a:pt x="702" y="1932"/>
                  <a:pt x="696" y="1932"/>
                </a:cubicBezTo>
                <a:close/>
                <a:moveTo>
                  <a:pt x="751" y="1940"/>
                </a:moveTo>
                <a:cubicBezTo>
                  <a:pt x="751" y="1940"/>
                  <a:pt x="751" y="1940"/>
                  <a:pt x="751" y="1940"/>
                </a:cubicBezTo>
                <a:cubicBezTo>
                  <a:pt x="751" y="1932"/>
                  <a:pt x="751" y="1932"/>
                  <a:pt x="751" y="1932"/>
                </a:cubicBezTo>
                <a:cubicBezTo>
                  <a:pt x="744" y="1932"/>
                  <a:pt x="744" y="1928"/>
                  <a:pt x="744" y="1926"/>
                </a:cubicBezTo>
                <a:cubicBezTo>
                  <a:pt x="744" y="1924"/>
                  <a:pt x="744" y="1921"/>
                  <a:pt x="744" y="1919"/>
                </a:cubicBezTo>
                <a:cubicBezTo>
                  <a:pt x="745" y="1916"/>
                  <a:pt x="745" y="1914"/>
                  <a:pt x="745" y="1911"/>
                </a:cubicBezTo>
                <a:cubicBezTo>
                  <a:pt x="745" y="1903"/>
                  <a:pt x="739" y="1899"/>
                  <a:pt x="730" y="1899"/>
                </a:cubicBezTo>
                <a:cubicBezTo>
                  <a:pt x="730" y="1899"/>
                  <a:pt x="730" y="1899"/>
                  <a:pt x="726" y="1899"/>
                </a:cubicBezTo>
                <a:cubicBezTo>
                  <a:pt x="726" y="1899"/>
                  <a:pt x="726" y="1899"/>
                  <a:pt x="726" y="1908"/>
                </a:cubicBezTo>
                <a:cubicBezTo>
                  <a:pt x="726" y="1908"/>
                  <a:pt x="726" y="1908"/>
                  <a:pt x="728" y="1908"/>
                </a:cubicBezTo>
                <a:cubicBezTo>
                  <a:pt x="731" y="1908"/>
                  <a:pt x="733" y="1910"/>
                  <a:pt x="733" y="1914"/>
                </a:cubicBezTo>
                <a:cubicBezTo>
                  <a:pt x="733" y="1915"/>
                  <a:pt x="732" y="1917"/>
                  <a:pt x="732" y="1919"/>
                </a:cubicBezTo>
                <a:cubicBezTo>
                  <a:pt x="732" y="1920"/>
                  <a:pt x="732" y="1922"/>
                  <a:pt x="732" y="1925"/>
                </a:cubicBezTo>
                <a:cubicBezTo>
                  <a:pt x="732" y="1932"/>
                  <a:pt x="735" y="1935"/>
                  <a:pt x="741" y="1936"/>
                </a:cubicBezTo>
                <a:cubicBezTo>
                  <a:pt x="741" y="1936"/>
                  <a:pt x="741" y="1936"/>
                  <a:pt x="741" y="1936"/>
                </a:cubicBezTo>
                <a:cubicBezTo>
                  <a:pt x="735" y="1937"/>
                  <a:pt x="732" y="1940"/>
                  <a:pt x="732" y="1947"/>
                </a:cubicBezTo>
                <a:cubicBezTo>
                  <a:pt x="732" y="1950"/>
                  <a:pt x="732" y="1952"/>
                  <a:pt x="732" y="1953"/>
                </a:cubicBezTo>
                <a:cubicBezTo>
                  <a:pt x="732" y="1955"/>
                  <a:pt x="733" y="1957"/>
                  <a:pt x="733" y="1958"/>
                </a:cubicBezTo>
                <a:cubicBezTo>
                  <a:pt x="733" y="1962"/>
                  <a:pt x="732" y="1964"/>
                  <a:pt x="728" y="1964"/>
                </a:cubicBezTo>
                <a:cubicBezTo>
                  <a:pt x="728" y="1964"/>
                  <a:pt x="728" y="1964"/>
                  <a:pt x="726" y="1964"/>
                </a:cubicBezTo>
                <a:cubicBezTo>
                  <a:pt x="726" y="1964"/>
                  <a:pt x="726" y="1964"/>
                  <a:pt x="726" y="1973"/>
                </a:cubicBezTo>
                <a:cubicBezTo>
                  <a:pt x="726" y="1973"/>
                  <a:pt x="726" y="1973"/>
                  <a:pt x="730" y="1973"/>
                </a:cubicBezTo>
                <a:cubicBezTo>
                  <a:pt x="739" y="1973"/>
                  <a:pt x="745" y="1970"/>
                  <a:pt x="745" y="1960"/>
                </a:cubicBezTo>
                <a:cubicBezTo>
                  <a:pt x="745" y="1958"/>
                  <a:pt x="745" y="1956"/>
                  <a:pt x="744" y="1953"/>
                </a:cubicBezTo>
                <a:cubicBezTo>
                  <a:pt x="744" y="1951"/>
                  <a:pt x="744" y="1948"/>
                  <a:pt x="744" y="1946"/>
                </a:cubicBezTo>
                <a:cubicBezTo>
                  <a:pt x="744" y="1944"/>
                  <a:pt x="744" y="1941"/>
                  <a:pt x="751" y="1940"/>
                </a:cubicBezTo>
                <a:close/>
                <a:moveTo>
                  <a:pt x="871" y="1973"/>
                </a:moveTo>
                <a:cubicBezTo>
                  <a:pt x="863" y="1973"/>
                  <a:pt x="857" y="1970"/>
                  <a:pt x="852" y="1964"/>
                </a:cubicBezTo>
                <a:cubicBezTo>
                  <a:pt x="849" y="1958"/>
                  <a:pt x="847" y="1949"/>
                  <a:pt x="847" y="1937"/>
                </a:cubicBezTo>
                <a:cubicBezTo>
                  <a:pt x="847" y="1924"/>
                  <a:pt x="849" y="1914"/>
                  <a:pt x="853" y="1908"/>
                </a:cubicBezTo>
                <a:cubicBezTo>
                  <a:pt x="858" y="1901"/>
                  <a:pt x="864" y="1897"/>
                  <a:pt x="873" y="1897"/>
                </a:cubicBezTo>
                <a:cubicBezTo>
                  <a:pt x="889" y="1897"/>
                  <a:pt x="897" y="1910"/>
                  <a:pt x="897" y="1935"/>
                </a:cubicBezTo>
                <a:cubicBezTo>
                  <a:pt x="897" y="1948"/>
                  <a:pt x="895" y="1957"/>
                  <a:pt x="890" y="1964"/>
                </a:cubicBezTo>
                <a:cubicBezTo>
                  <a:pt x="885" y="1970"/>
                  <a:pt x="879" y="1973"/>
                  <a:pt x="871" y="1973"/>
                </a:cubicBezTo>
                <a:close/>
                <a:moveTo>
                  <a:pt x="872" y="1907"/>
                </a:moveTo>
                <a:cubicBezTo>
                  <a:pt x="863" y="1907"/>
                  <a:pt x="858" y="1917"/>
                  <a:pt x="858" y="1937"/>
                </a:cubicBezTo>
                <a:cubicBezTo>
                  <a:pt x="858" y="1955"/>
                  <a:pt x="863" y="1964"/>
                  <a:pt x="871" y="1964"/>
                </a:cubicBezTo>
                <a:cubicBezTo>
                  <a:pt x="880" y="1964"/>
                  <a:pt x="885" y="1955"/>
                  <a:pt x="885" y="1936"/>
                </a:cubicBezTo>
                <a:cubicBezTo>
                  <a:pt x="885" y="1916"/>
                  <a:pt x="880" y="1907"/>
                  <a:pt x="872" y="1907"/>
                </a:cubicBezTo>
                <a:close/>
                <a:moveTo>
                  <a:pt x="944" y="1900"/>
                </a:moveTo>
                <a:cubicBezTo>
                  <a:pt x="944" y="1900"/>
                  <a:pt x="944" y="1900"/>
                  <a:pt x="944" y="1900"/>
                </a:cubicBezTo>
                <a:cubicBezTo>
                  <a:pt x="939" y="1900"/>
                  <a:pt x="939" y="1900"/>
                  <a:pt x="939" y="1900"/>
                </a:cubicBezTo>
                <a:cubicBezTo>
                  <a:pt x="937" y="1901"/>
                  <a:pt x="936" y="1903"/>
                  <a:pt x="934" y="1903"/>
                </a:cubicBezTo>
                <a:cubicBezTo>
                  <a:pt x="932" y="1905"/>
                  <a:pt x="930" y="1906"/>
                  <a:pt x="929" y="1906"/>
                </a:cubicBezTo>
                <a:cubicBezTo>
                  <a:pt x="926" y="1907"/>
                  <a:pt x="925" y="1908"/>
                  <a:pt x="923" y="1908"/>
                </a:cubicBezTo>
                <a:cubicBezTo>
                  <a:pt x="921" y="1909"/>
                  <a:pt x="920" y="1910"/>
                  <a:pt x="918" y="1911"/>
                </a:cubicBezTo>
                <a:cubicBezTo>
                  <a:pt x="918" y="1911"/>
                  <a:pt x="918" y="1911"/>
                  <a:pt x="918" y="1921"/>
                </a:cubicBezTo>
                <a:cubicBezTo>
                  <a:pt x="921" y="1920"/>
                  <a:pt x="923" y="1919"/>
                  <a:pt x="926" y="1918"/>
                </a:cubicBezTo>
                <a:cubicBezTo>
                  <a:pt x="929" y="1917"/>
                  <a:pt x="931" y="1916"/>
                  <a:pt x="933" y="1914"/>
                </a:cubicBezTo>
                <a:cubicBezTo>
                  <a:pt x="933" y="1914"/>
                  <a:pt x="933" y="1914"/>
                  <a:pt x="933" y="1973"/>
                </a:cubicBezTo>
                <a:cubicBezTo>
                  <a:pt x="933" y="1973"/>
                  <a:pt x="933" y="1973"/>
                  <a:pt x="944" y="1973"/>
                </a:cubicBezTo>
                <a:cubicBezTo>
                  <a:pt x="944" y="1973"/>
                  <a:pt x="944" y="1973"/>
                  <a:pt x="944" y="1900"/>
                </a:cubicBezTo>
                <a:close/>
                <a:moveTo>
                  <a:pt x="777" y="1973"/>
                </a:moveTo>
                <a:cubicBezTo>
                  <a:pt x="780" y="1954"/>
                  <a:pt x="780" y="1954"/>
                  <a:pt x="780" y="1954"/>
                </a:cubicBezTo>
                <a:cubicBezTo>
                  <a:pt x="771" y="1954"/>
                  <a:pt x="771" y="1954"/>
                  <a:pt x="771" y="1954"/>
                </a:cubicBezTo>
                <a:cubicBezTo>
                  <a:pt x="771" y="1942"/>
                  <a:pt x="771" y="1942"/>
                  <a:pt x="771" y="1942"/>
                </a:cubicBezTo>
                <a:cubicBezTo>
                  <a:pt x="782" y="1942"/>
                  <a:pt x="782" y="1942"/>
                  <a:pt x="782" y="1942"/>
                </a:cubicBezTo>
                <a:cubicBezTo>
                  <a:pt x="783" y="1931"/>
                  <a:pt x="783" y="1931"/>
                  <a:pt x="783" y="1931"/>
                </a:cubicBezTo>
                <a:cubicBezTo>
                  <a:pt x="774" y="1931"/>
                  <a:pt x="774" y="1931"/>
                  <a:pt x="774" y="1931"/>
                </a:cubicBezTo>
                <a:cubicBezTo>
                  <a:pt x="774" y="1919"/>
                  <a:pt x="774" y="1919"/>
                  <a:pt x="774" y="1919"/>
                </a:cubicBezTo>
                <a:cubicBezTo>
                  <a:pt x="785" y="1919"/>
                  <a:pt x="785" y="1919"/>
                  <a:pt x="785" y="1919"/>
                </a:cubicBezTo>
                <a:cubicBezTo>
                  <a:pt x="788" y="1901"/>
                  <a:pt x="788" y="1901"/>
                  <a:pt x="788" y="1901"/>
                </a:cubicBezTo>
                <a:cubicBezTo>
                  <a:pt x="799" y="1901"/>
                  <a:pt x="799" y="1901"/>
                  <a:pt x="799" y="1901"/>
                </a:cubicBezTo>
                <a:cubicBezTo>
                  <a:pt x="796" y="1919"/>
                  <a:pt x="796" y="1919"/>
                  <a:pt x="796" y="1919"/>
                </a:cubicBezTo>
                <a:cubicBezTo>
                  <a:pt x="806" y="1919"/>
                  <a:pt x="806" y="1919"/>
                  <a:pt x="806" y="1919"/>
                </a:cubicBezTo>
                <a:cubicBezTo>
                  <a:pt x="809" y="1901"/>
                  <a:pt x="809" y="1901"/>
                  <a:pt x="809" y="1901"/>
                </a:cubicBezTo>
                <a:cubicBezTo>
                  <a:pt x="820" y="1901"/>
                  <a:pt x="820" y="1901"/>
                  <a:pt x="820" y="1901"/>
                </a:cubicBezTo>
                <a:cubicBezTo>
                  <a:pt x="817" y="1919"/>
                  <a:pt x="817" y="1919"/>
                  <a:pt x="817" y="1919"/>
                </a:cubicBezTo>
                <a:cubicBezTo>
                  <a:pt x="826" y="1919"/>
                  <a:pt x="826" y="1919"/>
                  <a:pt x="826" y="1919"/>
                </a:cubicBezTo>
                <a:cubicBezTo>
                  <a:pt x="826" y="1931"/>
                  <a:pt x="826" y="1931"/>
                  <a:pt x="826" y="1931"/>
                </a:cubicBezTo>
                <a:cubicBezTo>
                  <a:pt x="815" y="1931"/>
                  <a:pt x="815" y="1931"/>
                  <a:pt x="815" y="1931"/>
                </a:cubicBezTo>
                <a:cubicBezTo>
                  <a:pt x="813" y="1942"/>
                  <a:pt x="813" y="1942"/>
                  <a:pt x="813" y="1942"/>
                </a:cubicBezTo>
                <a:cubicBezTo>
                  <a:pt x="823" y="1942"/>
                  <a:pt x="823" y="1942"/>
                  <a:pt x="823" y="1942"/>
                </a:cubicBezTo>
                <a:cubicBezTo>
                  <a:pt x="823" y="1954"/>
                  <a:pt x="823" y="1954"/>
                  <a:pt x="823" y="1954"/>
                </a:cubicBezTo>
                <a:cubicBezTo>
                  <a:pt x="812" y="1954"/>
                  <a:pt x="812" y="1954"/>
                  <a:pt x="812" y="1954"/>
                </a:cubicBezTo>
                <a:cubicBezTo>
                  <a:pt x="809" y="1973"/>
                  <a:pt x="809" y="1973"/>
                  <a:pt x="809" y="1973"/>
                </a:cubicBezTo>
                <a:cubicBezTo>
                  <a:pt x="798" y="1973"/>
                  <a:pt x="798" y="1973"/>
                  <a:pt x="798" y="1973"/>
                </a:cubicBezTo>
                <a:cubicBezTo>
                  <a:pt x="801" y="1954"/>
                  <a:pt x="801" y="1954"/>
                  <a:pt x="801" y="1954"/>
                </a:cubicBezTo>
                <a:cubicBezTo>
                  <a:pt x="791" y="1954"/>
                  <a:pt x="791" y="1954"/>
                  <a:pt x="791" y="1954"/>
                </a:cubicBezTo>
                <a:cubicBezTo>
                  <a:pt x="788" y="1973"/>
                  <a:pt x="788" y="1973"/>
                  <a:pt x="788" y="1973"/>
                </a:cubicBezTo>
                <a:cubicBezTo>
                  <a:pt x="777" y="1973"/>
                  <a:pt x="777" y="1973"/>
                  <a:pt x="777" y="1973"/>
                </a:cubicBezTo>
                <a:cubicBezTo>
                  <a:pt x="777" y="1973"/>
                  <a:pt x="777" y="1973"/>
                  <a:pt x="777" y="1973"/>
                </a:cubicBezTo>
                <a:close/>
                <a:moveTo>
                  <a:pt x="802" y="1942"/>
                </a:moveTo>
                <a:cubicBezTo>
                  <a:pt x="804" y="1931"/>
                  <a:pt x="804" y="1931"/>
                  <a:pt x="804" y="1931"/>
                </a:cubicBezTo>
                <a:cubicBezTo>
                  <a:pt x="794" y="1931"/>
                  <a:pt x="794" y="1931"/>
                  <a:pt x="794" y="1931"/>
                </a:cubicBezTo>
                <a:cubicBezTo>
                  <a:pt x="793" y="1942"/>
                  <a:pt x="793" y="1942"/>
                  <a:pt x="793" y="1942"/>
                </a:cubicBezTo>
                <a:cubicBezTo>
                  <a:pt x="802" y="1942"/>
                  <a:pt x="802" y="1942"/>
                  <a:pt x="802" y="1942"/>
                </a:cubicBezTo>
                <a:cubicBezTo>
                  <a:pt x="802" y="1942"/>
                  <a:pt x="802" y="1942"/>
                  <a:pt x="802" y="1942"/>
                </a:cubicBezTo>
                <a:close/>
                <a:moveTo>
                  <a:pt x="320" y="1900"/>
                </a:moveTo>
                <a:cubicBezTo>
                  <a:pt x="320" y="1900"/>
                  <a:pt x="320" y="1900"/>
                  <a:pt x="320" y="1900"/>
                </a:cubicBezTo>
                <a:cubicBezTo>
                  <a:pt x="315" y="1900"/>
                  <a:pt x="315" y="1900"/>
                  <a:pt x="315" y="1900"/>
                </a:cubicBezTo>
                <a:cubicBezTo>
                  <a:pt x="313" y="1901"/>
                  <a:pt x="312" y="1903"/>
                  <a:pt x="310" y="1903"/>
                </a:cubicBezTo>
                <a:cubicBezTo>
                  <a:pt x="308" y="1905"/>
                  <a:pt x="307" y="1906"/>
                  <a:pt x="305" y="1906"/>
                </a:cubicBezTo>
                <a:cubicBezTo>
                  <a:pt x="303" y="1908"/>
                  <a:pt x="301" y="1908"/>
                  <a:pt x="299" y="1909"/>
                </a:cubicBezTo>
                <a:cubicBezTo>
                  <a:pt x="297" y="1910"/>
                  <a:pt x="296" y="1911"/>
                  <a:pt x="294" y="1911"/>
                </a:cubicBezTo>
                <a:cubicBezTo>
                  <a:pt x="294" y="1911"/>
                  <a:pt x="294" y="1911"/>
                  <a:pt x="294" y="1921"/>
                </a:cubicBezTo>
                <a:cubicBezTo>
                  <a:pt x="297" y="1920"/>
                  <a:pt x="299" y="1919"/>
                  <a:pt x="302" y="1918"/>
                </a:cubicBezTo>
                <a:cubicBezTo>
                  <a:pt x="305" y="1917"/>
                  <a:pt x="307" y="1916"/>
                  <a:pt x="309" y="1914"/>
                </a:cubicBezTo>
                <a:cubicBezTo>
                  <a:pt x="309" y="1914"/>
                  <a:pt x="309" y="1914"/>
                  <a:pt x="309" y="1973"/>
                </a:cubicBezTo>
                <a:cubicBezTo>
                  <a:pt x="309" y="1973"/>
                  <a:pt x="309" y="1973"/>
                  <a:pt x="320" y="1973"/>
                </a:cubicBezTo>
                <a:cubicBezTo>
                  <a:pt x="320" y="1973"/>
                  <a:pt x="320" y="1973"/>
                  <a:pt x="320" y="1900"/>
                </a:cubicBezTo>
                <a:close/>
                <a:moveTo>
                  <a:pt x="368" y="1900"/>
                </a:moveTo>
                <a:cubicBezTo>
                  <a:pt x="368" y="1900"/>
                  <a:pt x="368" y="1900"/>
                  <a:pt x="368" y="1900"/>
                </a:cubicBezTo>
                <a:cubicBezTo>
                  <a:pt x="363" y="1900"/>
                  <a:pt x="363" y="1900"/>
                  <a:pt x="363" y="1900"/>
                </a:cubicBezTo>
                <a:cubicBezTo>
                  <a:pt x="361" y="1901"/>
                  <a:pt x="359" y="1903"/>
                  <a:pt x="357" y="1903"/>
                </a:cubicBezTo>
                <a:cubicBezTo>
                  <a:pt x="356" y="1905"/>
                  <a:pt x="353" y="1906"/>
                  <a:pt x="352" y="1906"/>
                </a:cubicBezTo>
                <a:cubicBezTo>
                  <a:pt x="351" y="1908"/>
                  <a:pt x="348" y="1908"/>
                  <a:pt x="347" y="1909"/>
                </a:cubicBezTo>
                <a:cubicBezTo>
                  <a:pt x="345" y="1910"/>
                  <a:pt x="343" y="1911"/>
                  <a:pt x="341" y="1911"/>
                </a:cubicBezTo>
                <a:cubicBezTo>
                  <a:pt x="341" y="1911"/>
                  <a:pt x="341" y="1911"/>
                  <a:pt x="341" y="1921"/>
                </a:cubicBezTo>
                <a:cubicBezTo>
                  <a:pt x="344" y="1920"/>
                  <a:pt x="347" y="1919"/>
                  <a:pt x="349" y="1918"/>
                </a:cubicBezTo>
                <a:cubicBezTo>
                  <a:pt x="352" y="1917"/>
                  <a:pt x="354" y="1916"/>
                  <a:pt x="356" y="1914"/>
                </a:cubicBezTo>
                <a:cubicBezTo>
                  <a:pt x="356" y="1914"/>
                  <a:pt x="356" y="1914"/>
                  <a:pt x="356" y="1973"/>
                </a:cubicBezTo>
                <a:cubicBezTo>
                  <a:pt x="356" y="1973"/>
                  <a:pt x="356" y="1973"/>
                  <a:pt x="368" y="1973"/>
                </a:cubicBezTo>
                <a:cubicBezTo>
                  <a:pt x="368" y="1973"/>
                  <a:pt x="368" y="1973"/>
                  <a:pt x="368" y="1900"/>
                </a:cubicBezTo>
                <a:close/>
                <a:moveTo>
                  <a:pt x="415" y="1900"/>
                </a:moveTo>
                <a:cubicBezTo>
                  <a:pt x="415" y="1900"/>
                  <a:pt x="415" y="1900"/>
                  <a:pt x="415" y="1900"/>
                </a:cubicBezTo>
                <a:cubicBezTo>
                  <a:pt x="410" y="1900"/>
                  <a:pt x="410" y="1900"/>
                  <a:pt x="410" y="1900"/>
                </a:cubicBezTo>
                <a:cubicBezTo>
                  <a:pt x="408" y="1901"/>
                  <a:pt x="407" y="1903"/>
                  <a:pt x="404" y="1903"/>
                </a:cubicBezTo>
                <a:cubicBezTo>
                  <a:pt x="403" y="1905"/>
                  <a:pt x="401" y="1906"/>
                  <a:pt x="399" y="1906"/>
                </a:cubicBezTo>
                <a:cubicBezTo>
                  <a:pt x="397" y="1907"/>
                  <a:pt x="396" y="1908"/>
                  <a:pt x="394" y="1908"/>
                </a:cubicBezTo>
                <a:cubicBezTo>
                  <a:pt x="392" y="1909"/>
                  <a:pt x="390" y="1910"/>
                  <a:pt x="389" y="1911"/>
                </a:cubicBezTo>
                <a:cubicBezTo>
                  <a:pt x="389" y="1911"/>
                  <a:pt x="389" y="1911"/>
                  <a:pt x="389" y="1921"/>
                </a:cubicBezTo>
                <a:cubicBezTo>
                  <a:pt x="392" y="1920"/>
                  <a:pt x="394" y="1919"/>
                  <a:pt x="397" y="1918"/>
                </a:cubicBezTo>
                <a:cubicBezTo>
                  <a:pt x="399" y="1917"/>
                  <a:pt x="402" y="1916"/>
                  <a:pt x="403" y="1914"/>
                </a:cubicBezTo>
                <a:cubicBezTo>
                  <a:pt x="403" y="1914"/>
                  <a:pt x="403" y="1914"/>
                  <a:pt x="403" y="1973"/>
                </a:cubicBezTo>
                <a:cubicBezTo>
                  <a:pt x="403" y="1973"/>
                  <a:pt x="403" y="1973"/>
                  <a:pt x="415" y="1973"/>
                </a:cubicBezTo>
                <a:cubicBezTo>
                  <a:pt x="415" y="1973"/>
                  <a:pt x="415" y="1973"/>
                  <a:pt x="415" y="1900"/>
                </a:cubicBezTo>
                <a:close/>
                <a:moveTo>
                  <a:pt x="622" y="1804"/>
                </a:moveTo>
                <a:cubicBezTo>
                  <a:pt x="622" y="1804"/>
                  <a:pt x="622" y="1804"/>
                  <a:pt x="622" y="1804"/>
                </a:cubicBezTo>
                <a:cubicBezTo>
                  <a:pt x="617" y="1804"/>
                  <a:pt x="617" y="1804"/>
                  <a:pt x="617" y="1804"/>
                </a:cubicBezTo>
                <a:cubicBezTo>
                  <a:pt x="615" y="1806"/>
                  <a:pt x="613" y="1807"/>
                  <a:pt x="611" y="1808"/>
                </a:cubicBezTo>
                <a:cubicBezTo>
                  <a:pt x="610" y="1809"/>
                  <a:pt x="607" y="1810"/>
                  <a:pt x="606" y="1811"/>
                </a:cubicBezTo>
                <a:cubicBezTo>
                  <a:pt x="604" y="1811"/>
                  <a:pt x="602" y="1812"/>
                  <a:pt x="601" y="1813"/>
                </a:cubicBezTo>
                <a:cubicBezTo>
                  <a:pt x="599" y="1814"/>
                  <a:pt x="597" y="1814"/>
                  <a:pt x="595" y="1815"/>
                </a:cubicBezTo>
                <a:cubicBezTo>
                  <a:pt x="595" y="1815"/>
                  <a:pt x="595" y="1815"/>
                  <a:pt x="595" y="1825"/>
                </a:cubicBezTo>
                <a:cubicBezTo>
                  <a:pt x="598" y="1824"/>
                  <a:pt x="601" y="1823"/>
                  <a:pt x="603" y="1822"/>
                </a:cubicBezTo>
                <a:cubicBezTo>
                  <a:pt x="606" y="1822"/>
                  <a:pt x="608" y="1820"/>
                  <a:pt x="610" y="1819"/>
                </a:cubicBezTo>
                <a:cubicBezTo>
                  <a:pt x="610" y="1819"/>
                  <a:pt x="610" y="1819"/>
                  <a:pt x="610" y="1877"/>
                </a:cubicBezTo>
                <a:cubicBezTo>
                  <a:pt x="610" y="1877"/>
                  <a:pt x="610" y="1877"/>
                  <a:pt x="622" y="1877"/>
                </a:cubicBezTo>
                <a:cubicBezTo>
                  <a:pt x="622" y="1877"/>
                  <a:pt x="622" y="1877"/>
                  <a:pt x="622" y="1804"/>
                </a:cubicBezTo>
                <a:close/>
                <a:moveTo>
                  <a:pt x="668" y="1804"/>
                </a:moveTo>
                <a:cubicBezTo>
                  <a:pt x="668" y="1804"/>
                  <a:pt x="668" y="1804"/>
                  <a:pt x="668" y="1804"/>
                </a:cubicBezTo>
                <a:cubicBezTo>
                  <a:pt x="663" y="1804"/>
                  <a:pt x="663" y="1804"/>
                  <a:pt x="663" y="1804"/>
                </a:cubicBezTo>
                <a:cubicBezTo>
                  <a:pt x="661" y="1806"/>
                  <a:pt x="660" y="1807"/>
                  <a:pt x="658" y="1808"/>
                </a:cubicBezTo>
                <a:cubicBezTo>
                  <a:pt x="656" y="1809"/>
                  <a:pt x="654" y="1810"/>
                  <a:pt x="653" y="1811"/>
                </a:cubicBezTo>
                <a:cubicBezTo>
                  <a:pt x="651" y="1812"/>
                  <a:pt x="649" y="1813"/>
                  <a:pt x="647" y="1814"/>
                </a:cubicBezTo>
                <a:cubicBezTo>
                  <a:pt x="645" y="1814"/>
                  <a:pt x="644" y="1815"/>
                  <a:pt x="642" y="1815"/>
                </a:cubicBezTo>
                <a:cubicBezTo>
                  <a:pt x="642" y="1815"/>
                  <a:pt x="642" y="1815"/>
                  <a:pt x="642" y="1825"/>
                </a:cubicBezTo>
                <a:cubicBezTo>
                  <a:pt x="645" y="1824"/>
                  <a:pt x="647" y="1824"/>
                  <a:pt x="650" y="1822"/>
                </a:cubicBezTo>
                <a:cubicBezTo>
                  <a:pt x="653" y="1822"/>
                  <a:pt x="655" y="1820"/>
                  <a:pt x="657" y="1819"/>
                </a:cubicBezTo>
                <a:cubicBezTo>
                  <a:pt x="657" y="1819"/>
                  <a:pt x="657" y="1819"/>
                  <a:pt x="657" y="1877"/>
                </a:cubicBezTo>
                <a:cubicBezTo>
                  <a:pt x="657" y="1877"/>
                  <a:pt x="657" y="1877"/>
                  <a:pt x="668" y="1877"/>
                </a:cubicBezTo>
                <a:cubicBezTo>
                  <a:pt x="668" y="1877"/>
                  <a:pt x="668" y="1877"/>
                  <a:pt x="668" y="1804"/>
                </a:cubicBezTo>
                <a:close/>
                <a:moveTo>
                  <a:pt x="714" y="1804"/>
                </a:moveTo>
                <a:cubicBezTo>
                  <a:pt x="714" y="1804"/>
                  <a:pt x="714" y="1804"/>
                  <a:pt x="714" y="1804"/>
                </a:cubicBezTo>
                <a:cubicBezTo>
                  <a:pt x="710" y="1804"/>
                  <a:pt x="710" y="1804"/>
                  <a:pt x="710" y="1804"/>
                </a:cubicBezTo>
                <a:cubicBezTo>
                  <a:pt x="708" y="1806"/>
                  <a:pt x="706" y="1807"/>
                  <a:pt x="704" y="1808"/>
                </a:cubicBezTo>
                <a:cubicBezTo>
                  <a:pt x="703" y="1809"/>
                  <a:pt x="700" y="1810"/>
                  <a:pt x="699" y="1811"/>
                </a:cubicBezTo>
                <a:cubicBezTo>
                  <a:pt x="697" y="1812"/>
                  <a:pt x="695" y="1813"/>
                  <a:pt x="693" y="1814"/>
                </a:cubicBezTo>
                <a:cubicBezTo>
                  <a:pt x="692" y="1814"/>
                  <a:pt x="690" y="1815"/>
                  <a:pt x="688" y="1815"/>
                </a:cubicBezTo>
                <a:cubicBezTo>
                  <a:pt x="688" y="1815"/>
                  <a:pt x="688" y="1815"/>
                  <a:pt x="688" y="1825"/>
                </a:cubicBezTo>
                <a:cubicBezTo>
                  <a:pt x="691" y="1824"/>
                  <a:pt x="694" y="1824"/>
                  <a:pt x="696" y="1822"/>
                </a:cubicBezTo>
                <a:cubicBezTo>
                  <a:pt x="698" y="1822"/>
                  <a:pt x="701" y="1820"/>
                  <a:pt x="703" y="1819"/>
                </a:cubicBezTo>
                <a:cubicBezTo>
                  <a:pt x="703" y="1819"/>
                  <a:pt x="703" y="1819"/>
                  <a:pt x="703" y="1877"/>
                </a:cubicBezTo>
                <a:cubicBezTo>
                  <a:pt x="703" y="1877"/>
                  <a:pt x="703" y="1877"/>
                  <a:pt x="714" y="1877"/>
                </a:cubicBezTo>
                <a:cubicBezTo>
                  <a:pt x="714" y="1877"/>
                  <a:pt x="714" y="1877"/>
                  <a:pt x="714" y="1804"/>
                </a:cubicBezTo>
                <a:close/>
                <a:moveTo>
                  <a:pt x="761" y="1804"/>
                </a:moveTo>
                <a:cubicBezTo>
                  <a:pt x="761" y="1804"/>
                  <a:pt x="761" y="1804"/>
                  <a:pt x="761" y="1804"/>
                </a:cubicBezTo>
                <a:cubicBezTo>
                  <a:pt x="756" y="1804"/>
                  <a:pt x="756" y="1804"/>
                  <a:pt x="756" y="1804"/>
                </a:cubicBezTo>
                <a:cubicBezTo>
                  <a:pt x="754" y="1806"/>
                  <a:pt x="752" y="1807"/>
                  <a:pt x="750" y="1808"/>
                </a:cubicBezTo>
                <a:cubicBezTo>
                  <a:pt x="749" y="1809"/>
                  <a:pt x="747" y="1810"/>
                  <a:pt x="745" y="1811"/>
                </a:cubicBezTo>
                <a:cubicBezTo>
                  <a:pt x="744" y="1812"/>
                  <a:pt x="742" y="1813"/>
                  <a:pt x="740" y="1814"/>
                </a:cubicBezTo>
                <a:cubicBezTo>
                  <a:pt x="738" y="1814"/>
                  <a:pt x="736" y="1815"/>
                  <a:pt x="734" y="1815"/>
                </a:cubicBezTo>
                <a:cubicBezTo>
                  <a:pt x="734" y="1815"/>
                  <a:pt x="734" y="1815"/>
                  <a:pt x="734" y="1825"/>
                </a:cubicBezTo>
                <a:cubicBezTo>
                  <a:pt x="737" y="1824"/>
                  <a:pt x="740" y="1824"/>
                  <a:pt x="742" y="1822"/>
                </a:cubicBezTo>
                <a:cubicBezTo>
                  <a:pt x="745" y="1822"/>
                  <a:pt x="747" y="1820"/>
                  <a:pt x="750" y="1819"/>
                </a:cubicBezTo>
                <a:cubicBezTo>
                  <a:pt x="750" y="1819"/>
                  <a:pt x="750" y="1819"/>
                  <a:pt x="750" y="1877"/>
                </a:cubicBezTo>
                <a:cubicBezTo>
                  <a:pt x="750" y="1877"/>
                  <a:pt x="750" y="1877"/>
                  <a:pt x="761" y="1877"/>
                </a:cubicBezTo>
                <a:cubicBezTo>
                  <a:pt x="761" y="1877"/>
                  <a:pt x="761" y="1877"/>
                  <a:pt x="761" y="1804"/>
                </a:cubicBezTo>
                <a:close/>
                <a:moveTo>
                  <a:pt x="883" y="1804"/>
                </a:moveTo>
                <a:cubicBezTo>
                  <a:pt x="883" y="1804"/>
                  <a:pt x="883" y="1804"/>
                  <a:pt x="883" y="1804"/>
                </a:cubicBezTo>
                <a:cubicBezTo>
                  <a:pt x="878" y="1804"/>
                  <a:pt x="878" y="1804"/>
                  <a:pt x="878" y="1804"/>
                </a:cubicBezTo>
                <a:cubicBezTo>
                  <a:pt x="876" y="1806"/>
                  <a:pt x="874" y="1807"/>
                  <a:pt x="872" y="1808"/>
                </a:cubicBezTo>
                <a:cubicBezTo>
                  <a:pt x="870" y="1809"/>
                  <a:pt x="869" y="1810"/>
                  <a:pt x="867" y="1811"/>
                </a:cubicBezTo>
                <a:cubicBezTo>
                  <a:pt x="865" y="1812"/>
                  <a:pt x="863" y="1813"/>
                  <a:pt x="862" y="1814"/>
                </a:cubicBezTo>
                <a:cubicBezTo>
                  <a:pt x="859" y="1814"/>
                  <a:pt x="858" y="1815"/>
                  <a:pt x="856" y="1815"/>
                </a:cubicBezTo>
                <a:cubicBezTo>
                  <a:pt x="856" y="1815"/>
                  <a:pt x="856" y="1815"/>
                  <a:pt x="856" y="1825"/>
                </a:cubicBezTo>
                <a:cubicBezTo>
                  <a:pt x="859" y="1824"/>
                  <a:pt x="862" y="1824"/>
                  <a:pt x="865" y="1822"/>
                </a:cubicBezTo>
                <a:cubicBezTo>
                  <a:pt x="867" y="1822"/>
                  <a:pt x="869" y="1820"/>
                  <a:pt x="871" y="1819"/>
                </a:cubicBezTo>
                <a:cubicBezTo>
                  <a:pt x="871" y="1819"/>
                  <a:pt x="871" y="1819"/>
                  <a:pt x="871" y="1877"/>
                </a:cubicBezTo>
                <a:cubicBezTo>
                  <a:pt x="871" y="1877"/>
                  <a:pt x="871" y="1877"/>
                  <a:pt x="883" y="1877"/>
                </a:cubicBezTo>
                <a:cubicBezTo>
                  <a:pt x="883" y="1877"/>
                  <a:pt x="883" y="1877"/>
                  <a:pt x="883" y="1804"/>
                </a:cubicBezTo>
                <a:close/>
                <a:moveTo>
                  <a:pt x="930" y="1804"/>
                </a:moveTo>
                <a:cubicBezTo>
                  <a:pt x="930" y="1804"/>
                  <a:pt x="930" y="1804"/>
                  <a:pt x="930" y="1804"/>
                </a:cubicBezTo>
                <a:cubicBezTo>
                  <a:pt x="925" y="1804"/>
                  <a:pt x="925" y="1804"/>
                  <a:pt x="925" y="1804"/>
                </a:cubicBezTo>
                <a:cubicBezTo>
                  <a:pt x="922" y="1806"/>
                  <a:pt x="921" y="1807"/>
                  <a:pt x="919" y="1808"/>
                </a:cubicBezTo>
                <a:cubicBezTo>
                  <a:pt x="917" y="1809"/>
                  <a:pt x="915" y="1810"/>
                  <a:pt x="914" y="1811"/>
                </a:cubicBezTo>
                <a:cubicBezTo>
                  <a:pt x="912" y="1812"/>
                  <a:pt x="910" y="1813"/>
                  <a:pt x="909" y="1814"/>
                </a:cubicBezTo>
                <a:cubicBezTo>
                  <a:pt x="906" y="1814"/>
                  <a:pt x="905" y="1815"/>
                  <a:pt x="903" y="1815"/>
                </a:cubicBezTo>
                <a:cubicBezTo>
                  <a:pt x="903" y="1815"/>
                  <a:pt x="903" y="1815"/>
                  <a:pt x="903" y="1825"/>
                </a:cubicBezTo>
                <a:cubicBezTo>
                  <a:pt x="906" y="1824"/>
                  <a:pt x="909" y="1824"/>
                  <a:pt x="911" y="1822"/>
                </a:cubicBezTo>
                <a:cubicBezTo>
                  <a:pt x="914" y="1822"/>
                  <a:pt x="916" y="1820"/>
                  <a:pt x="918" y="1819"/>
                </a:cubicBezTo>
                <a:cubicBezTo>
                  <a:pt x="918" y="1819"/>
                  <a:pt x="918" y="1819"/>
                  <a:pt x="918" y="1877"/>
                </a:cubicBezTo>
                <a:cubicBezTo>
                  <a:pt x="918" y="1877"/>
                  <a:pt x="918" y="1877"/>
                  <a:pt x="930" y="1877"/>
                </a:cubicBezTo>
                <a:cubicBezTo>
                  <a:pt x="930" y="1877"/>
                  <a:pt x="930" y="1877"/>
                  <a:pt x="930" y="1804"/>
                </a:cubicBezTo>
                <a:close/>
                <a:moveTo>
                  <a:pt x="781" y="1836"/>
                </a:moveTo>
                <a:cubicBezTo>
                  <a:pt x="781" y="1836"/>
                  <a:pt x="781" y="1836"/>
                  <a:pt x="781" y="1836"/>
                </a:cubicBezTo>
                <a:cubicBezTo>
                  <a:pt x="781" y="1844"/>
                  <a:pt x="781" y="1844"/>
                  <a:pt x="781" y="1844"/>
                </a:cubicBezTo>
                <a:cubicBezTo>
                  <a:pt x="787" y="1845"/>
                  <a:pt x="788" y="1848"/>
                  <a:pt x="788" y="1850"/>
                </a:cubicBezTo>
                <a:cubicBezTo>
                  <a:pt x="788" y="1853"/>
                  <a:pt x="788" y="1855"/>
                  <a:pt x="788" y="1857"/>
                </a:cubicBezTo>
                <a:cubicBezTo>
                  <a:pt x="787" y="1860"/>
                  <a:pt x="787" y="1862"/>
                  <a:pt x="787" y="1865"/>
                </a:cubicBezTo>
                <a:cubicBezTo>
                  <a:pt x="787" y="1874"/>
                  <a:pt x="793" y="1877"/>
                  <a:pt x="802" y="1877"/>
                </a:cubicBezTo>
                <a:cubicBezTo>
                  <a:pt x="802" y="1877"/>
                  <a:pt x="802" y="1877"/>
                  <a:pt x="805" y="1877"/>
                </a:cubicBezTo>
                <a:cubicBezTo>
                  <a:pt x="805" y="1877"/>
                  <a:pt x="805" y="1877"/>
                  <a:pt x="805" y="1868"/>
                </a:cubicBezTo>
                <a:cubicBezTo>
                  <a:pt x="805" y="1868"/>
                  <a:pt x="805" y="1868"/>
                  <a:pt x="804" y="1868"/>
                </a:cubicBezTo>
                <a:cubicBezTo>
                  <a:pt x="800" y="1868"/>
                  <a:pt x="799" y="1866"/>
                  <a:pt x="799" y="1862"/>
                </a:cubicBezTo>
                <a:cubicBezTo>
                  <a:pt x="799" y="1861"/>
                  <a:pt x="799" y="1859"/>
                  <a:pt x="799" y="1857"/>
                </a:cubicBezTo>
                <a:cubicBezTo>
                  <a:pt x="799" y="1856"/>
                  <a:pt x="800" y="1854"/>
                  <a:pt x="800" y="1852"/>
                </a:cubicBezTo>
                <a:cubicBezTo>
                  <a:pt x="800" y="1844"/>
                  <a:pt x="797" y="1842"/>
                  <a:pt x="791" y="1840"/>
                </a:cubicBezTo>
                <a:cubicBezTo>
                  <a:pt x="791" y="1840"/>
                  <a:pt x="791" y="1840"/>
                  <a:pt x="791" y="1840"/>
                </a:cubicBezTo>
                <a:cubicBezTo>
                  <a:pt x="797" y="1839"/>
                  <a:pt x="800" y="1837"/>
                  <a:pt x="800" y="1829"/>
                </a:cubicBezTo>
                <a:cubicBezTo>
                  <a:pt x="800" y="1827"/>
                  <a:pt x="799" y="1825"/>
                  <a:pt x="799" y="1823"/>
                </a:cubicBezTo>
                <a:cubicBezTo>
                  <a:pt x="799" y="1821"/>
                  <a:pt x="799" y="1820"/>
                  <a:pt x="799" y="1818"/>
                </a:cubicBezTo>
                <a:cubicBezTo>
                  <a:pt x="799" y="1815"/>
                  <a:pt x="800" y="1813"/>
                  <a:pt x="804" y="1813"/>
                </a:cubicBezTo>
                <a:cubicBezTo>
                  <a:pt x="804" y="1813"/>
                  <a:pt x="804" y="1813"/>
                  <a:pt x="805" y="1813"/>
                </a:cubicBezTo>
                <a:cubicBezTo>
                  <a:pt x="805" y="1813"/>
                  <a:pt x="805" y="1813"/>
                  <a:pt x="805" y="1803"/>
                </a:cubicBezTo>
                <a:cubicBezTo>
                  <a:pt x="805" y="1803"/>
                  <a:pt x="805" y="1803"/>
                  <a:pt x="802" y="1803"/>
                </a:cubicBezTo>
                <a:cubicBezTo>
                  <a:pt x="792" y="1803"/>
                  <a:pt x="787" y="1807"/>
                  <a:pt x="787" y="1816"/>
                </a:cubicBezTo>
                <a:cubicBezTo>
                  <a:pt x="787" y="1818"/>
                  <a:pt x="787" y="1821"/>
                  <a:pt x="787" y="1823"/>
                </a:cubicBezTo>
                <a:cubicBezTo>
                  <a:pt x="788" y="1826"/>
                  <a:pt x="788" y="1828"/>
                  <a:pt x="788" y="1830"/>
                </a:cubicBezTo>
                <a:cubicBezTo>
                  <a:pt x="788" y="1833"/>
                  <a:pt x="787" y="1836"/>
                  <a:pt x="781" y="1836"/>
                </a:cubicBezTo>
                <a:close/>
                <a:moveTo>
                  <a:pt x="836" y="1844"/>
                </a:moveTo>
                <a:cubicBezTo>
                  <a:pt x="836" y="1844"/>
                  <a:pt x="836" y="1844"/>
                  <a:pt x="836" y="1844"/>
                </a:cubicBezTo>
                <a:cubicBezTo>
                  <a:pt x="836" y="1836"/>
                  <a:pt x="836" y="1836"/>
                  <a:pt x="836" y="1836"/>
                </a:cubicBezTo>
                <a:cubicBezTo>
                  <a:pt x="830" y="1836"/>
                  <a:pt x="829" y="1833"/>
                  <a:pt x="829" y="1830"/>
                </a:cubicBezTo>
                <a:cubicBezTo>
                  <a:pt x="829" y="1828"/>
                  <a:pt x="829" y="1826"/>
                  <a:pt x="830" y="1823"/>
                </a:cubicBezTo>
                <a:cubicBezTo>
                  <a:pt x="830" y="1821"/>
                  <a:pt x="830" y="1818"/>
                  <a:pt x="830" y="1816"/>
                </a:cubicBezTo>
                <a:cubicBezTo>
                  <a:pt x="830" y="1807"/>
                  <a:pt x="825" y="1803"/>
                  <a:pt x="816" y="1803"/>
                </a:cubicBezTo>
                <a:cubicBezTo>
                  <a:pt x="816" y="1803"/>
                  <a:pt x="816" y="1803"/>
                  <a:pt x="812" y="1803"/>
                </a:cubicBezTo>
                <a:cubicBezTo>
                  <a:pt x="812" y="1803"/>
                  <a:pt x="812" y="1803"/>
                  <a:pt x="812" y="1813"/>
                </a:cubicBezTo>
                <a:cubicBezTo>
                  <a:pt x="812" y="1813"/>
                  <a:pt x="812" y="1813"/>
                  <a:pt x="813" y="1813"/>
                </a:cubicBezTo>
                <a:cubicBezTo>
                  <a:pt x="817" y="1813"/>
                  <a:pt x="819" y="1815"/>
                  <a:pt x="819" y="1818"/>
                </a:cubicBezTo>
                <a:cubicBezTo>
                  <a:pt x="819" y="1820"/>
                  <a:pt x="818" y="1821"/>
                  <a:pt x="818" y="1823"/>
                </a:cubicBezTo>
                <a:cubicBezTo>
                  <a:pt x="818" y="1825"/>
                  <a:pt x="818" y="1827"/>
                  <a:pt x="818" y="1829"/>
                </a:cubicBezTo>
                <a:cubicBezTo>
                  <a:pt x="818" y="1837"/>
                  <a:pt x="821" y="1839"/>
                  <a:pt x="826" y="1840"/>
                </a:cubicBezTo>
                <a:cubicBezTo>
                  <a:pt x="826" y="1840"/>
                  <a:pt x="826" y="1840"/>
                  <a:pt x="826" y="1840"/>
                </a:cubicBezTo>
                <a:cubicBezTo>
                  <a:pt x="821" y="1842"/>
                  <a:pt x="818" y="1844"/>
                  <a:pt x="818" y="1852"/>
                </a:cubicBezTo>
                <a:cubicBezTo>
                  <a:pt x="818" y="1854"/>
                  <a:pt x="818" y="1856"/>
                  <a:pt x="818" y="1857"/>
                </a:cubicBezTo>
                <a:cubicBezTo>
                  <a:pt x="818" y="1859"/>
                  <a:pt x="819" y="1861"/>
                  <a:pt x="819" y="1862"/>
                </a:cubicBezTo>
                <a:cubicBezTo>
                  <a:pt x="819" y="1866"/>
                  <a:pt x="818" y="1868"/>
                  <a:pt x="813" y="1868"/>
                </a:cubicBezTo>
                <a:cubicBezTo>
                  <a:pt x="813" y="1868"/>
                  <a:pt x="813" y="1868"/>
                  <a:pt x="812" y="1868"/>
                </a:cubicBezTo>
                <a:cubicBezTo>
                  <a:pt x="812" y="1868"/>
                  <a:pt x="812" y="1868"/>
                  <a:pt x="812" y="1877"/>
                </a:cubicBezTo>
                <a:cubicBezTo>
                  <a:pt x="812" y="1877"/>
                  <a:pt x="812" y="1877"/>
                  <a:pt x="816" y="1877"/>
                </a:cubicBezTo>
                <a:cubicBezTo>
                  <a:pt x="825" y="1877"/>
                  <a:pt x="830" y="1874"/>
                  <a:pt x="830" y="1865"/>
                </a:cubicBezTo>
                <a:cubicBezTo>
                  <a:pt x="830" y="1862"/>
                  <a:pt x="830" y="1860"/>
                  <a:pt x="830" y="1857"/>
                </a:cubicBezTo>
                <a:cubicBezTo>
                  <a:pt x="829" y="1855"/>
                  <a:pt x="829" y="1853"/>
                  <a:pt x="829" y="1850"/>
                </a:cubicBezTo>
                <a:cubicBezTo>
                  <a:pt x="829" y="1848"/>
                  <a:pt x="830" y="1845"/>
                  <a:pt x="836" y="1844"/>
                </a:cubicBezTo>
                <a:close/>
                <a:moveTo>
                  <a:pt x="222" y="1877"/>
                </a:moveTo>
                <a:cubicBezTo>
                  <a:pt x="215" y="1877"/>
                  <a:pt x="208" y="1874"/>
                  <a:pt x="204" y="1868"/>
                </a:cubicBezTo>
                <a:cubicBezTo>
                  <a:pt x="200" y="1862"/>
                  <a:pt x="198" y="1853"/>
                  <a:pt x="198" y="1841"/>
                </a:cubicBezTo>
                <a:cubicBezTo>
                  <a:pt x="198" y="1828"/>
                  <a:pt x="200" y="1818"/>
                  <a:pt x="204" y="1812"/>
                </a:cubicBezTo>
                <a:cubicBezTo>
                  <a:pt x="209" y="1805"/>
                  <a:pt x="215" y="1801"/>
                  <a:pt x="224" y="1801"/>
                </a:cubicBezTo>
                <a:cubicBezTo>
                  <a:pt x="240" y="1801"/>
                  <a:pt x="248" y="1814"/>
                  <a:pt x="248" y="1839"/>
                </a:cubicBezTo>
                <a:cubicBezTo>
                  <a:pt x="248" y="1852"/>
                  <a:pt x="246" y="1861"/>
                  <a:pt x="241" y="1868"/>
                </a:cubicBezTo>
                <a:cubicBezTo>
                  <a:pt x="237" y="1874"/>
                  <a:pt x="230" y="1877"/>
                  <a:pt x="222" y="1877"/>
                </a:cubicBezTo>
                <a:close/>
                <a:moveTo>
                  <a:pt x="223" y="1811"/>
                </a:moveTo>
                <a:cubicBezTo>
                  <a:pt x="214" y="1811"/>
                  <a:pt x="209" y="1821"/>
                  <a:pt x="209" y="1841"/>
                </a:cubicBezTo>
                <a:cubicBezTo>
                  <a:pt x="209" y="1859"/>
                  <a:pt x="214" y="1868"/>
                  <a:pt x="223" y="1868"/>
                </a:cubicBezTo>
                <a:cubicBezTo>
                  <a:pt x="232" y="1868"/>
                  <a:pt x="236" y="1859"/>
                  <a:pt x="236" y="1840"/>
                </a:cubicBezTo>
                <a:cubicBezTo>
                  <a:pt x="236" y="1820"/>
                  <a:pt x="232" y="1811"/>
                  <a:pt x="223" y="1811"/>
                </a:cubicBezTo>
                <a:close/>
                <a:moveTo>
                  <a:pt x="292" y="1877"/>
                </a:moveTo>
                <a:cubicBezTo>
                  <a:pt x="285" y="1877"/>
                  <a:pt x="278" y="1874"/>
                  <a:pt x="275" y="1868"/>
                </a:cubicBezTo>
                <a:cubicBezTo>
                  <a:pt x="270" y="1862"/>
                  <a:pt x="268" y="1853"/>
                  <a:pt x="268" y="1841"/>
                </a:cubicBezTo>
                <a:cubicBezTo>
                  <a:pt x="268" y="1828"/>
                  <a:pt x="270" y="1818"/>
                  <a:pt x="275" y="1812"/>
                </a:cubicBezTo>
                <a:cubicBezTo>
                  <a:pt x="279" y="1805"/>
                  <a:pt x="286" y="1801"/>
                  <a:pt x="294" y="1801"/>
                </a:cubicBezTo>
                <a:cubicBezTo>
                  <a:pt x="311" y="1801"/>
                  <a:pt x="319" y="1814"/>
                  <a:pt x="319" y="1839"/>
                </a:cubicBezTo>
                <a:cubicBezTo>
                  <a:pt x="319" y="1852"/>
                  <a:pt x="316" y="1861"/>
                  <a:pt x="312" y="1868"/>
                </a:cubicBezTo>
                <a:cubicBezTo>
                  <a:pt x="307" y="1874"/>
                  <a:pt x="301" y="1877"/>
                  <a:pt x="292" y="1877"/>
                </a:cubicBezTo>
                <a:close/>
                <a:moveTo>
                  <a:pt x="294" y="1811"/>
                </a:moveTo>
                <a:cubicBezTo>
                  <a:pt x="285" y="1811"/>
                  <a:pt x="280" y="1821"/>
                  <a:pt x="280" y="1841"/>
                </a:cubicBezTo>
                <a:cubicBezTo>
                  <a:pt x="280" y="1859"/>
                  <a:pt x="284" y="1868"/>
                  <a:pt x="293" y="1868"/>
                </a:cubicBezTo>
                <a:cubicBezTo>
                  <a:pt x="302" y="1868"/>
                  <a:pt x="306" y="1859"/>
                  <a:pt x="306" y="1840"/>
                </a:cubicBezTo>
                <a:cubicBezTo>
                  <a:pt x="306" y="1820"/>
                  <a:pt x="302" y="1811"/>
                  <a:pt x="294" y="1811"/>
                </a:cubicBezTo>
                <a:close/>
                <a:moveTo>
                  <a:pt x="502" y="1877"/>
                </a:moveTo>
                <a:cubicBezTo>
                  <a:pt x="495" y="1877"/>
                  <a:pt x="489" y="1874"/>
                  <a:pt x="485" y="1868"/>
                </a:cubicBezTo>
                <a:cubicBezTo>
                  <a:pt x="480" y="1862"/>
                  <a:pt x="478" y="1852"/>
                  <a:pt x="478" y="1841"/>
                </a:cubicBezTo>
                <a:cubicBezTo>
                  <a:pt x="478" y="1828"/>
                  <a:pt x="480" y="1818"/>
                  <a:pt x="485" y="1811"/>
                </a:cubicBezTo>
                <a:cubicBezTo>
                  <a:pt x="489" y="1804"/>
                  <a:pt x="496" y="1801"/>
                  <a:pt x="504" y="1801"/>
                </a:cubicBezTo>
                <a:cubicBezTo>
                  <a:pt x="521" y="1801"/>
                  <a:pt x="529" y="1814"/>
                  <a:pt x="529" y="1839"/>
                </a:cubicBezTo>
                <a:cubicBezTo>
                  <a:pt x="529" y="1852"/>
                  <a:pt x="527" y="1861"/>
                  <a:pt x="522" y="1868"/>
                </a:cubicBezTo>
                <a:cubicBezTo>
                  <a:pt x="517" y="1874"/>
                  <a:pt x="511" y="1877"/>
                  <a:pt x="502" y="1877"/>
                </a:cubicBezTo>
                <a:close/>
                <a:moveTo>
                  <a:pt x="504" y="1811"/>
                </a:moveTo>
                <a:cubicBezTo>
                  <a:pt x="495" y="1811"/>
                  <a:pt x="490" y="1820"/>
                  <a:pt x="490" y="1840"/>
                </a:cubicBezTo>
                <a:cubicBezTo>
                  <a:pt x="490" y="1858"/>
                  <a:pt x="495" y="1868"/>
                  <a:pt x="504" y="1868"/>
                </a:cubicBezTo>
                <a:cubicBezTo>
                  <a:pt x="512" y="1868"/>
                  <a:pt x="516" y="1858"/>
                  <a:pt x="516" y="1840"/>
                </a:cubicBezTo>
                <a:cubicBezTo>
                  <a:pt x="516" y="1820"/>
                  <a:pt x="513" y="1811"/>
                  <a:pt x="504" y="1811"/>
                </a:cubicBezTo>
                <a:close/>
                <a:moveTo>
                  <a:pt x="575" y="1804"/>
                </a:moveTo>
                <a:cubicBezTo>
                  <a:pt x="575" y="1804"/>
                  <a:pt x="575" y="1804"/>
                  <a:pt x="575" y="1804"/>
                </a:cubicBezTo>
                <a:cubicBezTo>
                  <a:pt x="570" y="1804"/>
                  <a:pt x="570" y="1804"/>
                  <a:pt x="570" y="1804"/>
                </a:cubicBezTo>
                <a:cubicBezTo>
                  <a:pt x="568" y="1806"/>
                  <a:pt x="566" y="1807"/>
                  <a:pt x="564" y="1808"/>
                </a:cubicBezTo>
                <a:cubicBezTo>
                  <a:pt x="563" y="1809"/>
                  <a:pt x="561" y="1810"/>
                  <a:pt x="559" y="1811"/>
                </a:cubicBezTo>
                <a:cubicBezTo>
                  <a:pt x="558" y="1811"/>
                  <a:pt x="556" y="1812"/>
                  <a:pt x="554" y="1813"/>
                </a:cubicBezTo>
                <a:cubicBezTo>
                  <a:pt x="552" y="1814"/>
                  <a:pt x="551" y="1814"/>
                  <a:pt x="548" y="1815"/>
                </a:cubicBezTo>
                <a:cubicBezTo>
                  <a:pt x="548" y="1815"/>
                  <a:pt x="548" y="1815"/>
                  <a:pt x="548" y="1825"/>
                </a:cubicBezTo>
                <a:cubicBezTo>
                  <a:pt x="551" y="1824"/>
                  <a:pt x="554" y="1823"/>
                  <a:pt x="556" y="1822"/>
                </a:cubicBezTo>
                <a:cubicBezTo>
                  <a:pt x="559" y="1822"/>
                  <a:pt x="561" y="1820"/>
                  <a:pt x="563" y="1819"/>
                </a:cubicBezTo>
                <a:cubicBezTo>
                  <a:pt x="563" y="1819"/>
                  <a:pt x="563" y="1819"/>
                  <a:pt x="563" y="1877"/>
                </a:cubicBezTo>
                <a:cubicBezTo>
                  <a:pt x="563" y="1877"/>
                  <a:pt x="563" y="1877"/>
                  <a:pt x="575" y="1877"/>
                </a:cubicBezTo>
                <a:cubicBezTo>
                  <a:pt x="575" y="1877"/>
                  <a:pt x="575" y="1877"/>
                  <a:pt x="575" y="1804"/>
                </a:cubicBezTo>
                <a:close/>
                <a:moveTo>
                  <a:pt x="366" y="1804"/>
                </a:moveTo>
                <a:cubicBezTo>
                  <a:pt x="366" y="1804"/>
                  <a:pt x="366" y="1804"/>
                  <a:pt x="366" y="1804"/>
                </a:cubicBezTo>
                <a:cubicBezTo>
                  <a:pt x="360" y="1804"/>
                  <a:pt x="360" y="1804"/>
                  <a:pt x="360" y="1804"/>
                </a:cubicBezTo>
                <a:cubicBezTo>
                  <a:pt x="358" y="1806"/>
                  <a:pt x="357" y="1807"/>
                  <a:pt x="355" y="1808"/>
                </a:cubicBezTo>
                <a:cubicBezTo>
                  <a:pt x="353" y="1809"/>
                  <a:pt x="352" y="1810"/>
                  <a:pt x="349" y="1811"/>
                </a:cubicBezTo>
                <a:cubicBezTo>
                  <a:pt x="348" y="1812"/>
                  <a:pt x="346" y="1813"/>
                  <a:pt x="344" y="1814"/>
                </a:cubicBezTo>
                <a:cubicBezTo>
                  <a:pt x="342" y="1814"/>
                  <a:pt x="340" y="1815"/>
                  <a:pt x="338" y="1815"/>
                </a:cubicBezTo>
                <a:cubicBezTo>
                  <a:pt x="338" y="1815"/>
                  <a:pt x="338" y="1815"/>
                  <a:pt x="338" y="1825"/>
                </a:cubicBezTo>
                <a:cubicBezTo>
                  <a:pt x="341" y="1824"/>
                  <a:pt x="344" y="1824"/>
                  <a:pt x="347" y="1822"/>
                </a:cubicBezTo>
                <a:cubicBezTo>
                  <a:pt x="349" y="1822"/>
                  <a:pt x="352" y="1820"/>
                  <a:pt x="354" y="1819"/>
                </a:cubicBezTo>
                <a:cubicBezTo>
                  <a:pt x="354" y="1819"/>
                  <a:pt x="354" y="1819"/>
                  <a:pt x="354" y="1877"/>
                </a:cubicBezTo>
                <a:cubicBezTo>
                  <a:pt x="354" y="1877"/>
                  <a:pt x="354" y="1877"/>
                  <a:pt x="366" y="1877"/>
                </a:cubicBezTo>
                <a:cubicBezTo>
                  <a:pt x="366" y="1877"/>
                  <a:pt x="366" y="1877"/>
                  <a:pt x="366" y="1804"/>
                </a:cubicBezTo>
                <a:close/>
                <a:moveTo>
                  <a:pt x="413" y="1804"/>
                </a:moveTo>
                <a:cubicBezTo>
                  <a:pt x="413" y="1804"/>
                  <a:pt x="413" y="1804"/>
                  <a:pt x="413" y="1804"/>
                </a:cubicBezTo>
                <a:cubicBezTo>
                  <a:pt x="407" y="1804"/>
                  <a:pt x="407" y="1804"/>
                  <a:pt x="407" y="1804"/>
                </a:cubicBezTo>
                <a:cubicBezTo>
                  <a:pt x="405" y="1806"/>
                  <a:pt x="404" y="1807"/>
                  <a:pt x="402" y="1808"/>
                </a:cubicBezTo>
                <a:cubicBezTo>
                  <a:pt x="400" y="1809"/>
                  <a:pt x="398" y="1810"/>
                  <a:pt x="396" y="1811"/>
                </a:cubicBezTo>
                <a:cubicBezTo>
                  <a:pt x="395" y="1812"/>
                  <a:pt x="393" y="1813"/>
                  <a:pt x="391" y="1814"/>
                </a:cubicBezTo>
                <a:cubicBezTo>
                  <a:pt x="389" y="1814"/>
                  <a:pt x="388" y="1815"/>
                  <a:pt x="385" y="1815"/>
                </a:cubicBezTo>
                <a:cubicBezTo>
                  <a:pt x="385" y="1815"/>
                  <a:pt x="385" y="1815"/>
                  <a:pt x="385" y="1825"/>
                </a:cubicBezTo>
                <a:cubicBezTo>
                  <a:pt x="388" y="1824"/>
                  <a:pt x="391" y="1824"/>
                  <a:pt x="393" y="1822"/>
                </a:cubicBezTo>
                <a:cubicBezTo>
                  <a:pt x="396" y="1822"/>
                  <a:pt x="399" y="1820"/>
                  <a:pt x="401" y="1819"/>
                </a:cubicBezTo>
                <a:cubicBezTo>
                  <a:pt x="401" y="1819"/>
                  <a:pt x="401" y="1819"/>
                  <a:pt x="401" y="1877"/>
                </a:cubicBezTo>
                <a:cubicBezTo>
                  <a:pt x="401" y="1877"/>
                  <a:pt x="401" y="1877"/>
                  <a:pt x="413" y="1877"/>
                </a:cubicBezTo>
                <a:cubicBezTo>
                  <a:pt x="413" y="1877"/>
                  <a:pt x="413" y="1877"/>
                  <a:pt x="413" y="1804"/>
                </a:cubicBezTo>
                <a:close/>
                <a:moveTo>
                  <a:pt x="458" y="1804"/>
                </a:moveTo>
                <a:cubicBezTo>
                  <a:pt x="458" y="1804"/>
                  <a:pt x="458" y="1804"/>
                  <a:pt x="458" y="1804"/>
                </a:cubicBezTo>
                <a:cubicBezTo>
                  <a:pt x="454" y="1804"/>
                  <a:pt x="454" y="1804"/>
                  <a:pt x="454" y="1804"/>
                </a:cubicBezTo>
                <a:cubicBezTo>
                  <a:pt x="452" y="1806"/>
                  <a:pt x="450" y="1807"/>
                  <a:pt x="448" y="1808"/>
                </a:cubicBezTo>
                <a:cubicBezTo>
                  <a:pt x="447" y="1809"/>
                  <a:pt x="445" y="1810"/>
                  <a:pt x="443" y="1811"/>
                </a:cubicBezTo>
                <a:cubicBezTo>
                  <a:pt x="441" y="1811"/>
                  <a:pt x="440" y="1812"/>
                  <a:pt x="437" y="1813"/>
                </a:cubicBezTo>
                <a:cubicBezTo>
                  <a:pt x="436" y="1814"/>
                  <a:pt x="434" y="1814"/>
                  <a:pt x="432" y="1815"/>
                </a:cubicBezTo>
                <a:cubicBezTo>
                  <a:pt x="432" y="1815"/>
                  <a:pt x="432" y="1815"/>
                  <a:pt x="432" y="1825"/>
                </a:cubicBezTo>
                <a:cubicBezTo>
                  <a:pt x="435" y="1824"/>
                  <a:pt x="438" y="1823"/>
                  <a:pt x="440" y="1822"/>
                </a:cubicBezTo>
                <a:cubicBezTo>
                  <a:pt x="442" y="1822"/>
                  <a:pt x="445" y="1820"/>
                  <a:pt x="447" y="1819"/>
                </a:cubicBezTo>
                <a:cubicBezTo>
                  <a:pt x="447" y="1819"/>
                  <a:pt x="447" y="1819"/>
                  <a:pt x="447" y="1877"/>
                </a:cubicBezTo>
                <a:cubicBezTo>
                  <a:pt x="447" y="1877"/>
                  <a:pt x="447" y="1877"/>
                  <a:pt x="458" y="1877"/>
                </a:cubicBezTo>
                <a:cubicBezTo>
                  <a:pt x="458" y="1877"/>
                  <a:pt x="458" y="1877"/>
                  <a:pt x="458" y="1804"/>
                </a:cubicBezTo>
                <a:close/>
                <a:moveTo>
                  <a:pt x="24" y="1877"/>
                </a:moveTo>
                <a:cubicBezTo>
                  <a:pt x="17" y="1877"/>
                  <a:pt x="10" y="1874"/>
                  <a:pt x="6" y="1868"/>
                </a:cubicBezTo>
                <a:cubicBezTo>
                  <a:pt x="2" y="1862"/>
                  <a:pt x="0" y="1853"/>
                  <a:pt x="0" y="1841"/>
                </a:cubicBezTo>
                <a:cubicBezTo>
                  <a:pt x="0" y="1828"/>
                  <a:pt x="2" y="1818"/>
                  <a:pt x="6" y="1812"/>
                </a:cubicBezTo>
                <a:cubicBezTo>
                  <a:pt x="11" y="1805"/>
                  <a:pt x="17" y="1801"/>
                  <a:pt x="26" y="1801"/>
                </a:cubicBezTo>
                <a:cubicBezTo>
                  <a:pt x="42" y="1801"/>
                  <a:pt x="50" y="1814"/>
                  <a:pt x="50" y="1839"/>
                </a:cubicBezTo>
                <a:cubicBezTo>
                  <a:pt x="50" y="1852"/>
                  <a:pt x="48" y="1861"/>
                  <a:pt x="44" y="1868"/>
                </a:cubicBezTo>
                <a:cubicBezTo>
                  <a:pt x="39" y="1874"/>
                  <a:pt x="33" y="1877"/>
                  <a:pt x="24" y="1877"/>
                </a:cubicBezTo>
                <a:close/>
                <a:moveTo>
                  <a:pt x="25" y="1811"/>
                </a:moveTo>
                <a:cubicBezTo>
                  <a:pt x="17" y="1811"/>
                  <a:pt x="12" y="1821"/>
                  <a:pt x="12" y="1841"/>
                </a:cubicBezTo>
                <a:cubicBezTo>
                  <a:pt x="12" y="1859"/>
                  <a:pt x="16" y="1868"/>
                  <a:pt x="25" y="1868"/>
                </a:cubicBezTo>
                <a:cubicBezTo>
                  <a:pt x="33" y="1868"/>
                  <a:pt x="38" y="1859"/>
                  <a:pt x="38" y="1840"/>
                </a:cubicBezTo>
                <a:cubicBezTo>
                  <a:pt x="38" y="1820"/>
                  <a:pt x="33" y="1811"/>
                  <a:pt x="25" y="1811"/>
                </a:cubicBezTo>
                <a:close/>
                <a:moveTo>
                  <a:pt x="85" y="1804"/>
                </a:moveTo>
                <a:cubicBezTo>
                  <a:pt x="85" y="1804"/>
                  <a:pt x="85" y="1804"/>
                  <a:pt x="85" y="1804"/>
                </a:cubicBezTo>
                <a:cubicBezTo>
                  <a:pt x="80" y="1804"/>
                  <a:pt x="80" y="1804"/>
                  <a:pt x="80" y="1804"/>
                </a:cubicBezTo>
                <a:cubicBezTo>
                  <a:pt x="78" y="1806"/>
                  <a:pt x="76" y="1807"/>
                  <a:pt x="74" y="1808"/>
                </a:cubicBezTo>
                <a:cubicBezTo>
                  <a:pt x="73" y="1809"/>
                  <a:pt x="71" y="1810"/>
                  <a:pt x="69" y="1811"/>
                </a:cubicBezTo>
                <a:cubicBezTo>
                  <a:pt x="68" y="1812"/>
                  <a:pt x="65" y="1813"/>
                  <a:pt x="64" y="1814"/>
                </a:cubicBezTo>
                <a:cubicBezTo>
                  <a:pt x="62" y="1814"/>
                  <a:pt x="60" y="1815"/>
                  <a:pt x="58" y="1815"/>
                </a:cubicBezTo>
                <a:cubicBezTo>
                  <a:pt x="58" y="1815"/>
                  <a:pt x="58" y="1815"/>
                  <a:pt x="58" y="1825"/>
                </a:cubicBezTo>
                <a:cubicBezTo>
                  <a:pt x="61" y="1824"/>
                  <a:pt x="64" y="1824"/>
                  <a:pt x="67" y="1822"/>
                </a:cubicBezTo>
                <a:cubicBezTo>
                  <a:pt x="69" y="1822"/>
                  <a:pt x="71" y="1820"/>
                  <a:pt x="73" y="1819"/>
                </a:cubicBezTo>
                <a:cubicBezTo>
                  <a:pt x="73" y="1819"/>
                  <a:pt x="73" y="1819"/>
                  <a:pt x="73" y="1877"/>
                </a:cubicBezTo>
                <a:cubicBezTo>
                  <a:pt x="73" y="1877"/>
                  <a:pt x="73" y="1877"/>
                  <a:pt x="85" y="1877"/>
                </a:cubicBezTo>
                <a:cubicBezTo>
                  <a:pt x="85" y="1877"/>
                  <a:pt x="85" y="1877"/>
                  <a:pt x="85" y="1804"/>
                </a:cubicBezTo>
                <a:close/>
                <a:moveTo>
                  <a:pt x="132" y="1804"/>
                </a:moveTo>
                <a:cubicBezTo>
                  <a:pt x="132" y="1804"/>
                  <a:pt x="132" y="1804"/>
                  <a:pt x="132" y="1804"/>
                </a:cubicBezTo>
                <a:cubicBezTo>
                  <a:pt x="127" y="1804"/>
                  <a:pt x="127" y="1804"/>
                  <a:pt x="127" y="1804"/>
                </a:cubicBezTo>
                <a:cubicBezTo>
                  <a:pt x="125" y="1806"/>
                  <a:pt x="123" y="1807"/>
                  <a:pt x="121" y="1808"/>
                </a:cubicBezTo>
                <a:cubicBezTo>
                  <a:pt x="120" y="1809"/>
                  <a:pt x="117" y="1810"/>
                  <a:pt x="116" y="1811"/>
                </a:cubicBezTo>
                <a:cubicBezTo>
                  <a:pt x="114" y="1812"/>
                  <a:pt x="112" y="1813"/>
                  <a:pt x="111" y="1814"/>
                </a:cubicBezTo>
                <a:cubicBezTo>
                  <a:pt x="109" y="1814"/>
                  <a:pt x="107" y="1815"/>
                  <a:pt x="105" y="1815"/>
                </a:cubicBezTo>
                <a:cubicBezTo>
                  <a:pt x="105" y="1815"/>
                  <a:pt x="105" y="1815"/>
                  <a:pt x="105" y="1825"/>
                </a:cubicBezTo>
                <a:cubicBezTo>
                  <a:pt x="108" y="1824"/>
                  <a:pt x="111" y="1824"/>
                  <a:pt x="113" y="1822"/>
                </a:cubicBezTo>
                <a:cubicBezTo>
                  <a:pt x="116" y="1822"/>
                  <a:pt x="118" y="1820"/>
                  <a:pt x="120" y="1819"/>
                </a:cubicBezTo>
                <a:cubicBezTo>
                  <a:pt x="120" y="1819"/>
                  <a:pt x="120" y="1819"/>
                  <a:pt x="120" y="1877"/>
                </a:cubicBezTo>
                <a:cubicBezTo>
                  <a:pt x="120" y="1877"/>
                  <a:pt x="120" y="1877"/>
                  <a:pt x="132" y="1877"/>
                </a:cubicBezTo>
                <a:cubicBezTo>
                  <a:pt x="132" y="1877"/>
                  <a:pt x="132" y="1877"/>
                  <a:pt x="132" y="1804"/>
                </a:cubicBezTo>
                <a:close/>
                <a:moveTo>
                  <a:pt x="178" y="1804"/>
                </a:moveTo>
                <a:cubicBezTo>
                  <a:pt x="178" y="1804"/>
                  <a:pt x="178" y="1804"/>
                  <a:pt x="178" y="1804"/>
                </a:cubicBezTo>
                <a:cubicBezTo>
                  <a:pt x="174" y="1804"/>
                  <a:pt x="174" y="1804"/>
                  <a:pt x="174" y="1804"/>
                </a:cubicBezTo>
                <a:cubicBezTo>
                  <a:pt x="171" y="1806"/>
                  <a:pt x="170" y="1807"/>
                  <a:pt x="168" y="1808"/>
                </a:cubicBezTo>
                <a:cubicBezTo>
                  <a:pt x="166" y="1809"/>
                  <a:pt x="164" y="1810"/>
                  <a:pt x="163" y="1811"/>
                </a:cubicBezTo>
                <a:cubicBezTo>
                  <a:pt x="161" y="1811"/>
                  <a:pt x="159" y="1812"/>
                  <a:pt x="157" y="1813"/>
                </a:cubicBezTo>
                <a:cubicBezTo>
                  <a:pt x="156" y="1814"/>
                  <a:pt x="153" y="1814"/>
                  <a:pt x="152" y="1815"/>
                </a:cubicBezTo>
                <a:cubicBezTo>
                  <a:pt x="152" y="1815"/>
                  <a:pt x="152" y="1815"/>
                  <a:pt x="152" y="1825"/>
                </a:cubicBezTo>
                <a:cubicBezTo>
                  <a:pt x="155" y="1824"/>
                  <a:pt x="158" y="1823"/>
                  <a:pt x="160" y="1822"/>
                </a:cubicBezTo>
                <a:cubicBezTo>
                  <a:pt x="162" y="1822"/>
                  <a:pt x="165" y="1820"/>
                  <a:pt x="166" y="1819"/>
                </a:cubicBezTo>
                <a:cubicBezTo>
                  <a:pt x="166" y="1819"/>
                  <a:pt x="166" y="1819"/>
                  <a:pt x="166" y="1877"/>
                </a:cubicBezTo>
                <a:cubicBezTo>
                  <a:pt x="166" y="1877"/>
                  <a:pt x="166" y="1877"/>
                  <a:pt x="178" y="1877"/>
                </a:cubicBezTo>
                <a:cubicBezTo>
                  <a:pt x="178" y="1877"/>
                  <a:pt x="178" y="1877"/>
                  <a:pt x="178" y="1804"/>
                </a:cubicBezTo>
                <a:close/>
                <a:moveTo>
                  <a:pt x="24" y="2177"/>
                </a:moveTo>
                <a:cubicBezTo>
                  <a:pt x="17" y="2177"/>
                  <a:pt x="10" y="2174"/>
                  <a:pt x="6" y="2168"/>
                </a:cubicBezTo>
                <a:cubicBezTo>
                  <a:pt x="2" y="2162"/>
                  <a:pt x="0" y="2153"/>
                  <a:pt x="0" y="2141"/>
                </a:cubicBezTo>
                <a:cubicBezTo>
                  <a:pt x="0" y="2128"/>
                  <a:pt x="2" y="2118"/>
                  <a:pt x="6" y="2112"/>
                </a:cubicBezTo>
                <a:cubicBezTo>
                  <a:pt x="11" y="2105"/>
                  <a:pt x="17" y="2101"/>
                  <a:pt x="26" y="2101"/>
                </a:cubicBezTo>
                <a:cubicBezTo>
                  <a:pt x="42" y="2101"/>
                  <a:pt x="50" y="2114"/>
                  <a:pt x="50" y="2139"/>
                </a:cubicBezTo>
                <a:cubicBezTo>
                  <a:pt x="50" y="2152"/>
                  <a:pt x="48" y="2161"/>
                  <a:pt x="44" y="2168"/>
                </a:cubicBezTo>
                <a:cubicBezTo>
                  <a:pt x="39" y="2174"/>
                  <a:pt x="33" y="2177"/>
                  <a:pt x="24" y="2177"/>
                </a:cubicBezTo>
                <a:close/>
                <a:moveTo>
                  <a:pt x="25" y="2111"/>
                </a:moveTo>
                <a:cubicBezTo>
                  <a:pt x="17" y="2111"/>
                  <a:pt x="12" y="2121"/>
                  <a:pt x="12" y="2141"/>
                </a:cubicBezTo>
                <a:cubicBezTo>
                  <a:pt x="12" y="2159"/>
                  <a:pt x="16" y="2168"/>
                  <a:pt x="25" y="2168"/>
                </a:cubicBezTo>
                <a:cubicBezTo>
                  <a:pt x="33" y="2168"/>
                  <a:pt x="38" y="2159"/>
                  <a:pt x="38" y="2140"/>
                </a:cubicBezTo>
                <a:cubicBezTo>
                  <a:pt x="38" y="2120"/>
                  <a:pt x="33" y="2111"/>
                  <a:pt x="25" y="2111"/>
                </a:cubicBezTo>
                <a:close/>
                <a:moveTo>
                  <a:pt x="26" y="2082"/>
                </a:moveTo>
                <a:cubicBezTo>
                  <a:pt x="19" y="2082"/>
                  <a:pt x="12" y="2079"/>
                  <a:pt x="8" y="2073"/>
                </a:cubicBezTo>
                <a:cubicBezTo>
                  <a:pt x="4" y="2067"/>
                  <a:pt x="2" y="2058"/>
                  <a:pt x="2" y="2045"/>
                </a:cubicBezTo>
                <a:cubicBezTo>
                  <a:pt x="2" y="2032"/>
                  <a:pt x="4" y="2023"/>
                  <a:pt x="8" y="2016"/>
                </a:cubicBezTo>
                <a:cubicBezTo>
                  <a:pt x="13" y="2009"/>
                  <a:pt x="19" y="2006"/>
                  <a:pt x="28" y="2006"/>
                </a:cubicBezTo>
                <a:cubicBezTo>
                  <a:pt x="44" y="2006"/>
                  <a:pt x="52" y="2018"/>
                  <a:pt x="52" y="2044"/>
                </a:cubicBezTo>
                <a:cubicBezTo>
                  <a:pt x="52" y="2056"/>
                  <a:pt x="50" y="2066"/>
                  <a:pt x="46" y="2073"/>
                </a:cubicBezTo>
                <a:cubicBezTo>
                  <a:pt x="40" y="2079"/>
                  <a:pt x="35" y="2082"/>
                  <a:pt x="26" y="2082"/>
                </a:cubicBezTo>
                <a:close/>
                <a:moveTo>
                  <a:pt x="27" y="2015"/>
                </a:moveTo>
                <a:cubicBezTo>
                  <a:pt x="19" y="2015"/>
                  <a:pt x="13" y="2026"/>
                  <a:pt x="13" y="2045"/>
                </a:cubicBezTo>
                <a:cubicBezTo>
                  <a:pt x="13" y="2064"/>
                  <a:pt x="18" y="2073"/>
                  <a:pt x="27" y="2073"/>
                </a:cubicBezTo>
                <a:cubicBezTo>
                  <a:pt x="35" y="2073"/>
                  <a:pt x="40" y="2064"/>
                  <a:pt x="40" y="2045"/>
                </a:cubicBezTo>
                <a:cubicBezTo>
                  <a:pt x="40" y="2025"/>
                  <a:pt x="35" y="2015"/>
                  <a:pt x="27" y="2015"/>
                </a:cubicBezTo>
                <a:close/>
                <a:moveTo>
                  <a:pt x="93" y="1770"/>
                </a:moveTo>
                <a:cubicBezTo>
                  <a:pt x="85" y="1770"/>
                  <a:pt x="79" y="1767"/>
                  <a:pt x="74" y="1761"/>
                </a:cubicBezTo>
                <a:cubicBezTo>
                  <a:pt x="71" y="1755"/>
                  <a:pt x="68" y="1746"/>
                  <a:pt x="68" y="1733"/>
                </a:cubicBezTo>
                <a:cubicBezTo>
                  <a:pt x="68" y="1720"/>
                  <a:pt x="71" y="1711"/>
                  <a:pt x="75" y="1704"/>
                </a:cubicBezTo>
                <a:cubicBezTo>
                  <a:pt x="80" y="1697"/>
                  <a:pt x="86" y="1694"/>
                  <a:pt x="95" y="1694"/>
                </a:cubicBezTo>
                <a:cubicBezTo>
                  <a:pt x="111" y="1694"/>
                  <a:pt x="119" y="1706"/>
                  <a:pt x="119" y="1732"/>
                </a:cubicBezTo>
                <a:cubicBezTo>
                  <a:pt x="119" y="1744"/>
                  <a:pt x="117" y="1754"/>
                  <a:pt x="112" y="1761"/>
                </a:cubicBezTo>
                <a:cubicBezTo>
                  <a:pt x="108" y="1767"/>
                  <a:pt x="101" y="1770"/>
                  <a:pt x="93" y="1770"/>
                </a:cubicBezTo>
                <a:close/>
                <a:moveTo>
                  <a:pt x="94" y="1703"/>
                </a:moveTo>
                <a:cubicBezTo>
                  <a:pt x="85" y="1703"/>
                  <a:pt x="80" y="1714"/>
                  <a:pt x="80" y="1733"/>
                </a:cubicBezTo>
                <a:cubicBezTo>
                  <a:pt x="80" y="1752"/>
                  <a:pt x="85" y="1761"/>
                  <a:pt x="94" y="1761"/>
                </a:cubicBezTo>
                <a:cubicBezTo>
                  <a:pt x="102" y="1761"/>
                  <a:pt x="107" y="1752"/>
                  <a:pt x="107" y="1733"/>
                </a:cubicBezTo>
                <a:cubicBezTo>
                  <a:pt x="107" y="1713"/>
                  <a:pt x="102" y="1703"/>
                  <a:pt x="94" y="1703"/>
                </a:cubicBezTo>
                <a:close/>
                <a:moveTo>
                  <a:pt x="167" y="1697"/>
                </a:moveTo>
                <a:cubicBezTo>
                  <a:pt x="167" y="1697"/>
                  <a:pt x="167" y="1697"/>
                  <a:pt x="167" y="1697"/>
                </a:cubicBezTo>
                <a:cubicBezTo>
                  <a:pt x="162" y="1697"/>
                  <a:pt x="162" y="1697"/>
                  <a:pt x="162" y="1697"/>
                </a:cubicBezTo>
                <a:cubicBezTo>
                  <a:pt x="159" y="1698"/>
                  <a:pt x="158" y="1700"/>
                  <a:pt x="156" y="1700"/>
                </a:cubicBezTo>
                <a:cubicBezTo>
                  <a:pt x="154" y="1702"/>
                  <a:pt x="152" y="1702"/>
                  <a:pt x="151" y="1703"/>
                </a:cubicBezTo>
                <a:cubicBezTo>
                  <a:pt x="148" y="1704"/>
                  <a:pt x="147" y="1705"/>
                  <a:pt x="145" y="1705"/>
                </a:cubicBezTo>
                <a:cubicBezTo>
                  <a:pt x="143" y="1706"/>
                  <a:pt x="142" y="1707"/>
                  <a:pt x="140" y="1708"/>
                </a:cubicBezTo>
                <a:cubicBezTo>
                  <a:pt x="140" y="1708"/>
                  <a:pt x="140" y="1708"/>
                  <a:pt x="140" y="1718"/>
                </a:cubicBezTo>
                <a:cubicBezTo>
                  <a:pt x="142" y="1717"/>
                  <a:pt x="145" y="1716"/>
                  <a:pt x="148" y="1715"/>
                </a:cubicBezTo>
                <a:cubicBezTo>
                  <a:pt x="151" y="1714"/>
                  <a:pt x="153" y="1713"/>
                  <a:pt x="155" y="1711"/>
                </a:cubicBezTo>
                <a:cubicBezTo>
                  <a:pt x="155" y="1711"/>
                  <a:pt x="155" y="1711"/>
                  <a:pt x="155" y="1770"/>
                </a:cubicBezTo>
                <a:cubicBezTo>
                  <a:pt x="155" y="1770"/>
                  <a:pt x="155" y="1770"/>
                  <a:pt x="167" y="1770"/>
                </a:cubicBezTo>
                <a:cubicBezTo>
                  <a:pt x="167" y="1770"/>
                  <a:pt x="167" y="1770"/>
                  <a:pt x="167" y="1697"/>
                </a:cubicBezTo>
                <a:close/>
                <a:moveTo>
                  <a:pt x="214" y="1697"/>
                </a:moveTo>
                <a:cubicBezTo>
                  <a:pt x="214" y="1697"/>
                  <a:pt x="214" y="1697"/>
                  <a:pt x="214" y="1697"/>
                </a:cubicBezTo>
                <a:cubicBezTo>
                  <a:pt x="209" y="1697"/>
                  <a:pt x="209" y="1697"/>
                  <a:pt x="209" y="1697"/>
                </a:cubicBezTo>
                <a:cubicBezTo>
                  <a:pt x="207" y="1698"/>
                  <a:pt x="205" y="1700"/>
                  <a:pt x="203" y="1700"/>
                </a:cubicBezTo>
                <a:cubicBezTo>
                  <a:pt x="202" y="1702"/>
                  <a:pt x="199" y="1702"/>
                  <a:pt x="198" y="1703"/>
                </a:cubicBezTo>
                <a:cubicBezTo>
                  <a:pt x="196" y="1705"/>
                  <a:pt x="194" y="1705"/>
                  <a:pt x="193" y="1706"/>
                </a:cubicBezTo>
                <a:cubicBezTo>
                  <a:pt x="191" y="1707"/>
                  <a:pt x="189" y="1708"/>
                  <a:pt x="187" y="1708"/>
                </a:cubicBezTo>
                <a:cubicBezTo>
                  <a:pt x="187" y="1708"/>
                  <a:pt x="187" y="1708"/>
                  <a:pt x="187" y="1718"/>
                </a:cubicBezTo>
                <a:cubicBezTo>
                  <a:pt x="190" y="1717"/>
                  <a:pt x="193" y="1716"/>
                  <a:pt x="195" y="1715"/>
                </a:cubicBezTo>
                <a:cubicBezTo>
                  <a:pt x="198" y="1714"/>
                  <a:pt x="200" y="1713"/>
                  <a:pt x="202" y="1711"/>
                </a:cubicBezTo>
                <a:cubicBezTo>
                  <a:pt x="202" y="1711"/>
                  <a:pt x="202" y="1711"/>
                  <a:pt x="202" y="1770"/>
                </a:cubicBezTo>
                <a:cubicBezTo>
                  <a:pt x="202" y="1770"/>
                  <a:pt x="202" y="1770"/>
                  <a:pt x="214" y="1770"/>
                </a:cubicBezTo>
                <a:cubicBezTo>
                  <a:pt x="214" y="1770"/>
                  <a:pt x="214" y="1770"/>
                  <a:pt x="214" y="1697"/>
                </a:cubicBezTo>
                <a:close/>
                <a:moveTo>
                  <a:pt x="260" y="1697"/>
                </a:moveTo>
                <a:cubicBezTo>
                  <a:pt x="260" y="1697"/>
                  <a:pt x="260" y="1697"/>
                  <a:pt x="260" y="1697"/>
                </a:cubicBezTo>
                <a:cubicBezTo>
                  <a:pt x="256" y="1697"/>
                  <a:pt x="256" y="1697"/>
                  <a:pt x="256" y="1697"/>
                </a:cubicBezTo>
                <a:cubicBezTo>
                  <a:pt x="254" y="1698"/>
                  <a:pt x="252" y="1700"/>
                  <a:pt x="250" y="1700"/>
                </a:cubicBezTo>
                <a:cubicBezTo>
                  <a:pt x="248" y="1702"/>
                  <a:pt x="246" y="1702"/>
                  <a:pt x="245" y="1703"/>
                </a:cubicBezTo>
                <a:cubicBezTo>
                  <a:pt x="243" y="1705"/>
                  <a:pt x="241" y="1705"/>
                  <a:pt x="239" y="1706"/>
                </a:cubicBezTo>
                <a:cubicBezTo>
                  <a:pt x="238" y="1707"/>
                  <a:pt x="236" y="1708"/>
                  <a:pt x="234" y="1708"/>
                </a:cubicBezTo>
                <a:cubicBezTo>
                  <a:pt x="234" y="1708"/>
                  <a:pt x="234" y="1708"/>
                  <a:pt x="234" y="1718"/>
                </a:cubicBezTo>
                <a:cubicBezTo>
                  <a:pt x="237" y="1717"/>
                  <a:pt x="240" y="1716"/>
                  <a:pt x="242" y="1715"/>
                </a:cubicBezTo>
                <a:cubicBezTo>
                  <a:pt x="244" y="1714"/>
                  <a:pt x="247" y="1713"/>
                  <a:pt x="248" y="1711"/>
                </a:cubicBezTo>
                <a:cubicBezTo>
                  <a:pt x="248" y="1711"/>
                  <a:pt x="248" y="1711"/>
                  <a:pt x="248" y="1770"/>
                </a:cubicBezTo>
                <a:cubicBezTo>
                  <a:pt x="248" y="1770"/>
                  <a:pt x="248" y="1770"/>
                  <a:pt x="260" y="1770"/>
                </a:cubicBezTo>
                <a:cubicBezTo>
                  <a:pt x="260" y="1770"/>
                  <a:pt x="260" y="1770"/>
                  <a:pt x="260" y="1697"/>
                </a:cubicBezTo>
                <a:close/>
                <a:moveTo>
                  <a:pt x="308" y="1697"/>
                </a:moveTo>
                <a:cubicBezTo>
                  <a:pt x="308" y="1697"/>
                  <a:pt x="308" y="1697"/>
                  <a:pt x="308" y="1697"/>
                </a:cubicBezTo>
                <a:cubicBezTo>
                  <a:pt x="302" y="1697"/>
                  <a:pt x="302" y="1697"/>
                  <a:pt x="302" y="1697"/>
                </a:cubicBezTo>
                <a:cubicBezTo>
                  <a:pt x="300" y="1698"/>
                  <a:pt x="299" y="1700"/>
                  <a:pt x="297" y="1700"/>
                </a:cubicBezTo>
                <a:cubicBezTo>
                  <a:pt x="295" y="1702"/>
                  <a:pt x="294" y="1702"/>
                  <a:pt x="292" y="1703"/>
                </a:cubicBezTo>
                <a:cubicBezTo>
                  <a:pt x="290" y="1705"/>
                  <a:pt x="288" y="1705"/>
                  <a:pt x="286" y="1706"/>
                </a:cubicBezTo>
                <a:cubicBezTo>
                  <a:pt x="284" y="1707"/>
                  <a:pt x="283" y="1708"/>
                  <a:pt x="281" y="1708"/>
                </a:cubicBezTo>
                <a:cubicBezTo>
                  <a:pt x="281" y="1708"/>
                  <a:pt x="281" y="1708"/>
                  <a:pt x="281" y="1718"/>
                </a:cubicBezTo>
                <a:cubicBezTo>
                  <a:pt x="284" y="1717"/>
                  <a:pt x="286" y="1716"/>
                  <a:pt x="289" y="1715"/>
                </a:cubicBezTo>
                <a:cubicBezTo>
                  <a:pt x="292" y="1714"/>
                  <a:pt x="294" y="1713"/>
                  <a:pt x="296" y="1711"/>
                </a:cubicBezTo>
                <a:cubicBezTo>
                  <a:pt x="296" y="1711"/>
                  <a:pt x="296" y="1711"/>
                  <a:pt x="296" y="1770"/>
                </a:cubicBezTo>
                <a:cubicBezTo>
                  <a:pt x="296" y="1770"/>
                  <a:pt x="296" y="1770"/>
                  <a:pt x="308" y="1770"/>
                </a:cubicBezTo>
                <a:cubicBezTo>
                  <a:pt x="308" y="1770"/>
                  <a:pt x="308" y="1770"/>
                  <a:pt x="308" y="1697"/>
                </a:cubicBezTo>
                <a:close/>
                <a:moveTo>
                  <a:pt x="431" y="1697"/>
                </a:moveTo>
                <a:cubicBezTo>
                  <a:pt x="431" y="1697"/>
                  <a:pt x="431" y="1697"/>
                  <a:pt x="431" y="1697"/>
                </a:cubicBezTo>
                <a:cubicBezTo>
                  <a:pt x="426" y="1697"/>
                  <a:pt x="426" y="1697"/>
                  <a:pt x="426" y="1697"/>
                </a:cubicBezTo>
                <a:cubicBezTo>
                  <a:pt x="423" y="1698"/>
                  <a:pt x="422" y="1700"/>
                  <a:pt x="420" y="1700"/>
                </a:cubicBezTo>
                <a:cubicBezTo>
                  <a:pt x="418" y="1702"/>
                  <a:pt x="417" y="1702"/>
                  <a:pt x="415" y="1703"/>
                </a:cubicBezTo>
                <a:cubicBezTo>
                  <a:pt x="413" y="1705"/>
                  <a:pt x="411" y="1705"/>
                  <a:pt x="409" y="1706"/>
                </a:cubicBezTo>
                <a:cubicBezTo>
                  <a:pt x="407" y="1707"/>
                  <a:pt x="406" y="1708"/>
                  <a:pt x="404" y="1708"/>
                </a:cubicBezTo>
                <a:cubicBezTo>
                  <a:pt x="404" y="1708"/>
                  <a:pt x="404" y="1708"/>
                  <a:pt x="404" y="1718"/>
                </a:cubicBezTo>
                <a:cubicBezTo>
                  <a:pt x="406" y="1717"/>
                  <a:pt x="409" y="1716"/>
                  <a:pt x="412" y="1715"/>
                </a:cubicBezTo>
                <a:cubicBezTo>
                  <a:pt x="415" y="1714"/>
                  <a:pt x="417" y="1713"/>
                  <a:pt x="419" y="1711"/>
                </a:cubicBezTo>
                <a:cubicBezTo>
                  <a:pt x="419" y="1711"/>
                  <a:pt x="419" y="1711"/>
                  <a:pt x="419" y="1770"/>
                </a:cubicBezTo>
                <a:cubicBezTo>
                  <a:pt x="419" y="1770"/>
                  <a:pt x="419" y="1770"/>
                  <a:pt x="431" y="1770"/>
                </a:cubicBezTo>
                <a:cubicBezTo>
                  <a:pt x="431" y="1770"/>
                  <a:pt x="431" y="1770"/>
                  <a:pt x="431" y="1697"/>
                </a:cubicBezTo>
                <a:close/>
                <a:moveTo>
                  <a:pt x="478" y="1697"/>
                </a:moveTo>
                <a:cubicBezTo>
                  <a:pt x="478" y="1697"/>
                  <a:pt x="478" y="1697"/>
                  <a:pt x="478" y="1697"/>
                </a:cubicBezTo>
                <a:cubicBezTo>
                  <a:pt x="473" y="1697"/>
                  <a:pt x="473" y="1697"/>
                  <a:pt x="473" y="1697"/>
                </a:cubicBezTo>
                <a:cubicBezTo>
                  <a:pt x="471" y="1698"/>
                  <a:pt x="470" y="1700"/>
                  <a:pt x="467" y="1700"/>
                </a:cubicBezTo>
                <a:cubicBezTo>
                  <a:pt x="466" y="1702"/>
                  <a:pt x="464" y="1702"/>
                  <a:pt x="462" y="1703"/>
                </a:cubicBezTo>
                <a:cubicBezTo>
                  <a:pt x="461" y="1705"/>
                  <a:pt x="458" y="1705"/>
                  <a:pt x="457" y="1706"/>
                </a:cubicBezTo>
                <a:cubicBezTo>
                  <a:pt x="455" y="1707"/>
                  <a:pt x="453" y="1708"/>
                  <a:pt x="451" y="1708"/>
                </a:cubicBezTo>
                <a:cubicBezTo>
                  <a:pt x="451" y="1708"/>
                  <a:pt x="451" y="1708"/>
                  <a:pt x="451" y="1718"/>
                </a:cubicBezTo>
                <a:cubicBezTo>
                  <a:pt x="454" y="1717"/>
                  <a:pt x="457" y="1716"/>
                  <a:pt x="459" y="1715"/>
                </a:cubicBezTo>
                <a:cubicBezTo>
                  <a:pt x="462" y="1714"/>
                  <a:pt x="464" y="1713"/>
                  <a:pt x="467" y="1711"/>
                </a:cubicBezTo>
                <a:cubicBezTo>
                  <a:pt x="467" y="1711"/>
                  <a:pt x="467" y="1711"/>
                  <a:pt x="467" y="1770"/>
                </a:cubicBezTo>
                <a:cubicBezTo>
                  <a:pt x="467" y="1770"/>
                  <a:pt x="467" y="1770"/>
                  <a:pt x="478" y="1770"/>
                </a:cubicBezTo>
                <a:cubicBezTo>
                  <a:pt x="478" y="1770"/>
                  <a:pt x="478" y="1770"/>
                  <a:pt x="478" y="1697"/>
                </a:cubicBezTo>
                <a:close/>
                <a:moveTo>
                  <a:pt x="526" y="1697"/>
                </a:moveTo>
                <a:cubicBezTo>
                  <a:pt x="526" y="1697"/>
                  <a:pt x="526" y="1697"/>
                  <a:pt x="526" y="1697"/>
                </a:cubicBezTo>
                <a:cubicBezTo>
                  <a:pt x="521" y="1697"/>
                  <a:pt x="521" y="1697"/>
                  <a:pt x="521" y="1697"/>
                </a:cubicBezTo>
                <a:cubicBezTo>
                  <a:pt x="519" y="1698"/>
                  <a:pt x="517" y="1700"/>
                  <a:pt x="516" y="1700"/>
                </a:cubicBezTo>
                <a:cubicBezTo>
                  <a:pt x="513" y="1702"/>
                  <a:pt x="512" y="1702"/>
                  <a:pt x="510" y="1703"/>
                </a:cubicBezTo>
                <a:cubicBezTo>
                  <a:pt x="508" y="1705"/>
                  <a:pt x="506" y="1705"/>
                  <a:pt x="504" y="1706"/>
                </a:cubicBezTo>
                <a:cubicBezTo>
                  <a:pt x="502" y="1707"/>
                  <a:pt x="501" y="1708"/>
                  <a:pt x="499" y="1708"/>
                </a:cubicBezTo>
                <a:cubicBezTo>
                  <a:pt x="499" y="1708"/>
                  <a:pt x="499" y="1708"/>
                  <a:pt x="499" y="1718"/>
                </a:cubicBezTo>
                <a:cubicBezTo>
                  <a:pt x="502" y="1717"/>
                  <a:pt x="504" y="1716"/>
                  <a:pt x="507" y="1715"/>
                </a:cubicBezTo>
                <a:cubicBezTo>
                  <a:pt x="510" y="1714"/>
                  <a:pt x="512" y="1713"/>
                  <a:pt x="514" y="1711"/>
                </a:cubicBezTo>
                <a:cubicBezTo>
                  <a:pt x="514" y="1711"/>
                  <a:pt x="514" y="1711"/>
                  <a:pt x="514" y="1770"/>
                </a:cubicBezTo>
                <a:cubicBezTo>
                  <a:pt x="514" y="1770"/>
                  <a:pt x="514" y="1770"/>
                  <a:pt x="526" y="1770"/>
                </a:cubicBezTo>
                <a:cubicBezTo>
                  <a:pt x="526" y="1770"/>
                  <a:pt x="526" y="1770"/>
                  <a:pt x="526" y="1697"/>
                </a:cubicBezTo>
                <a:close/>
                <a:moveTo>
                  <a:pt x="572" y="1697"/>
                </a:moveTo>
                <a:cubicBezTo>
                  <a:pt x="572" y="1697"/>
                  <a:pt x="572" y="1697"/>
                  <a:pt x="572" y="1697"/>
                </a:cubicBezTo>
                <a:cubicBezTo>
                  <a:pt x="568" y="1697"/>
                  <a:pt x="568" y="1697"/>
                  <a:pt x="568" y="1697"/>
                </a:cubicBezTo>
                <a:cubicBezTo>
                  <a:pt x="566" y="1698"/>
                  <a:pt x="564" y="1700"/>
                  <a:pt x="562" y="1700"/>
                </a:cubicBezTo>
                <a:cubicBezTo>
                  <a:pt x="561" y="1702"/>
                  <a:pt x="559" y="1702"/>
                  <a:pt x="557" y="1703"/>
                </a:cubicBezTo>
                <a:cubicBezTo>
                  <a:pt x="555" y="1704"/>
                  <a:pt x="553" y="1705"/>
                  <a:pt x="551" y="1705"/>
                </a:cubicBezTo>
                <a:cubicBezTo>
                  <a:pt x="550" y="1706"/>
                  <a:pt x="548" y="1707"/>
                  <a:pt x="546" y="1708"/>
                </a:cubicBezTo>
                <a:cubicBezTo>
                  <a:pt x="546" y="1708"/>
                  <a:pt x="546" y="1708"/>
                  <a:pt x="546" y="1718"/>
                </a:cubicBezTo>
                <a:cubicBezTo>
                  <a:pt x="549" y="1717"/>
                  <a:pt x="552" y="1716"/>
                  <a:pt x="554" y="1715"/>
                </a:cubicBezTo>
                <a:cubicBezTo>
                  <a:pt x="556" y="1714"/>
                  <a:pt x="559" y="1713"/>
                  <a:pt x="561" y="1711"/>
                </a:cubicBezTo>
                <a:cubicBezTo>
                  <a:pt x="561" y="1711"/>
                  <a:pt x="561" y="1711"/>
                  <a:pt x="561" y="1770"/>
                </a:cubicBezTo>
                <a:cubicBezTo>
                  <a:pt x="561" y="1770"/>
                  <a:pt x="561" y="1770"/>
                  <a:pt x="572" y="1770"/>
                </a:cubicBezTo>
                <a:cubicBezTo>
                  <a:pt x="572" y="1770"/>
                  <a:pt x="572" y="1770"/>
                  <a:pt x="572" y="1697"/>
                </a:cubicBezTo>
                <a:close/>
                <a:moveTo>
                  <a:pt x="329" y="1729"/>
                </a:moveTo>
                <a:cubicBezTo>
                  <a:pt x="329" y="1729"/>
                  <a:pt x="329" y="1729"/>
                  <a:pt x="329" y="1729"/>
                </a:cubicBezTo>
                <a:cubicBezTo>
                  <a:pt x="328" y="1737"/>
                  <a:pt x="328" y="1737"/>
                  <a:pt x="328" y="1737"/>
                </a:cubicBezTo>
                <a:cubicBezTo>
                  <a:pt x="334" y="1738"/>
                  <a:pt x="335" y="1741"/>
                  <a:pt x="335" y="1743"/>
                </a:cubicBezTo>
                <a:cubicBezTo>
                  <a:pt x="335" y="1745"/>
                  <a:pt x="335" y="1748"/>
                  <a:pt x="335" y="1750"/>
                </a:cubicBezTo>
                <a:cubicBezTo>
                  <a:pt x="334" y="1753"/>
                  <a:pt x="334" y="1755"/>
                  <a:pt x="334" y="1757"/>
                </a:cubicBezTo>
                <a:cubicBezTo>
                  <a:pt x="334" y="1767"/>
                  <a:pt x="340" y="1770"/>
                  <a:pt x="348" y="1770"/>
                </a:cubicBezTo>
                <a:cubicBezTo>
                  <a:pt x="348" y="1770"/>
                  <a:pt x="348" y="1770"/>
                  <a:pt x="352" y="1770"/>
                </a:cubicBezTo>
                <a:cubicBezTo>
                  <a:pt x="352" y="1770"/>
                  <a:pt x="352" y="1770"/>
                  <a:pt x="352" y="1761"/>
                </a:cubicBezTo>
                <a:cubicBezTo>
                  <a:pt x="352" y="1761"/>
                  <a:pt x="352" y="1761"/>
                  <a:pt x="351" y="1761"/>
                </a:cubicBezTo>
                <a:cubicBezTo>
                  <a:pt x="347" y="1761"/>
                  <a:pt x="346" y="1759"/>
                  <a:pt x="346" y="1755"/>
                </a:cubicBezTo>
                <a:cubicBezTo>
                  <a:pt x="346" y="1754"/>
                  <a:pt x="346" y="1752"/>
                  <a:pt x="346" y="1750"/>
                </a:cubicBezTo>
                <a:cubicBezTo>
                  <a:pt x="346" y="1749"/>
                  <a:pt x="347" y="1747"/>
                  <a:pt x="347" y="1744"/>
                </a:cubicBezTo>
                <a:cubicBezTo>
                  <a:pt x="347" y="1737"/>
                  <a:pt x="344" y="1734"/>
                  <a:pt x="338" y="1733"/>
                </a:cubicBezTo>
                <a:cubicBezTo>
                  <a:pt x="338" y="1733"/>
                  <a:pt x="338" y="1733"/>
                  <a:pt x="338" y="1733"/>
                </a:cubicBezTo>
                <a:cubicBezTo>
                  <a:pt x="344" y="1732"/>
                  <a:pt x="347" y="1729"/>
                  <a:pt x="347" y="1722"/>
                </a:cubicBezTo>
                <a:cubicBezTo>
                  <a:pt x="347" y="1719"/>
                  <a:pt x="346" y="1717"/>
                  <a:pt x="346" y="1716"/>
                </a:cubicBezTo>
                <a:cubicBezTo>
                  <a:pt x="346" y="1714"/>
                  <a:pt x="346" y="1712"/>
                  <a:pt x="346" y="1711"/>
                </a:cubicBezTo>
                <a:cubicBezTo>
                  <a:pt x="346" y="1707"/>
                  <a:pt x="347" y="1705"/>
                  <a:pt x="351" y="1705"/>
                </a:cubicBezTo>
                <a:cubicBezTo>
                  <a:pt x="351" y="1705"/>
                  <a:pt x="351" y="1705"/>
                  <a:pt x="352" y="1705"/>
                </a:cubicBezTo>
                <a:cubicBezTo>
                  <a:pt x="352" y="1705"/>
                  <a:pt x="352" y="1705"/>
                  <a:pt x="352" y="1696"/>
                </a:cubicBezTo>
                <a:cubicBezTo>
                  <a:pt x="352" y="1696"/>
                  <a:pt x="352" y="1696"/>
                  <a:pt x="348" y="1696"/>
                </a:cubicBezTo>
                <a:cubicBezTo>
                  <a:pt x="340" y="1696"/>
                  <a:pt x="334" y="1700"/>
                  <a:pt x="334" y="1708"/>
                </a:cubicBezTo>
                <a:cubicBezTo>
                  <a:pt x="334" y="1711"/>
                  <a:pt x="334" y="1713"/>
                  <a:pt x="334" y="1716"/>
                </a:cubicBezTo>
                <a:cubicBezTo>
                  <a:pt x="335" y="1718"/>
                  <a:pt x="335" y="1721"/>
                  <a:pt x="335" y="1723"/>
                </a:cubicBezTo>
                <a:cubicBezTo>
                  <a:pt x="335" y="1725"/>
                  <a:pt x="334" y="1729"/>
                  <a:pt x="329" y="1729"/>
                </a:cubicBezTo>
                <a:close/>
                <a:moveTo>
                  <a:pt x="383" y="1737"/>
                </a:moveTo>
                <a:cubicBezTo>
                  <a:pt x="383" y="1737"/>
                  <a:pt x="383" y="1737"/>
                  <a:pt x="383" y="1737"/>
                </a:cubicBezTo>
                <a:cubicBezTo>
                  <a:pt x="383" y="1729"/>
                  <a:pt x="383" y="1729"/>
                  <a:pt x="383" y="1729"/>
                </a:cubicBezTo>
                <a:cubicBezTo>
                  <a:pt x="377" y="1729"/>
                  <a:pt x="377" y="1725"/>
                  <a:pt x="377" y="1723"/>
                </a:cubicBezTo>
                <a:cubicBezTo>
                  <a:pt x="377" y="1721"/>
                  <a:pt x="377" y="1718"/>
                  <a:pt x="377" y="1716"/>
                </a:cubicBezTo>
                <a:cubicBezTo>
                  <a:pt x="377" y="1713"/>
                  <a:pt x="377" y="1711"/>
                  <a:pt x="377" y="1708"/>
                </a:cubicBezTo>
                <a:cubicBezTo>
                  <a:pt x="377" y="1700"/>
                  <a:pt x="372" y="1696"/>
                  <a:pt x="363" y="1696"/>
                </a:cubicBezTo>
                <a:cubicBezTo>
                  <a:pt x="363" y="1696"/>
                  <a:pt x="363" y="1696"/>
                  <a:pt x="359" y="1696"/>
                </a:cubicBezTo>
                <a:cubicBezTo>
                  <a:pt x="359" y="1696"/>
                  <a:pt x="359" y="1696"/>
                  <a:pt x="359" y="1705"/>
                </a:cubicBezTo>
                <a:cubicBezTo>
                  <a:pt x="359" y="1705"/>
                  <a:pt x="359" y="1705"/>
                  <a:pt x="360" y="1705"/>
                </a:cubicBezTo>
                <a:cubicBezTo>
                  <a:pt x="364" y="1705"/>
                  <a:pt x="366" y="1707"/>
                  <a:pt x="366" y="1711"/>
                </a:cubicBezTo>
                <a:cubicBezTo>
                  <a:pt x="366" y="1712"/>
                  <a:pt x="365" y="1714"/>
                  <a:pt x="365" y="1716"/>
                </a:cubicBezTo>
                <a:cubicBezTo>
                  <a:pt x="365" y="1717"/>
                  <a:pt x="365" y="1719"/>
                  <a:pt x="365" y="1722"/>
                </a:cubicBezTo>
                <a:cubicBezTo>
                  <a:pt x="365" y="1729"/>
                  <a:pt x="368" y="1732"/>
                  <a:pt x="374" y="1733"/>
                </a:cubicBezTo>
                <a:cubicBezTo>
                  <a:pt x="374" y="1733"/>
                  <a:pt x="374" y="1733"/>
                  <a:pt x="374" y="1733"/>
                </a:cubicBezTo>
                <a:cubicBezTo>
                  <a:pt x="368" y="1734"/>
                  <a:pt x="365" y="1737"/>
                  <a:pt x="365" y="1744"/>
                </a:cubicBezTo>
                <a:cubicBezTo>
                  <a:pt x="365" y="1747"/>
                  <a:pt x="365" y="1749"/>
                  <a:pt x="365" y="1750"/>
                </a:cubicBezTo>
                <a:cubicBezTo>
                  <a:pt x="365" y="1752"/>
                  <a:pt x="366" y="1754"/>
                  <a:pt x="366" y="1755"/>
                </a:cubicBezTo>
                <a:cubicBezTo>
                  <a:pt x="366" y="1759"/>
                  <a:pt x="365" y="1761"/>
                  <a:pt x="360" y="1761"/>
                </a:cubicBezTo>
                <a:cubicBezTo>
                  <a:pt x="360" y="1761"/>
                  <a:pt x="360" y="1761"/>
                  <a:pt x="359" y="1761"/>
                </a:cubicBezTo>
                <a:cubicBezTo>
                  <a:pt x="359" y="1761"/>
                  <a:pt x="359" y="1761"/>
                  <a:pt x="359" y="1770"/>
                </a:cubicBezTo>
                <a:cubicBezTo>
                  <a:pt x="359" y="1770"/>
                  <a:pt x="359" y="1770"/>
                  <a:pt x="363" y="1770"/>
                </a:cubicBezTo>
                <a:cubicBezTo>
                  <a:pt x="372" y="1770"/>
                  <a:pt x="377" y="1767"/>
                  <a:pt x="377" y="1757"/>
                </a:cubicBezTo>
                <a:cubicBezTo>
                  <a:pt x="377" y="1755"/>
                  <a:pt x="377" y="1753"/>
                  <a:pt x="377" y="1750"/>
                </a:cubicBezTo>
                <a:cubicBezTo>
                  <a:pt x="377" y="1748"/>
                  <a:pt x="377" y="1745"/>
                  <a:pt x="377" y="1743"/>
                </a:cubicBezTo>
                <a:cubicBezTo>
                  <a:pt x="377" y="1741"/>
                  <a:pt x="377" y="1738"/>
                  <a:pt x="383" y="1737"/>
                </a:cubicBezTo>
                <a:close/>
                <a:moveTo>
                  <a:pt x="710" y="1729"/>
                </a:moveTo>
                <a:cubicBezTo>
                  <a:pt x="710" y="1729"/>
                  <a:pt x="710" y="1729"/>
                  <a:pt x="710" y="1729"/>
                </a:cubicBezTo>
                <a:cubicBezTo>
                  <a:pt x="710" y="1737"/>
                  <a:pt x="710" y="1737"/>
                  <a:pt x="710" y="1737"/>
                </a:cubicBezTo>
                <a:cubicBezTo>
                  <a:pt x="716" y="1738"/>
                  <a:pt x="717" y="1741"/>
                  <a:pt x="717" y="1743"/>
                </a:cubicBezTo>
                <a:cubicBezTo>
                  <a:pt x="717" y="1745"/>
                  <a:pt x="716" y="1748"/>
                  <a:pt x="716" y="1750"/>
                </a:cubicBezTo>
                <a:cubicBezTo>
                  <a:pt x="716" y="1753"/>
                  <a:pt x="716" y="1755"/>
                  <a:pt x="716" y="1757"/>
                </a:cubicBezTo>
                <a:cubicBezTo>
                  <a:pt x="716" y="1767"/>
                  <a:pt x="722" y="1770"/>
                  <a:pt x="730" y="1770"/>
                </a:cubicBezTo>
                <a:cubicBezTo>
                  <a:pt x="730" y="1770"/>
                  <a:pt x="730" y="1770"/>
                  <a:pt x="734" y="1770"/>
                </a:cubicBezTo>
                <a:cubicBezTo>
                  <a:pt x="734" y="1770"/>
                  <a:pt x="734" y="1770"/>
                  <a:pt x="734" y="1761"/>
                </a:cubicBezTo>
                <a:cubicBezTo>
                  <a:pt x="734" y="1761"/>
                  <a:pt x="734" y="1761"/>
                  <a:pt x="732" y="1761"/>
                </a:cubicBezTo>
                <a:cubicBezTo>
                  <a:pt x="729" y="1761"/>
                  <a:pt x="727" y="1759"/>
                  <a:pt x="727" y="1755"/>
                </a:cubicBezTo>
                <a:cubicBezTo>
                  <a:pt x="727" y="1754"/>
                  <a:pt x="727" y="1752"/>
                  <a:pt x="728" y="1750"/>
                </a:cubicBezTo>
                <a:cubicBezTo>
                  <a:pt x="728" y="1749"/>
                  <a:pt x="728" y="1747"/>
                  <a:pt x="728" y="1744"/>
                </a:cubicBezTo>
                <a:cubicBezTo>
                  <a:pt x="728" y="1737"/>
                  <a:pt x="725" y="1734"/>
                  <a:pt x="720" y="1733"/>
                </a:cubicBezTo>
                <a:cubicBezTo>
                  <a:pt x="720" y="1733"/>
                  <a:pt x="720" y="1733"/>
                  <a:pt x="720" y="1733"/>
                </a:cubicBezTo>
                <a:cubicBezTo>
                  <a:pt x="725" y="1732"/>
                  <a:pt x="728" y="1729"/>
                  <a:pt x="728" y="1722"/>
                </a:cubicBezTo>
                <a:cubicBezTo>
                  <a:pt x="728" y="1719"/>
                  <a:pt x="728" y="1717"/>
                  <a:pt x="728" y="1716"/>
                </a:cubicBezTo>
                <a:cubicBezTo>
                  <a:pt x="727" y="1714"/>
                  <a:pt x="727" y="1712"/>
                  <a:pt x="727" y="1711"/>
                </a:cubicBezTo>
                <a:cubicBezTo>
                  <a:pt x="727" y="1707"/>
                  <a:pt x="729" y="1705"/>
                  <a:pt x="732" y="1705"/>
                </a:cubicBezTo>
                <a:cubicBezTo>
                  <a:pt x="732" y="1705"/>
                  <a:pt x="732" y="1705"/>
                  <a:pt x="734" y="1705"/>
                </a:cubicBezTo>
                <a:cubicBezTo>
                  <a:pt x="734" y="1705"/>
                  <a:pt x="734" y="1705"/>
                  <a:pt x="734" y="1696"/>
                </a:cubicBezTo>
                <a:cubicBezTo>
                  <a:pt x="734" y="1696"/>
                  <a:pt x="734" y="1696"/>
                  <a:pt x="730" y="1696"/>
                </a:cubicBezTo>
                <a:cubicBezTo>
                  <a:pt x="721" y="1696"/>
                  <a:pt x="716" y="1700"/>
                  <a:pt x="716" y="1708"/>
                </a:cubicBezTo>
                <a:cubicBezTo>
                  <a:pt x="716" y="1711"/>
                  <a:pt x="716" y="1713"/>
                  <a:pt x="716" y="1716"/>
                </a:cubicBezTo>
                <a:cubicBezTo>
                  <a:pt x="716" y="1718"/>
                  <a:pt x="717" y="1721"/>
                  <a:pt x="717" y="1723"/>
                </a:cubicBezTo>
                <a:cubicBezTo>
                  <a:pt x="717" y="1725"/>
                  <a:pt x="716" y="1729"/>
                  <a:pt x="710" y="1729"/>
                </a:cubicBezTo>
                <a:close/>
                <a:moveTo>
                  <a:pt x="765" y="1737"/>
                </a:moveTo>
                <a:cubicBezTo>
                  <a:pt x="765" y="1737"/>
                  <a:pt x="765" y="1737"/>
                  <a:pt x="765" y="1737"/>
                </a:cubicBezTo>
                <a:cubicBezTo>
                  <a:pt x="765" y="1729"/>
                  <a:pt x="765" y="1729"/>
                  <a:pt x="765" y="1729"/>
                </a:cubicBezTo>
                <a:cubicBezTo>
                  <a:pt x="759" y="1729"/>
                  <a:pt x="758" y="1725"/>
                  <a:pt x="758" y="1723"/>
                </a:cubicBezTo>
                <a:cubicBezTo>
                  <a:pt x="758" y="1721"/>
                  <a:pt x="758" y="1718"/>
                  <a:pt x="759" y="1716"/>
                </a:cubicBezTo>
                <a:cubicBezTo>
                  <a:pt x="759" y="1713"/>
                  <a:pt x="759" y="1711"/>
                  <a:pt x="759" y="1708"/>
                </a:cubicBezTo>
                <a:cubicBezTo>
                  <a:pt x="759" y="1700"/>
                  <a:pt x="754" y="1696"/>
                  <a:pt x="745" y="1696"/>
                </a:cubicBezTo>
                <a:cubicBezTo>
                  <a:pt x="745" y="1696"/>
                  <a:pt x="745" y="1696"/>
                  <a:pt x="741" y="1696"/>
                </a:cubicBezTo>
                <a:cubicBezTo>
                  <a:pt x="741" y="1696"/>
                  <a:pt x="741" y="1696"/>
                  <a:pt x="741" y="1705"/>
                </a:cubicBezTo>
                <a:cubicBezTo>
                  <a:pt x="741" y="1705"/>
                  <a:pt x="741" y="1705"/>
                  <a:pt x="742" y="1705"/>
                </a:cubicBezTo>
                <a:cubicBezTo>
                  <a:pt x="746" y="1705"/>
                  <a:pt x="748" y="1707"/>
                  <a:pt x="748" y="1711"/>
                </a:cubicBezTo>
                <a:cubicBezTo>
                  <a:pt x="748" y="1712"/>
                  <a:pt x="747" y="1714"/>
                  <a:pt x="747" y="1716"/>
                </a:cubicBezTo>
                <a:cubicBezTo>
                  <a:pt x="747" y="1717"/>
                  <a:pt x="747" y="1719"/>
                  <a:pt x="747" y="1722"/>
                </a:cubicBezTo>
                <a:cubicBezTo>
                  <a:pt x="747" y="1729"/>
                  <a:pt x="749" y="1732"/>
                  <a:pt x="755" y="1733"/>
                </a:cubicBezTo>
                <a:cubicBezTo>
                  <a:pt x="755" y="1733"/>
                  <a:pt x="755" y="1733"/>
                  <a:pt x="755" y="1733"/>
                </a:cubicBezTo>
                <a:cubicBezTo>
                  <a:pt x="749" y="1734"/>
                  <a:pt x="747" y="1737"/>
                  <a:pt x="747" y="1744"/>
                </a:cubicBezTo>
                <a:cubicBezTo>
                  <a:pt x="747" y="1747"/>
                  <a:pt x="747" y="1749"/>
                  <a:pt x="747" y="1750"/>
                </a:cubicBezTo>
                <a:cubicBezTo>
                  <a:pt x="747" y="1752"/>
                  <a:pt x="748" y="1754"/>
                  <a:pt x="748" y="1755"/>
                </a:cubicBezTo>
                <a:cubicBezTo>
                  <a:pt x="748" y="1759"/>
                  <a:pt x="747" y="1761"/>
                  <a:pt x="742" y="1761"/>
                </a:cubicBezTo>
                <a:cubicBezTo>
                  <a:pt x="742" y="1761"/>
                  <a:pt x="742" y="1761"/>
                  <a:pt x="741" y="1761"/>
                </a:cubicBezTo>
                <a:cubicBezTo>
                  <a:pt x="741" y="1761"/>
                  <a:pt x="741" y="1761"/>
                  <a:pt x="741" y="1770"/>
                </a:cubicBezTo>
                <a:cubicBezTo>
                  <a:pt x="741" y="1770"/>
                  <a:pt x="741" y="1770"/>
                  <a:pt x="745" y="1770"/>
                </a:cubicBezTo>
                <a:cubicBezTo>
                  <a:pt x="754" y="1770"/>
                  <a:pt x="759" y="1767"/>
                  <a:pt x="759" y="1757"/>
                </a:cubicBezTo>
                <a:cubicBezTo>
                  <a:pt x="759" y="1755"/>
                  <a:pt x="759" y="1753"/>
                  <a:pt x="759" y="1750"/>
                </a:cubicBezTo>
                <a:cubicBezTo>
                  <a:pt x="758" y="1748"/>
                  <a:pt x="758" y="1745"/>
                  <a:pt x="758" y="1743"/>
                </a:cubicBezTo>
                <a:cubicBezTo>
                  <a:pt x="758" y="1741"/>
                  <a:pt x="759" y="1738"/>
                  <a:pt x="765" y="1737"/>
                </a:cubicBezTo>
                <a:close/>
                <a:moveTo>
                  <a:pt x="812" y="1697"/>
                </a:moveTo>
                <a:cubicBezTo>
                  <a:pt x="812" y="1697"/>
                  <a:pt x="812" y="1697"/>
                  <a:pt x="812" y="1697"/>
                </a:cubicBezTo>
                <a:cubicBezTo>
                  <a:pt x="807" y="1697"/>
                  <a:pt x="807" y="1697"/>
                  <a:pt x="807" y="1697"/>
                </a:cubicBezTo>
                <a:cubicBezTo>
                  <a:pt x="805" y="1698"/>
                  <a:pt x="804" y="1700"/>
                  <a:pt x="801" y="1700"/>
                </a:cubicBezTo>
                <a:cubicBezTo>
                  <a:pt x="800" y="1702"/>
                  <a:pt x="798" y="1702"/>
                  <a:pt x="796" y="1703"/>
                </a:cubicBezTo>
                <a:cubicBezTo>
                  <a:pt x="794" y="1704"/>
                  <a:pt x="793" y="1705"/>
                  <a:pt x="791" y="1705"/>
                </a:cubicBezTo>
                <a:cubicBezTo>
                  <a:pt x="789" y="1706"/>
                  <a:pt x="787" y="1707"/>
                  <a:pt x="785" y="1708"/>
                </a:cubicBezTo>
                <a:cubicBezTo>
                  <a:pt x="785" y="1708"/>
                  <a:pt x="785" y="1708"/>
                  <a:pt x="785" y="1718"/>
                </a:cubicBezTo>
                <a:cubicBezTo>
                  <a:pt x="788" y="1717"/>
                  <a:pt x="791" y="1716"/>
                  <a:pt x="793" y="1715"/>
                </a:cubicBezTo>
                <a:cubicBezTo>
                  <a:pt x="796" y="1714"/>
                  <a:pt x="798" y="1713"/>
                  <a:pt x="801" y="1711"/>
                </a:cubicBezTo>
                <a:cubicBezTo>
                  <a:pt x="801" y="1711"/>
                  <a:pt x="801" y="1711"/>
                  <a:pt x="801" y="1770"/>
                </a:cubicBezTo>
                <a:cubicBezTo>
                  <a:pt x="801" y="1770"/>
                  <a:pt x="801" y="1770"/>
                  <a:pt x="812" y="1770"/>
                </a:cubicBezTo>
                <a:cubicBezTo>
                  <a:pt x="812" y="1770"/>
                  <a:pt x="812" y="1770"/>
                  <a:pt x="812" y="1697"/>
                </a:cubicBezTo>
                <a:close/>
                <a:moveTo>
                  <a:pt x="860" y="1697"/>
                </a:moveTo>
                <a:cubicBezTo>
                  <a:pt x="860" y="1697"/>
                  <a:pt x="860" y="1697"/>
                  <a:pt x="860" y="1697"/>
                </a:cubicBezTo>
                <a:cubicBezTo>
                  <a:pt x="854" y="1697"/>
                  <a:pt x="854" y="1697"/>
                  <a:pt x="854" y="1697"/>
                </a:cubicBezTo>
                <a:cubicBezTo>
                  <a:pt x="852" y="1698"/>
                  <a:pt x="851" y="1700"/>
                  <a:pt x="849" y="1700"/>
                </a:cubicBezTo>
                <a:cubicBezTo>
                  <a:pt x="847" y="1702"/>
                  <a:pt x="845" y="1702"/>
                  <a:pt x="844" y="1703"/>
                </a:cubicBezTo>
                <a:cubicBezTo>
                  <a:pt x="842" y="1705"/>
                  <a:pt x="840" y="1705"/>
                  <a:pt x="838" y="1706"/>
                </a:cubicBezTo>
                <a:cubicBezTo>
                  <a:pt x="836" y="1707"/>
                  <a:pt x="835" y="1708"/>
                  <a:pt x="833" y="1708"/>
                </a:cubicBezTo>
                <a:cubicBezTo>
                  <a:pt x="833" y="1708"/>
                  <a:pt x="833" y="1708"/>
                  <a:pt x="833" y="1718"/>
                </a:cubicBezTo>
                <a:cubicBezTo>
                  <a:pt x="836" y="1717"/>
                  <a:pt x="838" y="1716"/>
                  <a:pt x="841" y="1715"/>
                </a:cubicBezTo>
                <a:cubicBezTo>
                  <a:pt x="844" y="1714"/>
                  <a:pt x="846" y="1713"/>
                  <a:pt x="848" y="1711"/>
                </a:cubicBezTo>
                <a:cubicBezTo>
                  <a:pt x="848" y="1711"/>
                  <a:pt x="848" y="1711"/>
                  <a:pt x="848" y="1770"/>
                </a:cubicBezTo>
                <a:cubicBezTo>
                  <a:pt x="848" y="1770"/>
                  <a:pt x="848" y="1770"/>
                  <a:pt x="860" y="1770"/>
                </a:cubicBezTo>
                <a:cubicBezTo>
                  <a:pt x="860" y="1770"/>
                  <a:pt x="860" y="1770"/>
                  <a:pt x="860" y="1697"/>
                </a:cubicBezTo>
                <a:close/>
                <a:moveTo>
                  <a:pt x="906" y="1697"/>
                </a:moveTo>
                <a:cubicBezTo>
                  <a:pt x="906" y="1697"/>
                  <a:pt x="906" y="1697"/>
                  <a:pt x="906" y="1697"/>
                </a:cubicBezTo>
                <a:cubicBezTo>
                  <a:pt x="902" y="1697"/>
                  <a:pt x="902" y="1697"/>
                  <a:pt x="902" y="1697"/>
                </a:cubicBezTo>
                <a:cubicBezTo>
                  <a:pt x="899" y="1698"/>
                  <a:pt x="898" y="1700"/>
                  <a:pt x="896" y="1700"/>
                </a:cubicBezTo>
                <a:cubicBezTo>
                  <a:pt x="894" y="1702"/>
                  <a:pt x="892" y="1702"/>
                  <a:pt x="891" y="1703"/>
                </a:cubicBezTo>
                <a:cubicBezTo>
                  <a:pt x="888" y="1705"/>
                  <a:pt x="887" y="1705"/>
                  <a:pt x="885" y="1706"/>
                </a:cubicBezTo>
                <a:cubicBezTo>
                  <a:pt x="883" y="1707"/>
                  <a:pt x="881" y="1708"/>
                  <a:pt x="880" y="1708"/>
                </a:cubicBezTo>
                <a:cubicBezTo>
                  <a:pt x="880" y="1708"/>
                  <a:pt x="880" y="1708"/>
                  <a:pt x="880" y="1718"/>
                </a:cubicBezTo>
                <a:cubicBezTo>
                  <a:pt x="883" y="1717"/>
                  <a:pt x="886" y="1716"/>
                  <a:pt x="888" y="1715"/>
                </a:cubicBezTo>
                <a:cubicBezTo>
                  <a:pt x="890" y="1714"/>
                  <a:pt x="893" y="1713"/>
                  <a:pt x="894" y="1711"/>
                </a:cubicBezTo>
                <a:cubicBezTo>
                  <a:pt x="894" y="1711"/>
                  <a:pt x="894" y="1711"/>
                  <a:pt x="894" y="1770"/>
                </a:cubicBezTo>
                <a:cubicBezTo>
                  <a:pt x="894" y="1770"/>
                  <a:pt x="894" y="1770"/>
                  <a:pt x="906" y="1770"/>
                </a:cubicBezTo>
                <a:cubicBezTo>
                  <a:pt x="906" y="1770"/>
                  <a:pt x="906" y="1770"/>
                  <a:pt x="906" y="1697"/>
                </a:cubicBezTo>
                <a:close/>
                <a:moveTo>
                  <a:pt x="1029" y="1697"/>
                </a:moveTo>
                <a:cubicBezTo>
                  <a:pt x="1029" y="1697"/>
                  <a:pt x="1029" y="1697"/>
                  <a:pt x="1029" y="1697"/>
                </a:cubicBezTo>
                <a:cubicBezTo>
                  <a:pt x="1024" y="1697"/>
                  <a:pt x="1024" y="1697"/>
                  <a:pt x="1024" y="1697"/>
                </a:cubicBezTo>
                <a:cubicBezTo>
                  <a:pt x="1022" y="1698"/>
                  <a:pt x="1020" y="1700"/>
                  <a:pt x="1018" y="1700"/>
                </a:cubicBezTo>
                <a:cubicBezTo>
                  <a:pt x="1016" y="1702"/>
                  <a:pt x="1015" y="1702"/>
                  <a:pt x="1013" y="1703"/>
                </a:cubicBezTo>
                <a:cubicBezTo>
                  <a:pt x="1011" y="1705"/>
                  <a:pt x="1009" y="1705"/>
                  <a:pt x="1008" y="1706"/>
                </a:cubicBezTo>
                <a:cubicBezTo>
                  <a:pt x="1005" y="1707"/>
                  <a:pt x="1004" y="1708"/>
                  <a:pt x="1002" y="1708"/>
                </a:cubicBezTo>
                <a:cubicBezTo>
                  <a:pt x="1002" y="1708"/>
                  <a:pt x="1002" y="1708"/>
                  <a:pt x="1002" y="1718"/>
                </a:cubicBezTo>
                <a:cubicBezTo>
                  <a:pt x="1005" y="1717"/>
                  <a:pt x="1008" y="1716"/>
                  <a:pt x="1010" y="1715"/>
                </a:cubicBezTo>
                <a:cubicBezTo>
                  <a:pt x="1013" y="1714"/>
                  <a:pt x="1015" y="1713"/>
                  <a:pt x="1017" y="1711"/>
                </a:cubicBezTo>
                <a:cubicBezTo>
                  <a:pt x="1017" y="1711"/>
                  <a:pt x="1017" y="1711"/>
                  <a:pt x="1017" y="1770"/>
                </a:cubicBezTo>
                <a:cubicBezTo>
                  <a:pt x="1017" y="1770"/>
                  <a:pt x="1017" y="1770"/>
                  <a:pt x="1029" y="1770"/>
                </a:cubicBezTo>
                <a:cubicBezTo>
                  <a:pt x="1029" y="1770"/>
                  <a:pt x="1029" y="1770"/>
                  <a:pt x="1029" y="1697"/>
                </a:cubicBezTo>
                <a:close/>
                <a:moveTo>
                  <a:pt x="1076" y="1697"/>
                </a:moveTo>
                <a:cubicBezTo>
                  <a:pt x="1076" y="1697"/>
                  <a:pt x="1076" y="1697"/>
                  <a:pt x="1076" y="1697"/>
                </a:cubicBezTo>
                <a:cubicBezTo>
                  <a:pt x="1071" y="1697"/>
                  <a:pt x="1071" y="1697"/>
                  <a:pt x="1071" y="1697"/>
                </a:cubicBezTo>
                <a:cubicBezTo>
                  <a:pt x="1069" y="1698"/>
                  <a:pt x="1068" y="1700"/>
                  <a:pt x="1065" y="1700"/>
                </a:cubicBezTo>
                <a:cubicBezTo>
                  <a:pt x="1064" y="1702"/>
                  <a:pt x="1062" y="1702"/>
                  <a:pt x="1060" y="1703"/>
                </a:cubicBezTo>
                <a:cubicBezTo>
                  <a:pt x="1059" y="1705"/>
                  <a:pt x="1057" y="1705"/>
                  <a:pt x="1055" y="1706"/>
                </a:cubicBezTo>
                <a:cubicBezTo>
                  <a:pt x="1053" y="1707"/>
                  <a:pt x="1051" y="1708"/>
                  <a:pt x="1049" y="1708"/>
                </a:cubicBezTo>
                <a:cubicBezTo>
                  <a:pt x="1049" y="1708"/>
                  <a:pt x="1049" y="1708"/>
                  <a:pt x="1049" y="1718"/>
                </a:cubicBezTo>
                <a:cubicBezTo>
                  <a:pt x="1052" y="1717"/>
                  <a:pt x="1055" y="1716"/>
                  <a:pt x="1057" y="1715"/>
                </a:cubicBezTo>
                <a:cubicBezTo>
                  <a:pt x="1060" y="1714"/>
                  <a:pt x="1062" y="1713"/>
                  <a:pt x="1065" y="1711"/>
                </a:cubicBezTo>
                <a:cubicBezTo>
                  <a:pt x="1065" y="1711"/>
                  <a:pt x="1065" y="1711"/>
                  <a:pt x="1065" y="1770"/>
                </a:cubicBezTo>
                <a:cubicBezTo>
                  <a:pt x="1065" y="1770"/>
                  <a:pt x="1065" y="1770"/>
                  <a:pt x="1076" y="1770"/>
                </a:cubicBezTo>
                <a:cubicBezTo>
                  <a:pt x="1076" y="1770"/>
                  <a:pt x="1076" y="1770"/>
                  <a:pt x="1076" y="1697"/>
                </a:cubicBezTo>
                <a:close/>
                <a:moveTo>
                  <a:pt x="1123" y="1697"/>
                </a:moveTo>
                <a:cubicBezTo>
                  <a:pt x="1123" y="1697"/>
                  <a:pt x="1123" y="1697"/>
                  <a:pt x="1123" y="1697"/>
                </a:cubicBezTo>
                <a:cubicBezTo>
                  <a:pt x="1119" y="1697"/>
                  <a:pt x="1119" y="1697"/>
                  <a:pt x="1119" y="1697"/>
                </a:cubicBezTo>
                <a:cubicBezTo>
                  <a:pt x="1116" y="1698"/>
                  <a:pt x="1115" y="1700"/>
                  <a:pt x="1113" y="1700"/>
                </a:cubicBezTo>
                <a:cubicBezTo>
                  <a:pt x="1111" y="1702"/>
                  <a:pt x="1109" y="1702"/>
                  <a:pt x="1108" y="1703"/>
                </a:cubicBezTo>
                <a:cubicBezTo>
                  <a:pt x="1105" y="1704"/>
                  <a:pt x="1104" y="1705"/>
                  <a:pt x="1102" y="1705"/>
                </a:cubicBezTo>
                <a:cubicBezTo>
                  <a:pt x="1100" y="1706"/>
                  <a:pt x="1098" y="1707"/>
                  <a:pt x="1097" y="1708"/>
                </a:cubicBezTo>
                <a:cubicBezTo>
                  <a:pt x="1097" y="1708"/>
                  <a:pt x="1097" y="1708"/>
                  <a:pt x="1097" y="1718"/>
                </a:cubicBezTo>
                <a:cubicBezTo>
                  <a:pt x="1100" y="1717"/>
                  <a:pt x="1103" y="1716"/>
                  <a:pt x="1105" y="1715"/>
                </a:cubicBezTo>
                <a:cubicBezTo>
                  <a:pt x="1107" y="1714"/>
                  <a:pt x="1110" y="1713"/>
                  <a:pt x="1111" y="1711"/>
                </a:cubicBezTo>
                <a:cubicBezTo>
                  <a:pt x="1111" y="1711"/>
                  <a:pt x="1111" y="1711"/>
                  <a:pt x="1111" y="1770"/>
                </a:cubicBezTo>
                <a:cubicBezTo>
                  <a:pt x="1111" y="1770"/>
                  <a:pt x="1111" y="1770"/>
                  <a:pt x="1123" y="1770"/>
                </a:cubicBezTo>
                <a:cubicBezTo>
                  <a:pt x="1123" y="1770"/>
                  <a:pt x="1123" y="1770"/>
                  <a:pt x="1123" y="1697"/>
                </a:cubicBezTo>
                <a:close/>
                <a:moveTo>
                  <a:pt x="1168" y="1770"/>
                </a:moveTo>
                <a:cubicBezTo>
                  <a:pt x="1160" y="1770"/>
                  <a:pt x="1154" y="1767"/>
                  <a:pt x="1149" y="1761"/>
                </a:cubicBezTo>
                <a:cubicBezTo>
                  <a:pt x="1145" y="1755"/>
                  <a:pt x="1143" y="1746"/>
                  <a:pt x="1143" y="1733"/>
                </a:cubicBezTo>
                <a:cubicBezTo>
                  <a:pt x="1143" y="1720"/>
                  <a:pt x="1145" y="1711"/>
                  <a:pt x="1150" y="1704"/>
                </a:cubicBezTo>
                <a:cubicBezTo>
                  <a:pt x="1154" y="1697"/>
                  <a:pt x="1161" y="1694"/>
                  <a:pt x="1170" y="1694"/>
                </a:cubicBezTo>
                <a:cubicBezTo>
                  <a:pt x="1186" y="1694"/>
                  <a:pt x="1194" y="1706"/>
                  <a:pt x="1194" y="1732"/>
                </a:cubicBezTo>
                <a:cubicBezTo>
                  <a:pt x="1194" y="1744"/>
                  <a:pt x="1192" y="1754"/>
                  <a:pt x="1187" y="1761"/>
                </a:cubicBezTo>
                <a:cubicBezTo>
                  <a:pt x="1182" y="1767"/>
                  <a:pt x="1176" y="1770"/>
                  <a:pt x="1168" y="1770"/>
                </a:cubicBezTo>
                <a:close/>
                <a:moveTo>
                  <a:pt x="1169" y="1703"/>
                </a:moveTo>
                <a:cubicBezTo>
                  <a:pt x="1159" y="1703"/>
                  <a:pt x="1155" y="1714"/>
                  <a:pt x="1155" y="1733"/>
                </a:cubicBezTo>
                <a:cubicBezTo>
                  <a:pt x="1155" y="1752"/>
                  <a:pt x="1159" y="1761"/>
                  <a:pt x="1168" y="1761"/>
                </a:cubicBezTo>
                <a:cubicBezTo>
                  <a:pt x="1177" y="1761"/>
                  <a:pt x="1182" y="1752"/>
                  <a:pt x="1182" y="1733"/>
                </a:cubicBezTo>
                <a:cubicBezTo>
                  <a:pt x="1182" y="1713"/>
                  <a:pt x="1177" y="1703"/>
                  <a:pt x="1169" y="1703"/>
                </a:cubicBezTo>
                <a:close/>
                <a:moveTo>
                  <a:pt x="1238" y="1770"/>
                </a:moveTo>
                <a:cubicBezTo>
                  <a:pt x="1231" y="1770"/>
                  <a:pt x="1224" y="1767"/>
                  <a:pt x="1221" y="1761"/>
                </a:cubicBezTo>
                <a:cubicBezTo>
                  <a:pt x="1216" y="1755"/>
                  <a:pt x="1214" y="1746"/>
                  <a:pt x="1214" y="1733"/>
                </a:cubicBezTo>
                <a:cubicBezTo>
                  <a:pt x="1214" y="1720"/>
                  <a:pt x="1216" y="1711"/>
                  <a:pt x="1221" y="1704"/>
                </a:cubicBezTo>
                <a:cubicBezTo>
                  <a:pt x="1225" y="1697"/>
                  <a:pt x="1232" y="1694"/>
                  <a:pt x="1241" y="1694"/>
                </a:cubicBezTo>
                <a:cubicBezTo>
                  <a:pt x="1257" y="1694"/>
                  <a:pt x="1265" y="1706"/>
                  <a:pt x="1265" y="1732"/>
                </a:cubicBezTo>
                <a:cubicBezTo>
                  <a:pt x="1265" y="1744"/>
                  <a:pt x="1262" y="1754"/>
                  <a:pt x="1258" y="1761"/>
                </a:cubicBezTo>
                <a:cubicBezTo>
                  <a:pt x="1253" y="1767"/>
                  <a:pt x="1247" y="1770"/>
                  <a:pt x="1238" y="1770"/>
                </a:cubicBezTo>
                <a:close/>
                <a:moveTo>
                  <a:pt x="1240" y="1703"/>
                </a:moveTo>
                <a:cubicBezTo>
                  <a:pt x="1231" y="1703"/>
                  <a:pt x="1226" y="1714"/>
                  <a:pt x="1226" y="1733"/>
                </a:cubicBezTo>
                <a:cubicBezTo>
                  <a:pt x="1226" y="1752"/>
                  <a:pt x="1230" y="1761"/>
                  <a:pt x="1239" y="1761"/>
                </a:cubicBezTo>
                <a:cubicBezTo>
                  <a:pt x="1248" y="1761"/>
                  <a:pt x="1252" y="1752"/>
                  <a:pt x="1252" y="1733"/>
                </a:cubicBezTo>
                <a:cubicBezTo>
                  <a:pt x="1252" y="1713"/>
                  <a:pt x="1248" y="1703"/>
                  <a:pt x="1240" y="1703"/>
                </a:cubicBezTo>
                <a:close/>
                <a:moveTo>
                  <a:pt x="927" y="1729"/>
                </a:moveTo>
                <a:cubicBezTo>
                  <a:pt x="927" y="1729"/>
                  <a:pt x="927" y="1729"/>
                  <a:pt x="927" y="1729"/>
                </a:cubicBezTo>
                <a:cubicBezTo>
                  <a:pt x="926" y="1737"/>
                  <a:pt x="926" y="1737"/>
                  <a:pt x="926" y="1737"/>
                </a:cubicBezTo>
                <a:cubicBezTo>
                  <a:pt x="933" y="1738"/>
                  <a:pt x="933" y="1741"/>
                  <a:pt x="933" y="1743"/>
                </a:cubicBezTo>
                <a:cubicBezTo>
                  <a:pt x="933" y="1745"/>
                  <a:pt x="933" y="1748"/>
                  <a:pt x="933" y="1750"/>
                </a:cubicBezTo>
                <a:cubicBezTo>
                  <a:pt x="933" y="1753"/>
                  <a:pt x="932" y="1755"/>
                  <a:pt x="932" y="1757"/>
                </a:cubicBezTo>
                <a:cubicBezTo>
                  <a:pt x="932" y="1767"/>
                  <a:pt x="938" y="1770"/>
                  <a:pt x="947" y="1770"/>
                </a:cubicBezTo>
                <a:cubicBezTo>
                  <a:pt x="947" y="1770"/>
                  <a:pt x="947" y="1770"/>
                  <a:pt x="951" y="1770"/>
                </a:cubicBezTo>
                <a:cubicBezTo>
                  <a:pt x="951" y="1770"/>
                  <a:pt x="951" y="1770"/>
                  <a:pt x="951" y="1761"/>
                </a:cubicBezTo>
                <a:cubicBezTo>
                  <a:pt x="951" y="1761"/>
                  <a:pt x="951" y="1761"/>
                  <a:pt x="949" y="1761"/>
                </a:cubicBezTo>
                <a:cubicBezTo>
                  <a:pt x="945" y="1761"/>
                  <a:pt x="944" y="1759"/>
                  <a:pt x="944" y="1755"/>
                </a:cubicBezTo>
                <a:cubicBezTo>
                  <a:pt x="944" y="1754"/>
                  <a:pt x="944" y="1752"/>
                  <a:pt x="945" y="1750"/>
                </a:cubicBezTo>
                <a:cubicBezTo>
                  <a:pt x="945" y="1749"/>
                  <a:pt x="945" y="1747"/>
                  <a:pt x="945" y="1744"/>
                </a:cubicBezTo>
                <a:cubicBezTo>
                  <a:pt x="945" y="1737"/>
                  <a:pt x="942" y="1734"/>
                  <a:pt x="936" y="1733"/>
                </a:cubicBezTo>
                <a:cubicBezTo>
                  <a:pt x="936" y="1733"/>
                  <a:pt x="936" y="1733"/>
                  <a:pt x="936" y="1733"/>
                </a:cubicBezTo>
                <a:cubicBezTo>
                  <a:pt x="942" y="1732"/>
                  <a:pt x="945" y="1729"/>
                  <a:pt x="945" y="1722"/>
                </a:cubicBezTo>
                <a:cubicBezTo>
                  <a:pt x="945" y="1719"/>
                  <a:pt x="945" y="1717"/>
                  <a:pt x="945" y="1716"/>
                </a:cubicBezTo>
                <a:cubicBezTo>
                  <a:pt x="944" y="1714"/>
                  <a:pt x="944" y="1712"/>
                  <a:pt x="944" y="1711"/>
                </a:cubicBezTo>
                <a:cubicBezTo>
                  <a:pt x="944" y="1707"/>
                  <a:pt x="945" y="1705"/>
                  <a:pt x="949" y="1705"/>
                </a:cubicBezTo>
                <a:cubicBezTo>
                  <a:pt x="949" y="1705"/>
                  <a:pt x="949" y="1705"/>
                  <a:pt x="951" y="1705"/>
                </a:cubicBezTo>
                <a:cubicBezTo>
                  <a:pt x="951" y="1705"/>
                  <a:pt x="951" y="1705"/>
                  <a:pt x="951" y="1696"/>
                </a:cubicBezTo>
                <a:cubicBezTo>
                  <a:pt x="951" y="1696"/>
                  <a:pt x="951" y="1696"/>
                  <a:pt x="947" y="1696"/>
                </a:cubicBezTo>
                <a:cubicBezTo>
                  <a:pt x="938" y="1696"/>
                  <a:pt x="932" y="1700"/>
                  <a:pt x="932" y="1708"/>
                </a:cubicBezTo>
                <a:cubicBezTo>
                  <a:pt x="932" y="1711"/>
                  <a:pt x="933" y="1713"/>
                  <a:pt x="933" y="1716"/>
                </a:cubicBezTo>
                <a:cubicBezTo>
                  <a:pt x="933" y="1718"/>
                  <a:pt x="933" y="1721"/>
                  <a:pt x="933" y="1723"/>
                </a:cubicBezTo>
                <a:cubicBezTo>
                  <a:pt x="933" y="1725"/>
                  <a:pt x="933" y="1729"/>
                  <a:pt x="927" y="1729"/>
                </a:cubicBezTo>
                <a:close/>
                <a:moveTo>
                  <a:pt x="981" y="1737"/>
                </a:moveTo>
                <a:cubicBezTo>
                  <a:pt x="981" y="1737"/>
                  <a:pt x="981" y="1737"/>
                  <a:pt x="981" y="1737"/>
                </a:cubicBezTo>
                <a:cubicBezTo>
                  <a:pt x="981" y="1729"/>
                  <a:pt x="981" y="1729"/>
                  <a:pt x="981" y="1729"/>
                </a:cubicBezTo>
                <a:cubicBezTo>
                  <a:pt x="975" y="1729"/>
                  <a:pt x="975" y="1725"/>
                  <a:pt x="975" y="1723"/>
                </a:cubicBezTo>
                <a:cubicBezTo>
                  <a:pt x="975" y="1721"/>
                  <a:pt x="975" y="1718"/>
                  <a:pt x="975" y="1716"/>
                </a:cubicBezTo>
                <a:cubicBezTo>
                  <a:pt x="976" y="1713"/>
                  <a:pt x="976" y="1711"/>
                  <a:pt x="976" y="1708"/>
                </a:cubicBezTo>
                <a:cubicBezTo>
                  <a:pt x="976" y="1700"/>
                  <a:pt x="970" y="1696"/>
                  <a:pt x="961" y="1696"/>
                </a:cubicBezTo>
                <a:cubicBezTo>
                  <a:pt x="961" y="1696"/>
                  <a:pt x="961" y="1696"/>
                  <a:pt x="957" y="1696"/>
                </a:cubicBezTo>
                <a:cubicBezTo>
                  <a:pt x="957" y="1696"/>
                  <a:pt x="957" y="1696"/>
                  <a:pt x="957" y="1705"/>
                </a:cubicBezTo>
                <a:cubicBezTo>
                  <a:pt x="957" y="1705"/>
                  <a:pt x="957" y="1705"/>
                  <a:pt x="959" y="1705"/>
                </a:cubicBezTo>
                <a:cubicBezTo>
                  <a:pt x="963" y="1705"/>
                  <a:pt x="964" y="1707"/>
                  <a:pt x="964" y="1711"/>
                </a:cubicBezTo>
                <a:cubicBezTo>
                  <a:pt x="964" y="1712"/>
                  <a:pt x="964" y="1714"/>
                  <a:pt x="964" y="1716"/>
                </a:cubicBezTo>
                <a:cubicBezTo>
                  <a:pt x="963" y="1717"/>
                  <a:pt x="963" y="1719"/>
                  <a:pt x="963" y="1722"/>
                </a:cubicBezTo>
                <a:cubicBezTo>
                  <a:pt x="963" y="1729"/>
                  <a:pt x="966" y="1732"/>
                  <a:pt x="972" y="1733"/>
                </a:cubicBezTo>
                <a:cubicBezTo>
                  <a:pt x="972" y="1733"/>
                  <a:pt x="972" y="1733"/>
                  <a:pt x="972" y="1733"/>
                </a:cubicBezTo>
                <a:cubicBezTo>
                  <a:pt x="966" y="1734"/>
                  <a:pt x="963" y="1737"/>
                  <a:pt x="963" y="1744"/>
                </a:cubicBezTo>
                <a:cubicBezTo>
                  <a:pt x="963" y="1747"/>
                  <a:pt x="963" y="1749"/>
                  <a:pt x="964" y="1750"/>
                </a:cubicBezTo>
                <a:cubicBezTo>
                  <a:pt x="964" y="1752"/>
                  <a:pt x="964" y="1754"/>
                  <a:pt x="964" y="1755"/>
                </a:cubicBezTo>
                <a:cubicBezTo>
                  <a:pt x="964" y="1759"/>
                  <a:pt x="963" y="1761"/>
                  <a:pt x="959" y="1761"/>
                </a:cubicBezTo>
                <a:cubicBezTo>
                  <a:pt x="959" y="1761"/>
                  <a:pt x="959" y="1761"/>
                  <a:pt x="957" y="1761"/>
                </a:cubicBezTo>
                <a:cubicBezTo>
                  <a:pt x="957" y="1761"/>
                  <a:pt x="957" y="1761"/>
                  <a:pt x="957" y="1770"/>
                </a:cubicBezTo>
                <a:cubicBezTo>
                  <a:pt x="957" y="1770"/>
                  <a:pt x="957" y="1770"/>
                  <a:pt x="961" y="1770"/>
                </a:cubicBezTo>
                <a:cubicBezTo>
                  <a:pt x="970" y="1770"/>
                  <a:pt x="976" y="1767"/>
                  <a:pt x="976" y="1757"/>
                </a:cubicBezTo>
                <a:cubicBezTo>
                  <a:pt x="976" y="1755"/>
                  <a:pt x="976" y="1753"/>
                  <a:pt x="975" y="1750"/>
                </a:cubicBezTo>
                <a:cubicBezTo>
                  <a:pt x="975" y="1748"/>
                  <a:pt x="975" y="1745"/>
                  <a:pt x="975" y="1743"/>
                </a:cubicBezTo>
                <a:cubicBezTo>
                  <a:pt x="975" y="1741"/>
                  <a:pt x="975" y="1738"/>
                  <a:pt x="981" y="1737"/>
                </a:cubicBezTo>
                <a:close/>
                <a:moveTo>
                  <a:pt x="1451" y="1770"/>
                </a:moveTo>
                <a:cubicBezTo>
                  <a:pt x="1444" y="1770"/>
                  <a:pt x="1438" y="1767"/>
                  <a:pt x="1433" y="1761"/>
                </a:cubicBezTo>
                <a:cubicBezTo>
                  <a:pt x="1429" y="1755"/>
                  <a:pt x="1427" y="1745"/>
                  <a:pt x="1427" y="1733"/>
                </a:cubicBezTo>
                <a:cubicBezTo>
                  <a:pt x="1427" y="1720"/>
                  <a:pt x="1429" y="1711"/>
                  <a:pt x="1433" y="1703"/>
                </a:cubicBezTo>
                <a:cubicBezTo>
                  <a:pt x="1438" y="1697"/>
                  <a:pt x="1444" y="1694"/>
                  <a:pt x="1453" y="1694"/>
                </a:cubicBezTo>
                <a:cubicBezTo>
                  <a:pt x="1469" y="1694"/>
                  <a:pt x="1477" y="1706"/>
                  <a:pt x="1477" y="1731"/>
                </a:cubicBezTo>
                <a:cubicBezTo>
                  <a:pt x="1477" y="1744"/>
                  <a:pt x="1475" y="1754"/>
                  <a:pt x="1471" y="1761"/>
                </a:cubicBezTo>
                <a:cubicBezTo>
                  <a:pt x="1466" y="1767"/>
                  <a:pt x="1460" y="1770"/>
                  <a:pt x="1451" y="1770"/>
                </a:cubicBezTo>
                <a:close/>
                <a:moveTo>
                  <a:pt x="1452" y="1703"/>
                </a:moveTo>
                <a:cubicBezTo>
                  <a:pt x="1444" y="1703"/>
                  <a:pt x="1439" y="1713"/>
                  <a:pt x="1439" y="1733"/>
                </a:cubicBezTo>
                <a:cubicBezTo>
                  <a:pt x="1439" y="1751"/>
                  <a:pt x="1444" y="1761"/>
                  <a:pt x="1452" y="1761"/>
                </a:cubicBezTo>
                <a:cubicBezTo>
                  <a:pt x="1460" y="1761"/>
                  <a:pt x="1465" y="1751"/>
                  <a:pt x="1465" y="1733"/>
                </a:cubicBezTo>
                <a:cubicBezTo>
                  <a:pt x="1465" y="1713"/>
                  <a:pt x="1461" y="1703"/>
                  <a:pt x="1452" y="1703"/>
                </a:cubicBezTo>
                <a:close/>
                <a:moveTo>
                  <a:pt x="1569" y="1770"/>
                </a:moveTo>
                <a:cubicBezTo>
                  <a:pt x="1562" y="1770"/>
                  <a:pt x="1556" y="1767"/>
                  <a:pt x="1552" y="1761"/>
                </a:cubicBezTo>
                <a:cubicBezTo>
                  <a:pt x="1547" y="1755"/>
                  <a:pt x="1545" y="1745"/>
                  <a:pt x="1545" y="1733"/>
                </a:cubicBezTo>
                <a:cubicBezTo>
                  <a:pt x="1545" y="1720"/>
                  <a:pt x="1547" y="1711"/>
                  <a:pt x="1552" y="1703"/>
                </a:cubicBezTo>
                <a:cubicBezTo>
                  <a:pt x="1556" y="1697"/>
                  <a:pt x="1563" y="1694"/>
                  <a:pt x="1571" y="1694"/>
                </a:cubicBezTo>
                <a:cubicBezTo>
                  <a:pt x="1587" y="1694"/>
                  <a:pt x="1595" y="1706"/>
                  <a:pt x="1595" y="1731"/>
                </a:cubicBezTo>
                <a:cubicBezTo>
                  <a:pt x="1595" y="1744"/>
                  <a:pt x="1593" y="1754"/>
                  <a:pt x="1589" y="1761"/>
                </a:cubicBezTo>
                <a:cubicBezTo>
                  <a:pt x="1584" y="1767"/>
                  <a:pt x="1578" y="1770"/>
                  <a:pt x="1569" y="1770"/>
                </a:cubicBezTo>
                <a:close/>
                <a:moveTo>
                  <a:pt x="1571" y="1703"/>
                </a:moveTo>
                <a:cubicBezTo>
                  <a:pt x="1562" y="1703"/>
                  <a:pt x="1557" y="1713"/>
                  <a:pt x="1557" y="1733"/>
                </a:cubicBezTo>
                <a:cubicBezTo>
                  <a:pt x="1557" y="1751"/>
                  <a:pt x="1562" y="1761"/>
                  <a:pt x="1571" y="1761"/>
                </a:cubicBezTo>
                <a:cubicBezTo>
                  <a:pt x="1579" y="1761"/>
                  <a:pt x="1583" y="1751"/>
                  <a:pt x="1583" y="1733"/>
                </a:cubicBezTo>
                <a:cubicBezTo>
                  <a:pt x="1583" y="1713"/>
                  <a:pt x="1579" y="1703"/>
                  <a:pt x="1571" y="1703"/>
                </a:cubicBezTo>
                <a:close/>
                <a:moveTo>
                  <a:pt x="1524" y="1697"/>
                </a:moveTo>
                <a:cubicBezTo>
                  <a:pt x="1524" y="1697"/>
                  <a:pt x="1524" y="1697"/>
                  <a:pt x="1524" y="1697"/>
                </a:cubicBezTo>
                <a:cubicBezTo>
                  <a:pt x="1519" y="1697"/>
                  <a:pt x="1519" y="1697"/>
                  <a:pt x="1519" y="1697"/>
                </a:cubicBezTo>
                <a:cubicBezTo>
                  <a:pt x="1517" y="1698"/>
                  <a:pt x="1516" y="1700"/>
                  <a:pt x="1514" y="1700"/>
                </a:cubicBezTo>
                <a:cubicBezTo>
                  <a:pt x="1512" y="1702"/>
                  <a:pt x="1510" y="1702"/>
                  <a:pt x="1509" y="1703"/>
                </a:cubicBezTo>
                <a:cubicBezTo>
                  <a:pt x="1507" y="1704"/>
                  <a:pt x="1505" y="1705"/>
                  <a:pt x="1504" y="1705"/>
                </a:cubicBezTo>
                <a:cubicBezTo>
                  <a:pt x="1502" y="1706"/>
                  <a:pt x="1500" y="1707"/>
                  <a:pt x="1498" y="1708"/>
                </a:cubicBezTo>
                <a:cubicBezTo>
                  <a:pt x="1498" y="1708"/>
                  <a:pt x="1498" y="1708"/>
                  <a:pt x="1498" y="1718"/>
                </a:cubicBezTo>
                <a:cubicBezTo>
                  <a:pt x="1501" y="1717"/>
                  <a:pt x="1504" y="1716"/>
                  <a:pt x="1506" y="1715"/>
                </a:cubicBezTo>
                <a:cubicBezTo>
                  <a:pt x="1509" y="1714"/>
                  <a:pt x="1511" y="1713"/>
                  <a:pt x="1513" y="1711"/>
                </a:cubicBezTo>
                <a:cubicBezTo>
                  <a:pt x="1513" y="1711"/>
                  <a:pt x="1513" y="1711"/>
                  <a:pt x="1513" y="1770"/>
                </a:cubicBezTo>
                <a:cubicBezTo>
                  <a:pt x="1513" y="1770"/>
                  <a:pt x="1513" y="1770"/>
                  <a:pt x="1524" y="1770"/>
                </a:cubicBezTo>
                <a:cubicBezTo>
                  <a:pt x="1524" y="1770"/>
                  <a:pt x="1524" y="1770"/>
                  <a:pt x="1524" y="1697"/>
                </a:cubicBezTo>
                <a:close/>
                <a:moveTo>
                  <a:pt x="1640" y="1770"/>
                </a:moveTo>
                <a:cubicBezTo>
                  <a:pt x="1632" y="1770"/>
                  <a:pt x="1626" y="1767"/>
                  <a:pt x="1622" y="1761"/>
                </a:cubicBezTo>
                <a:cubicBezTo>
                  <a:pt x="1618" y="1755"/>
                  <a:pt x="1616" y="1746"/>
                  <a:pt x="1616" y="1733"/>
                </a:cubicBezTo>
                <a:cubicBezTo>
                  <a:pt x="1616" y="1720"/>
                  <a:pt x="1618" y="1711"/>
                  <a:pt x="1622" y="1704"/>
                </a:cubicBezTo>
                <a:cubicBezTo>
                  <a:pt x="1627" y="1697"/>
                  <a:pt x="1633" y="1694"/>
                  <a:pt x="1642" y="1694"/>
                </a:cubicBezTo>
                <a:cubicBezTo>
                  <a:pt x="1658" y="1694"/>
                  <a:pt x="1666" y="1706"/>
                  <a:pt x="1666" y="1732"/>
                </a:cubicBezTo>
                <a:cubicBezTo>
                  <a:pt x="1666" y="1744"/>
                  <a:pt x="1664" y="1754"/>
                  <a:pt x="1660" y="1761"/>
                </a:cubicBezTo>
                <a:cubicBezTo>
                  <a:pt x="1655" y="1767"/>
                  <a:pt x="1649" y="1770"/>
                  <a:pt x="1640" y="1770"/>
                </a:cubicBezTo>
                <a:close/>
                <a:moveTo>
                  <a:pt x="1641" y="1703"/>
                </a:moveTo>
                <a:cubicBezTo>
                  <a:pt x="1632" y="1703"/>
                  <a:pt x="1627" y="1714"/>
                  <a:pt x="1627" y="1733"/>
                </a:cubicBezTo>
                <a:cubicBezTo>
                  <a:pt x="1627" y="1752"/>
                  <a:pt x="1632" y="1761"/>
                  <a:pt x="1641" y="1761"/>
                </a:cubicBezTo>
                <a:cubicBezTo>
                  <a:pt x="1649" y="1761"/>
                  <a:pt x="1654" y="1752"/>
                  <a:pt x="1654" y="1733"/>
                </a:cubicBezTo>
                <a:cubicBezTo>
                  <a:pt x="1654" y="1713"/>
                  <a:pt x="1649" y="1703"/>
                  <a:pt x="1641" y="1703"/>
                </a:cubicBezTo>
                <a:close/>
                <a:moveTo>
                  <a:pt x="1687" y="1729"/>
                </a:moveTo>
                <a:cubicBezTo>
                  <a:pt x="1687" y="1729"/>
                  <a:pt x="1687" y="1729"/>
                  <a:pt x="1687" y="1729"/>
                </a:cubicBezTo>
                <a:cubicBezTo>
                  <a:pt x="1687" y="1737"/>
                  <a:pt x="1687" y="1737"/>
                  <a:pt x="1687" y="1737"/>
                </a:cubicBezTo>
                <a:cubicBezTo>
                  <a:pt x="1693" y="1738"/>
                  <a:pt x="1694" y="1741"/>
                  <a:pt x="1694" y="1743"/>
                </a:cubicBezTo>
                <a:cubicBezTo>
                  <a:pt x="1694" y="1745"/>
                  <a:pt x="1693" y="1748"/>
                  <a:pt x="1693" y="1750"/>
                </a:cubicBezTo>
                <a:cubicBezTo>
                  <a:pt x="1693" y="1753"/>
                  <a:pt x="1692" y="1755"/>
                  <a:pt x="1692" y="1757"/>
                </a:cubicBezTo>
                <a:cubicBezTo>
                  <a:pt x="1692" y="1767"/>
                  <a:pt x="1698" y="1770"/>
                  <a:pt x="1707" y="1770"/>
                </a:cubicBezTo>
                <a:cubicBezTo>
                  <a:pt x="1707" y="1770"/>
                  <a:pt x="1707" y="1770"/>
                  <a:pt x="1711" y="1770"/>
                </a:cubicBezTo>
                <a:cubicBezTo>
                  <a:pt x="1711" y="1770"/>
                  <a:pt x="1711" y="1770"/>
                  <a:pt x="1711" y="1761"/>
                </a:cubicBezTo>
                <a:cubicBezTo>
                  <a:pt x="1711" y="1761"/>
                  <a:pt x="1711" y="1761"/>
                  <a:pt x="1709" y="1761"/>
                </a:cubicBezTo>
                <a:cubicBezTo>
                  <a:pt x="1705" y="1761"/>
                  <a:pt x="1704" y="1759"/>
                  <a:pt x="1704" y="1755"/>
                </a:cubicBezTo>
                <a:cubicBezTo>
                  <a:pt x="1704" y="1754"/>
                  <a:pt x="1704" y="1752"/>
                  <a:pt x="1705" y="1750"/>
                </a:cubicBezTo>
                <a:cubicBezTo>
                  <a:pt x="1705" y="1749"/>
                  <a:pt x="1705" y="1747"/>
                  <a:pt x="1705" y="1744"/>
                </a:cubicBezTo>
                <a:cubicBezTo>
                  <a:pt x="1705" y="1737"/>
                  <a:pt x="1702" y="1734"/>
                  <a:pt x="1697" y="1733"/>
                </a:cubicBezTo>
                <a:cubicBezTo>
                  <a:pt x="1697" y="1733"/>
                  <a:pt x="1697" y="1733"/>
                  <a:pt x="1697" y="1733"/>
                </a:cubicBezTo>
                <a:cubicBezTo>
                  <a:pt x="1702" y="1732"/>
                  <a:pt x="1705" y="1729"/>
                  <a:pt x="1705" y="1722"/>
                </a:cubicBezTo>
                <a:cubicBezTo>
                  <a:pt x="1705" y="1719"/>
                  <a:pt x="1705" y="1717"/>
                  <a:pt x="1705" y="1716"/>
                </a:cubicBezTo>
                <a:cubicBezTo>
                  <a:pt x="1704" y="1714"/>
                  <a:pt x="1704" y="1712"/>
                  <a:pt x="1704" y="1711"/>
                </a:cubicBezTo>
                <a:cubicBezTo>
                  <a:pt x="1704" y="1707"/>
                  <a:pt x="1705" y="1705"/>
                  <a:pt x="1709" y="1705"/>
                </a:cubicBezTo>
                <a:cubicBezTo>
                  <a:pt x="1709" y="1705"/>
                  <a:pt x="1709" y="1705"/>
                  <a:pt x="1711" y="1705"/>
                </a:cubicBezTo>
                <a:cubicBezTo>
                  <a:pt x="1711" y="1705"/>
                  <a:pt x="1711" y="1705"/>
                  <a:pt x="1711" y="1696"/>
                </a:cubicBezTo>
                <a:cubicBezTo>
                  <a:pt x="1711" y="1696"/>
                  <a:pt x="1711" y="1696"/>
                  <a:pt x="1707" y="1696"/>
                </a:cubicBezTo>
                <a:cubicBezTo>
                  <a:pt x="1698" y="1696"/>
                  <a:pt x="1692" y="1700"/>
                  <a:pt x="1692" y="1708"/>
                </a:cubicBezTo>
                <a:cubicBezTo>
                  <a:pt x="1692" y="1711"/>
                  <a:pt x="1693" y="1713"/>
                  <a:pt x="1693" y="1716"/>
                </a:cubicBezTo>
                <a:cubicBezTo>
                  <a:pt x="1693" y="1718"/>
                  <a:pt x="1694" y="1721"/>
                  <a:pt x="1694" y="1723"/>
                </a:cubicBezTo>
                <a:cubicBezTo>
                  <a:pt x="1694" y="1725"/>
                  <a:pt x="1693" y="1729"/>
                  <a:pt x="1687" y="1729"/>
                </a:cubicBezTo>
                <a:close/>
                <a:moveTo>
                  <a:pt x="1742" y="1737"/>
                </a:moveTo>
                <a:cubicBezTo>
                  <a:pt x="1742" y="1737"/>
                  <a:pt x="1742" y="1737"/>
                  <a:pt x="1742" y="1737"/>
                </a:cubicBezTo>
                <a:cubicBezTo>
                  <a:pt x="1742" y="1729"/>
                  <a:pt x="1742" y="1729"/>
                  <a:pt x="1742" y="1729"/>
                </a:cubicBezTo>
                <a:cubicBezTo>
                  <a:pt x="1735" y="1729"/>
                  <a:pt x="1735" y="1725"/>
                  <a:pt x="1735" y="1723"/>
                </a:cubicBezTo>
                <a:cubicBezTo>
                  <a:pt x="1735" y="1721"/>
                  <a:pt x="1735" y="1718"/>
                  <a:pt x="1735" y="1716"/>
                </a:cubicBezTo>
                <a:cubicBezTo>
                  <a:pt x="1736" y="1713"/>
                  <a:pt x="1736" y="1711"/>
                  <a:pt x="1736" y="1708"/>
                </a:cubicBezTo>
                <a:cubicBezTo>
                  <a:pt x="1736" y="1700"/>
                  <a:pt x="1731" y="1696"/>
                  <a:pt x="1721" y="1696"/>
                </a:cubicBezTo>
                <a:cubicBezTo>
                  <a:pt x="1721" y="1696"/>
                  <a:pt x="1721" y="1696"/>
                  <a:pt x="1718" y="1696"/>
                </a:cubicBezTo>
                <a:cubicBezTo>
                  <a:pt x="1718" y="1696"/>
                  <a:pt x="1718" y="1696"/>
                  <a:pt x="1718" y="1705"/>
                </a:cubicBezTo>
                <a:cubicBezTo>
                  <a:pt x="1718" y="1705"/>
                  <a:pt x="1718" y="1705"/>
                  <a:pt x="1719" y="1705"/>
                </a:cubicBezTo>
                <a:cubicBezTo>
                  <a:pt x="1723" y="1705"/>
                  <a:pt x="1724" y="1707"/>
                  <a:pt x="1724" y="1711"/>
                </a:cubicBezTo>
                <a:cubicBezTo>
                  <a:pt x="1724" y="1712"/>
                  <a:pt x="1724" y="1714"/>
                  <a:pt x="1724" y="1716"/>
                </a:cubicBezTo>
                <a:cubicBezTo>
                  <a:pt x="1724" y="1717"/>
                  <a:pt x="1724" y="1719"/>
                  <a:pt x="1724" y="1722"/>
                </a:cubicBezTo>
                <a:cubicBezTo>
                  <a:pt x="1724" y="1729"/>
                  <a:pt x="1726" y="1732"/>
                  <a:pt x="1732" y="1733"/>
                </a:cubicBezTo>
                <a:cubicBezTo>
                  <a:pt x="1732" y="1733"/>
                  <a:pt x="1732" y="1733"/>
                  <a:pt x="1732" y="1733"/>
                </a:cubicBezTo>
                <a:cubicBezTo>
                  <a:pt x="1726" y="1734"/>
                  <a:pt x="1724" y="1737"/>
                  <a:pt x="1724" y="1744"/>
                </a:cubicBezTo>
                <a:cubicBezTo>
                  <a:pt x="1724" y="1747"/>
                  <a:pt x="1724" y="1749"/>
                  <a:pt x="1724" y="1750"/>
                </a:cubicBezTo>
                <a:cubicBezTo>
                  <a:pt x="1724" y="1752"/>
                  <a:pt x="1724" y="1754"/>
                  <a:pt x="1724" y="1755"/>
                </a:cubicBezTo>
                <a:cubicBezTo>
                  <a:pt x="1724" y="1759"/>
                  <a:pt x="1723" y="1761"/>
                  <a:pt x="1719" y="1761"/>
                </a:cubicBezTo>
                <a:cubicBezTo>
                  <a:pt x="1719" y="1761"/>
                  <a:pt x="1719" y="1761"/>
                  <a:pt x="1718" y="1761"/>
                </a:cubicBezTo>
                <a:cubicBezTo>
                  <a:pt x="1718" y="1761"/>
                  <a:pt x="1718" y="1761"/>
                  <a:pt x="1718" y="1770"/>
                </a:cubicBezTo>
                <a:cubicBezTo>
                  <a:pt x="1718" y="1770"/>
                  <a:pt x="1718" y="1770"/>
                  <a:pt x="1721" y="1770"/>
                </a:cubicBezTo>
                <a:cubicBezTo>
                  <a:pt x="1730" y="1770"/>
                  <a:pt x="1736" y="1767"/>
                  <a:pt x="1736" y="1757"/>
                </a:cubicBezTo>
                <a:cubicBezTo>
                  <a:pt x="1736" y="1755"/>
                  <a:pt x="1736" y="1753"/>
                  <a:pt x="1735" y="1750"/>
                </a:cubicBezTo>
                <a:cubicBezTo>
                  <a:pt x="1735" y="1748"/>
                  <a:pt x="1735" y="1745"/>
                  <a:pt x="1735" y="1743"/>
                </a:cubicBezTo>
                <a:cubicBezTo>
                  <a:pt x="1735" y="1741"/>
                  <a:pt x="1735" y="1738"/>
                  <a:pt x="1742" y="1737"/>
                </a:cubicBezTo>
                <a:close/>
                <a:moveTo>
                  <a:pt x="1862" y="1770"/>
                </a:moveTo>
                <a:cubicBezTo>
                  <a:pt x="1855" y="1770"/>
                  <a:pt x="1848" y="1767"/>
                  <a:pt x="1844" y="1761"/>
                </a:cubicBezTo>
                <a:cubicBezTo>
                  <a:pt x="1840" y="1755"/>
                  <a:pt x="1838" y="1746"/>
                  <a:pt x="1838" y="1733"/>
                </a:cubicBezTo>
                <a:cubicBezTo>
                  <a:pt x="1838" y="1720"/>
                  <a:pt x="1840" y="1711"/>
                  <a:pt x="1844" y="1704"/>
                </a:cubicBezTo>
                <a:cubicBezTo>
                  <a:pt x="1849" y="1697"/>
                  <a:pt x="1855" y="1694"/>
                  <a:pt x="1864" y="1694"/>
                </a:cubicBezTo>
                <a:cubicBezTo>
                  <a:pt x="1880" y="1694"/>
                  <a:pt x="1888" y="1706"/>
                  <a:pt x="1888" y="1732"/>
                </a:cubicBezTo>
                <a:cubicBezTo>
                  <a:pt x="1888" y="1744"/>
                  <a:pt x="1886" y="1754"/>
                  <a:pt x="1881" y="1761"/>
                </a:cubicBezTo>
                <a:cubicBezTo>
                  <a:pt x="1876" y="1767"/>
                  <a:pt x="1870" y="1770"/>
                  <a:pt x="1862" y="1770"/>
                </a:cubicBezTo>
                <a:close/>
                <a:moveTo>
                  <a:pt x="1863" y="1703"/>
                </a:moveTo>
                <a:cubicBezTo>
                  <a:pt x="1854" y="1703"/>
                  <a:pt x="1849" y="1714"/>
                  <a:pt x="1849" y="1733"/>
                </a:cubicBezTo>
                <a:cubicBezTo>
                  <a:pt x="1849" y="1752"/>
                  <a:pt x="1854" y="1761"/>
                  <a:pt x="1863" y="1761"/>
                </a:cubicBezTo>
                <a:cubicBezTo>
                  <a:pt x="1871" y="1761"/>
                  <a:pt x="1876" y="1752"/>
                  <a:pt x="1876" y="1733"/>
                </a:cubicBezTo>
                <a:cubicBezTo>
                  <a:pt x="1876" y="1713"/>
                  <a:pt x="1871" y="1703"/>
                  <a:pt x="1863" y="1703"/>
                </a:cubicBezTo>
                <a:close/>
                <a:moveTo>
                  <a:pt x="1932" y="1697"/>
                </a:moveTo>
                <a:cubicBezTo>
                  <a:pt x="1932" y="1697"/>
                  <a:pt x="1932" y="1697"/>
                  <a:pt x="1932" y="1697"/>
                </a:cubicBezTo>
                <a:cubicBezTo>
                  <a:pt x="1927" y="1697"/>
                  <a:pt x="1927" y="1697"/>
                  <a:pt x="1927" y="1697"/>
                </a:cubicBezTo>
                <a:cubicBezTo>
                  <a:pt x="1924" y="1698"/>
                  <a:pt x="1923" y="1700"/>
                  <a:pt x="1921" y="1700"/>
                </a:cubicBezTo>
                <a:cubicBezTo>
                  <a:pt x="1919" y="1702"/>
                  <a:pt x="1917" y="1702"/>
                  <a:pt x="1916" y="1703"/>
                </a:cubicBezTo>
                <a:cubicBezTo>
                  <a:pt x="1913" y="1704"/>
                  <a:pt x="1912" y="1705"/>
                  <a:pt x="1910" y="1705"/>
                </a:cubicBezTo>
                <a:cubicBezTo>
                  <a:pt x="1908" y="1706"/>
                  <a:pt x="1907" y="1707"/>
                  <a:pt x="1904" y="1708"/>
                </a:cubicBezTo>
                <a:cubicBezTo>
                  <a:pt x="1904" y="1708"/>
                  <a:pt x="1904" y="1708"/>
                  <a:pt x="1904" y="1718"/>
                </a:cubicBezTo>
                <a:cubicBezTo>
                  <a:pt x="1907" y="1717"/>
                  <a:pt x="1910" y="1716"/>
                  <a:pt x="1913" y="1715"/>
                </a:cubicBezTo>
                <a:cubicBezTo>
                  <a:pt x="1916" y="1714"/>
                  <a:pt x="1918" y="1713"/>
                  <a:pt x="1920" y="1711"/>
                </a:cubicBezTo>
                <a:cubicBezTo>
                  <a:pt x="1920" y="1711"/>
                  <a:pt x="1920" y="1711"/>
                  <a:pt x="1920" y="1770"/>
                </a:cubicBezTo>
                <a:cubicBezTo>
                  <a:pt x="1920" y="1770"/>
                  <a:pt x="1920" y="1770"/>
                  <a:pt x="1932" y="1770"/>
                </a:cubicBezTo>
                <a:cubicBezTo>
                  <a:pt x="1932" y="1770"/>
                  <a:pt x="1932" y="1770"/>
                  <a:pt x="1932" y="1697"/>
                </a:cubicBezTo>
                <a:close/>
                <a:moveTo>
                  <a:pt x="128" y="1639"/>
                </a:moveTo>
                <a:cubicBezTo>
                  <a:pt x="128" y="1640"/>
                  <a:pt x="129" y="1642"/>
                  <a:pt x="130" y="1643"/>
                </a:cubicBezTo>
                <a:cubicBezTo>
                  <a:pt x="130" y="1645"/>
                  <a:pt x="130" y="1647"/>
                  <a:pt x="131" y="1648"/>
                </a:cubicBezTo>
                <a:cubicBezTo>
                  <a:pt x="131" y="1650"/>
                  <a:pt x="131" y="1652"/>
                  <a:pt x="131" y="1653"/>
                </a:cubicBezTo>
                <a:cubicBezTo>
                  <a:pt x="132" y="1656"/>
                  <a:pt x="131" y="1658"/>
                  <a:pt x="128" y="1658"/>
                </a:cubicBezTo>
                <a:cubicBezTo>
                  <a:pt x="125" y="1658"/>
                  <a:pt x="122" y="1657"/>
                  <a:pt x="119" y="1657"/>
                </a:cubicBezTo>
                <a:cubicBezTo>
                  <a:pt x="119" y="1657"/>
                  <a:pt x="118" y="1657"/>
                  <a:pt x="118" y="1658"/>
                </a:cubicBezTo>
                <a:cubicBezTo>
                  <a:pt x="116" y="1659"/>
                  <a:pt x="115" y="1661"/>
                  <a:pt x="114" y="1662"/>
                </a:cubicBezTo>
                <a:cubicBezTo>
                  <a:pt x="112" y="1665"/>
                  <a:pt x="108" y="1665"/>
                  <a:pt x="106" y="1663"/>
                </a:cubicBezTo>
                <a:cubicBezTo>
                  <a:pt x="104" y="1661"/>
                  <a:pt x="103" y="1658"/>
                  <a:pt x="101" y="1656"/>
                </a:cubicBezTo>
                <a:cubicBezTo>
                  <a:pt x="101" y="1654"/>
                  <a:pt x="101" y="1652"/>
                  <a:pt x="103" y="1651"/>
                </a:cubicBezTo>
                <a:cubicBezTo>
                  <a:pt x="101" y="1651"/>
                  <a:pt x="99" y="1651"/>
                  <a:pt x="97" y="1651"/>
                </a:cubicBezTo>
                <a:cubicBezTo>
                  <a:pt x="97" y="1653"/>
                  <a:pt x="95" y="1655"/>
                  <a:pt x="95" y="1657"/>
                </a:cubicBezTo>
                <a:cubicBezTo>
                  <a:pt x="95" y="1657"/>
                  <a:pt x="94" y="1658"/>
                  <a:pt x="94" y="1659"/>
                </a:cubicBezTo>
                <a:cubicBezTo>
                  <a:pt x="94" y="1662"/>
                  <a:pt x="93" y="1663"/>
                  <a:pt x="90" y="1663"/>
                </a:cubicBezTo>
                <a:cubicBezTo>
                  <a:pt x="87" y="1663"/>
                  <a:pt x="84" y="1662"/>
                  <a:pt x="81" y="1661"/>
                </a:cubicBezTo>
                <a:cubicBezTo>
                  <a:pt x="79" y="1660"/>
                  <a:pt x="79" y="1659"/>
                  <a:pt x="79" y="1657"/>
                </a:cubicBezTo>
                <a:cubicBezTo>
                  <a:pt x="79" y="1656"/>
                  <a:pt x="79" y="1655"/>
                  <a:pt x="80" y="1655"/>
                </a:cubicBezTo>
                <a:cubicBezTo>
                  <a:pt x="77" y="1654"/>
                  <a:pt x="75" y="1653"/>
                  <a:pt x="73" y="1652"/>
                </a:cubicBezTo>
                <a:cubicBezTo>
                  <a:pt x="72" y="1651"/>
                  <a:pt x="71" y="1649"/>
                  <a:pt x="70" y="1647"/>
                </a:cubicBezTo>
                <a:cubicBezTo>
                  <a:pt x="69" y="1645"/>
                  <a:pt x="69" y="1644"/>
                  <a:pt x="71" y="1642"/>
                </a:cubicBezTo>
                <a:cubicBezTo>
                  <a:pt x="74" y="1640"/>
                  <a:pt x="75" y="1637"/>
                  <a:pt x="74" y="1633"/>
                </a:cubicBezTo>
                <a:cubicBezTo>
                  <a:pt x="74" y="1631"/>
                  <a:pt x="74" y="1629"/>
                  <a:pt x="74" y="1627"/>
                </a:cubicBezTo>
                <a:cubicBezTo>
                  <a:pt x="73" y="1626"/>
                  <a:pt x="71" y="1626"/>
                  <a:pt x="70" y="1625"/>
                </a:cubicBezTo>
                <a:cubicBezTo>
                  <a:pt x="69" y="1623"/>
                  <a:pt x="68" y="1621"/>
                  <a:pt x="68" y="1619"/>
                </a:cubicBezTo>
                <a:cubicBezTo>
                  <a:pt x="68" y="1616"/>
                  <a:pt x="72" y="1614"/>
                  <a:pt x="74" y="1613"/>
                </a:cubicBezTo>
                <a:cubicBezTo>
                  <a:pt x="75" y="1614"/>
                  <a:pt x="75" y="1614"/>
                  <a:pt x="75" y="1615"/>
                </a:cubicBezTo>
                <a:cubicBezTo>
                  <a:pt x="75" y="1616"/>
                  <a:pt x="75" y="1617"/>
                  <a:pt x="75" y="1618"/>
                </a:cubicBezTo>
                <a:cubicBezTo>
                  <a:pt x="75" y="1618"/>
                  <a:pt x="74" y="1618"/>
                  <a:pt x="74" y="1618"/>
                </a:cubicBezTo>
                <a:cubicBezTo>
                  <a:pt x="74" y="1619"/>
                  <a:pt x="73" y="1620"/>
                  <a:pt x="72" y="1622"/>
                </a:cubicBezTo>
                <a:cubicBezTo>
                  <a:pt x="74" y="1622"/>
                  <a:pt x="74" y="1622"/>
                  <a:pt x="75" y="1621"/>
                </a:cubicBezTo>
                <a:cubicBezTo>
                  <a:pt x="76" y="1620"/>
                  <a:pt x="77" y="1619"/>
                  <a:pt x="77" y="1618"/>
                </a:cubicBezTo>
                <a:cubicBezTo>
                  <a:pt x="82" y="1612"/>
                  <a:pt x="88" y="1608"/>
                  <a:pt x="95" y="1606"/>
                </a:cubicBezTo>
                <a:cubicBezTo>
                  <a:pt x="99" y="1606"/>
                  <a:pt x="102" y="1604"/>
                  <a:pt x="104" y="1602"/>
                </a:cubicBezTo>
                <a:cubicBezTo>
                  <a:pt x="104" y="1601"/>
                  <a:pt x="105" y="1601"/>
                  <a:pt x="105" y="1601"/>
                </a:cubicBezTo>
                <a:cubicBezTo>
                  <a:pt x="108" y="1600"/>
                  <a:pt x="110" y="1598"/>
                  <a:pt x="112" y="1596"/>
                </a:cubicBezTo>
                <a:cubicBezTo>
                  <a:pt x="119" y="1589"/>
                  <a:pt x="131" y="1588"/>
                  <a:pt x="139" y="1595"/>
                </a:cubicBezTo>
                <a:cubicBezTo>
                  <a:pt x="141" y="1597"/>
                  <a:pt x="144" y="1599"/>
                  <a:pt x="146" y="1601"/>
                </a:cubicBezTo>
                <a:cubicBezTo>
                  <a:pt x="148" y="1602"/>
                  <a:pt x="149" y="1604"/>
                  <a:pt x="150" y="1606"/>
                </a:cubicBezTo>
                <a:cubicBezTo>
                  <a:pt x="151" y="1607"/>
                  <a:pt x="152" y="1607"/>
                  <a:pt x="153" y="1606"/>
                </a:cubicBezTo>
                <a:cubicBezTo>
                  <a:pt x="154" y="1606"/>
                  <a:pt x="154" y="1605"/>
                  <a:pt x="155" y="1604"/>
                </a:cubicBezTo>
                <a:cubicBezTo>
                  <a:pt x="157" y="1601"/>
                  <a:pt x="160" y="1601"/>
                  <a:pt x="161" y="1604"/>
                </a:cubicBezTo>
                <a:cubicBezTo>
                  <a:pt x="163" y="1608"/>
                  <a:pt x="163" y="1610"/>
                  <a:pt x="164" y="1614"/>
                </a:cubicBezTo>
                <a:cubicBezTo>
                  <a:pt x="164" y="1618"/>
                  <a:pt x="164" y="1622"/>
                  <a:pt x="163" y="1627"/>
                </a:cubicBezTo>
                <a:cubicBezTo>
                  <a:pt x="160" y="1633"/>
                  <a:pt x="155" y="1636"/>
                  <a:pt x="149" y="1636"/>
                </a:cubicBezTo>
                <a:cubicBezTo>
                  <a:pt x="148" y="1636"/>
                  <a:pt x="148" y="1636"/>
                  <a:pt x="147" y="1636"/>
                </a:cubicBezTo>
                <a:cubicBezTo>
                  <a:pt x="144" y="1636"/>
                  <a:pt x="143" y="1636"/>
                  <a:pt x="143" y="1639"/>
                </a:cubicBezTo>
                <a:cubicBezTo>
                  <a:pt x="141" y="1643"/>
                  <a:pt x="135" y="1645"/>
                  <a:pt x="132" y="1642"/>
                </a:cubicBezTo>
                <a:cubicBezTo>
                  <a:pt x="131" y="1640"/>
                  <a:pt x="130" y="1640"/>
                  <a:pt x="129" y="1638"/>
                </a:cubicBezTo>
                <a:cubicBezTo>
                  <a:pt x="128" y="1639"/>
                  <a:pt x="128" y="1639"/>
                  <a:pt x="128" y="1639"/>
                </a:cubicBezTo>
                <a:close/>
                <a:moveTo>
                  <a:pt x="123" y="1635"/>
                </a:moveTo>
                <a:cubicBezTo>
                  <a:pt x="126" y="1636"/>
                  <a:pt x="130" y="1637"/>
                  <a:pt x="132" y="1640"/>
                </a:cubicBezTo>
                <a:cubicBezTo>
                  <a:pt x="134" y="1642"/>
                  <a:pt x="136" y="1642"/>
                  <a:pt x="138" y="1642"/>
                </a:cubicBezTo>
                <a:cubicBezTo>
                  <a:pt x="141" y="1641"/>
                  <a:pt x="142" y="1639"/>
                  <a:pt x="142" y="1636"/>
                </a:cubicBezTo>
                <a:cubicBezTo>
                  <a:pt x="142" y="1636"/>
                  <a:pt x="141" y="1636"/>
                  <a:pt x="141" y="1636"/>
                </a:cubicBezTo>
                <a:cubicBezTo>
                  <a:pt x="141" y="1638"/>
                  <a:pt x="139" y="1639"/>
                  <a:pt x="139" y="1640"/>
                </a:cubicBezTo>
                <a:cubicBezTo>
                  <a:pt x="137" y="1641"/>
                  <a:pt x="136" y="1641"/>
                  <a:pt x="135" y="1640"/>
                </a:cubicBezTo>
                <a:cubicBezTo>
                  <a:pt x="135" y="1640"/>
                  <a:pt x="134" y="1639"/>
                  <a:pt x="134" y="1638"/>
                </a:cubicBezTo>
                <a:cubicBezTo>
                  <a:pt x="134" y="1636"/>
                  <a:pt x="135" y="1634"/>
                  <a:pt x="135" y="1632"/>
                </a:cubicBezTo>
                <a:cubicBezTo>
                  <a:pt x="138" y="1633"/>
                  <a:pt x="141" y="1634"/>
                  <a:pt x="145" y="1635"/>
                </a:cubicBezTo>
                <a:cubicBezTo>
                  <a:pt x="152" y="1636"/>
                  <a:pt x="158" y="1634"/>
                  <a:pt x="161" y="1625"/>
                </a:cubicBezTo>
                <a:cubicBezTo>
                  <a:pt x="163" y="1621"/>
                  <a:pt x="163" y="1616"/>
                  <a:pt x="162" y="1611"/>
                </a:cubicBezTo>
                <a:cubicBezTo>
                  <a:pt x="161" y="1609"/>
                  <a:pt x="161" y="1607"/>
                  <a:pt x="160" y="1605"/>
                </a:cubicBezTo>
                <a:cubicBezTo>
                  <a:pt x="159" y="1604"/>
                  <a:pt x="158" y="1603"/>
                  <a:pt x="157" y="1605"/>
                </a:cubicBezTo>
                <a:cubicBezTo>
                  <a:pt x="155" y="1606"/>
                  <a:pt x="154" y="1608"/>
                  <a:pt x="152" y="1609"/>
                </a:cubicBezTo>
                <a:cubicBezTo>
                  <a:pt x="151" y="1609"/>
                  <a:pt x="150" y="1610"/>
                  <a:pt x="150" y="1611"/>
                </a:cubicBezTo>
                <a:cubicBezTo>
                  <a:pt x="151" y="1614"/>
                  <a:pt x="150" y="1617"/>
                  <a:pt x="149" y="1621"/>
                </a:cubicBezTo>
                <a:cubicBezTo>
                  <a:pt x="149" y="1619"/>
                  <a:pt x="150" y="1617"/>
                  <a:pt x="150" y="1615"/>
                </a:cubicBezTo>
                <a:cubicBezTo>
                  <a:pt x="150" y="1614"/>
                  <a:pt x="149" y="1614"/>
                  <a:pt x="149" y="1614"/>
                </a:cubicBezTo>
                <a:cubicBezTo>
                  <a:pt x="148" y="1614"/>
                  <a:pt x="148" y="1614"/>
                  <a:pt x="148" y="1614"/>
                </a:cubicBezTo>
                <a:cubicBezTo>
                  <a:pt x="147" y="1616"/>
                  <a:pt x="146" y="1617"/>
                  <a:pt x="145" y="1618"/>
                </a:cubicBezTo>
                <a:cubicBezTo>
                  <a:pt x="145" y="1618"/>
                  <a:pt x="145" y="1618"/>
                  <a:pt x="145" y="1618"/>
                </a:cubicBezTo>
                <a:cubicBezTo>
                  <a:pt x="145" y="1617"/>
                  <a:pt x="146" y="1615"/>
                  <a:pt x="146" y="1613"/>
                </a:cubicBezTo>
                <a:cubicBezTo>
                  <a:pt x="145" y="1614"/>
                  <a:pt x="144" y="1614"/>
                  <a:pt x="144" y="1615"/>
                </a:cubicBezTo>
                <a:cubicBezTo>
                  <a:pt x="143" y="1615"/>
                  <a:pt x="143" y="1616"/>
                  <a:pt x="143" y="1617"/>
                </a:cubicBezTo>
                <a:cubicBezTo>
                  <a:pt x="143" y="1613"/>
                  <a:pt x="143" y="1613"/>
                  <a:pt x="149" y="1612"/>
                </a:cubicBezTo>
                <a:cubicBezTo>
                  <a:pt x="149" y="1612"/>
                  <a:pt x="148" y="1611"/>
                  <a:pt x="148" y="1611"/>
                </a:cubicBezTo>
                <a:cubicBezTo>
                  <a:pt x="145" y="1612"/>
                  <a:pt x="144" y="1610"/>
                  <a:pt x="144" y="1608"/>
                </a:cubicBezTo>
                <a:cubicBezTo>
                  <a:pt x="146" y="1607"/>
                  <a:pt x="147" y="1607"/>
                  <a:pt x="149" y="1606"/>
                </a:cubicBezTo>
                <a:cubicBezTo>
                  <a:pt x="147" y="1604"/>
                  <a:pt x="146" y="1601"/>
                  <a:pt x="143" y="1601"/>
                </a:cubicBezTo>
                <a:cubicBezTo>
                  <a:pt x="142" y="1601"/>
                  <a:pt x="142" y="1600"/>
                  <a:pt x="142" y="1600"/>
                </a:cubicBezTo>
                <a:cubicBezTo>
                  <a:pt x="139" y="1598"/>
                  <a:pt x="137" y="1596"/>
                  <a:pt x="134" y="1594"/>
                </a:cubicBezTo>
                <a:cubicBezTo>
                  <a:pt x="132" y="1593"/>
                  <a:pt x="129" y="1592"/>
                  <a:pt x="127" y="1592"/>
                </a:cubicBezTo>
                <a:cubicBezTo>
                  <a:pt x="124" y="1592"/>
                  <a:pt x="121" y="1593"/>
                  <a:pt x="117" y="1594"/>
                </a:cubicBezTo>
                <a:cubicBezTo>
                  <a:pt x="115" y="1595"/>
                  <a:pt x="112" y="1597"/>
                  <a:pt x="110" y="1600"/>
                </a:cubicBezTo>
                <a:cubicBezTo>
                  <a:pt x="112" y="1600"/>
                  <a:pt x="113" y="1600"/>
                  <a:pt x="114" y="1600"/>
                </a:cubicBezTo>
                <a:cubicBezTo>
                  <a:pt x="114" y="1600"/>
                  <a:pt x="113" y="1601"/>
                  <a:pt x="112" y="1601"/>
                </a:cubicBezTo>
                <a:cubicBezTo>
                  <a:pt x="110" y="1602"/>
                  <a:pt x="107" y="1601"/>
                  <a:pt x="105" y="1603"/>
                </a:cubicBezTo>
                <a:cubicBezTo>
                  <a:pt x="102" y="1607"/>
                  <a:pt x="98" y="1611"/>
                  <a:pt x="94" y="1615"/>
                </a:cubicBezTo>
                <a:cubicBezTo>
                  <a:pt x="93" y="1617"/>
                  <a:pt x="92" y="1619"/>
                  <a:pt x="91" y="1622"/>
                </a:cubicBezTo>
                <a:cubicBezTo>
                  <a:pt x="91" y="1622"/>
                  <a:pt x="91" y="1623"/>
                  <a:pt x="91" y="1623"/>
                </a:cubicBezTo>
                <a:cubicBezTo>
                  <a:pt x="92" y="1625"/>
                  <a:pt x="94" y="1627"/>
                  <a:pt x="95" y="1629"/>
                </a:cubicBezTo>
                <a:cubicBezTo>
                  <a:pt x="96" y="1628"/>
                  <a:pt x="97" y="1626"/>
                  <a:pt x="99" y="1625"/>
                </a:cubicBezTo>
                <a:cubicBezTo>
                  <a:pt x="98" y="1626"/>
                  <a:pt x="98" y="1627"/>
                  <a:pt x="97" y="1629"/>
                </a:cubicBezTo>
                <a:cubicBezTo>
                  <a:pt x="96" y="1630"/>
                  <a:pt x="95" y="1631"/>
                  <a:pt x="95" y="1633"/>
                </a:cubicBezTo>
                <a:cubicBezTo>
                  <a:pt x="95" y="1634"/>
                  <a:pt x="95" y="1635"/>
                  <a:pt x="95" y="1636"/>
                </a:cubicBezTo>
                <a:cubicBezTo>
                  <a:pt x="98" y="1639"/>
                  <a:pt x="101" y="1639"/>
                  <a:pt x="105" y="1637"/>
                </a:cubicBezTo>
                <a:cubicBezTo>
                  <a:pt x="107" y="1636"/>
                  <a:pt x="110" y="1635"/>
                  <a:pt x="113" y="1634"/>
                </a:cubicBezTo>
                <a:cubicBezTo>
                  <a:pt x="114" y="1633"/>
                  <a:pt x="115" y="1633"/>
                  <a:pt x="115" y="1631"/>
                </a:cubicBezTo>
                <a:cubicBezTo>
                  <a:pt x="115" y="1628"/>
                  <a:pt x="115" y="1624"/>
                  <a:pt x="115" y="1621"/>
                </a:cubicBezTo>
                <a:cubicBezTo>
                  <a:pt x="115" y="1618"/>
                  <a:pt x="115" y="1615"/>
                  <a:pt x="115" y="1612"/>
                </a:cubicBezTo>
                <a:cubicBezTo>
                  <a:pt x="116" y="1615"/>
                  <a:pt x="117" y="1617"/>
                  <a:pt x="117" y="1620"/>
                </a:cubicBezTo>
                <a:cubicBezTo>
                  <a:pt x="118" y="1625"/>
                  <a:pt x="118" y="1629"/>
                  <a:pt x="117" y="1633"/>
                </a:cubicBezTo>
                <a:cubicBezTo>
                  <a:pt x="116" y="1634"/>
                  <a:pt x="115" y="1635"/>
                  <a:pt x="115" y="1635"/>
                </a:cubicBezTo>
                <a:cubicBezTo>
                  <a:pt x="112" y="1635"/>
                  <a:pt x="108" y="1637"/>
                  <a:pt x="105" y="1639"/>
                </a:cubicBezTo>
                <a:cubicBezTo>
                  <a:pt x="100" y="1642"/>
                  <a:pt x="97" y="1640"/>
                  <a:pt x="93" y="1636"/>
                </a:cubicBezTo>
                <a:cubicBezTo>
                  <a:pt x="93" y="1636"/>
                  <a:pt x="93" y="1635"/>
                  <a:pt x="93" y="1634"/>
                </a:cubicBezTo>
                <a:cubicBezTo>
                  <a:pt x="94" y="1632"/>
                  <a:pt x="93" y="1630"/>
                  <a:pt x="92" y="1628"/>
                </a:cubicBezTo>
                <a:cubicBezTo>
                  <a:pt x="90" y="1626"/>
                  <a:pt x="88" y="1623"/>
                  <a:pt x="90" y="1621"/>
                </a:cubicBezTo>
                <a:cubicBezTo>
                  <a:pt x="90" y="1619"/>
                  <a:pt x="91" y="1617"/>
                  <a:pt x="92" y="1616"/>
                </a:cubicBezTo>
                <a:cubicBezTo>
                  <a:pt x="94" y="1613"/>
                  <a:pt x="96" y="1610"/>
                  <a:pt x="98" y="1608"/>
                </a:cubicBezTo>
                <a:cubicBezTo>
                  <a:pt x="98" y="1608"/>
                  <a:pt x="97" y="1608"/>
                  <a:pt x="97" y="1608"/>
                </a:cubicBezTo>
                <a:cubicBezTo>
                  <a:pt x="92" y="1609"/>
                  <a:pt x="88" y="1610"/>
                  <a:pt x="84" y="1614"/>
                </a:cubicBezTo>
                <a:cubicBezTo>
                  <a:pt x="79" y="1618"/>
                  <a:pt x="76" y="1623"/>
                  <a:pt x="76" y="1630"/>
                </a:cubicBezTo>
                <a:cubicBezTo>
                  <a:pt x="75" y="1636"/>
                  <a:pt x="78" y="1642"/>
                  <a:pt x="81" y="1648"/>
                </a:cubicBezTo>
                <a:cubicBezTo>
                  <a:pt x="82" y="1649"/>
                  <a:pt x="83" y="1651"/>
                  <a:pt x="82" y="1652"/>
                </a:cubicBezTo>
                <a:cubicBezTo>
                  <a:pt x="82" y="1654"/>
                  <a:pt x="82" y="1655"/>
                  <a:pt x="81" y="1656"/>
                </a:cubicBezTo>
                <a:cubicBezTo>
                  <a:pt x="81" y="1658"/>
                  <a:pt x="81" y="1659"/>
                  <a:pt x="82" y="1659"/>
                </a:cubicBezTo>
                <a:cubicBezTo>
                  <a:pt x="85" y="1660"/>
                  <a:pt x="88" y="1661"/>
                  <a:pt x="91" y="1661"/>
                </a:cubicBezTo>
                <a:cubicBezTo>
                  <a:pt x="92" y="1661"/>
                  <a:pt x="92" y="1660"/>
                  <a:pt x="92" y="1660"/>
                </a:cubicBezTo>
                <a:cubicBezTo>
                  <a:pt x="93" y="1659"/>
                  <a:pt x="93" y="1657"/>
                  <a:pt x="94" y="1656"/>
                </a:cubicBezTo>
                <a:cubicBezTo>
                  <a:pt x="95" y="1654"/>
                  <a:pt x="95" y="1651"/>
                  <a:pt x="95" y="1648"/>
                </a:cubicBezTo>
                <a:cubicBezTo>
                  <a:pt x="95" y="1648"/>
                  <a:pt x="95" y="1648"/>
                  <a:pt x="95" y="1647"/>
                </a:cubicBezTo>
                <a:cubicBezTo>
                  <a:pt x="95" y="1647"/>
                  <a:pt x="95" y="1647"/>
                  <a:pt x="95" y="1646"/>
                </a:cubicBezTo>
                <a:cubicBezTo>
                  <a:pt x="96" y="1649"/>
                  <a:pt x="97" y="1649"/>
                  <a:pt x="99" y="1649"/>
                </a:cubicBezTo>
                <a:cubicBezTo>
                  <a:pt x="100" y="1649"/>
                  <a:pt x="101" y="1649"/>
                  <a:pt x="102" y="1649"/>
                </a:cubicBezTo>
                <a:cubicBezTo>
                  <a:pt x="104" y="1649"/>
                  <a:pt x="108" y="1650"/>
                  <a:pt x="108" y="1646"/>
                </a:cubicBezTo>
                <a:cubicBezTo>
                  <a:pt x="108" y="1648"/>
                  <a:pt x="108" y="1650"/>
                  <a:pt x="108" y="1650"/>
                </a:cubicBezTo>
                <a:cubicBezTo>
                  <a:pt x="107" y="1651"/>
                  <a:pt x="106" y="1652"/>
                  <a:pt x="104" y="1652"/>
                </a:cubicBezTo>
                <a:cubicBezTo>
                  <a:pt x="103" y="1653"/>
                  <a:pt x="103" y="1655"/>
                  <a:pt x="103" y="1656"/>
                </a:cubicBezTo>
                <a:cubicBezTo>
                  <a:pt x="104" y="1658"/>
                  <a:pt x="106" y="1660"/>
                  <a:pt x="107" y="1662"/>
                </a:cubicBezTo>
                <a:cubicBezTo>
                  <a:pt x="109" y="1663"/>
                  <a:pt x="111" y="1663"/>
                  <a:pt x="112" y="1661"/>
                </a:cubicBezTo>
                <a:cubicBezTo>
                  <a:pt x="113" y="1660"/>
                  <a:pt x="114" y="1659"/>
                  <a:pt x="114" y="1659"/>
                </a:cubicBezTo>
                <a:cubicBezTo>
                  <a:pt x="116" y="1657"/>
                  <a:pt x="117" y="1656"/>
                  <a:pt x="119" y="1655"/>
                </a:cubicBezTo>
                <a:cubicBezTo>
                  <a:pt x="123" y="1651"/>
                  <a:pt x="125" y="1645"/>
                  <a:pt x="127" y="1639"/>
                </a:cubicBezTo>
                <a:cubicBezTo>
                  <a:pt x="127" y="1638"/>
                  <a:pt x="126" y="1638"/>
                  <a:pt x="126" y="1637"/>
                </a:cubicBezTo>
                <a:cubicBezTo>
                  <a:pt x="125" y="1636"/>
                  <a:pt x="124" y="1635"/>
                  <a:pt x="123" y="1635"/>
                </a:cubicBezTo>
                <a:close/>
                <a:moveTo>
                  <a:pt x="75" y="1641"/>
                </a:moveTo>
                <a:cubicBezTo>
                  <a:pt x="75" y="1642"/>
                  <a:pt x="73" y="1642"/>
                  <a:pt x="72" y="1644"/>
                </a:cubicBezTo>
                <a:cubicBezTo>
                  <a:pt x="72" y="1644"/>
                  <a:pt x="71" y="1645"/>
                  <a:pt x="71" y="1646"/>
                </a:cubicBezTo>
                <a:cubicBezTo>
                  <a:pt x="71" y="1648"/>
                  <a:pt x="75" y="1653"/>
                  <a:pt x="79" y="1652"/>
                </a:cubicBezTo>
                <a:cubicBezTo>
                  <a:pt x="80" y="1652"/>
                  <a:pt x="81" y="1651"/>
                  <a:pt x="80" y="1650"/>
                </a:cubicBezTo>
                <a:cubicBezTo>
                  <a:pt x="79" y="1646"/>
                  <a:pt x="77" y="1644"/>
                  <a:pt x="75" y="1641"/>
                </a:cubicBezTo>
                <a:close/>
                <a:moveTo>
                  <a:pt x="128" y="1643"/>
                </a:moveTo>
                <a:cubicBezTo>
                  <a:pt x="126" y="1648"/>
                  <a:pt x="123" y="1652"/>
                  <a:pt x="121" y="1656"/>
                </a:cubicBezTo>
                <a:cubicBezTo>
                  <a:pt x="124" y="1656"/>
                  <a:pt x="126" y="1657"/>
                  <a:pt x="129" y="1656"/>
                </a:cubicBezTo>
                <a:cubicBezTo>
                  <a:pt x="129" y="1656"/>
                  <a:pt x="130" y="1655"/>
                  <a:pt x="130" y="1655"/>
                </a:cubicBezTo>
                <a:cubicBezTo>
                  <a:pt x="130" y="1652"/>
                  <a:pt x="130" y="1650"/>
                  <a:pt x="129" y="1647"/>
                </a:cubicBezTo>
                <a:cubicBezTo>
                  <a:pt x="129" y="1646"/>
                  <a:pt x="128" y="1644"/>
                  <a:pt x="128" y="1643"/>
                </a:cubicBezTo>
                <a:close/>
                <a:moveTo>
                  <a:pt x="75" y="1623"/>
                </a:moveTo>
                <a:cubicBezTo>
                  <a:pt x="75" y="1623"/>
                  <a:pt x="74" y="1623"/>
                  <a:pt x="74" y="1623"/>
                </a:cubicBezTo>
                <a:cubicBezTo>
                  <a:pt x="73" y="1623"/>
                  <a:pt x="72" y="1623"/>
                  <a:pt x="72" y="1623"/>
                </a:cubicBezTo>
                <a:cubicBezTo>
                  <a:pt x="72" y="1623"/>
                  <a:pt x="71" y="1622"/>
                  <a:pt x="71" y="1621"/>
                </a:cubicBezTo>
                <a:cubicBezTo>
                  <a:pt x="72" y="1619"/>
                  <a:pt x="72" y="1617"/>
                  <a:pt x="73" y="1615"/>
                </a:cubicBezTo>
                <a:cubicBezTo>
                  <a:pt x="73" y="1615"/>
                  <a:pt x="73" y="1615"/>
                  <a:pt x="72" y="1615"/>
                </a:cubicBezTo>
                <a:cubicBezTo>
                  <a:pt x="72" y="1616"/>
                  <a:pt x="70" y="1617"/>
                  <a:pt x="70" y="1618"/>
                </a:cubicBezTo>
                <a:cubicBezTo>
                  <a:pt x="69" y="1619"/>
                  <a:pt x="70" y="1624"/>
                  <a:pt x="72" y="1625"/>
                </a:cubicBezTo>
                <a:cubicBezTo>
                  <a:pt x="74" y="1626"/>
                  <a:pt x="75" y="1625"/>
                  <a:pt x="75" y="1623"/>
                </a:cubicBezTo>
                <a:close/>
                <a:moveTo>
                  <a:pt x="76" y="1641"/>
                </a:moveTo>
                <a:cubicBezTo>
                  <a:pt x="75" y="1641"/>
                  <a:pt x="73" y="1642"/>
                  <a:pt x="72" y="1643"/>
                </a:cubicBezTo>
                <a:cubicBezTo>
                  <a:pt x="72" y="1644"/>
                  <a:pt x="71" y="1645"/>
                  <a:pt x="71" y="1645"/>
                </a:cubicBezTo>
                <a:cubicBezTo>
                  <a:pt x="71" y="1648"/>
                  <a:pt x="76" y="1653"/>
                  <a:pt x="79" y="1652"/>
                </a:cubicBezTo>
                <a:cubicBezTo>
                  <a:pt x="80" y="1652"/>
                  <a:pt x="81" y="1651"/>
                  <a:pt x="80" y="1649"/>
                </a:cubicBezTo>
                <a:cubicBezTo>
                  <a:pt x="79" y="1646"/>
                  <a:pt x="77" y="1643"/>
                  <a:pt x="76" y="1641"/>
                </a:cubicBezTo>
                <a:close/>
                <a:moveTo>
                  <a:pt x="128" y="1642"/>
                </a:moveTo>
                <a:cubicBezTo>
                  <a:pt x="126" y="1647"/>
                  <a:pt x="124" y="1652"/>
                  <a:pt x="121" y="1656"/>
                </a:cubicBezTo>
                <a:cubicBezTo>
                  <a:pt x="124" y="1656"/>
                  <a:pt x="126" y="1656"/>
                  <a:pt x="129" y="1656"/>
                </a:cubicBezTo>
                <a:cubicBezTo>
                  <a:pt x="129" y="1656"/>
                  <a:pt x="129" y="1655"/>
                  <a:pt x="129" y="1654"/>
                </a:cubicBezTo>
                <a:cubicBezTo>
                  <a:pt x="129" y="1652"/>
                  <a:pt x="129" y="1649"/>
                  <a:pt x="129" y="1647"/>
                </a:cubicBezTo>
                <a:cubicBezTo>
                  <a:pt x="129" y="1645"/>
                  <a:pt x="128" y="1644"/>
                  <a:pt x="128" y="1642"/>
                </a:cubicBezTo>
                <a:close/>
                <a:moveTo>
                  <a:pt x="76" y="1623"/>
                </a:moveTo>
                <a:cubicBezTo>
                  <a:pt x="75" y="1623"/>
                  <a:pt x="74" y="1623"/>
                  <a:pt x="74" y="1623"/>
                </a:cubicBezTo>
                <a:cubicBezTo>
                  <a:pt x="73" y="1623"/>
                  <a:pt x="72" y="1623"/>
                  <a:pt x="72" y="1623"/>
                </a:cubicBezTo>
                <a:cubicBezTo>
                  <a:pt x="72" y="1623"/>
                  <a:pt x="71" y="1622"/>
                  <a:pt x="71" y="1621"/>
                </a:cubicBezTo>
                <a:cubicBezTo>
                  <a:pt x="72" y="1619"/>
                  <a:pt x="73" y="1617"/>
                  <a:pt x="73" y="1615"/>
                </a:cubicBezTo>
                <a:cubicBezTo>
                  <a:pt x="73" y="1615"/>
                  <a:pt x="73" y="1615"/>
                  <a:pt x="73" y="1615"/>
                </a:cubicBezTo>
                <a:cubicBezTo>
                  <a:pt x="72" y="1616"/>
                  <a:pt x="71" y="1617"/>
                  <a:pt x="70" y="1618"/>
                </a:cubicBezTo>
                <a:cubicBezTo>
                  <a:pt x="69" y="1619"/>
                  <a:pt x="71" y="1624"/>
                  <a:pt x="72" y="1625"/>
                </a:cubicBezTo>
                <a:cubicBezTo>
                  <a:pt x="74" y="1626"/>
                  <a:pt x="76" y="1624"/>
                  <a:pt x="76" y="1623"/>
                </a:cubicBezTo>
                <a:close/>
                <a:moveTo>
                  <a:pt x="128" y="1614"/>
                </a:moveTo>
                <a:cubicBezTo>
                  <a:pt x="131" y="1611"/>
                  <a:pt x="131" y="1611"/>
                  <a:pt x="135" y="1609"/>
                </a:cubicBezTo>
                <a:cubicBezTo>
                  <a:pt x="135" y="1611"/>
                  <a:pt x="136" y="1613"/>
                  <a:pt x="138" y="1613"/>
                </a:cubicBezTo>
                <a:cubicBezTo>
                  <a:pt x="135" y="1614"/>
                  <a:pt x="133" y="1615"/>
                  <a:pt x="131" y="1617"/>
                </a:cubicBezTo>
                <a:cubicBezTo>
                  <a:pt x="130" y="1616"/>
                  <a:pt x="130" y="1615"/>
                  <a:pt x="129" y="1614"/>
                </a:cubicBezTo>
                <a:cubicBezTo>
                  <a:pt x="129" y="1614"/>
                  <a:pt x="128" y="1614"/>
                  <a:pt x="128" y="1614"/>
                </a:cubicBezTo>
                <a:close/>
                <a:moveTo>
                  <a:pt x="134" y="1614"/>
                </a:moveTo>
                <a:cubicBezTo>
                  <a:pt x="133" y="1613"/>
                  <a:pt x="132" y="1613"/>
                  <a:pt x="132" y="1613"/>
                </a:cubicBezTo>
                <a:cubicBezTo>
                  <a:pt x="131" y="1613"/>
                  <a:pt x="130" y="1614"/>
                  <a:pt x="130" y="1614"/>
                </a:cubicBezTo>
                <a:cubicBezTo>
                  <a:pt x="130" y="1615"/>
                  <a:pt x="131" y="1615"/>
                  <a:pt x="131" y="1615"/>
                </a:cubicBezTo>
                <a:cubicBezTo>
                  <a:pt x="132" y="1615"/>
                  <a:pt x="132" y="1615"/>
                  <a:pt x="134" y="1614"/>
                </a:cubicBezTo>
                <a:close/>
                <a:moveTo>
                  <a:pt x="115" y="1604"/>
                </a:moveTo>
                <a:cubicBezTo>
                  <a:pt x="108" y="1604"/>
                  <a:pt x="105" y="1606"/>
                  <a:pt x="104" y="1614"/>
                </a:cubicBezTo>
                <a:cubicBezTo>
                  <a:pt x="105" y="1612"/>
                  <a:pt x="106" y="1609"/>
                  <a:pt x="108" y="1607"/>
                </a:cubicBezTo>
                <a:cubicBezTo>
                  <a:pt x="108" y="1607"/>
                  <a:pt x="108" y="1607"/>
                  <a:pt x="108" y="1607"/>
                </a:cubicBezTo>
                <a:cubicBezTo>
                  <a:pt x="108" y="1608"/>
                  <a:pt x="108" y="1609"/>
                  <a:pt x="108" y="1610"/>
                </a:cubicBezTo>
                <a:cubicBezTo>
                  <a:pt x="109" y="1607"/>
                  <a:pt x="111" y="1605"/>
                  <a:pt x="115" y="1604"/>
                </a:cubicBezTo>
                <a:close/>
                <a:moveTo>
                  <a:pt x="158" y="1606"/>
                </a:moveTo>
                <a:cubicBezTo>
                  <a:pt x="156" y="1607"/>
                  <a:pt x="154" y="1609"/>
                  <a:pt x="153" y="1610"/>
                </a:cubicBezTo>
                <a:cubicBezTo>
                  <a:pt x="155" y="1610"/>
                  <a:pt x="157" y="1609"/>
                  <a:pt x="158" y="1606"/>
                </a:cubicBezTo>
                <a:close/>
                <a:moveTo>
                  <a:pt x="125" y="1608"/>
                </a:moveTo>
                <a:cubicBezTo>
                  <a:pt x="126" y="1607"/>
                  <a:pt x="127" y="1605"/>
                  <a:pt x="128" y="1604"/>
                </a:cubicBezTo>
                <a:cubicBezTo>
                  <a:pt x="125" y="1605"/>
                  <a:pt x="125" y="1606"/>
                  <a:pt x="125" y="1608"/>
                </a:cubicBezTo>
                <a:close/>
                <a:moveTo>
                  <a:pt x="135" y="1629"/>
                </a:moveTo>
                <a:cubicBezTo>
                  <a:pt x="133" y="1629"/>
                  <a:pt x="132" y="1630"/>
                  <a:pt x="132" y="1631"/>
                </a:cubicBezTo>
                <a:cubicBezTo>
                  <a:pt x="133" y="1631"/>
                  <a:pt x="134" y="1630"/>
                  <a:pt x="135" y="1629"/>
                </a:cubicBezTo>
                <a:close/>
                <a:moveTo>
                  <a:pt x="134" y="1614"/>
                </a:moveTo>
                <a:cubicBezTo>
                  <a:pt x="133" y="1613"/>
                  <a:pt x="132" y="1613"/>
                  <a:pt x="132" y="1613"/>
                </a:cubicBezTo>
                <a:cubicBezTo>
                  <a:pt x="131" y="1613"/>
                  <a:pt x="130" y="1614"/>
                  <a:pt x="130" y="1614"/>
                </a:cubicBezTo>
                <a:cubicBezTo>
                  <a:pt x="130" y="1615"/>
                  <a:pt x="131" y="1615"/>
                  <a:pt x="131" y="1616"/>
                </a:cubicBezTo>
                <a:cubicBezTo>
                  <a:pt x="132" y="1615"/>
                  <a:pt x="133" y="1615"/>
                  <a:pt x="134" y="1614"/>
                </a:cubicBezTo>
                <a:close/>
                <a:moveTo>
                  <a:pt x="1768" y="1770"/>
                </a:moveTo>
                <a:cubicBezTo>
                  <a:pt x="1771" y="1751"/>
                  <a:pt x="1771" y="1751"/>
                  <a:pt x="1771" y="1751"/>
                </a:cubicBezTo>
                <a:cubicBezTo>
                  <a:pt x="1762" y="1751"/>
                  <a:pt x="1762" y="1751"/>
                  <a:pt x="1762" y="1751"/>
                </a:cubicBezTo>
                <a:cubicBezTo>
                  <a:pt x="1762" y="1739"/>
                  <a:pt x="1762" y="1739"/>
                  <a:pt x="1762" y="1739"/>
                </a:cubicBezTo>
                <a:cubicBezTo>
                  <a:pt x="1773" y="1739"/>
                  <a:pt x="1773" y="1739"/>
                  <a:pt x="1773" y="1739"/>
                </a:cubicBezTo>
                <a:cubicBezTo>
                  <a:pt x="1774" y="1728"/>
                  <a:pt x="1774" y="1728"/>
                  <a:pt x="1774" y="1728"/>
                </a:cubicBezTo>
                <a:cubicBezTo>
                  <a:pt x="1765" y="1728"/>
                  <a:pt x="1765" y="1728"/>
                  <a:pt x="1765" y="1728"/>
                </a:cubicBezTo>
                <a:cubicBezTo>
                  <a:pt x="1765" y="1716"/>
                  <a:pt x="1765" y="1716"/>
                  <a:pt x="1765" y="1716"/>
                </a:cubicBezTo>
                <a:cubicBezTo>
                  <a:pt x="1776" y="1716"/>
                  <a:pt x="1776" y="1716"/>
                  <a:pt x="1776" y="1716"/>
                </a:cubicBezTo>
                <a:cubicBezTo>
                  <a:pt x="1779" y="1698"/>
                  <a:pt x="1779" y="1698"/>
                  <a:pt x="1779" y="1698"/>
                </a:cubicBezTo>
                <a:cubicBezTo>
                  <a:pt x="1790" y="1698"/>
                  <a:pt x="1790" y="1698"/>
                  <a:pt x="1790" y="1698"/>
                </a:cubicBezTo>
                <a:cubicBezTo>
                  <a:pt x="1787" y="1716"/>
                  <a:pt x="1787" y="1716"/>
                  <a:pt x="1787" y="1716"/>
                </a:cubicBezTo>
                <a:cubicBezTo>
                  <a:pt x="1797" y="1716"/>
                  <a:pt x="1797" y="1716"/>
                  <a:pt x="1797" y="1716"/>
                </a:cubicBezTo>
                <a:cubicBezTo>
                  <a:pt x="1800" y="1698"/>
                  <a:pt x="1800" y="1698"/>
                  <a:pt x="1800" y="1698"/>
                </a:cubicBezTo>
                <a:cubicBezTo>
                  <a:pt x="1811" y="1698"/>
                  <a:pt x="1811" y="1698"/>
                  <a:pt x="1811" y="1698"/>
                </a:cubicBezTo>
                <a:cubicBezTo>
                  <a:pt x="1808" y="1716"/>
                  <a:pt x="1808" y="1716"/>
                  <a:pt x="1808" y="1716"/>
                </a:cubicBezTo>
                <a:cubicBezTo>
                  <a:pt x="1817" y="1716"/>
                  <a:pt x="1817" y="1716"/>
                  <a:pt x="1817" y="1716"/>
                </a:cubicBezTo>
                <a:cubicBezTo>
                  <a:pt x="1817" y="1728"/>
                  <a:pt x="1817" y="1728"/>
                  <a:pt x="1817" y="1728"/>
                </a:cubicBezTo>
                <a:cubicBezTo>
                  <a:pt x="1806" y="1728"/>
                  <a:pt x="1806" y="1728"/>
                  <a:pt x="1806" y="1728"/>
                </a:cubicBezTo>
                <a:cubicBezTo>
                  <a:pt x="1805" y="1739"/>
                  <a:pt x="1805" y="1739"/>
                  <a:pt x="1805" y="1739"/>
                </a:cubicBezTo>
                <a:cubicBezTo>
                  <a:pt x="1814" y="1739"/>
                  <a:pt x="1814" y="1739"/>
                  <a:pt x="1814" y="1739"/>
                </a:cubicBezTo>
                <a:cubicBezTo>
                  <a:pt x="1814" y="1751"/>
                  <a:pt x="1814" y="1751"/>
                  <a:pt x="1814" y="1751"/>
                </a:cubicBezTo>
                <a:cubicBezTo>
                  <a:pt x="1803" y="1751"/>
                  <a:pt x="1803" y="1751"/>
                  <a:pt x="1803" y="1751"/>
                </a:cubicBezTo>
                <a:cubicBezTo>
                  <a:pt x="1800" y="1770"/>
                  <a:pt x="1800" y="1770"/>
                  <a:pt x="1800" y="1770"/>
                </a:cubicBezTo>
                <a:cubicBezTo>
                  <a:pt x="1789" y="1770"/>
                  <a:pt x="1789" y="1770"/>
                  <a:pt x="1789" y="1770"/>
                </a:cubicBezTo>
                <a:cubicBezTo>
                  <a:pt x="1792" y="1751"/>
                  <a:pt x="1792" y="1751"/>
                  <a:pt x="1792" y="1751"/>
                </a:cubicBezTo>
                <a:cubicBezTo>
                  <a:pt x="1782" y="1751"/>
                  <a:pt x="1782" y="1751"/>
                  <a:pt x="1782" y="1751"/>
                </a:cubicBezTo>
                <a:cubicBezTo>
                  <a:pt x="1779" y="1770"/>
                  <a:pt x="1779" y="1770"/>
                  <a:pt x="1779" y="1770"/>
                </a:cubicBezTo>
                <a:cubicBezTo>
                  <a:pt x="1768" y="1770"/>
                  <a:pt x="1768" y="1770"/>
                  <a:pt x="1768" y="1770"/>
                </a:cubicBezTo>
                <a:cubicBezTo>
                  <a:pt x="1768" y="1770"/>
                  <a:pt x="1768" y="1770"/>
                  <a:pt x="1768" y="1770"/>
                </a:cubicBezTo>
                <a:close/>
                <a:moveTo>
                  <a:pt x="1793" y="1739"/>
                </a:moveTo>
                <a:cubicBezTo>
                  <a:pt x="1795" y="1728"/>
                  <a:pt x="1795" y="1728"/>
                  <a:pt x="1795" y="1728"/>
                </a:cubicBezTo>
                <a:cubicBezTo>
                  <a:pt x="1785" y="1728"/>
                  <a:pt x="1785" y="1728"/>
                  <a:pt x="1785" y="1728"/>
                </a:cubicBezTo>
                <a:cubicBezTo>
                  <a:pt x="1784" y="1739"/>
                  <a:pt x="1784" y="1739"/>
                  <a:pt x="1784" y="1739"/>
                </a:cubicBezTo>
                <a:cubicBezTo>
                  <a:pt x="1793" y="1739"/>
                  <a:pt x="1793" y="1739"/>
                  <a:pt x="1793" y="1739"/>
                </a:cubicBezTo>
                <a:cubicBezTo>
                  <a:pt x="1793" y="1739"/>
                  <a:pt x="1793" y="1739"/>
                  <a:pt x="1793" y="1739"/>
                </a:cubicBezTo>
                <a:close/>
                <a:moveTo>
                  <a:pt x="653" y="1744"/>
                </a:moveTo>
                <a:cubicBezTo>
                  <a:pt x="653" y="1746"/>
                  <a:pt x="654" y="1747"/>
                  <a:pt x="655" y="1748"/>
                </a:cubicBezTo>
                <a:cubicBezTo>
                  <a:pt x="655" y="1750"/>
                  <a:pt x="655" y="1752"/>
                  <a:pt x="656" y="1753"/>
                </a:cubicBezTo>
                <a:cubicBezTo>
                  <a:pt x="656" y="1755"/>
                  <a:pt x="656" y="1757"/>
                  <a:pt x="656" y="1758"/>
                </a:cubicBezTo>
                <a:cubicBezTo>
                  <a:pt x="657" y="1761"/>
                  <a:pt x="656" y="1763"/>
                  <a:pt x="653" y="1763"/>
                </a:cubicBezTo>
                <a:cubicBezTo>
                  <a:pt x="650" y="1763"/>
                  <a:pt x="647" y="1763"/>
                  <a:pt x="644" y="1763"/>
                </a:cubicBezTo>
                <a:cubicBezTo>
                  <a:pt x="644" y="1763"/>
                  <a:pt x="643" y="1763"/>
                  <a:pt x="643" y="1763"/>
                </a:cubicBezTo>
                <a:cubicBezTo>
                  <a:pt x="641" y="1765"/>
                  <a:pt x="640" y="1766"/>
                  <a:pt x="638" y="1767"/>
                </a:cubicBezTo>
                <a:cubicBezTo>
                  <a:pt x="636" y="1770"/>
                  <a:pt x="633" y="1770"/>
                  <a:pt x="631" y="1768"/>
                </a:cubicBezTo>
                <a:cubicBezTo>
                  <a:pt x="629" y="1766"/>
                  <a:pt x="628" y="1763"/>
                  <a:pt x="626" y="1761"/>
                </a:cubicBezTo>
                <a:cubicBezTo>
                  <a:pt x="625" y="1759"/>
                  <a:pt x="626" y="1757"/>
                  <a:pt x="628" y="1756"/>
                </a:cubicBezTo>
                <a:cubicBezTo>
                  <a:pt x="625" y="1756"/>
                  <a:pt x="624" y="1756"/>
                  <a:pt x="622" y="1756"/>
                </a:cubicBezTo>
                <a:cubicBezTo>
                  <a:pt x="621" y="1758"/>
                  <a:pt x="620" y="1760"/>
                  <a:pt x="619" y="1762"/>
                </a:cubicBezTo>
                <a:cubicBezTo>
                  <a:pt x="619" y="1763"/>
                  <a:pt x="619" y="1763"/>
                  <a:pt x="619" y="1764"/>
                </a:cubicBezTo>
                <a:cubicBezTo>
                  <a:pt x="619" y="1767"/>
                  <a:pt x="618" y="1769"/>
                  <a:pt x="615" y="1768"/>
                </a:cubicBezTo>
                <a:cubicBezTo>
                  <a:pt x="612" y="1768"/>
                  <a:pt x="609" y="1767"/>
                  <a:pt x="606" y="1766"/>
                </a:cubicBezTo>
                <a:cubicBezTo>
                  <a:pt x="604" y="1765"/>
                  <a:pt x="603" y="1764"/>
                  <a:pt x="604" y="1762"/>
                </a:cubicBezTo>
                <a:cubicBezTo>
                  <a:pt x="604" y="1761"/>
                  <a:pt x="604" y="1760"/>
                  <a:pt x="604" y="1760"/>
                </a:cubicBezTo>
                <a:cubicBezTo>
                  <a:pt x="602" y="1759"/>
                  <a:pt x="600" y="1758"/>
                  <a:pt x="598" y="1757"/>
                </a:cubicBezTo>
                <a:cubicBezTo>
                  <a:pt x="597" y="1756"/>
                  <a:pt x="595" y="1754"/>
                  <a:pt x="595" y="1752"/>
                </a:cubicBezTo>
                <a:cubicBezTo>
                  <a:pt x="594" y="1750"/>
                  <a:pt x="594" y="1749"/>
                  <a:pt x="596" y="1747"/>
                </a:cubicBezTo>
                <a:cubicBezTo>
                  <a:pt x="599" y="1745"/>
                  <a:pt x="600" y="1742"/>
                  <a:pt x="599" y="1738"/>
                </a:cubicBezTo>
                <a:cubicBezTo>
                  <a:pt x="599" y="1736"/>
                  <a:pt x="599" y="1734"/>
                  <a:pt x="599" y="1732"/>
                </a:cubicBezTo>
                <a:cubicBezTo>
                  <a:pt x="598" y="1731"/>
                  <a:pt x="596" y="1731"/>
                  <a:pt x="595" y="1730"/>
                </a:cubicBezTo>
                <a:cubicBezTo>
                  <a:pt x="594" y="1728"/>
                  <a:pt x="593" y="1726"/>
                  <a:pt x="593" y="1724"/>
                </a:cubicBezTo>
                <a:cubicBezTo>
                  <a:pt x="593" y="1721"/>
                  <a:pt x="596" y="1719"/>
                  <a:pt x="599" y="1718"/>
                </a:cubicBezTo>
                <a:cubicBezTo>
                  <a:pt x="599" y="1719"/>
                  <a:pt x="599" y="1719"/>
                  <a:pt x="600" y="1720"/>
                </a:cubicBezTo>
                <a:cubicBezTo>
                  <a:pt x="600" y="1721"/>
                  <a:pt x="600" y="1722"/>
                  <a:pt x="600" y="1723"/>
                </a:cubicBezTo>
                <a:cubicBezTo>
                  <a:pt x="599" y="1723"/>
                  <a:pt x="599" y="1723"/>
                  <a:pt x="599" y="1723"/>
                </a:cubicBezTo>
                <a:cubicBezTo>
                  <a:pt x="598" y="1724"/>
                  <a:pt x="598" y="1725"/>
                  <a:pt x="597" y="1727"/>
                </a:cubicBezTo>
                <a:cubicBezTo>
                  <a:pt x="598" y="1727"/>
                  <a:pt x="599" y="1727"/>
                  <a:pt x="599" y="1727"/>
                </a:cubicBezTo>
                <a:cubicBezTo>
                  <a:pt x="601" y="1725"/>
                  <a:pt x="601" y="1725"/>
                  <a:pt x="602" y="1723"/>
                </a:cubicBezTo>
                <a:cubicBezTo>
                  <a:pt x="606" y="1717"/>
                  <a:pt x="612" y="1713"/>
                  <a:pt x="620" y="1711"/>
                </a:cubicBezTo>
                <a:cubicBezTo>
                  <a:pt x="623" y="1711"/>
                  <a:pt x="627" y="1710"/>
                  <a:pt x="629" y="1707"/>
                </a:cubicBezTo>
                <a:cubicBezTo>
                  <a:pt x="629" y="1706"/>
                  <a:pt x="630" y="1706"/>
                  <a:pt x="630" y="1706"/>
                </a:cubicBezTo>
                <a:cubicBezTo>
                  <a:pt x="633" y="1706"/>
                  <a:pt x="634" y="1703"/>
                  <a:pt x="636" y="1701"/>
                </a:cubicBezTo>
                <a:cubicBezTo>
                  <a:pt x="644" y="1694"/>
                  <a:pt x="656" y="1693"/>
                  <a:pt x="664" y="1700"/>
                </a:cubicBezTo>
                <a:cubicBezTo>
                  <a:pt x="666" y="1702"/>
                  <a:pt x="669" y="1704"/>
                  <a:pt x="671" y="1706"/>
                </a:cubicBezTo>
                <a:cubicBezTo>
                  <a:pt x="673" y="1707"/>
                  <a:pt x="674" y="1709"/>
                  <a:pt x="675" y="1711"/>
                </a:cubicBezTo>
                <a:cubicBezTo>
                  <a:pt x="676" y="1712"/>
                  <a:pt x="677" y="1712"/>
                  <a:pt x="678" y="1711"/>
                </a:cubicBezTo>
                <a:cubicBezTo>
                  <a:pt x="679" y="1711"/>
                  <a:pt x="679" y="1710"/>
                  <a:pt x="680" y="1709"/>
                </a:cubicBezTo>
                <a:cubicBezTo>
                  <a:pt x="682" y="1706"/>
                  <a:pt x="685" y="1706"/>
                  <a:pt x="686" y="1710"/>
                </a:cubicBezTo>
                <a:cubicBezTo>
                  <a:pt x="688" y="1713"/>
                  <a:pt x="688" y="1715"/>
                  <a:pt x="689" y="1719"/>
                </a:cubicBezTo>
                <a:cubicBezTo>
                  <a:pt x="690" y="1723"/>
                  <a:pt x="689" y="1727"/>
                  <a:pt x="688" y="1732"/>
                </a:cubicBezTo>
                <a:cubicBezTo>
                  <a:pt x="685" y="1738"/>
                  <a:pt x="681" y="1742"/>
                  <a:pt x="674" y="1742"/>
                </a:cubicBezTo>
                <a:cubicBezTo>
                  <a:pt x="673" y="1742"/>
                  <a:pt x="673" y="1742"/>
                  <a:pt x="672" y="1742"/>
                </a:cubicBezTo>
                <a:cubicBezTo>
                  <a:pt x="670" y="1741"/>
                  <a:pt x="668" y="1742"/>
                  <a:pt x="668" y="1744"/>
                </a:cubicBezTo>
                <a:cubicBezTo>
                  <a:pt x="666" y="1748"/>
                  <a:pt x="660" y="1750"/>
                  <a:pt x="657" y="1747"/>
                </a:cubicBezTo>
                <a:cubicBezTo>
                  <a:pt x="656" y="1746"/>
                  <a:pt x="655" y="1745"/>
                  <a:pt x="654" y="1744"/>
                </a:cubicBezTo>
                <a:cubicBezTo>
                  <a:pt x="653" y="1744"/>
                  <a:pt x="653" y="1744"/>
                  <a:pt x="653" y="1744"/>
                </a:cubicBezTo>
                <a:close/>
                <a:moveTo>
                  <a:pt x="647" y="1740"/>
                </a:moveTo>
                <a:cubicBezTo>
                  <a:pt x="651" y="1741"/>
                  <a:pt x="655" y="1742"/>
                  <a:pt x="657" y="1745"/>
                </a:cubicBezTo>
                <a:cubicBezTo>
                  <a:pt x="659" y="1747"/>
                  <a:pt x="661" y="1748"/>
                  <a:pt x="663" y="1747"/>
                </a:cubicBezTo>
                <a:cubicBezTo>
                  <a:pt x="666" y="1746"/>
                  <a:pt x="667" y="1744"/>
                  <a:pt x="667" y="1741"/>
                </a:cubicBezTo>
                <a:cubicBezTo>
                  <a:pt x="667" y="1741"/>
                  <a:pt x="666" y="1741"/>
                  <a:pt x="666" y="1742"/>
                </a:cubicBezTo>
                <a:cubicBezTo>
                  <a:pt x="666" y="1743"/>
                  <a:pt x="664" y="1744"/>
                  <a:pt x="664" y="1745"/>
                </a:cubicBezTo>
                <a:cubicBezTo>
                  <a:pt x="662" y="1746"/>
                  <a:pt x="661" y="1746"/>
                  <a:pt x="660" y="1746"/>
                </a:cubicBezTo>
                <a:cubicBezTo>
                  <a:pt x="660" y="1746"/>
                  <a:pt x="659" y="1744"/>
                  <a:pt x="659" y="1744"/>
                </a:cubicBezTo>
                <a:cubicBezTo>
                  <a:pt x="659" y="1741"/>
                  <a:pt x="660" y="1739"/>
                  <a:pt x="660" y="1737"/>
                </a:cubicBezTo>
                <a:cubicBezTo>
                  <a:pt x="663" y="1738"/>
                  <a:pt x="666" y="1739"/>
                  <a:pt x="670" y="1740"/>
                </a:cubicBezTo>
                <a:cubicBezTo>
                  <a:pt x="677" y="1741"/>
                  <a:pt x="683" y="1739"/>
                  <a:pt x="686" y="1731"/>
                </a:cubicBezTo>
                <a:cubicBezTo>
                  <a:pt x="688" y="1726"/>
                  <a:pt x="688" y="1721"/>
                  <a:pt x="687" y="1716"/>
                </a:cubicBezTo>
                <a:cubicBezTo>
                  <a:pt x="686" y="1714"/>
                  <a:pt x="686" y="1712"/>
                  <a:pt x="685" y="1710"/>
                </a:cubicBezTo>
                <a:cubicBezTo>
                  <a:pt x="684" y="1709"/>
                  <a:pt x="683" y="1708"/>
                  <a:pt x="682" y="1710"/>
                </a:cubicBezTo>
                <a:cubicBezTo>
                  <a:pt x="680" y="1712"/>
                  <a:pt x="679" y="1713"/>
                  <a:pt x="677" y="1714"/>
                </a:cubicBezTo>
                <a:cubicBezTo>
                  <a:pt x="676" y="1714"/>
                  <a:pt x="675" y="1715"/>
                  <a:pt x="675" y="1716"/>
                </a:cubicBezTo>
                <a:cubicBezTo>
                  <a:pt x="676" y="1719"/>
                  <a:pt x="675" y="1723"/>
                  <a:pt x="674" y="1726"/>
                </a:cubicBezTo>
                <a:cubicBezTo>
                  <a:pt x="674" y="1724"/>
                  <a:pt x="675" y="1722"/>
                  <a:pt x="675" y="1720"/>
                </a:cubicBezTo>
                <a:cubicBezTo>
                  <a:pt x="675" y="1719"/>
                  <a:pt x="674" y="1719"/>
                  <a:pt x="674" y="1719"/>
                </a:cubicBezTo>
                <a:cubicBezTo>
                  <a:pt x="673" y="1719"/>
                  <a:pt x="673" y="1719"/>
                  <a:pt x="673" y="1719"/>
                </a:cubicBezTo>
                <a:cubicBezTo>
                  <a:pt x="672" y="1721"/>
                  <a:pt x="671" y="1722"/>
                  <a:pt x="670" y="1723"/>
                </a:cubicBezTo>
                <a:cubicBezTo>
                  <a:pt x="670" y="1723"/>
                  <a:pt x="670" y="1723"/>
                  <a:pt x="670" y="1723"/>
                </a:cubicBezTo>
                <a:cubicBezTo>
                  <a:pt x="670" y="1722"/>
                  <a:pt x="671" y="1720"/>
                  <a:pt x="671" y="1718"/>
                </a:cubicBezTo>
                <a:cubicBezTo>
                  <a:pt x="670" y="1719"/>
                  <a:pt x="670" y="1719"/>
                  <a:pt x="669" y="1720"/>
                </a:cubicBezTo>
                <a:cubicBezTo>
                  <a:pt x="668" y="1720"/>
                  <a:pt x="668" y="1721"/>
                  <a:pt x="668" y="1722"/>
                </a:cubicBezTo>
                <a:cubicBezTo>
                  <a:pt x="668" y="1718"/>
                  <a:pt x="668" y="1718"/>
                  <a:pt x="674" y="1717"/>
                </a:cubicBezTo>
                <a:cubicBezTo>
                  <a:pt x="674" y="1717"/>
                  <a:pt x="673" y="1716"/>
                  <a:pt x="673" y="1716"/>
                </a:cubicBezTo>
                <a:cubicBezTo>
                  <a:pt x="670" y="1717"/>
                  <a:pt x="670" y="1715"/>
                  <a:pt x="669" y="1713"/>
                </a:cubicBezTo>
                <a:cubicBezTo>
                  <a:pt x="671" y="1712"/>
                  <a:pt x="672" y="1712"/>
                  <a:pt x="674" y="1712"/>
                </a:cubicBezTo>
                <a:cubicBezTo>
                  <a:pt x="672" y="1709"/>
                  <a:pt x="671" y="1706"/>
                  <a:pt x="668" y="1706"/>
                </a:cubicBezTo>
                <a:cubicBezTo>
                  <a:pt x="667" y="1706"/>
                  <a:pt x="667" y="1706"/>
                  <a:pt x="667" y="1705"/>
                </a:cubicBezTo>
                <a:cubicBezTo>
                  <a:pt x="664" y="1703"/>
                  <a:pt x="662" y="1701"/>
                  <a:pt x="659" y="1699"/>
                </a:cubicBezTo>
                <a:cubicBezTo>
                  <a:pt x="657" y="1698"/>
                  <a:pt x="654" y="1697"/>
                  <a:pt x="652" y="1697"/>
                </a:cubicBezTo>
                <a:cubicBezTo>
                  <a:pt x="649" y="1697"/>
                  <a:pt x="645" y="1698"/>
                  <a:pt x="642" y="1699"/>
                </a:cubicBezTo>
                <a:cubicBezTo>
                  <a:pt x="640" y="1700"/>
                  <a:pt x="637" y="1702"/>
                  <a:pt x="635" y="1705"/>
                </a:cubicBezTo>
                <a:cubicBezTo>
                  <a:pt x="637" y="1705"/>
                  <a:pt x="638" y="1705"/>
                  <a:pt x="639" y="1705"/>
                </a:cubicBezTo>
                <a:cubicBezTo>
                  <a:pt x="639" y="1706"/>
                  <a:pt x="638" y="1706"/>
                  <a:pt x="637" y="1706"/>
                </a:cubicBezTo>
                <a:cubicBezTo>
                  <a:pt x="635" y="1707"/>
                  <a:pt x="632" y="1706"/>
                  <a:pt x="630" y="1708"/>
                </a:cubicBezTo>
                <a:cubicBezTo>
                  <a:pt x="627" y="1712"/>
                  <a:pt x="623" y="1716"/>
                  <a:pt x="619" y="1720"/>
                </a:cubicBezTo>
                <a:cubicBezTo>
                  <a:pt x="617" y="1722"/>
                  <a:pt x="617" y="1725"/>
                  <a:pt x="616" y="1727"/>
                </a:cubicBezTo>
                <a:cubicBezTo>
                  <a:pt x="616" y="1727"/>
                  <a:pt x="616" y="1728"/>
                  <a:pt x="616" y="1729"/>
                </a:cubicBezTo>
                <a:cubicBezTo>
                  <a:pt x="617" y="1731"/>
                  <a:pt x="618" y="1733"/>
                  <a:pt x="620" y="1734"/>
                </a:cubicBezTo>
                <a:cubicBezTo>
                  <a:pt x="621" y="1733"/>
                  <a:pt x="622" y="1731"/>
                  <a:pt x="623" y="1730"/>
                </a:cubicBezTo>
                <a:cubicBezTo>
                  <a:pt x="623" y="1731"/>
                  <a:pt x="623" y="1733"/>
                  <a:pt x="622" y="1734"/>
                </a:cubicBezTo>
                <a:cubicBezTo>
                  <a:pt x="621" y="1735"/>
                  <a:pt x="620" y="1736"/>
                  <a:pt x="620" y="1738"/>
                </a:cubicBezTo>
                <a:cubicBezTo>
                  <a:pt x="619" y="1739"/>
                  <a:pt x="620" y="1740"/>
                  <a:pt x="620" y="1741"/>
                </a:cubicBezTo>
                <a:cubicBezTo>
                  <a:pt x="623" y="1744"/>
                  <a:pt x="626" y="1744"/>
                  <a:pt x="630" y="1742"/>
                </a:cubicBezTo>
                <a:cubicBezTo>
                  <a:pt x="632" y="1741"/>
                  <a:pt x="635" y="1740"/>
                  <a:pt x="638" y="1739"/>
                </a:cubicBezTo>
                <a:cubicBezTo>
                  <a:pt x="639" y="1738"/>
                  <a:pt x="640" y="1738"/>
                  <a:pt x="640" y="1736"/>
                </a:cubicBezTo>
                <a:cubicBezTo>
                  <a:pt x="640" y="1733"/>
                  <a:pt x="640" y="1729"/>
                  <a:pt x="640" y="1726"/>
                </a:cubicBezTo>
                <a:cubicBezTo>
                  <a:pt x="640" y="1723"/>
                  <a:pt x="640" y="1720"/>
                  <a:pt x="640" y="1717"/>
                </a:cubicBezTo>
                <a:cubicBezTo>
                  <a:pt x="641" y="1720"/>
                  <a:pt x="642" y="1723"/>
                  <a:pt x="642" y="1725"/>
                </a:cubicBezTo>
                <a:cubicBezTo>
                  <a:pt x="643" y="1730"/>
                  <a:pt x="643" y="1734"/>
                  <a:pt x="642" y="1738"/>
                </a:cubicBezTo>
                <a:cubicBezTo>
                  <a:pt x="641" y="1739"/>
                  <a:pt x="640" y="1740"/>
                  <a:pt x="640" y="1740"/>
                </a:cubicBezTo>
                <a:cubicBezTo>
                  <a:pt x="636" y="1740"/>
                  <a:pt x="633" y="1742"/>
                  <a:pt x="630" y="1744"/>
                </a:cubicBezTo>
                <a:cubicBezTo>
                  <a:pt x="625" y="1747"/>
                  <a:pt x="621" y="1745"/>
                  <a:pt x="618" y="1741"/>
                </a:cubicBezTo>
                <a:cubicBezTo>
                  <a:pt x="617" y="1741"/>
                  <a:pt x="617" y="1740"/>
                  <a:pt x="618" y="1739"/>
                </a:cubicBezTo>
                <a:cubicBezTo>
                  <a:pt x="619" y="1737"/>
                  <a:pt x="618" y="1735"/>
                  <a:pt x="616" y="1733"/>
                </a:cubicBezTo>
                <a:cubicBezTo>
                  <a:pt x="615" y="1731"/>
                  <a:pt x="613" y="1729"/>
                  <a:pt x="614" y="1726"/>
                </a:cubicBezTo>
                <a:cubicBezTo>
                  <a:pt x="615" y="1724"/>
                  <a:pt x="616" y="1722"/>
                  <a:pt x="617" y="1721"/>
                </a:cubicBezTo>
                <a:cubicBezTo>
                  <a:pt x="619" y="1718"/>
                  <a:pt x="621" y="1715"/>
                  <a:pt x="623" y="1713"/>
                </a:cubicBezTo>
                <a:cubicBezTo>
                  <a:pt x="623" y="1713"/>
                  <a:pt x="622" y="1713"/>
                  <a:pt x="622" y="1713"/>
                </a:cubicBezTo>
                <a:cubicBezTo>
                  <a:pt x="617" y="1714"/>
                  <a:pt x="612" y="1715"/>
                  <a:pt x="608" y="1719"/>
                </a:cubicBezTo>
                <a:cubicBezTo>
                  <a:pt x="604" y="1723"/>
                  <a:pt x="601" y="1728"/>
                  <a:pt x="601" y="1735"/>
                </a:cubicBezTo>
                <a:cubicBezTo>
                  <a:pt x="600" y="1742"/>
                  <a:pt x="603" y="1748"/>
                  <a:pt x="606" y="1753"/>
                </a:cubicBezTo>
                <a:cubicBezTo>
                  <a:pt x="606" y="1754"/>
                  <a:pt x="607" y="1756"/>
                  <a:pt x="607" y="1757"/>
                </a:cubicBezTo>
                <a:cubicBezTo>
                  <a:pt x="607" y="1759"/>
                  <a:pt x="606" y="1760"/>
                  <a:pt x="606" y="1761"/>
                </a:cubicBezTo>
                <a:cubicBezTo>
                  <a:pt x="605" y="1763"/>
                  <a:pt x="606" y="1764"/>
                  <a:pt x="607" y="1765"/>
                </a:cubicBezTo>
                <a:cubicBezTo>
                  <a:pt x="610" y="1765"/>
                  <a:pt x="613" y="1766"/>
                  <a:pt x="616" y="1766"/>
                </a:cubicBezTo>
                <a:cubicBezTo>
                  <a:pt x="616" y="1766"/>
                  <a:pt x="617" y="1765"/>
                  <a:pt x="617" y="1765"/>
                </a:cubicBezTo>
                <a:cubicBezTo>
                  <a:pt x="617" y="1764"/>
                  <a:pt x="617" y="1762"/>
                  <a:pt x="618" y="1761"/>
                </a:cubicBezTo>
                <a:cubicBezTo>
                  <a:pt x="620" y="1759"/>
                  <a:pt x="620" y="1756"/>
                  <a:pt x="620" y="1753"/>
                </a:cubicBezTo>
                <a:cubicBezTo>
                  <a:pt x="620" y="1753"/>
                  <a:pt x="620" y="1753"/>
                  <a:pt x="620" y="1752"/>
                </a:cubicBezTo>
                <a:cubicBezTo>
                  <a:pt x="620" y="1752"/>
                  <a:pt x="620" y="1752"/>
                  <a:pt x="620" y="1752"/>
                </a:cubicBezTo>
                <a:cubicBezTo>
                  <a:pt x="621" y="1754"/>
                  <a:pt x="622" y="1754"/>
                  <a:pt x="624" y="1754"/>
                </a:cubicBezTo>
                <a:cubicBezTo>
                  <a:pt x="625" y="1754"/>
                  <a:pt x="626" y="1754"/>
                  <a:pt x="627" y="1754"/>
                </a:cubicBezTo>
                <a:cubicBezTo>
                  <a:pt x="629" y="1754"/>
                  <a:pt x="632" y="1755"/>
                  <a:pt x="633" y="1751"/>
                </a:cubicBezTo>
                <a:cubicBezTo>
                  <a:pt x="633" y="1753"/>
                  <a:pt x="633" y="1755"/>
                  <a:pt x="633" y="1755"/>
                </a:cubicBezTo>
                <a:cubicBezTo>
                  <a:pt x="632" y="1756"/>
                  <a:pt x="630" y="1757"/>
                  <a:pt x="629" y="1757"/>
                </a:cubicBezTo>
                <a:cubicBezTo>
                  <a:pt x="628" y="1758"/>
                  <a:pt x="627" y="1760"/>
                  <a:pt x="628" y="1761"/>
                </a:cubicBezTo>
                <a:cubicBezTo>
                  <a:pt x="629" y="1763"/>
                  <a:pt x="630" y="1765"/>
                  <a:pt x="632" y="1767"/>
                </a:cubicBezTo>
                <a:cubicBezTo>
                  <a:pt x="634" y="1768"/>
                  <a:pt x="636" y="1768"/>
                  <a:pt x="637" y="1766"/>
                </a:cubicBezTo>
                <a:cubicBezTo>
                  <a:pt x="638" y="1765"/>
                  <a:pt x="638" y="1765"/>
                  <a:pt x="639" y="1764"/>
                </a:cubicBezTo>
                <a:cubicBezTo>
                  <a:pt x="641" y="1763"/>
                  <a:pt x="642" y="1761"/>
                  <a:pt x="644" y="1760"/>
                </a:cubicBezTo>
                <a:cubicBezTo>
                  <a:pt x="648" y="1756"/>
                  <a:pt x="650" y="1750"/>
                  <a:pt x="652" y="1744"/>
                </a:cubicBezTo>
                <a:cubicBezTo>
                  <a:pt x="652" y="1744"/>
                  <a:pt x="651" y="1743"/>
                  <a:pt x="651" y="1742"/>
                </a:cubicBezTo>
                <a:cubicBezTo>
                  <a:pt x="650" y="1741"/>
                  <a:pt x="649" y="1740"/>
                  <a:pt x="647" y="1740"/>
                </a:cubicBezTo>
                <a:close/>
                <a:moveTo>
                  <a:pt x="600" y="1746"/>
                </a:moveTo>
                <a:cubicBezTo>
                  <a:pt x="599" y="1747"/>
                  <a:pt x="598" y="1748"/>
                  <a:pt x="597" y="1749"/>
                </a:cubicBezTo>
                <a:cubicBezTo>
                  <a:pt x="596" y="1749"/>
                  <a:pt x="596" y="1750"/>
                  <a:pt x="596" y="1751"/>
                </a:cubicBezTo>
                <a:cubicBezTo>
                  <a:pt x="596" y="1753"/>
                  <a:pt x="600" y="1758"/>
                  <a:pt x="603" y="1757"/>
                </a:cubicBezTo>
                <a:cubicBezTo>
                  <a:pt x="605" y="1757"/>
                  <a:pt x="606" y="1756"/>
                  <a:pt x="605" y="1755"/>
                </a:cubicBezTo>
                <a:cubicBezTo>
                  <a:pt x="603" y="1752"/>
                  <a:pt x="602" y="1749"/>
                  <a:pt x="600" y="1746"/>
                </a:cubicBezTo>
                <a:close/>
                <a:moveTo>
                  <a:pt x="653" y="1748"/>
                </a:moveTo>
                <a:cubicBezTo>
                  <a:pt x="651" y="1753"/>
                  <a:pt x="648" y="1757"/>
                  <a:pt x="646" y="1761"/>
                </a:cubicBezTo>
                <a:cubicBezTo>
                  <a:pt x="649" y="1761"/>
                  <a:pt x="651" y="1762"/>
                  <a:pt x="654" y="1761"/>
                </a:cubicBezTo>
                <a:cubicBezTo>
                  <a:pt x="654" y="1761"/>
                  <a:pt x="655" y="1760"/>
                  <a:pt x="655" y="1760"/>
                </a:cubicBezTo>
                <a:cubicBezTo>
                  <a:pt x="655" y="1757"/>
                  <a:pt x="655" y="1755"/>
                  <a:pt x="654" y="1752"/>
                </a:cubicBezTo>
                <a:cubicBezTo>
                  <a:pt x="654" y="1751"/>
                  <a:pt x="653" y="1750"/>
                  <a:pt x="653" y="1748"/>
                </a:cubicBezTo>
                <a:close/>
                <a:moveTo>
                  <a:pt x="600" y="1728"/>
                </a:moveTo>
                <a:cubicBezTo>
                  <a:pt x="599" y="1728"/>
                  <a:pt x="599" y="1729"/>
                  <a:pt x="598" y="1729"/>
                </a:cubicBezTo>
                <a:cubicBezTo>
                  <a:pt x="597" y="1729"/>
                  <a:pt x="597" y="1729"/>
                  <a:pt x="597" y="1728"/>
                </a:cubicBezTo>
                <a:cubicBezTo>
                  <a:pt x="596" y="1728"/>
                  <a:pt x="596" y="1727"/>
                  <a:pt x="596" y="1726"/>
                </a:cubicBezTo>
                <a:cubicBezTo>
                  <a:pt x="597" y="1724"/>
                  <a:pt x="597" y="1722"/>
                  <a:pt x="598" y="1720"/>
                </a:cubicBezTo>
                <a:cubicBezTo>
                  <a:pt x="597" y="1720"/>
                  <a:pt x="597" y="1720"/>
                  <a:pt x="597" y="1720"/>
                </a:cubicBezTo>
                <a:cubicBezTo>
                  <a:pt x="596" y="1721"/>
                  <a:pt x="595" y="1722"/>
                  <a:pt x="594" y="1723"/>
                </a:cubicBezTo>
                <a:cubicBezTo>
                  <a:pt x="593" y="1724"/>
                  <a:pt x="595" y="1729"/>
                  <a:pt x="597" y="1730"/>
                </a:cubicBezTo>
                <a:cubicBezTo>
                  <a:pt x="598" y="1731"/>
                  <a:pt x="600" y="1730"/>
                  <a:pt x="600" y="1728"/>
                </a:cubicBezTo>
                <a:close/>
                <a:moveTo>
                  <a:pt x="600" y="1746"/>
                </a:moveTo>
                <a:cubicBezTo>
                  <a:pt x="599" y="1746"/>
                  <a:pt x="598" y="1747"/>
                  <a:pt x="597" y="1748"/>
                </a:cubicBezTo>
                <a:cubicBezTo>
                  <a:pt x="596" y="1749"/>
                  <a:pt x="596" y="1750"/>
                  <a:pt x="596" y="1750"/>
                </a:cubicBezTo>
                <a:cubicBezTo>
                  <a:pt x="596" y="1753"/>
                  <a:pt x="600" y="1758"/>
                  <a:pt x="603" y="1757"/>
                </a:cubicBezTo>
                <a:cubicBezTo>
                  <a:pt x="605" y="1757"/>
                  <a:pt x="606" y="1756"/>
                  <a:pt x="605" y="1754"/>
                </a:cubicBezTo>
                <a:cubicBezTo>
                  <a:pt x="603" y="1751"/>
                  <a:pt x="602" y="1748"/>
                  <a:pt x="600" y="1746"/>
                </a:cubicBezTo>
                <a:close/>
                <a:moveTo>
                  <a:pt x="653" y="1748"/>
                </a:moveTo>
                <a:cubicBezTo>
                  <a:pt x="651" y="1752"/>
                  <a:pt x="648" y="1757"/>
                  <a:pt x="646" y="1761"/>
                </a:cubicBezTo>
                <a:cubicBezTo>
                  <a:pt x="649" y="1761"/>
                  <a:pt x="651" y="1761"/>
                  <a:pt x="654" y="1761"/>
                </a:cubicBezTo>
                <a:cubicBezTo>
                  <a:pt x="654" y="1761"/>
                  <a:pt x="655" y="1760"/>
                  <a:pt x="655" y="1759"/>
                </a:cubicBezTo>
                <a:cubicBezTo>
                  <a:pt x="655" y="1757"/>
                  <a:pt x="655" y="1754"/>
                  <a:pt x="654" y="1752"/>
                </a:cubicBezTo>
                <a:cubicBezTo>
                  <a:pt x="654" y="1750"/>
                  <a:pt x="653" y="1749"/>
                  <a:pt x="653" y="1748"/>
                </a:cubicBezTo>
                <a:close/>
                <a:moveTo>
                  <a:pt x="600" y="1728"/>
                </a:moveTo>
                <a:cubicBezTo>
                  <a:pt x="600" y="1728"/>
                  <a:pt x="599" y="1728"/>
                  <a:pt x="598" y="1728"/>
                </a:cubicBezTo>
                <a:cubicBezTo>
                  <a:pt x="598" y="1728"/>
                  <a:pt x="597" y="1728"/>
                  <a:pt x="597" y="1728"/>
                </a:cubicBezTo>
                <a:cubicBezTo>
                  <a:pt x="596" y="1728"/>
                  <a:pt x="596" y="1727"/>
                  <a:pt x="596" y="1726"/>
                </a:cubicBezTo>
                <a:cubicBezTo>
                  <a:pt x="597" y="1724"/>
                  <a:pt x="597" y="1722"/>
                  <a:pt x="598" y="1720"/>
                </a:cubicBezTo>
                <a:cubicBezTo>
                  <a:pt x="598" y="1720"/>
                  <a:pt x="598" y="1720"/>
                  <a:pt x="597" y="1720"/>
                </a:cubicBezTo>
                <a:cubicBezTo>
                  <a:pt x="596" y="1721"/>
                  <a:pt x="595" y="1722"/>
                  <a:pt x="594" y="1723"/>
                </a:cubicBezTo>
                <a:cubicBezTo>
                  <a:pt x="594" y="1724"/>
                  <a:pt x="595" y="1729"/>
                  <a:pt x="597" y="1730"/>
                </a:cubicBezTo>
                <a:cubicBezTo>
                  <a:pt x="598" y="1731"/>
                  <a:pt x="600" y="1730"/>
                  <a:pt x="600" y="1728"/>
                </a:cubicBezTo>
                <a:close/>
                <a:moveTo>
                  <a:pt x="653" y="1719"/>
                </a:moveTo>
                <a:cubicBezTo>
                  <a:pt x="656" y="1716"/>
                  <a:pt x="656" y="1716"/>
                  <a:pt x="660" y="1714"/>
                </a:cubicBezTo>
                <a:cubicBezTo>
                  <a:pt x="660" y="1716"/>
                  <a:pt x="661" y="1718"/>
                  <a:pt x="662" y="1718"/>
                </a:cubicBezTo>
                <a:cubicBezTo>
                  <a:pt x="660" y="1719"/>
                  <a:pt x="658" y="1720"/>
                  <a:pt x="656" y="1722"/>
                </a:cubicBezTo>
                <a:cubicBezTo>
                  <a:pt x="655" y="1721"/>
                  <a:pt x="655" y="1720"/>
                  <a:pt x="654" y="1719"/>
                </a:cubicBezTo>
                <a:cubicBezTo>
                  <a:pt x="654" y="1719"/>
                  <a:pt x="653" y="1719"/>
                  <a:pt x="653" y="1719"/>
                </a:cubicBezTo>
                <a:close/>
                <a:moveTo>
                  <a:pt x="658" y="1719"/>
                </a:moveTo>
                <a:cubicBezTo>
                  <a:pt x="658" y="1718"/>
                  <a:pt x="657" y="1718"/>
                  <a:pt x="656" y="1718"/>
                </a:cubicBezTo>
                <a:cubicBezTo>
                  <a:pt x="656" y="1718"/>
                  <a:pt x="655" y="1719"/>
                  <a:pt x="655" y="1719"/>
                </a:cubicBezTo>
                <a:cubicBezTo>
                  <a:pt x="655" y="1720"/>
                  <a:pt x="656" y="1720"/>
                  <a:pt x="656" y="1720"/>
                </a:cubicBezTo>
                <a:cubicBezTo>
                  <a:pt x="657" y="1720"/>
                  <a:pt x="657" y="1720"/>
                  <a:pt x="658" y="1719"/>
                </a:cubicBezTo>
                <a:close/>
                <a:moveTo>
                  <a:pt x="640" y="1709"/>
                </a:moveTo>
                <a:cubicBezTo>
                  <a:pt x="633" y="1709"/>
                  <a:pt x="630" y="1711"/>
                  <a:pt x="629" y="1719"/>
                </a:cubicBezTo>
                <a:cubicBezTo>
                  <a:pt x="630" y="1717"/>
                  <a:pt x="631" y="1714"/>
                  <a:pt x="632" y="1712"/>
                </a:cubicBezTo>
                <a:cubicBezTo>
                  <a:pt x="633" y="1712"/>
                  <a:pt x="633" y="1712"/>
                  <a:pt x="633" y="1712"/>
                </a:cubicBezTo>
                <a:cubicBezTo>
                  <a:pt x="633" y="1713"/>
                  <a:pt x="633" y="1714"/>
                  <a:pt x="633" y="1715"/>
                </a:cubicBezTo>
                <a:cubicBezTo>
                  <a:pt x="634" y="1712"/>
                  <a:pt x="636" y="1710"/>
                  <a:pt x="640" y="1709"/>
                </a:cubicBezTo>
                <a:close/>
                <a:moveTo>
                  <a:pt x="683" y="1711"/>
                </a:moveTo>
                <a:cubicBezTo>
                  <a:pt x="681" y="1712"/>
                  <a:pt x="679" y="1714"/>
                  <a:pt x="678" y="1715"/>
                </a:cubicBezTo>
                <a:cubicBezTo>
                  <a:pt x="679" y="1715"/>
                  <a:pt x="682" y="1714"/>
                  <a:pt x="683" y="1711"/>
                </a:cubicBezTo>
                <a:close/>
                <a:moveTo>
                  <a:pt x="650" y="1713"/>
                </a:moveTo>
                <a:cubicBezTo>
                  <a:pt x="651" y="1712"/>
                  <a:pt x="652" y="1710"/>
                  <a:pt x="653" y="1709"/>
                </a:cubicBezTo>
                <a:cubicBezTo>
                  <a:pt x="650" y="1710"/>
                  <a:pt x="649" y="1711"/>
                  <a:pt x="650" y="1713"/>
                </a:cubicBezTo>
                <a:close/>
                <a:moveTo>
                  <a:pt x="659" y="1734"/>
                </a:moveTo>
                <a:cubicBezTo>
                  <a:pt x="658" y="1735"/>
                  <a:pt x="657" y="1736"/>
                  <a:pt x="657" y="1737"/>
                </a:cubicBezTo>
                <a:cubicBezTo>
                  <a:pt x="657" y="1736"/>
                  <a:pt x="659" y="1735"/>
                  <a:pt x="659" y="1734"/>
                </a:cubicBezTo>
                <a:close/>
                <a:moveTo>
                  <a:pt x="658" y="1719"/>
                </a:moveTo>
                <a:cubicBezTo>
                  <a:pt x="658" y="1719"/>
                  <a:pt x="657" y="1718"/>
                  <a:pt x="656" y="1718"/>
                </a:cubicBezTo>
                <a:cubicBezTo>
                  <a:pt x="656" y="1718"/>
                  <a:pt x="655" y="1719"/>
                  <a:pt x="655" y="1719"/>
                </a:cubicBezTo>
                <a:cubicBezTo>
                  <a:pt x="655" y="1720"/>
                  <a:pt x="655" y="1720"/>
                  <a:pt x="656" y="1721"/>
                </a:cubicBezTo>
                <a:cubicBezTo>
                  <a:pt x="657" y="1720"/>
                  <a:pt x="657" y="1720"/>
                  <a:pt x="658" y="1719"/>
                </a:cubicBezTo>
                <a:close/>
                <a:moveTo>
                  <a:pt x="1312" y="1697"/>
                </a:moveTo>
                <a:cubicBezTo>
                  <a:pt x="1312" y="1697"/>
                  <a:pt x="1312" y="1697"/>
                  <a:pt x="1312" y="1697"/>
                </a:cubicBezTo>
                <a:cubicBezTo>
                  <a:pt x="1307" y="1697"/>
                  <a:pt x="1307" y="1697"/>
                  <a:pt x="1307" y="1697"/>
                </a:cubicBezTo>
                <a:cubicBezTo>
                  <a:pt x="1305" y="1698"/>
                  <a:pt x="1303" y="1700"/>
                  <a:pt x="1301" y="1700"/>
                </a:cubicBezTo>
                <a:cubicBezTo>
                  <a:pt x="1300" y="1702"/>
                  <a:pt x="1298" y="1702"/>
                  <a:pt x="1296" y="1703"/>
                </a:cubicBezTo>
                <a:cubicBezTo>
                  <a:pt x="1295" y="1705"/>
                  <a:pt x="1293" y="1705"/>
                  <a:pt x="1291" y="1706"/>
                </a:cubicBezTo>
                <a:cubicBezTo>
                  <a:pt x="1289" y="1707"/>
                  <a:pt x="1287" y="1708"/>
                  <a:pt x="1285" y="1708"/>
                </a:cubicBezTo>
                <a:cubicBezTo>
                  <a:pt x="1285" y="1708"/>
                  <a:pt x="1285" y="1708"/>
                  <a:pt x="1285" y="1718"/>
                </a:cubicBezTo>
                <a:cubicBezTo>
                  <a:pt x="1288" y="1717"/>
                  <a:pt x="1291" y="1716"/>
                  <a:pt x="1294" y="1715"/>
                </a:cubicBezTo>
                <a:cubicBezTo>
                  <a:pt x="1296" y="1714"/>
                  <a:pt x="1298" y="1713"/>
                  <a:pt x="1301" y="1711"/>
                </a:cubicBezTo>
                <a:cubicBezTo>
                  <a:pt x="1301" y="1711"/>
                  <a:pt x="1301" y="1711"/>
                  <a:pt x="1301" y="1770"/>
                </a:cubicBezTo>
                <a:cubicBezTo>
                  <a:pt x="1301" y="1770"/>
                  <a:pt x="1301" y="1770"/>
                  <a:pt x="1312" y="1770"/>
                </a:cubicBezTo>
                <a:cubicBezTo>
                  <a:pt x="1312" y="1770"/>
                  <a:pt x="1312" y="1770"/>
                  <a:pt x="1312" y="1697"/>
                </a:cubicBezTo>
                <a:close/>
                <a:moveTo>
                  <a:pt x="1360" y="1697"/>
                </a:moveTo>
                <a:cubicBezTo>
                  <a:pt x="1360" y="1697"/>
                  <a:pt x="1360" y="1697"/>
                  <a:pt x="1360" y="1697"/>
                </a:cubicBezTo>
                <a:cubicBezTo>
                  <a:pt x="1355" y="1697"/>
                  <a:pt x="1355" y="1697"/>
                  <a:pt x="1355" y="1697"/>
                </a:cubicBezTo>
                <a:cubicBezTo>
                  <a:pt x="1352" y="1698"/>
                  <a:pt x="1351" y="1700"/>
                  <a:pt x="1349" y="1700"/>
                </a:cubicBezTo>
                <a:cubicBezTo>
                  <a:pt x="1347" y="1702"/>
                  <a:pt x="1345" y="1702"/>
                  <a:pt x="1344" y="1703"/>
                </a:cubicBezTo>
                <a:cubicBezTo>
                  <a:pt x="1342" y="1705"/>
                  <a:pt x="1340" y="1705"/>
                  <a:pt x="1339" y="1706"/>
                </a:cubicBezTo>
                <a:cubicBezTo>
                  <a:pt x="1336" y="1707"/>
                  <a:pt x="1335" y="1708"/>
                  <a:pt x="1333" y="1708"/>
                </a:cubicBezTo>
                <a:cubicBezTo>
                  <a:pt x="1333" y="1708"/>
                  <a:pt x="1333" y="1708"/>
                  <a:pt x="1333" y="1718"/>
                </a:cubicBezTo>
                <a:cubicBezTo>
                  <a:pt x="1336" y="1717"/>
                  <a:pt x="1339" y="1716"/>
                  <a:pt x="1341" y="1715"/>
                </a:cubicBezTo>
                <a:cubicBezTo>
                  <a:pt x="1344" y="1714"/>
                  <a:pt x="1346" y="1713"/>
                  <a:pt x="1348" y="1711"/>
                </a:cubicBezTo>
                <a:cubicBezTo>
                  <a:pt x="1348" y="1711"/>
                  <a:pt x="1348" y="1711"/>
                  <a:pt x="1348" y="1770"/>
                </a:cubicBezTo>
                <a:cubicBezTo>
                  <a:pt x="1348" y="1770"/>
                  <a:pt x="1348" y="1770"/>
                  <a:pt x="1360" y="1770"/>
                </a:cubicBezTo>
                <a:cubicBezTo>
                  <a:pt x="1360" y="1770"/>
                  <a:pt x="1360" y="1770"/>
                  <a:pt x="1360" y="1697"/>
                </a:cubicBezTo>
                <a:close/>
                <a:moveTo>
                  <a:pt x="1406" y="1697"/>
                </a:moveTo>
                <a:cubicBezTo>
                  <a:pt x="1406" y="1697"/>
                  <a:pt x="1406" y="1697"/>
                  <a:pt x="1406" y="1697"/>
                </a:cubicBezTo>
                <a:cubicBezTo>
                  <a:pt x="1402" y="1697"/>
                  <a:pt x="1402" y="1697"/>
                  <a:pt x="1402" y="1697"/>
                </a:cubicBezTo>
                <a:cubicBezTo>
                  <a:pt x="1400" y="1698"/>
                  <a:pt x="1398" y="1700"/>
                  <a:pt x="1396" y="1700"/>
                </a:cubicBezTo>
                <a:cubicBezTo>
                  <a:pt x="1395" y="1702"/>
                  <a:pt x="1393" y="1702"/>
                  <a:pt x="1391" y="1703"/>
                </a:cubicBezTo>
                <a:cubicBezTo>
                  <a:pt x="1389" y="1704"/>
                  <a:pt x="1388" y="1705"/>
                  <a:pt x="1385" y="1705"/>
                </a:cubicBezTo>
                <a:cubicBezTo>
                  <a:pt x="1384" y="1706"/>
                  <a:pt x="1382" y="1707"/>
                  <a:pt x="1380" y="1708"/>
                </a:cubicBezTo>
                <a:cubicBezTo>
                  <a:pt x="1380" y="1708"/>
                  <a:pt x="1380" y="1708"/>
                  <a:pt x="1380" y="1718"/>
                </a:cubicBezTo>
                <a:cubicBezTo>
                  <a:pt x="1383" y="1717"/>
                  <a:pt x="1386" y="1716"/>
                  <a:pt x="1388" y="1715"/>
                </a:cubicBezTo>
                <a:cubicBezTo>
                  <a:pt x="1390" y="1714"/>
                  <a:pt x="1393" y="1713"/>
                  <a:pt x="1395" y="1711"/>
                </a:cubicBezTo>
                <a:cubicBezTo>
                  <a:pt x="1395" y="1711"/>
                  <a:pt x="1395" y="1711"/>
                  <a:pt x="1395" y="1770"/>
                </a:cubicBezTo>
                <a:cubicBezTo>
                  <a:pt x="1395" y="1770"/>
                  <a:pt x="1395" y="1770"/>
                  <a:pt x="1406" y="1770"/>
                </a:cubicBezTo>
                <a:cubicBezTo>
                  <a:pt x="1406" y="1770"/>
                  <a:pt x="1406" y="1770"/>
                  <a:pt x="1406" y="1697"/>
                </a:cubicBezTo>
                <a:close/>
                <a:moveTo>
                  <a:pt x="1617" y="1592"/>
                </a:moveTo>
                <a:cubicBezTo>
                  <a:pt x="1617" y="1592"/>
                  <a:pt x="1617" y="1592"/>
                  <a:pt x="1617" y="1592"/>
                </a:cubicBezTo>
                <a:cubicBezTo>
                  <a:pt x="1612" y="1592"/>
                  <a:pt x="1612" y="1592"/>
                  <a:pt x="1612" y="1592"/>
                </a:cubicBezTo>
                <a:cubicBezTo>
                  <a:pt x="1610" y="1593"/>
                  <a:pt x="1609" y="1594"/>
                  <a:pt x="1606" y="1595"/>
                </a:cubicBezTo>
                <a:cubicBezTo>
                  <a:pt x="1605" y="1597"/>
                  <a:pt x="1603" y="1597"/>
                  <a:pt x="1601" y="1598"/>
                </a:cubicBezTo>
                <a:cubicBezTo>
                  <a:pt x="1599" y="1599"/>
                  <a:pt x="1597" y="1600"/>
                  <a:pt x="1596" y="1600"/>
                </a:cubicBezTo>
                <a:cubicBezTo>
                  <a:pt x="1594" y="1601"/>
                  <a:pt x="1592" y="1602"/>
                  <a:pt x="1590" y="1602"/>
                </a:cubicBezTo>
                <a:cubicBezTo>
                  <a:pt x="1590" y="1602"/>
                  <a:pt x="1590" y="1602"/>
                  <a:pt x="1590" y="1613"/>
                </a:cubicBezTo>
                <a:cubicBezTo>
                  <a:pt x="1593" y="1612"/>
                  <a:pt x="1596" y="1610"/>
                  <a:pt x="1598" y="1610"/>
                </a:cubicBezTo>
                <a:cubicBezTo>
                  <a:pt x="1601" y="1609"/>
                  <a:pt x="1603" y="1608"/>
                  <a:pt x="1606" y="1606"/>
                </a:cubicBezTo>
                <a:cubicBezTo>
                  <a:pt x="1606" y="1606"/>
                  <a:pt x="1606" y="1606"/>
                  <a:pt x="1606" y="1665"/>
                </a:cubicBezTo>
                <a:cubicBezTo>
                  <a:pt x="1606" y="1665"/>
                  <a:pt x="1606" y="1665"/>
                  <a:pt x="1617" y="1665"/>
                </a:cubicBezTo>
                <a:cubicBezTo>
                  <a:pt x="1617" y="1665"/>
                  <a:pt x="1617" y="1665"/>
                  <a:pt x="1617" y="1592"/>
                </a:cubicBezTo>
                <a:close/>
                <a:moveTo>
                  <a:pt x="1664" y="1592"/>
                </a:moveTo>
                <a:cubicBezTo>
                  <a:pt x="1664" y="1592"/>
                  <a:pt x="1664" y="1592"/>
                  <a:pt x="1664" y="1592"/>
                </a:cubicBezTo>
                <a:cubicBezTo>
                  <a:pt x="1659" y="1592"/>
                  <a:pt x="1659" y="1592"/>
                  <a:pt x="1659" y="1592"/>
                </a:cubicBezTo>
                <a:cubicBezTo>
                  <a:pt x="1656" y="1593"/>
                  <a:pt x="1655" y="1594"/>
                  <a:pt x="1653" y="1595"/>
                </a:cubicBezTo>
                <a:cubicBezTo>
                  <a:pt x="1651" y="1597"/>
                  <a:pt x="1649" y="1597"/>
                  <a:pt x="1648" y="1598"/>
                </a:cubicBezTo>
                <a:cubicBezTo>
                  <a:pt x="1646" y="1600"/>
                  <a:pt x="1644" y="1600"/>
                  <a:pt x="1643" y="1601"/>
                </a:cubicBezTo>
                <a:cubicBezTo>
                  <a:pt x="1641" y="1602"/>
                  <a:pt x="1639" y="1602"/>
                  <a:pt x="1637" y="1602"/>
                </a:cubicBezTo>
                <a:cubicBezTo>
                  <a:pt x="1637" y="1602"/>
                  <a:pt x="1637" y="1602"/>
                  <a:pt x="1637" y="1613"/>
                </a:cubicBezTo>
                <a:cubicBezTo>
                  <a:pt x="1640" y="1612"/>
                  <a:pt x="1643" y="1611"/>
                  <a:pt x="1645" y="1610"/>
                </a:cubicBezTo>
                <a:cubicBezTo>
                  <a:pt x="1648" y="1609"/>
                  <a:pt x="1650" y="1608"/>
                  <a:pt x="1652" y="1606"/>
                </a:cubicBezTo>
                <a:cubicBezTo>
                  <a:pt x="1652" y="1606"/>
                  <a:pt x="1652" y="1606"/>
                  <a:pt x="1652" y="1665"/>
                </a:cubicBezTo>
                <a:cubicBezTo>
                  <a:pt x="1652" y="1665"/>
                  <a:pt x="1652" y="1665"/>
                  <a:pt x="1664" y="1665"/>
                </a:cubicBezTo>
                <a:cubicBezTo>
                  <a:pt x="1664" y="1665"/>
                  <a:pt x="1664" y="1665"/>
                  <a:pt x="1664" y="1592"/>
                </a:cubicBezTo>
                <a:close/>
                <a:moveTo>
                  <a:pt x="1709" y="1592"/>
                </a:moveTo>
                <a:cubicBezTo>
                  <a:pt x="1709" y="1592"/>
                  <a:pt x="1709" y="1592"/>
                  <a:pt x="1709" y="1592"/>
                </a:cubicBezTo>
                <a:cubicBezTo>
                  <a:pt x="1705" y="1592"/>
                  <a:pt x="1705" y="1592"/>
                  <a:pt x="1705" y="1592"/>
                </a:cubicBezTo>
                <a:cubicBezTo>
                  <a:pt x="1703" y="1593"/>
                  <a:pt x="1701" y="1594"/>
                  <a:pt x="1699" y="1595"/>
                </a:cubicBezTo>
                <a:cubicBezTo>
                  <a:pt x="1698" y="1597"/>
                  <a:pt x="1695" y="1597"/>
                  <a:pt x="1694" y="1598"/>
                </a:cubicBezTo>
                <a:cubicBezTo>
                  <a:pt x="1692" y="1600"/>
                  <a:pt x="1690" y="1600"/>
                  <a:pt x="1688" y="1601"/>
                </a:cubicBezTo>
                <a:cubicBezTo>
                  <a:pt x="1687" y="1602"/>
                  <a:pt x="1685" y="1602"/>
                  <a:pt x="1683" y="1602"/>
                </a:cubicBezTo>
                <a:cubicBezTo>
                  <a:pt x="1683" y="1602"/>
                  <a:pt x="1683" y="1602"/>
                  <a:pt x="1683" y="1613"/>
                </a:cubicBezTo>
                <a:cubicBezTo>
                  <a:pt x="1686" y="1612"/>
                  <a:pt x="1689" y="1611"/>
                  <a:pt x="1691" y="1610"/>
                </a:cubicBezTo>
                <a:cubicBezTo>
                  <a:pt x="1693" y="1609"/>
                  <a:pt x="1696" y="1608"/>
                  <a:pt x="1698" y="1606"/>
                </a:cubicBezTo>
                <a:cubicBezTo>
                  <a:pt x="1698" y="1606"/>
                  <a:pt x="1698" y="1606"/>
                  <a:pt x="1698" y="1665"/>
                </a:cubicBezTo>
                <a:cubicBezTo>
                  <a:pt x="1698" y="1665"/>
                  <a:pt x="1698" y="1665"/>
                  <a:pt x="1709" y="1665"/>
                </a:cubicBezTo>
                <a:cubicBezTo>
                  <a:pt x="1709" y="1665"/>
                  <a:pt x="1709" y="1665"/>
                  <a:pt x="1709" y="1592"/>
                </a:cubicBezTo>
                <a:close/>
                <a:moveTo>
                  <a:pt x="1756" y="1592"/>
                </a:moveTo>
                <a:cubicBezTo>
                  <a:pt x="1756" y="1592"/>
                  <a:pt x="1756" y="1592"/>
                  <a:pt x="1756" y="1592"/>
                </a:cubicBezTo>
                <a:cubicBezTo>
                  <a:pt x="1751" y="1592"/>
                  <a:pt x="1751" y="1592"/>
                  <a:pt x="1751" y="1592"/>
                </a:cubicBezTo>
                <a:cubicBezTo>
                  <a:pt x="1749" y="1593"/>
                  <a:pt x="1747" y="1594"/>
                  <a:pt x="1745" y="1595"/>
                </a:cubicBezTo>
                <a:cubicBezTo>
                  <a:pt x="1744" y="1597"/>
                  <a:pt x="1742" y="1597"/>
                  <a:pt x="1740" y="1598"/>
                </a:cubicBezTo>
                <a:cubicBezTo>
                  <a:pt x="1738" y="1600"/>
                  <a:pt x="1736" y="1600"/>
                  <a:pt x="1735" y="1601"/>
                </a:cubicBezTo>
                <a:cubicBezTo>
                  <a:pt x="1733" y="1602"/>
                  <a:pt x="1731" y="1602"/>
                  <a:pt x="1729" y="1602"/>
                </a:cubicBezTo>
                <a:cubicBezTo>
                  <a:pt x="1729" y="1602"/>
                  <a:pt x="1729" y="1602"/>
                  <a:pt x="1729" y="1613"/>
                </a:cubicBezTo>
                <a:cubicBezTo>
                  <a:pt x="1732" y="1612"/>
                  <a:pt x="1735" y="1611"/>
                  <a:pt x="1737" y="1610"/>
                </a:cubicBezTo>
                <a:cubicBezTo>
                  <a:pt x="1740" y="1609"/>
                  <a:pt x="1742" y="1608"/>
                  <a:pt x="1744" y="1606"/>
                </a:cubicBezTo>
                <a:cubicBezTo>
                  <a:pt x="1744" y="1606"/>
                  <a:pt x="1744" y="1606"/>
                  <a:pt x="1744" y="1665"/>
                </a:cubicBezTo>
                <a:cubicBezTo>
                  <a:pt x="1744" y="1665"/>
                  <a:pt x="1744" y="1665"/>
                  <a:pt x="1756" y="1665"/>
                </a:cubicBezTo>
                <a:cubicBezTo>
                  <a:pt x="1756" y="1665"/>
                  <a:pt x="1756" y="1665"/>
                  <a:pt x="1756" y="1592"/>
                </a:cubicBezTo>
                <a:close/>
                <a:moveTo>
                  <a:pt x="1878" y="1592"/>
                </a:moveTo>
                <a:cubicBezTo>
                  <a:pt x="1878" y="1592"/>
                  <a:pt x="1878" y="1592"/>
                  <a:pt x="1878" y="1592"/>
                </a:cubicBezTo>
                <a:cubicBezTo>
                  <a:pt x="1873" y="1592"/>
                  <a:pt x="1873" y="1592"/>
                  <a:pt x="1873" y="1592"/>
                </a:cubicBezTo>
                <a:cubicBezTo>
                  <a:pt x="1870" y="1593"/>
                  <a:pt x="1869" y="1594"/>
                  <a:pt x="1867" y="1595"/>
                </a:cubicBezTo>
                <a:cubicBezTo>
                  <a:pt x="1865" y="1597"/>
                  <a:pt x="1864" y="1597"/>
                  <a:pt x="1862" y="1598"/>
                </a:cubicBezTo>
                <a:cubicBezTo>
                  <a:pt x="1860" y="1600"/>
                  <a:pt x="1858" y="1600"/>
                  <a:pt x="1857" y="1601"/>
                </a:cubicBezTo>
                <a:cubicBezTo>
                  <a:pt x="1854" y="1602"/>
                  <a:pt x="1853" y="1602"/>
                  <a:pt x="1851" y="1602"/>
                </a:cubicBezTo>
                <a:cubicBezTo>
                  <a:pt x="1851" y="1602"/>
                  <a:pt x="1851" y="1602"/>
                  <a:pt x="1851" y="1613"/>
                </a:cubicBezTo>
                <a:cubicBezTo>
                  <a:pt x="1854" y="1612"/>
                  <a:pt x="1857" y="1611"/>
                  <a:pt x="1859" y="1610"/>
                </a:cubicBezTo>
                <a:cubicBezTo>
                  <a:pt x="1862" y="1609"/>
                  <a:pt x="1864" y="1608"/>
                  <a:pt x="1866" y="1606"/>
                </a:cubicBezTo>
                <a:cubicBezTo>
                  <a:pt x="1866" y="1606"/>
                  <a:pt x="1866" y="1606"/>
                  <a:pt x="1866" y="1665"/>
                </a:cubicBezTo>
                <a:cubicBezTo>
                  <a:pt x="1866" y="1665"/>
                  <a:pt x="1866" y="1665"/>
                  <a:pt x="1878" y="1665"/>
                </a:cubicBezTo>
                <a:cubicBezTo>
                  <a:pt x="1878" y="1665"/>
                  <a:pt x="1878" y="1665"/>
                  <a:pt x="1878" y="1592"/>
                </a:cubicBezTo>
                <a:close/>
                <a:moveTo>
                  <a:pt x="1925" y="1592"/>
                </a:moveTo>
                <a:cubicBezTo>
                  <a:pt x="1925" y="1592"/>
                  <a:pt x="1925" y="1592"/>
                  <a:pt x="1925" y="1592"/>
                </a:cubicBezTo>
                <a:cubicBezTo>
                  <a:pt x="1919" y="1592"/>
                  <a:pt x="1919" y="1592"/>
                  <a:pt x="1919" y="1592"/>
                </a:cubicBezTo>
                <a:cubicBezTo>
                  <a:pt x="1917" y="1593"/>
                  <a:pt x="1916" y="1594"/>
                  <a:pt x="1914" y="1595"/>
                </a:cubicBezTo>
                <a:cubicBezTo>
                  <a:pt x="1912" y="1597"/>
                  <a:pt x="1910" y="1597"/>
                  <a:pt x="1908" y="1598"/>
                </a:cubicBezTo>
                <a:cubicBezTo>
                  <a:pt x="1907" y="1600"/>
                  <a:pt x="1905" y="1600"/>
                  <a:pt x="1903" y="1601"/>
                </a:cubicBezTo>
                <a:cubicBezTo>
                  <a:pt x="1901" y="1602"/>
                  <a:pt x="1900" y="1602"/>
                  <a:pt x="1897" y="1602"/>
                </a:cubicBezTo>
                <a:cubicBezTo>
                  <a:pt x="1897" y="1602"/>
                  <a:pt x="1897" y="1602"/>
                  <a:pt x="1897" y="1613"/>
                </a:cubicBezTo>
                <a:cubicBezTo>
                  <a:pt x="1900" y="1612"/>
                  <a:pt x="1903" y="1611"/>
                  <a:pt x="1905" y="1610"/>
                </a:cubicBezTo>
                <a:cubicBezTo>
                  <a:pt x="1908" y="1609"/>
                  <a:pt x="1911" y="1608"/>
                  <a:pt x="1913" y="1606"/>
                </a:cubicBezTo>
                <a:cubicBezTo>
                  <a:pt x="1913" y="1606"/>
                  <a:pt x="1913" y="1606"/>
                  <a:pt x="1913" y="1665"/>
                </a:cubicBezTo>
                <a:cubicBezTo>
                  <a:pt x="1913" y="1665"/>
                  <a:pt x="1913" y="1665"/>
                  <a:pt x="1925" y="1665"/>
                </a:cubicBezTo>
                <a:cubicBezTo>
                  <a:pt x="1925" y="1665"/>
                  <a:pt x="1925" y="1665"/>
                  <a:pt x="1925" y="1592"/>
                </a:cubicBezTo>
                <a:close/>
                <a:moveTo>
                  <a:pt x="1776" y="1624"/>
                </a:moveTo>
                <a:cubicBezTo>
                  <a:pt x="1776" y="1624"/>
                  <a:pt x="1776" y="1624"/>
                  <a:pt x="1776" y="1624"/>
                </a:cubicBezTo>
                <a:cubicBezTo>
                  <a:pt x="1776" y="1632"/>
                  <a:pt x="1776" y="1632"/>
                  <a:pt x="1776" y="1632"/>
                </a:cubicBezTo>
                <a:cubicBezTo>
                  <a:pt x="1782" y="1632"/>
                  <a:pt x="1783" y="1635"/>
                  <a:pt x="1783" y="1638"/>
                </a:cubicBezTo>
                <a:cubicBezTo>
                  <a:pt x="1783" y="1640"/>
                  <a:pt x="1782" y="1643"/>
                  <a:pt x="1782" y="1645"/>
                </a:cubicBezTo>
                <a:cubicBezTo>
                  <a:pt x="1782" y="1648"/>
                  <a:pt x="1782" y="1650"/>
                  <a:pt x="1782" y="1652"/>
                </a:cubicBezTo>
                <a:cubicBezTo>
                  <a:pt x="1782" y="1662"/>
                  <a:pt x="1788" y="1665"/>
                  <a:pt x="1796" y="1665"/>
                </a:cubicBezTo>
                <a:cubicBezTo>
                  <a:pt x="1796" y="1665"/>
                  <a:pt x="1796" y="1665"/>
                  <a:pt x="1800" y="1665"/>
                </a:cubicBezTo>
                <a:cubicBezTo>
                  <a:pt x="1800" y="1665"/>
                  <a:pt x="1800" y="1665"/>
                  <a:pt x="1800" y="1656"/>
                </a:cubicBezTo>
                <a:cubicBezTo>
                  <a:pt x="1800" y="1656"/>
                  <a:pt x="1800" y="1656"/>
                  <a:pt x="1798" y="1656"/>
                </a:cubicBezTo>
                <a:cubicBezTo>
                  <a:pt x="1795" y="1656"/>
                  <a:pt x="1794" y="1653"/>
                  <a:pt x="1794" y="1650"/>
                </a:cubicBezTo>
                <a:cubicBezTo>
                  <a:pt x="1794" y="1649"/>
                  <a:pt x="1794" y="1647"/>
                  <a:pt x="1794" y="1645"/>
                </a:cubicBezTo>
                <a:cubicBezTo>
                  <a:pt x="1794" y="1644"/>
                  <a:pt x="1794" y="1641"/>
                  <a:pt x="1794" y="1639"/>
                </a:cubicBezTo>
                <a:cubicBezTo>
                  <a:pt x="1794" y="1632"/>
                  <a:pt x="1791" y="1629"/>
                  <a:pt x="1786" y="1628"/>
                </a:cubicBezTo>
                <a:cubicBezTo>
                  <a:pt x="1786" y="1628"/>
                  <a:pt x="1786" y="1628"/>
                  <a:pt x="1786" y="1628"/>
                </a:cubicBezTo>
                <a:cubicBezTo>
                  <a:pt x="1791" y="1626"/>
                  <a:pt x="1794" y="1624"/>
                  <a:pt x="1794" y="1617"/>
                </a:cubicBezTo>
                <a:cubicBezTo>
                  <a:pt x="1794" y="1614"/>
                  <a:pt x="1794" y="1612"/>
                  <a:pt x="1794" y="1610"/>
                </a:cubicBezTo>
                <a:cubicBezTo>
                  <a:pt x="1794" y="1609"/>
                  <a:pt x="1794" y="1607"/>
                  <a:pt x="1794" y="1606"/>
                </a:cubicBezTo>
                <a:cubicBezTo>
                  <a:pt x="1794" y="1602"/>
                  <a:pt x="1795" y="1600"/>
                  <a:pt x="1798" y="1600"/>
                </a:cubicBezTo>
                <a:cubicBezTo>
                  <a:pt x="1798" y="1600"/>
                  <a:pt x="1798" y="1600"/>
                  <a:pt x="1800" y="1600"/>
                </a:cubicBezTo>
                <a:cubicBezTo>
                  <a:pt x="1800" y="1600"/>
                  <a:pt x="1800" y="1600"/>
                  <a:pt x="1800" y="1591"/>
                </a:cubicBezTo>
                <a:cubicBezTo>
                  <a:pt x="1800" y="1591"/>
                  <a:pt x="1800" y="1591"/>
                  <a:pt x="1796" y="1591"/>
                </a:cubicBezTo>
                <a:cubicBezTo>
                  <a:pt x="1787" y="1591"/>
                  <a:pt x="1782" y="1595"/>
                  <a:pt x="1782" y="1603"/>
                </a:cubicBezTo>
                <a:cubicBezTo>
                  <a:pt x="1782" y="1606"/>
                  <a:pt x="1782" y="1608"/>
                  <a:pt x="1782" y="1611"/>
                </a:cubicBezTo>
                <a:cubicBezTo>
                  <a:pt x="1782" y="1613"/>
                  <a:pt x="1783" y="1616"/>
                  <a:pt x="1783" y="1618"/>
                </a:cubicBezTo>
                <a:cubicBezTo>
                  <a:pt x="1783" y="1620"/>
                  <a:pt x="1782" y="1624"/>
                  <a:pt x="1776" y="1624"/>
                </a:cubicBezTo>
                <a:close/>
                <a:moveTo>
                  <a:pt x="1831" y="1632"/>
                </a:moveTo>
                <a:cubicBezTo>
                  <a:pt x="1831" y="1632"/>
                  <a:pt x="1831" y="1632"/>
                  <a:pt x="1831" y="1632"/>
                </a:cubicBezTo>
                <a:cubicBezTo>
                  <a:pt x="1831" y="1624"/>
                  <a:pt x="1831" y="1624"/>
                  <a:pt x="1831" y="1624"/>
                </a:cubicBezTo>
                <a:cubicBezTo>
                  <a:pt x="1825" y="1624"/>
                  <a:pt x="1824" y="1620"/>
                  <a:pt x="1824" y="1618"/>
                </a:cubicBezTo>
                <a:cubicBezTo>
                  <a:pt x="1824" y="1616"/>
                  <a:pt x="1824" y="1613"/>
                  <a:pt x="1825" y="1611"/>
                </a:cubicBezTo>
                <a:cubicBezTo>
                  <a:pt x="1825" y="1608"/>
                  <a:pt x="1825" y="1606"/>
                  <a:pt x="1825" y="1603"/>
                </a:cubicBezTo>
                <a:cubicBezTo>
                  <a:pt x="1825" y="1595"/>
                  <a:pt x="1820" y="1591"/>
                  <a:pt x="1810" y="1591"/>
                </a:cubicBezTo>
                <a:cubicBezTo>
                  <a:pt x="1810" y="1591"/>
                  <a:pt x="1810" y="1591"/>
                  <a:pt x="1807" y="1591"/>
                </a:cubicBezTo>
                <a:cubicBezTo>
                  <a:pt x="1807" y="1591"/>
                  <a:pt x="1807" y="1591"/>
                  <a:pt x="1807" y="1600"/>
                </a:cubicBezTo>
                <a:cubicBezTo>
                  <a:pt x="1807" y="1600"/>
                  <a:pt x="1807" y="1600"/>
                  <a:pt x="1808" y="1600"/>
                </a:cubicBezTo>
                <a:cubicBezTo>
                  <a:pt x="1812" y="1600"/>
                  <a:pt x="1813" y="1602"/>
                  <a:pt x="1813" y="1606"/>
                </a:cubicBezTo>
                <a:cubicBezTo>
                  <a:pt x="1813" y="1607"/>
                  <a:pt x="1813" y="1609"/>
                  <a:pt x="1813" y="1610"/>
                </a:cubicBezTo>
                <a:cubicBezTo>
                  <a:pt x="1813" y="1612"/>
                  <a:pt x="1813" y="1614"/>
                  <a:pt x="1813" y="1617"/>
                </a:cubicBezTo>
                <a:cubicBezTo>
                  <a:pt x="1813" y="1624"/>
                  <a:pt x="1815" y="1626"/>
                  <a:pt x="1821" y="1628"/>
                </a:cubicBezTo>
                <a:cubicBezTo>
                  <a:pt x="1821" y="1628"/>
                  <a:pt x="1821" y="1628"/>
                  <a:pt x="1821" y="1628"/>
                </a:cubicBezTo>
                <a:cubicBezTo>
                  <a:pt x="1815" y="1629"/>
                  <a:pt x="1813" y="1632"/>
                  <a:pt x="1813" y="1639"/>
                </a:cubicBezTo>
                <a:cubicBezTo>
                  <a:pt x="1813" y="1641"/>
                  <a:pt x="1813" y="1644"/>
                  <a:pt x="1813" y="1645"/>
                </a:cubicBezTo>
                <a:cubicBezTo>
                  <a:pt x="1813" y="1647"/>
                  <a:pt x="1813" y="1649"/>
                  <a:pt x="1813" y="1650"/>
                </a:cubicBezTo>
                <a:cubicBezTo>
                  <a:pt x="1813" y="1653"/>
                  <a:pt x="1812" y="1656"/>
                  <a:pt x="1808" y="1656"/>
                </a:cubicBezTo>
                <a:cubicBezTo>
                  <a:pt x="1808" y="1656"/>
                  <a:pt x="1808" y="1656"/>
                  <a:pt x="1807" y="1656"/>
                </a:cubicBezTo>
                <a:cubicBezTo>
                  <a:pt x="1807" y="1656"/>
                  <a:pt x="1807" y="1656"/>
                  <a:pt x="1807" y="1665"/>
                </a:cubicBezTo>
                <a:cubicBezTo>
                  <a:pt x="1807" y="1665"/>
                  <a:pt x="1807" y="1665"/>
                  <a:pt x="1810" y="1665"/>
                </a:cubicBezTo>
                <a:cubicBezTo>
                  <a:pt x="1819" y="1665"/>
                  <a:pt x="1825" y="1662"/>
                  <a:pt x="1825" y="1652"/>
                </a:cubicBezTo>
                <a:cubicBezTo>
                  <a:pt x="1825" y="1650"/>
                  <a:pt x="1825" y="1648"/>
                  <a:pt x="1825" y="1645"/>
                </a:cubicBezTo>
                <a:cubicBezTo>
                  <a:pt x="1824" y="1643"/>
                  <a:pt x="1824" y="1640"/>
                  <a:pt x="1824" y="1638"/>
                </a:cubicBezTo>
                <a:cubicBezTo>
                  <a:pt x="1824" y="1635"/>
                  <a:pt x="1825" y="1632"/>
                  <a:pt x="1831" y="1632"/>
                </a:cubicBezTo>
                <a:close/>
                <a:moveTo>
                  <a:pt x="1218" y="1665"/>
                </a:moveTo>
                <a:cubicBezTo>
                  <a:pt x="1210" y="1665"/>
                  <a:pt x="1204" y="1662"/>
                  <a:pt x="1199" y="1656"/>
                </a:cubicBezTo>
                <a:cubicBezTo>
                  <a:pt x="1196" y="1650"/>
                  <a:pt x="1194" y="1641"/>
                  <a:pt x="1194" y="1628"/>
                </a:cubicBezTo>
                <a:cubicBezTo>
                  <a:pt x="1194" y="1615"/>
                  <a:pt x="1196" y="1606"/>
                  <a:pt x="1200" y="1599"/>
                </a:cubicBezTo>
                <a:cubicBezTo>
                  <a:pt x="1205" y="1592"/>
                  <a:pt x="1211" y="1589"/>
                  <a:pt x="1220" y="1589"/>
                </a:cubicBezTo>
                <a:cubicBezTo>
                  <a:pt x="1236" y="1589"/>
                  <a:pt x="1244" y="1601"/>
                  <a:pt x="1244" y="1627"/>
                </a:cubicBezTo>
                <a:cubicBezTo>
                  <a:pt x="1244" y="1639"/>
                  <a:pt x="1242" y="1649"/>
                  <a:pt x="1237" y="1655"/>
                </a:cubicBezTo>
                <a:cubicBezTo>
                  <a:pt x="1232" y="1662"/>
                  <a:pt x="1226" y="1665"/>
                  <a:pt x="1218" y="1665"/>
                </a:cubicBezTo>
                <a:close/>
                <a:moveTo>
                  <a:pt x="1219" y="1598"/>
                </a:moveTo>
                <a:cubicBezTo>
                  <a:pt x="1210" y="1598"/>
                  <a:pt x="1205" y="1608"/>
                  <a:pt x="1205" y="1628"/>
                </a:cubicBezTo>
                <a:cubicBezTo>
                  <a:pt x="1205" y="1647"/>
                  <a:pt x="1210" y="1655"/>
                  <a:pt x="1218" y="1655"/>
                </a:cubicBezTo>
                <a:cubicBezTo>
                  <a:pt x="1227" y="1655"/>
                  <a:pt x="1232" y="1647"/>
                  <a:pt x="1232" y="1628"/>
                </a:cubicBezTo>
                <a:cubicBezTo>
                  <a:pt x="1232" y="1608"/>
                  <a:pt x="1227" y="1598"/>
                  <a:pt x="1219" y="1598"/>
                </a:cubicBezTo>
                <a:close/>
                <a:moveTo>
                  <a:pt x="1288" y="1665"/>
                </a:moveTo>
                <a:cubicBezTo>
                  <a:pt x="1281" y="1665"/>
                  <a:pt x="1274" y="1662"/>
                  <a:pt x="1271" y="1656"/>
                </a:cubicBezTo>
                <a:cubicBezTo>
                  <a:pt x="1266" y="1650"/>
                  <a:pt x="1264" y="1641"/>
                  <a:pt x="1264" y="1628"/>
                </a:cubicBezTo>
                <a:cubicBezTo>
                  <a:pt x="1264" y="1615"/>
                  <a:pt x="1266" y="1606"/>
                  <a:pt x="1271" y="1599"/>
                </a:cubicBezTo>
                <a:cubicBezTo>
                  <a:pt x="1275" y="1592"/>
                  <a:pt x="1282" y="1589"/>
                  <a:pt x="1290" y="1589"/>
                </a:cubicBezTo>
                <a:cubicBezTo>
                  <a:pt x="1307" y="1589"/>
                  <a:pt x="1315" y="1601"/>
                  <a:pt x="1315" y="1627"/>
                </a:cubicBezTo>
                <a:cubicBezTo>
                  <a:pt x="1315" y="1639"/>
                  <a:pt x="1312" y="1649"/>
                  <a:pt x="1308" y="1655"/>
                </a:cubicBezTo>
                <a:cubicBezTo>
                  <a:pt x="1303" y="1662"/>
                  <a:pt x="1297" y="1665"/>
                  <a:pt x="1288" y="1665"/>
                </a:cubicBezTo>
                <a:close/>
                <a:moveTo>
                  <a:pt x="1290" y="1598"/>
                </a:moveTo>
                <a:cubicBezTo>
                  <a:pt x="1281" y="1598"/>
                  <a:pt x="1276" y="1608"/>
                  <a:pt x="1276" y="1628"/>
                </a:cubicBezTo>
                <a:cubicBezTo>
                  <a:pt x="1276" y="1647"/>
                  <a:pt x="1280" y="1655"/>
                  <a:pt x="1289" y="1655"/>
                </a:cubicBezTo>
                <a:cubicBezTo>
                  <a:pt x="1298" y="1655"/>
                  <a:pt x="1302" y="1647"/>
                  <a:pt x="1302" y="1628"/>
                </a:cubicBezTo>
                <a:cubicBezTo>
                  <a:pt x="1302" y="1608"/>
                  <a:pt x="1298" y="1598"/>
                  <a:pt x="1290" y="1598"/>
                </a:cubicBezTo>
                <a:close/>
                <a:moveTo>
                  <a:pt x="1498" y="1675"/>
                </a:moveTo>
                <a:cubicBezTo>
                  <a:pt x="1490" y="1675"/>
                  <a:pt x="1485" y="1672"/>
                  <a:pt x="1480" y="1665"/>
                </a:cubicBezTo>
                <a:cubicBezTo>
                  <a:pt x="1476" y="1659"/>
                  <a:pt x="1473" y="1650"/>
                  <a:pt x="1473" y="1638"/>
                </a:cubicBezTo>
                <a:cubicBezTo>
                  <a:pt x="1473" y="1625"/>
                  <a:pt x="1476" y="1616"/>
                  <a:pt x="1480" y="1608"/>
                </a:cubicBezTo>
                <a:cubicBezTo>
                  <a:pt x="1485" y="1602"/>
                  <a:pt x="1491" y="1599"/>
                  <a:pt x="1500" y="1599"/>
                </a:cubicBezTo>
                <a:cubicBezTo>
                  <a:pt x="1516" y="1599"/>
                  <a:pt x="1524" y="1611"/>
                  <a:pt x="1524" y="1636"/>
                </a:cubicBezTo>
                <a:cubicBezTo>
                  <a:pt x="1524" y="1649"/>
                  <a:pt x="1522" y="1659"/>
                  <a:pt x="1518" y="1665"/>
                </a:cubicBezTo>
                <a:cubicBezTo>
                  <a:pt x="1513" y="1672"/>
                  <a:pt x="1507" y="1675"/>
                  <a:pt x="1498" y="1675"/>
                </a:cubicBezTo>
                <a:close/>
                <a:moveTo>
                  <a:pt x="1499" y="1608"/>
                </a:moveTo>
                <a:cubicBezTo>
                  <a:pt x="1490" y="1608"/>
                  <a:pt x="1486" y="1618"/>
                  <a:pt x="1486" y="1637"/>
                </a:cubicBezTo>
                <a:cubicBezTo>
                  <a:pt x="1486" y="1656"/>
                  <a:pt x="1490" y="1665"/>
                  <a:pt x="1499" y="1665"/>
                </a:cubicBezTo>
                <a:cubicBezTo>
                  <a:pt x="1507" y="1665"/>
                  <a:pt x="1512" y="1656"/>
                  <a:pt x="1512" y="1637"/>
                </a:cubicBezTo>
                <a:cubicBezTo>
                  <a:pt x="1512" y="1618"/>
                  <a:pt x="1508" y="1608"/>
                  <a:pt x="1499" y="1608"/>
                </a:cubicBezTo>
                <a:close/>
                <a:moveTo>
                  <a:pt x="1570" y="1592"/>
                </a:moveTo>
                <a:cubicBezTo>
                  <a:pt x="1570" y="1592"/>
                  <a:pt x="1570" y="1592"/>
                  <a:pt x="1570" y="1592"/>
                </a:cubicBezTo>
                <a:cubicBezTo>
                  <a:pt x="1565" y="1592"/>
                  <a:pt x="1565" y="1592"/>
                  <a:pt x="1565" y="1592"/>
                </a:cubicBezTo>
                <a:cubicBezTo>
                  <a:pt x="1563" y="1593"/>
                  <a:pt x="1562" y="1594"/>
                  <a:pt x="1560" y="1595"/>
                </a:cubicBezTo>
                <a:cubicBezTo>
                  <a:pt x="1558" y="1597"/>
                  <a:pt x="1556" y="1597"/>
                  <a:pt x="1555" y="1598"/>
                </a:cubicBezTo>
                <a:cubicBezTo>
                  <a:pt x="1553" y="1599"/>
                  <a:pt x="1551" y="1600"/>
                  <a:pt x="1550" y="1600"/>
                </a:cubicBezTo>
                <a:cubicBezTo>
                  <a:pt x="1548" y="1601"/>
                  <a:pt x="1546" y="1602"/>
                  <a:pt x="1544" y="1602"/>
                </a:cubicBezTo>
                <a:cubicBezTo>
                  <a:pt x="1544" y="1602"/>
                  <a:pt x="1544" y="1602"/>
                  <a:pt x="1544" y="1613"/>
                </a:cubicBezTo>
                <a:cubicBezTo>
                  <a:pt x="1547" y="1612"/>
                  <a:pt x="1550" y="1610"/>
                  <a:pt x="1552" y="1610"/>
                </a:cubicBezTo>
                <a:cubicBezTo>
                  <a:pt x="1555" y="1609"/>
                  <a:pt x="1557" y="1608"/>
                  <a:pt x="1559" y="1606"/>
                </a:cubicBezTo>
                <a:cubicBezTo>
                  <a:pt x="1559" y="1606"/>
                  <a:pt x="1559" y="1606"/>
                  <a:pt x="1559" y="1665"/>
                </a:cubicBezTo>
                <a:cubicBezTo>
                  <a:pt x="1559" y="1665"/>
                  <a:pt x="1559" y="1665"/>
                  <a:pt x="1570" y="1665"/>
                </a:cubicBezTo>
                <a:cubicBezTo>
                  <a:pt x="1570" y="1665"/>
                  <a:pt x="1570" y="1665"/>
                  <a:pt x="1570" y="1592"/>
                </a:cubicBezTo>
                <a:close/>
                <a:moveTo>
                  <a:pt x="1361" y="1592"/>
                </a:moveTo>
                <a:cubicBezTo>
                  <a:pt x="1361" y="1592"/>
                  <a:pt x="1361" y="1592"/>
                  <a:pt x="1361" y="1592"/>
                </a:cubicBezTo>
                <a:cubicBezTo>
                  <a:pt x="1356" y="1592"/>
                  <a:pt x="1356" y="1592"/>
                  <a:pt x="1356" y="1592"/>
                </a:cubicBezTo>
                <a:cubicBezTo>
                  <a:pt x="1354" y="1593"/>
                  <a:pt x="1352" y="1594"/>
                  <a:pt x="1350" y="1595"/>
                </a:cubicBezTo>
                <a:cubicBezTo>
                  <a:pt x="1349" y="1597"/>
                  <a:pt x="1347" y="1597"/>
                  <a:pt x="1345" y="1598"/>
                </a:cubicBezTo>
                <a:cubicBezTo>
                  <a:pt x="1344" y="1600"/>
                  <a:pt x="1342" y="1600"/>
                  <a:pt x="1340" y="1601"/>
                </a:cubicBezTo>
                <a:cubicBezTo>
                  <a:pt x="1338" y="1602"/>
                  <a:pt x="1336" y="1602"/>
                  <a:pt x="1334" y="1602"/>
                </a:cubicBezTo>
                <a:cubicBezTo>
                  <a:pt x="1334" y="1602"/>
                  <a:pt x="1334" y="1602"/>
                  <a:pt x="1334" y="1613"/>
                </a:cubicBezTo>
                <a:cubicBezTo>
                  <a:pt x="1337" y="1612"/>
                  <a:pt x="1340" y="1611"/>
                  <a:pt x="1343" y="1610"/>
                </a:cubicBezTo>
                <a:cubicBezTo>
                  <a:pt x="1345" y="1609"/>
                  <a:pt x="1347" y="1608"/>
                  <a:pt x="1350" y="1606"/>
                </a:cubicBezTo>
                <a:cubicBezTo>
                  <a:pt x="1350" y="1606"/>
                  <a:pt x="1350" y="1606"/>
                  <a:pt x="1350" y="1665"/>
                </a:cubicBezTo>
                <a:cubicBezTo>
                  <a:pt x="1350" y="1665"/>
                  <a:pt x="1350" y="1665"/>
                  <a:pt x="1361" y="1665"/>
                </a:cubicBezTo>
                <a:cubicBezTo>
                  <a:pt x="1361" y="1665"/>
                  <a:pt x="1361" y="1665"/>
                  <a:pt x="1361" y="1592"/>
                </a:cubicBezTo>
                <a:close/>
                <a:moveTo>
                  <a:pt x="1408" y="1592"/>
                </a:moveTo>
                <a:cubicBezTo>
                  <a:pt x="1408" y="1592"/>
                  <a:pt x="1408" y="1592"/>
                  <a:pt x="1408" y="1592"/>
                </a:cubicBezTo>
                <a:cubicBezTo>
                  <a:pt x="1403" y="1592"/>
                  <a:pt x="1403" y="1592"/>
                  <a:pt x="1403" y="1592"/>
                </a:cubicBezTo>
                <a:cubicBezTo>
                  <a:pt x="1401" y="1593"/>
                  <a:pt x="1399" y="1594"/>
                  <a:pt x="1397" y="1595"/>
                </a:cubicBezTo>
                <a:cubicBezTo>
                  <a:pt x="1396" y="1597"/>
                  <a:pt x="1393" y="1597"/>
                  <a:pt x="1392" y="1598"/>
                </a:cubicBezTo>
                <a:cubicBezTo>
                  <a:pt x="1390" y="1600"/>
                  <a:pt x="1388" y="1600"/>
                  <a:pt x="1387" y="1601"/>
                </a:cubicBezTo>
                <a:cubicBezTo>
                  <a:pt x="1385" y="1602"/>
                  <a:pt x="1383" y="1602"/>
                  <a:pt x="1381" y="1602"/>
                </a:cubicBezTo>
                <a:cubicBezTo>
                  <a:pt x="1381" y="1602"/>
                  <a:pt x="1381" y="1602"/>
                  <a:pt x="1381" y="1613"/>
                </a:cubicBezTo>
                <a:cubicBezTo>
                  <a:pt x="1384" y="1612"/>
                  <a:pt x="1387" y="1611"/>
                  <a:pt x="1389" y="1610"/>
                </a:cubicBezTo>
                <a:cubicBezTo>
                  <a:pt x="1392" y="1609"/>
                  <a:pt x="1394" y="1608"/>
                  <a:pt x="1396" y="1606"/>
                </a:cubicBezTo>
                <a:cubicBezTo>
                  <a:pt x="1396" y="1606"/>
                  <a:pt x="1396" y="1606"/>
                  <a:pt x="1396" y="1665"/>
                </a:cubicBezTo>
                <a:cubicBezTo>
                  <a:pt x="1396" y="1665"/>
                  <a:pt x="1396" y="1665"/>
                  <a:pt x="1408" y="1665"/>
                </a:cubicBezTo>
                <a:cubicBezTo>
                  <a:pt x="1408" y="1665"/>
                  <a:pt x="1408" y="1665"/>
                  <a:pt x="1408" y="1592"/>
                </a:cubicBezTo>
                <a:close/>
                <a:moveTo>
                  <a:pt x="1454" y="1592"/>
                </a:moveTo>
                <a:cubicBezTo>
                  <a:pt x="1454" y="1592"/>
                  <a:pt x="1454" y="1592"/>
                  <a:pt x="1454" y="1592"/>
                </a:cubicBezTo>
                <a:cubicBezTo>
                  <a:pt x="1449" y="1592"/>
                  <a:pt x="1449" y="1592"/>
                  <a:pt x="1449" y="1592"/>
                </a:cubicBezTo>
                <a:cubicBezTo>
                  <a:pt x="1447" y="1593"/>
                  <a:pt x="1446" y="1594"/>
                  <a:pt x="1444" y="1595"/>
                </a:cubicBezTo>
                <a:cubicBezTo>
                  <a:pt x="1442" y="1597"/>
                  <a:pt x="1440" y="1597"/>
                  <a:pt x="1439" y="1598"/>
                </a:cubicBezTo>
                <a:cubicBezTo>
                  <a:pt x="1436" y="1599"/>
                  <a:pt x="1435" y="1600"/>
                  <a:pt x="1433" y="1600"/>
                </a:cubicBezTo>
                <a:cubicBezTo>
                  <a:pt x="1431" y="1601"/>
                  <a:pt x="1429" y="1602"/>
                  <a:pt x="1428" y="1602"/>
                </a:cubicBezTo>
                <a:cubicBezTo>
                  <a:pt x="1428" y="1602"/>
                  <a:pt x="1428" y="1602"/>
                  <a:pt x="1428" y="1613"/>
                </a:cubicBezTo>
                <a:cubicBezTo>
                  <a:pt x="1431" y="1612"/>
                  <a:pt x="1434" y="1610"/>
                  <a:pt x="1436" y="1610"/>
                </a:cubicBezTo>
                <a:cubicBezTo>
                  <a:pt x="1438" y="1609"/>
                  <a:pt x="1441" y="1608"/>
                  <a:pt x="1442" y="1606"/>
                </a:cubicBezTo>
                <a:cubicBezTo>
                  <a:pt x="1442" y="1606"/>
                  <a:pt x="1442" y="1606"/>
                  <a:pt x="1442" y="1665"/>
                </a:cubicBezTo>
                <a:cubicBezTo>
                  <a:pt x="1442" y="1665"/>
                  <a:pt x="1442" y="1665"/>
                  <a:pt x="1454" y="1665"/>
                </a:cubicBezTo>
                <a:cubicBezTo>
                  <a:pt x="1454" y="1665"/>
                  <a:pt x="1454" y="1665"/>
                  <a:pt x="1454" y="1592"/>
                </a:cubicBezTo>
                <a:close/>
                <a:moveTo>
                  <a:pt x="212" y="1592"/>
                </a:moveTo>
                <a:cubicBezTo>
                  <a:pt x="212" y="1592"/>
                  <a:pt x="212" y="1592"/>
                  <a:pt x="212" y="1592"/>
                </a:cubicBezTo>
                <a:cubicBezTo>
                  <a:pt x="206" y="1592"/>
                  <a:pt x="206" y="1592"/>
                  <a:pt x="206" y="1592"/>
                </a:cubicBezTo>
                <a:cubicBezTo>
                  <a:pt x="204" y="1593"/>
                  <a:pt x="203" y="1594"/>
                  <a:pt x="201" y="1595"/>
                </a:cubicBezTo>
                <a:cubicBezTo>
                  <a:pt x="199" y="1597"/>
                  <a:pt x="197" y="1597"/>
                  <a:pt x="196" y="1598"/>
                </a:cubicBezTo>
                <a:cubicBezTo>
                  <a:pt x="194" y="1600"/>
                  <a:pt x="192" y="1600"/>
                  <a:pt x="190" y="1601"/>
                </a:cubicBezTo>
                <a:cubicBezTo>
                  <a:pt x="188" y="1602"/>
                  <a:pt x="187" y="1602"/>
                  <a:pt x="185" y="1602"/>
                </a:cubicBezTo>
                <a:cubicBezTo>
                  <a:pt x="185" y="1602"/>
                  <a:pt x="185" y="1602"/>
                  <a:pt x="185" y="1613"/>
                </a:cubicBezTo>
                <a:cubicBezTo>
                  <a:pt x="188" y="1612"/>
                  <a:pt x="190" y="1611"/>
                  <a:pt x="193" y="1610"/>
                </a:cubicBezTo>
                <a:cubicBezTo>
                  <a:pt x="196" y="1609"/>
                  <a:pt x="198" y="1608"/>
                  <a:pt x="200" y="1606"/>
                </a:cubicBezTo>
                <a:cubicBezTo>
                  <a:pt x="200" y="1606"/>
                  <a:pt x="200" y="1606"/>
                  <a:pt x="200" y="1665"/>
                </a:cubicBezTo>
                <a:cubicBezTo>
                  <a:pt x="200" y="1665"/>
                  <a:pt x="200" y="1665"/>
                  <a:pt x="212" y="1665"/>
                </a:cubicBezTo>
                <a:cubicBezTo>
                  <a:pt x="212" y="1665"/>
                  <a:pt x="212" y="1665"/>
                  <a:pt x="212" y="1592"/>
                </a:cubicBezTo>
                <a:close/>
                <a:moveTo>
                  <a:pt x="258" y="1592"/>
                </a:moveTo>
                <a:cubicBezTo>
                  <a:pt x="258" y="1592"/>
                  <a:pt x="258" y="1592"/>
                  <a:pt x="258" y="1592"/>
                </a:cubicBezTo>
                <a:cubicBezTo>
                  <a:pt x="253" y="1592"/>
                  <a:pt x="253" y="1592"/>
                  <a:pt x="253" y="1592"/>
                </a:cubicBezTo>
                <a:cubicBezTo>
                  <a:pt x="252" y="1593"/>
                  <a:pt x="249" y="1594"/>
                  <a:pt x="248" y="1595"/>
                </a:cubicBezTo>
                <a:cubicBezTo>
                  <a:pt x="246" y="1597"/>
                  <a:pt x="244" y="1597"/>
                  <a:pt x="242" y="1598"/>
                </a:cubicBezTo>
                <a:cubicBezTo>
                  <a:pt x="241" y="1600"/>
                  <a:pt x="238" y="1600"/>
                  <a:pt x="237" y="1601"/>
                </a:cubicBezTo>
                <a:cubicBezTo>
                  <a:pt x="235" y="1602"/>
                  <a:pt x="233" y="1602"/>
                  <a:pt x="231" y="1602"/>
                </a:cubicBezTo>
                <a:cubicBezTo>
                  <a:pt x="231" y="1602"/>
                  <a:pt x="231" y="1602"/>
                  <a:pt x="231" y="1613"/>
                </a:cubicBezTo>
                <a:cubicBezTo>
                  <a:pt x="234" y="1612"/>
                  <a:pt x="237" y="1611"/>
                  <a:pt x="240" y="1610"/>
                </a:cubicBezTo>
                <a:cubicBezTo>
                  <a:pt x="242" y="1609"/>
                  <a:pt x="244" y="1608"/>
                  <a:pt x="246" y="1606"/>
                </a:cubicBezTo>
                <a:cubicBezTo>
                  <a:pt x="246" y="1606"/>
                  <a:pt x="246" y="1606"/>
                  <a:pt x="246" y="1665"/>
                </a:cubicBezTo>
                <a:cubicBezTo>
                  <a:pt x="246" y="1665"/>
                  <a:pt x="246" y="1665"/>
                  <a:pt x="258" y="1665"/>
                </a:cubicBezTo>
                <a:cubicBezTo>
                  <a:pt x="258" y="1665"/>
                  <a:pt x="258" y="1665"/>
                  <a:pt x="258" y="1592"/>
                </a:cubicBezTo>
                <a:close/>
                <a:moveTo>
                  <a:pt x="304" y="1592"/>
                </a:moveTo>
                <a:cubicBezTo>
                  <a:pt x="304" y="1592"/>
                  <a:pt x="304" y="1592"/>
                  <a:pt x="304" y="1592"/>
                </a:cubicBezTo>
                <a:cubicBezTo>
                  <a:pt x="300" y="1592"/>
                  <a:pt x="300" y="1592"/>
                  <a:pt x="300" y="1592"/>
                </a:cubicBezTo>
                <a:cubicBezTo>
                  <a:pt x="298" y="1593"/>
                  <a:pt x="296" y="1594"/>
                  <a:pt x="294" y="1595"/>
                </a:cubicBezTo>
                <a:cubicBezTo>
                  <a:pt x="293" y="1597"/>
                  <a:pt x="290" y="1597"/>
                  <a:pt x="289" y="1598"/>
                </a:cubicBezTo>
                <a:cubicBezTo>
                  <a:pt x="287" y="1599"/>
                  <a:pt x="285" y="1600"/>
                  <a:pt x="283" y="1600"/>
                </a:cubicBezTo>
                <a:cubicBezTo>
                  <a:pt x="282" y="1601"/>
                  <a:pt x="280" y="1602"/>
                  <a:pt x="278" y="1602"/>
                </a:cubicBezTo>
                <a:cubicBezTo>
                  <a:pt x="278" y="1602"/>
                  <a:pt x="278" y="1602"/>
                  <a:pt x="278" y="1613"/>
                </a:cubicBezTo>
                <a:cubicBezTo>
                  <a:pt x="281" y="1612"/>
                  <a:pt x="284" y="1610"/>
                  <a:pt x="286" y="1610"/>
                </a:cubicBezTo>
                <a:cubicBezTo>
                  <a:pt x="288" y="1609"/>
                  <a:pt x="291" y="1608"/>
                  <a:pt x="293" y="1606"/>
                </a:cubicBezTo>
                <a:cubicBezTo>
                  <a:pt x="293" y="1606"/>
                  <a:pt x="293" y="1606"/>
                  <a:pt x="293" y="1665"/>
                </a:cubicBezTo>
                <a:cubicBezTo>
                  <a:pt x="293" y="1665"/>
                  <a:pt x="293" y="1665"/>
                  <a:pt x="304" y="1665"/>
                </a:cubicBezTo>
                <a:cubicBezTo>
                  <a:pt x="304" y="1665"/>
                  <a:pt x="304" y="1665"/>
                  <a:pt x="304" y="1592"/>
                </a:cubicBezTo>
                <a:close/>
                <a:moveTo>
                  <a:pt x="440" y="1624"/>
                </a:moveTo>
                <a:cubicBezTo>
                  <a:pt x="440" y="1624"/>
                  <a:pt x="440" y="1624"/>
                  <a:pt x="440" y="1624"/>
                </a:cubicBezTo>
                <a:cubicBezTo>
                  <a:pt x="440" y="1632"/>
                  <a:pt x="440" y="1632"/>
                  <a:pt x="440" y="1632"/>
                </a:cubicBezTo>
                <a:cubicBezTo>
                  <a:pt x="446" y="1632"/>
                  <a:pt x="447" y="1635"/>
                  <a:pt x="447" y="1638"/>
                </a:cubicBezTo>
                <a:cubicBezTo>
                  <a:pt x="447" y="1640"/>
                  <a:pt x="447" y="1643"/>
                  <a:pt x="447" y="1645"/>
                </a:cubicBezTo>
                <a:cubicBezTo>
                  <a:pt x="446" y="1648"/>
                  <a:pt x="446" y="1650"/>
                  <a:pt x="446" y="1652"/>
                </a:cubicBezTo>
                <a:cubicBezTo>
                  <a:pt x="446" y="1662"/>
                  <a:pt x="452" y="1665"/>
                  <a:pt x="461" y="1665"/>
                </a:cubicBezTo>
                <a:cubicBezTo>
                  <a:pt x="461" y="1665"/>
                  <a:pt x="461" y="1665"/>
                  <a:pt x="464" y="1665"/>
                </a:cubicBezTo>
                <a:cubicBezTo>
                  <a:pt x="464" y="1665"/>
                  <a:pt x="464" y="1665"/>
                  <a:pt x="464" y="1656"/>
                </a:cubicBezTo>
                <a:cubicBezTo>
                  <a:pt x="464" y="1656"/>
                  <a:pt x="464" y="1656"/>
                  <a:pt x="463" y="1656"/>
                </a:cubicBezTo>
                <a:cubicBezTo>
                  <a:pt x="459" y="1656"/>
                  <a:pt x="458" y="1653"/>
                  <a:pt x="458" y="1650"/>
                </a:cubicBezTo>
                <a:cubicBezTo>
                  <a:pt x="458" y="1649"/>
                  <a:pt x="458" y="1647"/>
                  <a:pt x="458" y="1645"/>
                </a:cubicBezTo>
                <a:cubicBezTo>
                  <a:pt x="458" y="1644"/>
                  <a:pt x="459" y="1641"/>
                  <a:pt x="459" y="1639"/>
                </a:cubicBezTo>
                <a:cubicBezTo>
                  <a:pt x="459" y="1632"/>
                  <a:pt x="456" y="1629"/>
                  <a:pt x="450" y="1628"/>
                </a:cubicBezTo>
                <a:cubicBezTo>
                  <a:pt x="450" y="1628"/>
                  <a:pt x="450" y="1628"/>
                  <a:pt x="450" y="1628"/>
                </a:cubicBezTo>
                <a:cubicBezTo>
                  <a:pt x="456" y="1626"/>
                  <a:pt x="459" y="1624"/>
                  <a:pt x="459" y="1617"/>
                </a:cubicBezTo>
                <a:cubicBezTo>
                  <a:pt x="459" y="1614"/>
                  <a:pt x="458" y="1612"/>
                  <a:pt x="458" y="1610"/>
                </a:cubicBezTo>
                <a:cubicBezTo>
                  <a:pt x="458" y="1609"/>
                  <a:pt x="458" y="1607"/>
                  <a:pt x="458" y="1606"/>
                </a:cubicBezTo>
                <a:cubicBezTo>
                  <a:pt x="458" y="1602"/>
                  <a:pt x="459" y="1600"/>
                  <a:pt x="463" y="1600"/>
                </a:cubicBezTo>
                <a:cubicBezTo>
                  <a:pt x="463" y="1600"/>
                  <a:pt x="463" y="1600"/>
                  <a:pt x="464" y="1600"/>
                </a:cubicBezTo>
                <a:cubicBezTo>
                  <a:pt x="464" y="1600"/>
                  <a:pt x="464" y="1600"/>
                  <a:pt x="464" y="1591"/>
                </a:cubicBezTo>
                <a:cubicBezTo>
                  <a:pt x="464" y="1591"/>
                  <a:pt x="464" y="1591"/>
                  <a:pt x="461" y="1591"/>
                </a:cubicBezTo>
                <a:cubicBezTo>
                  <a:pt x="452" y="1591"/>
                  <a:pt x="446" y="1595"/>
                  <a:pt x="446" y="1603"/>
                </a:cubicBezTo>
                <a:cubicBezTo>
                  <a:pt x="446" y="1606"/>
                  <a:pt x="446" y="1608"/>
                  <a:pt x="446" y="1611"/>
                </a:cubicBezTo>
                <a:cubicBezTo>
                  <a:pt x="447" y="1613"/>
                  <a:pt x="447" y="1616"/>
                  <a:pt x="447" y="1618"/>
                </a:cubicBezTo>
                <a:cubicBezTo>
                  <a:pt x="447" y="1620"/>
                  <a:pt x="446" y="1624"/>
                  <a:pt x="440" y="1624"/>
                </a:cubicBezTo>
                <a:close/>
                <a:moveTo>
                  <a:pt x="495" y="1632"/>
                </a:moveTo>
                <a:cubicBezTo>
                  <a:pt x="495" y="1632"/>
                  <a:pt x="495" y="1632"/>
                  <a:pt x="495" y="1632"/>
                </a:cubicBezTo>
                <a:cubicBezTo>
                  <a:pt x="495" y="1624"/>
                  <a:pt x="495" y="1624"/>
                  <a:pt x="495" y="1624"/>
                </a:cubicBezTo>
                <a:cubicBezTo>
                  <a:pt x="489" y="1624"/>
                  <a:pt x="489" y="1620"/>
                  <a:pt x="489" y="1618"/>
                </a:cubicBezTo>
                <a:cubicBezTo>
                  <a:pt x="489" y="1616"/>
                  <a:pt x="489" y="1613"/>
                  <a:pt x="489" y="1611"/>
                </a:cubicBezTo>
                <a:cubicBezTo>
                  <a:pt x="489" y="1608"/>
                  <a:pt x="489" y="1606"/>
                  <a:pt x="489" y="1603"/>
                </a:cubicBezTo>
                <a:cubicBezTo>
                  <a:pt x="489" y="1595"/>
                  <a:pt x="484" y="1591"/>
                  <a:pt x="475" y="1591"/>
                </a:cubicBezTo>
                <a:cubicBezTo>
                  <a:pt x="475" y="1591"/>
                  <a:pt x="475" y="1591"/>
                  <a:pt x="471" y="1591"/>
                </a:cubicBezTo>
                <a:cubicBezTo>
                  <a:pt x="471" y="1591"/>
                  <a:pt x="471" y="1591"/>
                  <a:pt x="471" y="1600"/>
                </a:cubicBezTo>
                <a:cubicBezTo>
                  <a:pt x="471" y="1600"/>
                  <a:pt x="471" y="1600"/>
                  <a:pt x="473" y="1600"/>
                </a:cubicBezTo>
                <a:cubicBezTo>
                  <a:pt x="476" y="1600"/>
                  <a:pt x="478" y="1602"/>
                  <a:pt x="478" y="1606"/>
                </a:cubicBezTo>
                <a:cubicBezTo>
                  <a:pt x="478" y="1607"/>
                  <a:pt x="477" y="1609"/>
                  <a:pt x="477" y="1610"/>
                </a:cubicBezTo>
                <a:cubicBezTo>
                  <a:pt x="477" y="1612"/>
                  <a:pt x="477" y="1614"/>
                  <a:pt x="477" y="1617"/>
                </a:cubicBezTo>
                <a:cubicBezTo>
                  <a:pt x="477" y="1624"/>
                  <a:pt x="480" y="1626"/>
                  <a:pt x="486" y="1628"/>
                </a:cubicBezTo>
                <a:cubicBezTo>
                  <a:pt x="486" y="1628"/>
                  <a:pt x="486" y="1628"/>
                  <a:pt x="486" y="1628"/>
                </a:cubicBezTo>
                <a:cubicBezTo>
                  <a:pt x="480" y="1629"/>
                  <a:pt x="477" y="1632"/>
                  <a:pt x="477" y="1639"/>
                </a:cubicBezTo>
                <a:cubicBezTo>
                  <a:pt x="477" y="1641"/>
                  <a:pt x="477" y="1644"/>
                  <a:pt x="477" y="1645"/>
                </a:cubicBezTo>
                <a:cubicBezTo>
                  <a:pt x="477" y="1647"/>
                  <a:pt x="478" y="1649"/>
                  <a:pt x="478" y="1650"/>
                </a:cubicBezTo>
                <a:cubicBezTo>
                  <a:pt x="478" y="1653"/>
                  <a:pt x="477" y="1656"/>
                  <a:pt x="473" y="1656"/>
                </a:cubicBezTo>
                <a:cubicBezTo>
                  <a:pt x="473" y="1656"/>
                  <a:pt x="473" y="1656"/>
                  <a:pt x="471" y="1656"/>
                </a:cubicBezTo>
                <a:cubicBezTo>
                  <a:pt x="471" y="1656"/>
                  <a:pt x="471" y="1656"/>
                  <a:pt x="471" y="1665"/>
                </a:cubicBezTo>
                <a:cubicBezTo>
                  <a:pt x="471" y="1665"/>
                  <a:pt x="471" y="1665"/>
                  <a:pt x="475" y="1665"/>
                </a:cubicBezTo>
                <a:cubicBezTo>
                  <a:pt x="484" y="1665"/>
                  <a:pt x="489" y="1662"/>
                  <a:pt x="489" y="1652"/>
                </a:cubicBezTo>
                <a:cubicBezTo>
                  <a:pt x="489" y="1650"/>
                  <a:pt x="489" y="1648"/>
                  <a:pt x="489" y="1645"/>
                </a:cubicBezTo>
                <a:cubicBezTo>
                  <a:pt x="489" y="1643"/>
                  <a:pt x="489" y="1640"/>
                  <a:pt x="489" y="1638"/>
                </a:cubicBezTo>
                <a:cubicBezTo>
                  <a:pt x="489" y="1635"/>
                  <a:pt x="489" y="1632"/>
                  <a:pt x="495" y="1632"/>
                </a:cubicBezTo>
                <a:close/>
                <a:moveTo>
                  <a:pt x="542" y="1592"/>
                </a:moveTo>
                <a:cubicBezTo>
                  <a:pt x="542" y="1592"/>
                  <a:pt x="542" y="1592"/>
                  <a:pt x="542" y="1592"/>
                </a:cubicBezTo>
                <a:cubicBezTo>
                  <a:pt x="537" y="1592"/>
                  <a:pt x="537" y="1592"/>
                  <a:pt x="537" y="1592"/>
                </a:cubicBezTo>
                <a:cubicBezTo>
                  <a:pt x="535" y="1593"/>
                  <a:pt x="533" y="1594"/>
                  <a:pt x="531" y="1595"/>
                </a:cubicBezTo>
                <a:cubicBezTo>
                  <a:pt x="530" y="1597"/>
                  <a:pt x="527" y="1597"/>
                  <a:pt x="526" y="1598"/>
                </a:cubicBezTo>
                <a:cubicBezTo>
                  <a:pt x="524" y="1599"/>
                  <a:pt x="522" y="1600"/>
                  <a:pt x="521" y="1600"/>
                </a:cubicBezTo>
                <a:cubicBezTo>
                  <a:pt x="519" y="1601"/>
                  <a:pt x="517" y="1602"/>
                  <a:pt x="515" y="1602"/>
                </a:cubicBezTo>
                <a:cubicBezTo>
                  <a:pt x="515" y="1602"/>
                  <a:pt x="515" y="1602"/>
                  <a:pt x="515" y="1613"/>
                </a:cubicBezTo>
                <a:cubicBezTo>
                  <a:pt x="518" y="1612"/>
                  <a:pt x="521" y="1610"/>
                  <a:pt x="523" y="1610"/>
                </a:cubicBezTo>
                <a:cubicBezTo>
                  <a:pt x="526" y="1609"/>
                  <a:pt x="528" y="1608"/>
                  <a:pt x="530" y="1606"/>
                </a:cubicBezTo>
                <a:cubicBezTo>
                  <a:pt x="530" y="1606"/>
                  <a:pt x="530" y="1606"/>
                  <a:pt x="530" y="1665"/>
                </a:cubicBezTo>
                <a:cubicBezTo>
                  <a:pt x="530" y="1665"/>
                  <a:pt x="530" y="1665"/>
                  <a:pt x="542" y="1665"/>
                </a:cubicBezTo>
                <a:cubicBezTo>
                  <a:pt x="542" y="1665"/>
                  <a:pt x="542" y="1665"/>
                  <a:pt x="542" y="1592"/>
                </a:cubicBezTo>
                <a:close/>
                <a:moveTo>
                  <a:pt x="588" y="1592"/>
                </a:moveTo>
                <a:cubicBezTo>
                  <a:pt x="588" y="1592"/>
                  <a:pt x="588" y="1592"/>
                  <a:pt x="588" y="1592"/>
                </a:cubicBezTo>
                <a:cubicBezTo>
                  <a:pt x="583" y="1592"/>
                  <a:pt x="583" y="1592"/>
                  <a:pt x="583" y="1592"/>
                </a:cubicBezTo>
                <a:cubicBezTo>
                  <a:pt x="581" y="1593"/>
                  <a:pt x="580" y="1594"/>
                  <a:pt x="578" y="1595"/>
                </a:cubicBezTo>
                <a:cubicBezTo>
                  <a:pt x="576" y="1597"/>
                  <a:pt x="574" y="1597"/>
                  <a:pt x="573" y="1598"/>
                </a:cubicBezTo>
                <a:cubicBezTo>
                  <a:pt x="571" y="1600"/>
                  <a:pt x="569" y="1600"/>
                  <a:pt x="568" y="1601"/>
                </a:cubicBezTo>
                <a:cubicBezTo>
                  <a:pt x="566" y="1602"/>
                  <a:pt x="564" y="1602"/>
                  <a:pt x="562" y="1602"/>
                </a:cubicBezTo>
                <a:cubicBezTo>
                  <a:pt x="562" y="1602"/>
                  <a:pt x="562" y="1602"/>
                  <a:pt x="562" y="1613"/>
                </a:cubicBezTo>
                <a:cubicBezTo>
                  <a:pt x="565" y="1612"/>
                  <a:pt x="568" y="1611"/>
                  <a:pt x="570" y="1610"/>
                </a:cubicBezTo>
                <a:cubicBezTo>
                  <a:pt x="573" y="1609"/>
                  <a:pt x="575" y="1608"/>
                  <a:pt x="577" y="1606"/>
                </a:cubicBezTo>
                <a:cubicBezTo>
                  <a:pt x="577" y="1606"/>
                  <a:pt x="577" y="1606"/>
                  <a:pt x="577" y="1665"/>
                </a:cubicBezTo>
                <a:cubicBezTo>
                  <a:pt x="577" y="1665"/>
                  <a:pt x="577" y="1665"/>
                  <a:pt x="588" y="1665"/>
                </a:cubicBezTo>
                <a:cubicBezTo>
                  <a:pt x="588" y="1665"/>
                  <a:pt x="588" y="1665"/>
                  <a:pt x="588" y="1592"/>
                </a:cubicBezTo>
                <a:close/>
                <a:moveTo>
                  <a:pt x="634" y="1592"/>
                </a:moveTo>
                <a:cubicBezTo>
                  <a:pt x="634" y="1592"/>
                  <a:pt x="634" y="1592"/>
                  <a:pt x="634" y="1592"/>
                </a:cubicBezTo>
                <a:cubicBezTo>
                  <a:pt x="630" y="1592"/>
                  <a:pt x="630" y="1592"/>
                  <a:pt x="630" y="1592"/>
                </a:cubicBezTo>
                <a:cubicBezTo>
                  <a:pt x="627" y="1593"/>
                  <a:pt x="626" y="1594"/>
                  <a:pt x="624" y="1595"/>
                </a:cubicBezTo>
                <a:cubicBezTo>
                  <a:pt x="622" y="1597"/>
                  <a:pt x="620" y="1597"/>
                  <a:pt x="619" y="1598"/>
                </a:cubicBezTo>
                <a:cubicBezTo>
                  <a:pt x="617" y="1600"/>
                  <a:pt x="615" y="1600"/>
                  <a:pt x="613" y="1601"/>
                </a:cubicBezTo>
                <a:cubicBezTo>
                  <a:pt x="612" y="1602"/>
                  <a:pt x="609" y="1602"/>
                  <a:pt x="608" y="1602"/>
                </a:cubicBezTo>
                <a:cubicBezTo>
                  <a:pt x="608" y="1602"/>
                  <a:pt x="608" y="1602"/>
                  <a:pt x="608" y="1613"/>
                </a:cubicBezTo>
                <a:cubicBezTo>
                  <a:pt x="611" y="1612"/>
                  <a:pt x="614" y="1611"/>
                  <a:pt x="616" y="1610"/>
                </a:cubicBezTo>
                <a:cubicBezTo>
                  <a:pt x="618" y="1609"/>
                  <a:pt x="621" y="1608"/>
                  <a:pt x="622" y="1606"/>
                </a:cubicBezTo>
                <a:cubicBezTo>
                  <a:pt x="622" y="1606"/>
                  <a:pt x="622" y="1606"/>
                  <a:pt x="622" y="1665"/>
                </a:cubicBezTo>
                <a:cubicBezTo>
                  <a:pt x="622" y="1665"/>
                  <a:pt x="622" y="1665"/>
                  <a:pt x="634" y="1665"/>
                </a:cubicBezTo>
                <a:cubicBezTo>
                  <a:pt x="634" y="1665"/>
                  <a:pt x="634" y="1665"/>
                  <a:pt x="634" y="1592"/>
                </a:cubicBezTo>
                <a:close/>
                <a:moveTo>
                  <a:pt x="384" y="1639"/>
                </a:moveTo>
                <a:cubicBezTo>
                  <a:pt x="384" y="1640"/>
                  <a:pt x="385" y="1642"/>
                  <a:pt x="385" y="1643"/>
                </a:cubicBezTo>
                <a:cubicBezTo>
                  <a:pt x="386" y="1645"/>
                  <a:pt x="386" y="1647"/>
                  <a:pt x="387" y="1648"/>
                </a:cubicBezTo>
                <a:cubicBezTo>
                  <a:pt x="387" y="1650"/>
                  <a:pt x="387" y="1652"/>
                  <a:pt x="387" y="1653"/>
                </a:cubicBezTo>
                <a:cubicBezTo>
                  <a:pt x="388" y="1656"/>
                  <a:pt x="387" y="1658"/>
                  <a:pt x="383" y="1658"/>
                </a:cubicBezTo>
                <a:cubicBezTo>
                  <a:pt x="381" y="1658"/>
                  <a:pt x="378" y="1657"/>
                  <a:pt x="375" y="1657"/>
                </a:cubicBezTo>
                <a:cubicBezTo>
                  <a:pt x="375" y="1657"/>
                  <a:pt x="374" y="1657"/>
                  <a:pt x="374" y="1658"/>
                </a:cubicBezTo>
                <a:cubicBezTo>
                  <a:pt x="372" y="1659"/>
                  <a:pt x="371" y="1661"/>
                  <a:pt x="369" y="1662"/>
                </a:cubicBezTo>
                <a:cubicBezTo>
                  <a:pt x="367" y="1665"/>
                  <a:pt x="364" y="1665"/>
                  <a:pt x="362" y="1663"/>
                </a:cubicBezTo>
                <a:cubicBezTo>
                  <a:pt x="360" y="1661"/>
                  <a:pt x="359" y="1658"/>
                  <a:pt x="357" y="1656"/>
                </a:cubicBezTo>
                <a:cubicBezTo>
                  <a:pt x="356" y="1654"/>
                  <a:pt x="357" y="1652"/>
                  <a:pt x="359" y="1651"/>
                </a:cubicBezTo>
                <a:cubicBezTo>
                  <a:pt x="356" y="1651"/>
                  <a:pt x="355" y="1651"/>
                  <a:pt x="353" y="1651"/>
                </a:cubicBezTo>
                <a:cubicBezTo>
                  <a:pt x="352" y="1653"/>
                  <a:pt x="351" y="1655"/>
                  <a:pt x="351" y="1657"/>
                </a:cubicBezTo>
                <a:cubicBezTo>
                  <a:pt x="351" y="1657"/>
                  <a:pt x="350" y="1658"/>
                  <a:pt x="350" y="1659"/>
                </a:cubicBezTo>
                <a:cubicBezTo>
                  <a:pt x="350" y="1662"/>
                  <a:pt x="349" y="1663"/>
                  <a:pt x="346" y="1663"/>
                </a:cubicBezTo>
                <a:cubicBezTo>
                  <a:pt x="343" y="1663"/>
                  <a:pt x="340" y="1662"/>
                  <a:pt x="337" y="1661"/>
                </a:cubicBezTo>
                <a:cubicBezTo>
                  <a:pt x="335" y="1660"/>
                  <a:pt x="334" y="1659"/>
                  <a:pt x="335" y="1657"/>
                </a:cubicBezTo>
                <a:cubicBezTo>
                  <a:pt x="335" y="1656"/>
                  <a:pt x="335" y="1655"/>
                  <a:pt x="336" y="1655"/>
                </a:cubicBezTo>
                <a:cubicBezTo>
                  <a:pt x="333" y="1654"/>
                  <a:pt x="331" y="1653"/>
                  <a:pt x="329" y="1652"/>
                </a:cubicBezTo>
                <a:cubicBezTo>
                  <a:pt x="328" y="1651"/>
                  <a:pt x="327" y="1649"/>
                  <a:pt x="326" y="1647"/>
                </a:cubicBezTo>
                <a:cubicBezTo>
                  <a:pt x="325" y="1645"/>
                  <a:pt x="325" y="1644"/>
                  <a:pt x="327" y="1642"/>
                </a:cubicBezTo>
                <a:cubicBezTo>
                  <a:pt x="330" y="1640"/>
                  <a:pt x="331" y="1637"/>
                  <a:pt x="330" y="1633"/>
                </a:cubicBezTo>
                <a:cubicBezTo>
                  <a:pt x="330" y="1631"/>
                  <a:pt x="330" y="1629"/>
                  <a:pt x="330" y="1627"/>
                </a:cubicBezTo>
                <a:cubicBezTo>
                  <a:pt x="329" y="1626"/>
                  <a:pt x="327" y="1626"/>
                  <a:pt x="326" y="1625"/>
                </a:cubicBezTo>
                <a:cubicBezTo>
                  <a:pt x="325" y="1623"/>
                  <a:pt x="324" y="1621"/>
                  <a:pt x="324" y="1619"/>
                </a:cubicBezTo>
                <a:cubicBezTo>
                  <a:pt x="324" y="1616"/>
                  <a:pt x="327" y="1614"/>
                  <a:pt x="330" y="1613"/>
                </a:cubicBezTo>
                <a:cubicBezTo>
                  <a:pt x="331" y="1614"/>
                  <a:pt x="331" y="1614"/>
                  <a:pt x="331" y="1615"/>
                </a:cubicBezTo>
                <a:cubicBezTo>
                  <a:pt x="331" y="1616"/>
                  <a:pt x="331" y="1617"/>
                  <a:pt x="331" y="1618"/>
                </a:cubicBezTo>
                <a:cubicBezTo>
                  <a:pt x="331" y="1618"/>
                  <a:pt x="330" y="1618"/>
                  <a:pt x="330" y="1618"/>
                </a:cubicBezTo>
                <a:cubicBezTo>
                  <a:pt x="329" y="1619"/>
                  <a:pt x="329" y="1620"/>
                  <a:pt x="328" y="1622"/>
                </a:cubicBezTo>
                <a:cubicBezTo>
                  <a:pt x="329" y="1622"/>
                  <a:pt x="330" y="1622"/>
                  <a:pt x="331" y="1621"/>
                </a:cubicBezTo>
                <a:cubicBezTo>
                  <a:pt x="332" y="1620"/>
                  <a:pt x="332" y="1619"/>
                  <a:pt x="333" y="1618"/>
                </a:cubicBezTo>
                <a:cubicBezTo>
                  <a:pt x="338" y="1612"/>
                  <a:pt x="343" y="1608"/>
                  <a:pt x="351" y="1606"/>
                </a:cubicBezTo>
                <a:cubicBezTo>
                  <a:pt x="354" y="1606"/>
                  <a:pt x="358" y="1604"/>
                  <a:pt x="360" y="1602"/>
                </a:cubicBezTo>
                <a:cubicBezTo>
                  <a:pt x="360" y="1601"/>
                  <a:pt x="361" y="1601"/>
                  <a:pt x="361" y="1601"/>
                </a:cubicBezTo>
                <a:cubicBezTo>
                  <a:pt x="364" y="1600"/>
                  <a:pt x="365" y="1598"/>
                  <a:pt x="367" y="1596"/>
                </a:cubicBezTo>
                <a:cubicBezTo>
                  <a:pt x="375" y="1589"/>
                  <a:pt x="387" y="1588"/>
                  <a:pt x="394" y="1595"/>
                </a:cubicBezTo>
                <a:cubicBezTo>
                  <a:pt x="397" y="1597"/>
                  <a:pt x="400" y="1599"/>
                  <a:pt x="402" y="1601"/>
                </a:cubicBezTo>
                <a:cubicBezTo>
                  <a:pt x="403" y="1602"/>
                  <a:pt x="405" y="1604"/>
                  <a:pt x="406" y="1606"/>
                </a:cubicBezTo>
                <a:cubicBezTo>
                  <a:pt x="407" y="1607"/>
                  <a:pt x="407" y="1607"/>
                  <a:pt x="409" y="1606"/>
                </a:cubicBezTo>
                <a:cubicBezTo>
                  <a:pt x="409" y="1606"/>
                  <a:pt x="410" y="1605"/>
                  <a:pt x="411" y="1604"/>
                </a:cubicBezTo>
                <a:cubicBezTo>
                  <a:pt x="413" y="1601"/>
                  <a:pt x="416" y="1601"/>
                  <a:pt x="417" y="1604"/>
                </a:cubicBezTo>
                <a:cubicBezTo>
                  <a:pt x="418" y="1608"/>
                  <a:pt x="419" y="1610"/>
                  <a:pt x="420" y="1614"/>
                </a:cubicBezTo>
                <a:cubicBezTo>
                  <a:pt x="420" y="1618"/>
                  <a:pt x="420" y="1622"/>
                  <a:pt x="418" y="1627"/>
                </a:cubicBezTo>
                <a:cubicBezTo>
                  <a:pt x="416" y="1633"/>
                  <a:pt x="411" y="1636"/>
                  <a:pt x="405" y="1636"/>
                </a:cubicBezTo>
                <a:cubicBezTo>
                  <a:pt x="404" y="1636"/>
                  <a:pt x="403" y="1636"/>
                  <a:pt x="403" y="1636"/>
                </a:cubicBezTo>
                <a:cubicBezTo>
                  <a:pt x="400" y="1636"/>
                  <a:pt x="399" y="1636"/>
                  <a:pt x="398" y="1639"/>
                </a:cubicBezTo>
                <a:cubicBezTo>
                  <a:pt x="397" y="1643"/>
                  <a:pt x="391" y="1645"/>
                  <a:pt x="388" y="1642"/>
                </a:cubicBezTo>
                <a:cubicBezTo>
                  <a:pt x="387" y="1640"/>
                  <a:pt x="386" y="1640"/>
                  <a:pt x="385" y="1638"/>
                </a:cubicBezTo>
                <a:cubicBezTo>
                  <a:pt x="384" y="1639"/>
                  <a:pt x="384" y="1639"/>
                  <a:pt x="384" y="1639"/>
                </a:cubicBezTo>
                <a:close/>
                <a:moveTo>
                  <a:pt x="378" y="1635"/>
                </a:moveTo>
                <a:cubicBezTo>
                  <a:pt x="382" y="1636"/>
                  <a:pt x="385" y="1637"/>
                  <a:pt x="388" y="1640"/>
                </a:cubicBezTo>
                <a:cubicBezTo>
                  <a:pt x="390" y="1642"/>
                  <a:pt x="392" y="1642"/>
                  <a:pt x="394" y="1642"/>
                </a:cubicBezTo>
                <a:cubicBezTo>
                  <a:pt x="396" y="1641"/>
                  <a:pt x="398" y="1639"/>
                  <a:pt x="398" y="1636"/>
                </a:cubicBezTo>
                <a:cubicBezTo>
                  <a:pt x="398" y="1636"/>
                  <a:pt x="397" y="1636"/>
                  <a:pt x="397" y="1636"/>
                </a:cubicBezTo>
                <a:cubicBezTo>
                  <a:pt x="396" y="1638"/>
                  <a:pt x="395" y="1639"/>
                  <a:pt x="394" y="1640"/>
                </a:cubicBezTo>
                <a:cubicBezTo>
                  <a:pt x="393" y="1641"/>
                  <a:pt x="392" y="1641"/>
                  <a:pt x="391" y="1640"/>
                </a:cubicBezTo>
                <a:cubicBezTo>
                  <a:pt x="391" y="1640"/>
                  <a:pt x="390" y="1639"/>
                  <a:pt x="390" y="1638"/>
                </a:cubicBezTo>
                <a:cubicBezTo>
                  <a:pt x="390" y="1636"/>
                  <a:pt x="391" y="1634"/>
                  <a:pt x="391" y="1632"/>
                </a:cubicBezTo>
                <a:cubicBezTo>
                  <a:pt x="394" y="1633"/>
                  <a:pt x="397" y="1634"/>
                  <a:pt x="401" y="1635"/>
                </a:cubicBezTo>
                <a:cubicBezTo>
                  <a:pt x="408" y="1636"/>
                  <a:pt x="414" y="1634"/>
                  <a:pt x="417" y="1625"/>
                </a:cubicBezTo>
                <a:cubicBezTo>
                  <a:pt x="419" y="1621"/>
                  <a:pt x="418" y="1616"/>
                  <a:pt x="418" y="1611"/>
                </a:cubicBezTo>
                <a:cubicBezTo>
                  <a:pt x="417" y="1609"/>
                  <a:pt x="416" y="1607"/>
                  <a:pt x="416" y="1605"/>
                </a:cubicBezTo>
                <a:cubicBezTo>
                  <a:pt x="415" y="1604"/>
                  <a:pt x="414" y="1603"/>
                  <a:pt x="412" y="1605"/>
                </a:cubicBezTo>
                <a:cubicBezTo>
                  <a:pt x="411" y="1606"/>
                  <a:pt x="409" y="1608"/>
                  <a:pt x="407" y="1609"/>
                </a:cubicBezTo>
                <a:cubicBezTo>
                  <a:pt x="407" y="1609"/>
                  <a:pt x="406" y="1610"/>
                  <a:pt x="406" y="1611"/>
                </a:cubicBezTo>
                <a:cubicBezTo>
                  <a:pt x="407" y="1614"/>
                  <a:pt x="406" y="1617"/>
                  <a:pt x="405" y="1621"/>
                </a:cubicBezTo>
                <a:cubicBezTo>
                  <a:pt x="405" y="1619"/>
                  <a:pt x="405" y="1617"/>
                  <a:pt x="405" y="1615"/>
                </a:cubicBezTo>
                <a:cubicBezTo>
                  <a:pt x="405" y="1614"/>
                  <a:pt x="405" y="1614"/>
                  <a:pt x="405" y="1614"/>
                </a:cubicBezTo>
                <a:cubicBezTo>
                  <a:pt x="404" y="1614"/>
                  <a:pt x="403" y="1614"/>
                  <a:pt x="403" y="1614"/>
                </a:cubicBezTo>
                <a:cubicBezTo>
                  <a:pt x="403" y="1616"/>
                  <a:pt x="402" y="1617"/>
                  <a:pt x="401" y="1618"/>
                </a:cubicBezTo>
                <a:cubicBezTo>
                  <a:pt x="401" y="1618"/>
                  <a:pt x="401" y="1618"/>
                  <a:pt x="401" y="1618"/>
                </a:cubicBezTo>
                <a:cubicBezTo>
                  <a:pt x="401" y="1617"/>
                  <a:pt x="402" y="1615"/>
                  <a:pt x="402" y="1613"/>
                </a:cubicBezTo>
                <a:cubicBezTo>
                  <a:pt x="401" y="1614"/>
                  <a:pt x="400" y="1614"/>
                  <a:pt x="400" y="1615"/>
                </a:cubicBezTo>
                <a:cubicBezTo>
                  <a:pt x="399" y="1615"/>
                  <a:pt x="399" y="1616"/>
                  <a:pt x="398" y="1617"/>
                </a:cubicBezTo>
                <a:cubicBezTo>
                  <a:pt x="399" y="1613"/>
                  <a:pt x="399" y="1613"/>
                  <a:pt x="405" y="1612"/>
                </a:cubicBezTo>
                <a:cubicBezTo>
                  <a:pt x="405" y="1612"/>
                  <a:pt x="404" y="1611"/>
                  <a:pt x="404" y="1611"/>
                </a:cubicBezTo>
                <a:cubicBezTo>
                  <a:pt x="401" y="1612"/>
                  <a:pt x="400" y="1610"/>
                  <a:pt x="400" y="1608"/>
                </a:cubicBezTo>
                <a:cubicBezTo>
                  <a:pt x="402" y="1607"/>
                  <a:pt x="403" y="1607"/>
                  <a:pt x="405" y="1606"/>
                </a:cubicBezTo>
                <a:cubicBezTo>
                  <a:pt x="403" y="1604"/>
                  <a:pt x="402" y="1601"/>
                  <a:pt x="398" y="1601"/>
                </a:cubicBezTo>
                <a:cubicBezTo>
                  <a:pt x="398" y="1601"/>
                  <a:pt x="398" y="1600"/>
                  <a:pt x="398" y="1600"/>
                </a:cubicBezTo>
                <a:cubicBezTo>
                  <a:pt x="395" y="1598"/>
                  <a:pt x="393" y="1596"/>
                  <a:pt x="390" y="1594"/>
                </a:cubicBezTo>
                <a:cubicBezTo>
                  <a:pt x="388" y="1593"/>
                  <a:pt x="385" y="1592"/>
                  <a:pt x="383" y="1592"/>
                </a:cubicBezTo>
                <a:cubicBezTo>
                  <a:pt x="380" y="1592"/>
                  <a:pt x="376" y="1593"/>
                  <a:pt x="373" y="1594"/>
                </a:cubicBezTo>
                <a:cubicBezTo>
                  <a:pt x="371" y="1595"/>
                  <a:pt x="368" y="1597"/>
                  <a:pt x="366" y="1600"/>
                </a:cubicBezTo>
                <a:cubicBezTo>
                  <a:pt x="368" y="1600"/>
                  <a:pt x="369" y="1600"/>
                  <a:pt x="370" y="1600"/>
                </a:cubicBezTo>
                <a:cubicBezTo>
                  <a:pt x="370" y="1600"/>
                  <a:pt x="369" y="1601"/>
                  <a:pt x="368" y="1601"/>
                </a:cubicBezTo>
                <a:cubicBezTo>
                  <a:pt x="366" y="1602"/>
                  <a:pt x="363" y="1601"/>
                  <a:pt x="361" y="1603"/>
                </a:cubicBezTo>
                <a:cubicBezTo>
                  <a:pt x="358" y="1607"/>
                  <a:pt x="354" y="1611"/>
                  <a:pt x="350" y="1615"/>
                </a:cubicBezTo>
                <a:cubicBezTo>
                  <a:pt x="349" y="1617"/>
                  <a:pt x="348" y="1619"/>
                  <a:pt x="347" y="1622"/>
                </a:cubicBezTo>
                <a:cubicBezTo>
                  <a:pt x="347" y="1622"/>
                  <a:pt x="347" y="1623"/>
                  <a:pt x="347" y="1623"/>
                </a:cubicBezTo>
                <a:cubicBezTo>
                  <a:pt x="348" y="1625"/>
                  <a:pt x="349" y="1627"/>
                  <a:pt x="351" y="1629"/>
                </a:cubicBezTo>
                <a:cubicBezTo>
                  <a:pt x="352" y="1628"/>
                  <a:pt x="353" y="1626"/>
                  <a:pt x="354" y="1625"/>
                </a:cubicBezTo>
                <a:cubicBezTo>
                  <a:pt x="354" y="1626"/>
                  <a:pt x="354" y="1627"/>
                  <a:pt x="353" y="1629"/>
                </a:cubicBezTo>
                <a:cubicBezTo>
                  <a:pt x="352" y="1630"/>
                  <a:pt x="351" y="1631"/>
                  <a:pt x="351" y="1633"/>
                </a:cubicBezTo>
                <a:cubicBezTo>
                  <a:pt x="351" y="1634"/>
                  <a:pt x="351" y="1635"/>
                  <a:pt x="351" y="1636"/>
                </a:cubicBezTo>
                <a:cubicBezTo>
                  <a:pt x="354" y="1639"/>
                  <a:pt x="357" y="1639"/>
                  <a:pt x="361" y="1637"/>
                </a:cubicBezTo>
                <a:cubicBezTo>
                  <a:pt x="363" y="1636"/>
                  <a:pt x="366" y="1635"/>
                  <a:pt x="369" y="1634"/>
                </a:cubicBezTo>
                <a:cubicBezTo>
                  <a:pt x="370" y="1633"/>
                  <a:pt x="371" y="1633"/>
                  <a:pt x="371" y="1631"/>
                </a:cubicBezTo>
                <a:cubicBezTo>
                  <a:pt x="371" y="1628"/>
                  <a:pt x="371" y="1624"/>
                  <a:pt x="371" y="1621"/>
                </a:cubicBezTo>
                <a:cubicBezTo>
                  <a:pt x="371" y="1618"/>
                  <a:pt x="371" y="1615"/>
                  <a:pt x="371" y="1612"/>
                </a:cubicBezTo>
                <a:cubicBezTo>
                  <a:pt x="372" y="1615"/>
                  <a:pt x="372" y="1617"/>
                  <a:pt x="373" y="1620"/>
                </a:cubicBezTo>
                <a:cubicBezTo>
                  <a:pt x="374" y="1625"/>
                  <a:pt x="374" y="1629"/>
                  <a:pt x="372" y="1633"/>
                </a:cubicBezTo>
                <a:cubicBezTo>
                  <a:pt x="372" y="1634"/>
                  <a:pt x="371" y="1635"/>
                  <a:pt x="371" y="1635"/>
                </a:cubicBezTo>
                <a:cubicBezTo>
                  <a:pt x="367" y="1635"/>
                  <a:pt x="364" y="1637"/>
                  <a:pt x="361" y="1639"/>
                </a:cubicBezTo>
                <a:cubicBezTo>
                  <a:pt x="356" y="1642"/>
                  <a:pt x="352" y="1640"/>
                  <a:pt x="349" y="1636"/>
                </a:cubicBezTo>
                <a:cubicBezTo>
                  <a:pt x="349" y="1636"/>
                  <a:pt x="349" y="1635"/>
                  <a:pt x="349" y="1634"/>
                </a:cubicBezTo>
                <a:cubicBezTo>
                  <a:pt x="350" y="1632"/>
                  <a:pt x="349" y="1630"/>
                  <a:pt x="347" y="1628"/>
                </a:cubicBezTo>
                <a:cubicBezTo>
                  <a:pt x="346" y="1626"/>
                  <a:pt x="344" y="1623"/>
                  <a:pt x="345" y="1621"/>
                </a:cubicBezTo>
                <a:cubicBezTo>
                  <a:pt x="346" y="1619"/>
                  <a:pt x="347" y="1617"/>
                  <a:pt x="348" y="1616"/>
                </a:cubicBezTo>
                <a:cubicBezTo>
                  <a:pt x="350" y="1613"/>
                  <a:pt x="352" y="1610"/>
                  <a:pt x="354" y="1608"/>
                </a:cubicBezTo>
                <a:cubicBezTo>
                  <a:pt x="354" y="1608"/>
                  <a:pt x="353" y="1608"/>
                  <a:pt x="353" y="1608"/>
                </a:cubicBezTo>
                <a:cubicBezTo>
                  <a:pt x="348" y="1609"/>
                  <a:pt x="343" y="1610"/>
                  <a:pt x="340" y="1614"/>
                </a:cubicBezTo>
                <a:cubicBezTo>
                  <a:pt x="335" y="1618"/>
                  <a:pt x="332" y="1623"/>
                  <a:pt x="332" y="1630"/>
                </a:cubicBezTo>
                <a:cubicBezTo>
                  <a:pt x="331" y="1636"/>
                  <a:pt x="334" y="1642"/>
                  <a:pt x="337" y="1648"/>
                </a:cubicBezTo>
                <a:cubicBezTo>
                  <a:pt x="338" y="1649"/>
                  <a:pt x="338" y="1651"/>
                  <a:pt x="338" y="1652"/>
                </a:cubicBezTo>
                <a:cubicBezTo>
                  <a:pt x="338" y="1654"/>
                  <a:pt x="338" y="1655"/>
                  <a:pt x="337" y="1656"/>
                </a:cubicBezTo>
                <a:cubicBezTo>
                  <a:pt x="336" y="1658"/>
                  <a:pt x="337" y="1659"/>
                  <a:pt x="338" y="1659"/>
                </a:cubicBezTo>
                <a:cubicBezTo>
                  <a:pt x="341" y="1660"/>
                  <a:pt x="344" y="1661"/>
                  <a:pt x="347" y="1661"/>
                </a:cubicBezTo>
                <a:cubicBezTo>
                  <a:pt x="347" y="1661"/>
                  <a:pt x="348" y="1660"/>
                  <a:pt x="348" y="1660"/>
                </a:cubicBezTo>
                <a:cubicBezTo>
                  <a:pt x="349" y="1659"/>
                  <a:pt x="349" y="1657"/>
                  <a:pt x="349" y="1656"/>
                </a:cubicBezTo>
                <a:cubicBezTo>
                  <a:pt x="351" y="1654"/>
                  <a:pt x="351" y="1651"/>
                  <a:pt x="351" y="1648"/>
                </a:cubicBezTo>
                <a:cubicBezTo>
                  <a:pt x="351" y="1648"/>
                  <a:pt x="351" y="1648"/>
                  <a:pt x="351" y="1647"/>
                </a:cubicBezTo>
                <a:cubicBezTo>
                  <a:pt x="351" y="1647"/>
                  <a:pt x="351" y="1647"/>
                  <a:pt x="351" y="1646"/>
                </a:cubicBezTo>
                <a:cubicBezTo>
                  <a:pt x="352" y="1649"/>
                  <a:pt x="353" y="1649"/>
                  <a:pt x="355" y="1649"/>
                </a:cubicBezTo>
                <a:cubicBezTo>
                  <a:pt x="356" y="1649"/>
                  <a:pt x="357" y="1649"/>
                  <a:pt x="358" y="1649"/>
                </a:cubicBezTo>
                <a:cubicBezTo>
                  <a:pt x="360" y="1649"/>
                  <a:pt x="363" y="1650"/>
                  <a:pt x="364" y="1646"/>
                </a:cubicBezTo>
                <a:cubicBezTo>
                  <a:pt x="364" y="1648"/>
                  <a:pt x="364" y="1650"/>
                  <a:pt x="364" y="1650"/>
                </a:cubicBezTo>
                <a:cubicBezTo>
                  <a:pt x="363" y="1651"/>
                  <a:pt x="362" y="1652"/>
                  <a:pt x="360" y="1652"/>
                </a:cubicBezTo>
                <a:cubicBezTo>
                  <a:pt x="359" y="1653"/>
                  <a:pt x="358" y="1655"/>
                  <a:pt x="359" y="1656"/>
                </a:cubicBezTo>
                <a:cubicBezTo>
                  <a:pt x="360" y="1658"/>
                  <a:pt x="362" y="1660"/>
                  <a:pt x="363" y="1662"/>
                </a:cubicBezTo>
                <a:cubicBezTo>
                  <a:pt x="365" y="1663"/>
                  <a:pt x="367" y="1663"/>
                  <a:pt x="368" y="1661"/>
                </a:cubicBezTo>
                <a:cubicBezTo>
                  <a:pt x="369" y="1660"/>
                  <a:pt x="369" y="1659"/>
                  <a:pt x="370" y="1659"/>
                </a:cubicBezTo>
                <a:cubicBezTo>
                  <a:pt x="372" y="1657"/>
                  <a:pt x="373" y="1656"/>
                  <a:pt x="375" y="1655"/>
                </a:cubicBezTo>
                <a:cubicBezTo>
                  <a:pt x="379" y="1651"/>
                  <a:pt x="381" y="1645"/>
                  <a:pt x="383" y="1639"/>
                </a:cubicBezTo>
                <a:cubicBezTo>
                  <a:pt x="383" y="1638"/>
                  <a:pt x="382" y="1638"/>
                  <a:pt x="382" y="1637"/>
                </a:cubicBezTo>
                <a:cubicBezTo>
                  <a:pt x="381" y="1636"/>
                  <a:pt x="380" y="1635"/>
                  <a:pt x="378" y="1635"/>
                </a:cubicBezTo>
                <a:close/>
                <a:moveTo>
                  <a:pt x="331" y="1641"/>
                </a:moveTo>
                <a:cubicBezTo>
                  <a:pt x="331" y="1642"/>
                  <a:pt x="329" y="1642"/>
                  <a:pt x="328" y="1644"/>
                </a:cubicBezTo>
                <a:cubicBezTo>
                  <a:pt x="327" y="1644"/>
                  <a:pt x="327" y="1645"/>
                  <a:pt x="327" y="1646"/>
                </a:cubicBezTo>
                <a:cubicBezTo>
                  <a:pt x="327" y="1648"/>
                  <a:pt x="331" y="1653"/>
                  <a:pt x="334" y="1652"/>
                </a:cubicBezTo>
                <a:cubicBezTo>
                  <a:pt x="336" y="1652"/>
                  <a:pt x="337" y="1651"/>
                  <a:pt x="336" y="1650"/>
                </a:cubicBezTo>
                <a:cubicBezTo>
                  <a:pt x="334" y="1646"/>
                  <a:pt x="333" y="1644"/>
                  <a:pt x="331" y="1641"/>
                </a:cubicBezTo>
                <a:close/>
                <a:moveTo>
                  <a:pt x="384" y="1643"/>
                </a:moveTo>
                <a:cubicBezTo>
                  <a:pt x="382" y="1648"/>
                  <a:pt x="379" y="1652"/>
                  <a:pt x="377" y="1656"/>
                </a:cubicBezTo>
                <a:cubicBezTo>
                  <a:pt x="380" y="1656"/>
                  <a:pt x="382" y="1657"/>
                  <a:pt x="385" y="1656"/>
                </a:cubicBezTo>
                <a:cubicBezTo>
                  <a:pt x="385" y="1656"/>
                  <a:pt x="385" y="1655"/>
                  <a:pt x="385" y="1655"/>
                </a:cubicBezTo>
                <a:cubicBezTo>
                  <a:pt x="385" y="1652"/>
                  <a:pt x="385" y="1650"/>
                  <a:pt x="385" y="1647"/>
                </a:cubicBezTo>
                <a:cubicBezTo>
                  <a:pt x="385" y="1646"/>
                  <a:pt x="384" y="1644"/>
                  <a:pt x="384" y="1643"/>
                </a:cubicBezTo>
                <a:close/>
                <a:moveTo>
                  <a:pt x="331" y="1623"/>
                </a:moveTo>
                <a:cubicBezTo>
                  <a:pt x="331" y="1623"/>
                  <a:pt x="330" y="1623"/>
                  <a:pt x="329" y="1623"/>
                </a:cubicBezTo>
                <a:cubicBezTo>
                  <a:pt x="329" y="1623"/>
                  <a:pt x="328" y="1623"/>
                  <a:pt x="328" y="1623"/>
                </a:cubicBezTo>
                <a:cubicBezTo>
                  <a:pt x="327" y="1623"/>
                  <a:pt x="327" y="1622"/>
                  <a:pt x="327" y="1621"/>
                </a:cubicBezTo>
                <a:cubicBezTo>
                  <a:pt x="328" y="1619"/>
                  <a:pt x="328" y="1617"/>
                  <a:pt x="329" y="1615"/>
                </a:cubicBezTo>
                <a:cubicBezTo>
                  <a:pt x="329" y="1615"/>
                  <a:pt x="329" y="1615"/>
                  <a:pt x="328" y="1615"/>
                </a:cubicBezTo>
                <a:cubicBezTo>
                  <a:pt x="327" y="1616"/>
                  <a:pt x="326" y="1617"/>
                  <a:pt x="325" y="1618"/>
                </a:cubicBezTo>
                <a:cubicBezTo>
                  <a:pt x="325" y="1619"/>
                  <a:pt x="326" y="1624"/>
                  <a:pt x="328" y="1625"/>
                </a:cubicBezTo>
                <a:cubicBezTo>
                  <a:pt x="329" y="1626"/>
                  <a:pt x="331" y="1625"/>
                  <a:pt x="331" y="1623"/>
                </a:cubicBezTo>
                <a:close/>
                <a:moveTo>
                  <a:pt x="331" y="1641"/>
                </a:moveTo>
                <a:cubicBezTo>
                  <a:pt x="330" y="1641"/>
                  <a:pt x="329" y="1642"/>
                  <a:pt x="328" y="1643"/>
                </a:cubicBezTo>
                <a:cubicBezTo>
                  <a:pt x="327" y="1644"/>
                  <a:pt x="327" y="1645"/>
                  <a:pt x="327" y="1645"/>
                </a:cubicBezTo>
                <a:cubicBezTo>
                  <a:pt x="327" y="1648"/>
                  <a:pt x="331" y="1653"/>
                  <a:pt x="334" y="1652"/>
                </a:cubicBezTo>
                <a:cubicBezTo>
                  <a:pt x="336" y="1652"/>
                  <a:pt x="337" y="1651"/>
                  <a:pt x="336" y="1649"/>
                </a:cubicBezTo>
                <a:cubicBezTo>
                  <a:pt x="334" y="1646"/>
                  <a:pt x="333" y="1643"/>
                  <a:pt x="331" y="1641"/>
                </a:cubicBezTo>
                <a:close/>
                <a:moveTo>
                  <a:pt x="384" y="1642"/>
                </a:moveTo>
                <a:cubicBezTo>
                  <a:pt x="381" y="1647"/>
                  <a:pt x="379" y="1652"/>
                  <a:pt x="377" y="1656"/>
                </a:cubicBezTo>
                <a:cubicBezTo>
                  <a:pt x="379" y="1656"/>
                  <a:pt x="382" y="1656"/>
                  <a:pt x="385" y="1656"/>
                </a:cubicBezTo>
                <a:cubicBezTo>
                  <a:pt x="385" y="1656"/>
                  <a:pt x="385" y="1655"/>
                  <a:pt x="385" y="1654"/>
                </a:cubicBezTo>
                <a:cubicBezTo>
                  <a:pt x="385" y="1652"/>
                  <a:pt x="385" y="1649"/>
                  <a:pt x="385" y="1647"/>
                </a:cubicBezTo>
                <a:cubicBezTo>
                  <a:pt x="385" y="1645"/>
                  <a:pt x="384" y="1644"/>
                  <a:pt x="384" y="1642"/>
                </a:cubicBezTo>
                <a:close/>
                <a:moveTo>
                  <a:pt x="331" y="1623"/>
                </a:moveTo>
                <a:cubicBezTo>
                  <a:pt x="330" y="1623"/>
                  <a:pt x="330" y="1623"/>
                  <a:pt x="329" y="1623"/>
                </a:cubicBezTo>
                <a:cubicBezTo>
                  <a:pt x="328" y="1623"/>
                  <a:pt x="328" y="1623"/>
                  <a:pt x="328" y="1623"/>
                </a:cubicBezTo>
                <a:cubicBezTo>
                  <a:pt x="327" y="1623"/>
                  <a:pt x="327" y="1622"/>
                  <a:pt x="327" y="1621"/>
                </a:cubicBezTo>
                <a:cubicBezTo>
                  <a:pt x="328" y="1619"/>
                  <a:pt x="328" y="1617"/>
                  <a:pt x="329" y="1615"/>
                </a:cubicBezTo>
                <a:cubicBezTo>
                  <a:pt x="328" y="1615"/>
                  <a:pt x="328" y="1615"/>
                  <a:pt x="328" y="1615"/>
                </a:cubicBezTo>
                <a:cubicBezTo>
                  <a:pt x="327" y="1616"/>
                  <a:pt x="326" y="1617"/>
                  <a:pt x="326" y="1618"/>
                </a:cubicBezTo>
                <a:cubicBezTo>
                  <a:pt x="325" y="1619"/>
                  <a:pt x="326" y="1624"/>
                  <a:pt x="328" y="1625"/>
                </a:cubicBezTo>
                <a:cubicBezTo>
                  <a:pt x="329" y="1626"/>
                  <a:pt x="331" y="1624"/>
                  <a:pt x="331" y="1623"/>
                </a:cubicBezTo>
                <a:close/>
                <a:moveTo>
                  <a:pt x="383" y="1614"/>
                </a:moveTo>
                <a:cubicBezTo>
                  <a:pt x="387" y="1611"/>
                  <a:pt x="387" y="1611"/>
                  <a:pt x="391" y="1609"/>
                </a:cubicBezTo>
                <a:cubicBezTo>
                  <a:pt x="391" y="1611"/>
                  <a:pt x="392" y="1613"/>
                  <a:pt x="393" y="1613"/>
                </a:cubicBezTo>
                <a:cubicBezTo>
                  <a:pt x="391" y="1614"/>
                  <a:pt x="389" y="1615"/>
                  <a:pt x="387" y="1617"/>
                </a:cubicBezTo>
                <a:cubicBezTo>
                  <a:pt x="386" y="1616"/>
                  <a:pt x="386" y="1615"/>
                  <a:pt x="385" y="1614"/>
                </a:cubicBezTo>
                <a:cubicBezTo>
                  <a:pt x="385" y="1614"/>
                  <a:pt x="384" y="1614"/>
                  <a:pt x="383" y="1614"/>
                </a:cubicBezTo>
                <a:close/>
                <a:moveTo>
                  <a:pt x="389" y="1614"/>
                </a:moveTo>
                <a:cubicBezTo>
                  <a:pt x="389" y="1613"/>
                  <a:pt x="388" y="1613"/>
                  <a:pt x="387" y="1613"/>
                </a:cubicBezTo>
                <a:cubicBezTo>
                  <a:pt x="387" y="1613"/>
                  <a:pt x="386" y="1614"/>
                  <a:pt x="386" y="1614"/>
                </a:cubicBezTo>
                <a:cubicBezTo>
                  <a:pt x="386" y="1615"/>
                  <a:pt x="387" y="1615"/>
                  <a:pt x="387" y="1615"/>
                </a:cubicBezTo>
                <a:cubicBezTo>
                  <a:pt x="388" y="1615"/>
                  <a:pt x="388" y="1615"/>
                  <a:pt x="389" y="1614"/>
                </a:cubicBezTo>
                <a:close/>
                <a:moveTo>
                  <a:pt x="370" y="1604"/>
                </a:moveTo>
                <a:cubicBezTo>
                  <a:pt x="364" y="1604"/>
                  <a:pt x="361" y="1606"/>
                  <a:pt x="360" y="1614"/>
                </a:cubicBezTo>
                <a:cubicBezTo>
                  <a:pt x="361" y="1612"/>
                  <a:pt x="362" y="1609"/>
                  <a:pt x="363" y="1607"/>
                </a:cubicBezTo>
                <a:cubicBezTo>
                  <a:pt x="364" y="1607"/>
                  <a:pt x="364" y="1607"/>
                  <a:pt x="364" y="1607"/>
                </a:cubicBezTo>
                <a:cubicBezTo>
                  <a:pt x="364" y="1608"/>
                  <a:pt x="364" y="1609"/>
                  <a:pt x="364" y="1610"/>
                </a:cubicBezTo>
                <a:cubicBezTo>
                  <a:pt x="365" y="1607"/>
                  <a:pt x="367" y="1605"/>
                  <a:pt x="370" y="1604"/>
                </a:cubicBezTo>
                <a:close/>
                <a:moveTo>
                  <a:pt x="414" y="1606"/>
                </a:moveTo>
                <a:cubicBezTo>
                  <a:pt x="412" y="1607"/>
                  <a:pt x="410" y="1609"/>
                  <a:pt x="409" y="1610"/>
                </a:cubicBezTo>
                <a:cubicBezTo>
                  <a:pt x="411" y="1610"/>
                  <a:pt x="413" y="1609"/>
                  <a:pt x="414" y="1606"/>
                </a:cubicBezTo>
                <a:close/>
                <a:moveTo>
                  <a:pt x="381" y="1608"/>
                </a:moveTo>
                <a:cubicBezTo>
                  <a:pt x="382" y="1607"/>
                  <a:pt x="383" y="1605"/>
                  <a:pt x="384" y="1604"/>
                </a:cubicBezTo>
                <a:cubicBezTo>
                  <a:pt x="381" y="1605"/>
                  <a:pt x="380" y="1606"/>
                  <a:pt x="381" y="1608"/>
                </a:cubicBezTo>
                <a:close/>
                <a:moveTo>
                  <a:pt x="391" y="1629"/>
                </a:moveTo>
                <a:cubicBezTo>
                  <a:pt x="389" y="1629"/>
                  <a:pt x="388" y="1630"/>
                  <a:pt x="388" y="1631"/>
                </a:cubicBezTo>
                <a:cubicBezTo>
                  <a:pt x="389" y="1631"/>
                  <a:pt x="390" y="1630"/>
                  <a:pt x="391" y="1629"/>
                </a:cubicBezTo>
                <a:close/>
                <a:moveTo>
                  <a:pt x="390" y="1614"/>
                </a:moveTo>
                <a:cubicBezTo>
                  <a:pt x="389" y="1613"/>
                  <a:pt x="388" y="1613"/>
                  <a:pt x="388" y="1613"/>
                </a:cubicBezTo>
                <a:cubicBezTo>
                  <a:pt x="387" y="1613"/>
                  <a:pt x="386" y="1614"/>
                  <a:pt x="386" y="1614"/>
                </a:cubicBezTo>
                <a:cubicBezTo>
                  <a:pt x="386" y="1615"/>
                  <a:pt x="387" y="1615"/>
                  <a:pt x="387" y="1616"/>
                </a:cubicBezTo>
                <a:cubicBezTo>
                  <a:pt x="388" y="1615"/>
                  <a:pt x="388" y="1615"/>
                  <a:pt x="390" y="1614"/>
                </a:cubicBezTo>
                <a:close/>
                <a:moveTo>
                  <a:pt x="680" y="1592"/>
                </a:moveTo>
                <a:cubicBezTo>
                  <a:pt x="680" y="1592"/>
                  <a:pt x="680" y="1592"/>
                  <a:pt x="680" y="1592"/>
                </a:cubicBezTo>
                <a:cubicBezTo>
                  <a:pt x="676" y="1592"/>
                  <a:pt x="676" y="1592"/>
                  <a:pt x="676" y="1592"/>
                </a:cubicBezTo>
                <a:cubicBezTo>
                  <a:pt x="674" y="1593"/>
                  <a:pt x="672" y="1594"/>
                  <a:pt x="670" y="1595"/>
                </a:cubicBezTo>
                <a:cubicBezTo>
                  <a:pt x="668" y="1597"/>
                  <a:pt x="666" y="1597"/>
                  <a:pt x="665" y="1598"/>
                </a:cubicBezTo>
                <a:cubicBezTo>
                  <a:pt x="663" y="1600"/>
                  <a:pt x="661" y="1600"/>
                  <a:pt x="659" y="1601"/>
                </a:cubicBezTo>
                <a:cubicBezTo>
                  <a:pt x="658" y="1602"/>
                  <a:pt x="656" y="1602"/>
                  <a:pt x="654" y="1602"/>
                </a:cubicBezTo>
                <a:cubicBezTo>
                  <a:pt x="654" y="1602"/>
                  <a:pt x="654" y="1602"/>
                  <a:pt x="654" y="1613"/>
                </a:cubicBezTo>
                <a:cubicBezTo>
                  <a:pt x="657" y="1612"/>
                  <a:pt x="660" y="1611"/>
                  <a:pt x="662" y="1610"/>
                </a:cubicBezTo>
                <a:cubicBezTo>
                  <a:pt x="664" y="1609"/>
                  <a:pt x="667" y="1608"/>
                  <a:pt x="668" y="1606"/>
                </a:cubicBezTo>
                <a:cubicBezTo>
                  <a:pt x="668" y="1606"/>
                  <a:pt x="668" y="1606"/>
                  <a:pt x="668" y="1665"/>
                </a:cubicBezTo>
                <a:cubicBezTo>
                  <a:pt x="668" y="1665"/>
                  <a:pt x="668" y="1665"/>
                  <a:pt x="680" y="1665"/>
                </a:cubicBezTo>
                <a:cubicBezTo>
                  <a:pt x="680" y="1665"/>
                  <a:pt x="680" y="1665"/>
                  <a:pt x="680" y="1592"/>
                </a:cubicBezTo>
                <a:close/>
                <a:moveTo>
                  <a:pt x="801" y="1592"/>
                </a:moveTo>
                <a:cubicBezTo>
                  <a:pt x="801" y="1592"/>
                  <a:pt x="801" y="1592"/>
                  <a:pt x="801" y="1592"/>
                </a:cubicBezTo>
                <a:cubicBezTo>
                  <a:pt x="796" y="1592"/>
                  <a:pt x="796" y="1592"/>
                  <a:pt x="796" y="1592"/>
                </a:cubicBezTo>
                <a:cubicBezTo>
                  <a:pt x="794" y="1593"/>
                  <a:pt x="793" y="1594"/>
                  <a:pt x="791" y="1595"/>
                </a:cubicBezTo>
                <a:cubicBezTo>
                  <a:pt x="789" y="1597"/>
                  <a:pt x="788" y="1597"/>
                  <a:pt x="785" y="1598"/>
                </a:cubicBezTo>
                <a:cubicBezTo>
                  <a:pt x="784" y="1600"/>
                  <a:pt x="782" y="1600"/>
                  <a:pt x="780" y="1601"/>
                </a:cubicBezTo>
                <a:cubicBezTo>
                  <a:pt x="778" y="1602"/>
                  <a:pt x="777" y="1602"/>
                  <a:pt x="775" y="1602"/>
                </a:cubicBezTo>
                <a:cubicBezTo>
                  <a:pt x="775" y="1602"/>
                  <a:pt x="775" y="1602"/>
                  <a:pt x="775" y="1613"/>
                </a:cubicBezTo>
                <a:cubicBezTo>
                  <a:pt x="777" y="1612"/>
                  <a:pt x="780" y="1611"/>
                  <a:pt x="783" y="1610"/>
                </a:cubicBezTo>
                <a:cubicBezTo>
                  <a:pt x="785" y="1609"/>
                  <a:pt x="788" y="1608"/>
                  <a:pt x="790" y="1606"/>
                </a:cubicBezTo>
                <a:cubicBezTo>
                  <a:pt x="790" y="1606"/>
                  <a:pt x="790" y="1606"/>
                  <a:pt x="790" y="1665"/>
                </a:cubicBezTo>
                <a:cubicBezTo>
                  <a:pt x="790" y="1665"/>
                  <a:pt x="790" y="1665"/>
                  <a:pt x="801" y="1665"/>
                </a:cubicBezTo>
                <a:cubicBezTo>
                  <a:pt x="801" y="1665"/>
                  <a:pt x="801" y="1665"/>
                  <a:pt x="801" y="1592"/>
                </a:cubicBezTo>
                <a:close/>
                <a:moveTo>
                  <a:pt x="848" y="1592"/>
                </a:moveTo>
                <a:cubicBezTo>
                  <a:pt x="848" y="1592"/>
                  <a:pt x="848" y="1592"/>
                  <a:pt x="848" y="1592"/>
                </a:cubicBezTo>
                <a:cubicBezTo>
                  <a:pt x="843" y="1592"/>
                  <a:pt x="843" y="1592"/>
                  <a:pt x="843" y="1592"/>
                </a:cubicBezTo>
                <a:cubicBezTo>
                  <a:pt x="841" y="1593"/>
                  <a:pt x="840" y="1594"/>
                  <a:pt x="837" y="1595"/>
                </a:cubicBezTo>
                <a:cubicBezTo>
                  <a:pt x="836" y="1597"/>
                  <a:pt x="834" y="1597"/>
                  <a:pt x="832" y="1598"/>
                </a:cubicBezTo>
                <a:cubicBezTo>
                  <a:pt x="831" y="1600"/>
                  <a:pt x="829" y="1600"/>
                  <a:pt x="827" y="1601"/>
                </a:cubicBezTo>
                <a:cubicBezTo>
                  <a:pt x="825" y="1602"/>
                  <a:pt x="823" y="1602"/>
                  <a:pt x="821" y="1602"/>
                </a:cubicBezTo>
                <a:cubicBezTo>
                  <a:pt x="821" y="1602"/>
                  <a:pt x="821" y="1602"/>
                  <a:pt x="821" y="1613"/>
                </a:cubicBezTo>
                <a:cubicBezTo>
                  <a:pt x="824" y="1612"/>
                  <a:pt x="827" y="1611"/>
                  <a:pt x="829" y="1610"/>
                </a:cubicBezTo>
                <a:cubicBezTo>
                  <a:pt x="832" y="1609"/>
                  <a:pt x="834" y="1608"/>
                  <a:pt x="837" y="1606"/>
                </a:cubicBezTo>
                <a:cubicBezTo>
                  <a:pt x="837" y="1606"/>
                  <a:pt x="837" y="1606"/>
                  <a:pt x="837" y="1665"/>
                </a:cubicBezTo>
                <a:cubicBezTo>
                  <a:pt x="837" y="1665"/>
                  <a:pt x="837" y="1665"/>
                  <a:pt x="848" y="1665"/>
                </a:cubicBezTo>
                <a:cubicBezTo>
                  <a:pt x="848" y="1665"/>
                  <a:pt x="848" y="1665"/>
                  <a:pt x="848" y="1592"/>
                </a:cubicBezTo>
                <a:close/>
                <a:moveTo>
                  <a:pt x="894" y="1592"/>
                </a:moveTo>
                <a:cubicBezTo>
                  <a:pt x="894" y="1592"/>
                  <a:pt x="894" y="1592"/>
                  <a:pt x="894" y="1592"/>
                </a:cubicBezTo>
                <a:cubicBezTo>
                  <a:pt x="890" y="1592"/>
                  <a:pt x="890" y="1592"/>
                  <a:pt x="890" y="1592"/>
                </a:cubicBezTo>
                <a:cubicBezTo>
                  <a:pt x="888" y="1593"/>
                  <a:pt x="886" y="1594"/>
                  <a:pt x="884" y="1595"/>
                </a:cubicBezTo>
                <a:cubicBezTo>
                  <a:pt x="883" y="1597"/>
                  <a:pt x="880" y="1597"/>
                  <a:pt x="879" y="1598"/>
                </a:cubicBezTo>
                <a:cubicBezTo>
                  <a:pt x="877" y="1599"/>
                  <a:pt x="875" y="1600"/>
                  <a:pt x="873" y="1600"/>
                </a:cubicBezTo>
                <a:cubicBezTo>
                  <a:pt x="872" y="1601"/>
                  <a:pt x="870" y="1602"/>
                  <a:pt x="868" y="1602"/>
                </a:cubicBezTo>
                <a:cubicBezTo>
                  <a:pt x="868" y="1602"/>
                  <a:pt x="868" y="1602"/>
                  <a:pt x="868" y="1613"/>
                </a:cubicBezTo>
                <a:cubicBezTo>
                  <a:pt x="871" y="1612"/>
                  <a:pt x="874" y="1610"/>
                  <a:pt x="876" y="1610"/>
                </a:cubicBezTo>
                <a:cubicBezTo>
                  <a:pt x="878" y="1609"/>
                  <a:pt x="881" y="1608"/>
                  <a:pt x="883" y="1606"/>
                </a:cubicBezTo>
                <a:cubicBezTo>
                  <a:pt x="883" y="1606"/>
                  <a:pt x="883" y="1606"/>
                  <a:pt x="883" y="1665"/>
                </a:cubicBezTo>
                <a:cubicBezTo>
                  <a:pt x="883" y="1665"/>
                  <a:pt x="883" y="1665"/>
                  <a:pt x="894" y="1665"/>
                </a:cubicBezTo>
                <a:cubicBezTo>
                  <a:pt x="894" y="1665"/>
                  <a:pt x="894" y="1665"/>
                  <a:pt x="894" y="1592"/>
                </a:cubicBezTo>
                <a:close/>
                <a:moveTo>
                  <a:pt x="700" y="1624"/>
                </a:moveTo>
                <a:cubicBezTo>
                  <a:pt x="700" y="1624"/>
                  <a:pt x="700" y="1624"/>
                  <a:pt x="700" y="1624"/>
                </a:cubicBezTo>
                <a:cubicBezTo>
                  <a:pt x="700" y="1632"/>
                  <a:pt x="700" y="1632"/>
                  <a:pt x="700" y="1632"/>
                </a:cubicBezTo>
                <a:cubicBezTo>
                  <a:pt x="706" y="1632"/>
                  <a:pt x="707" y="1635"/>
                  <a:pt x="707" y="1638"/>
                </a:cubicBezTo>
                <a:cubicBezTo>
                  <a:pt x="707" y="1640"/>
                  <a:pt x="706" y="1643"/>
                  <a:pt x="706" y="1645"/>
                </a:cubicBezTo>
                <a:cubicBezTo>
                  <a:pt x="706" y="1648"/>
                  <a:pt x="706" y="1650"/>
                  <a:pt x="706" y="1652"/>
                </a:cubicBezTo>
                <a:cubicBezTo>
                  <a:pt x="706" y="1662"/>
                  <a:pt x="712" y="1665"/>
                  <a:pt x="720" y="1665"/>
                </a:cubicBezTo>
                <a:cubicBezTo>
                  <a:pt x="720" y="1665"/>
                  <a:pt x="720" y="1665"/>
                  <a:pt x="724" y="1665"/>
                </a:cubicBezTo>
                <a:cubicBezTo>
                  <a:pt x="724" y="1665"/>
                  <a:pt x="724" y="1665"/>
                  <a:pt x="724" y="1656"/>
                </a:cubicBezTo>
                <a:cubicBezTo>
                  <a:pt x="724" y="1656"/>
                  <a:pt x="724" y="1656"/>
                  <a:pt x="722" y="1656"/>
                </a:cubicBezTo>
                <a:cubicBezTo>
                  <a:pt x="719" y="1656"/>
                  <a:pt x="717" y="1653"/>
                  <a:pt x="717" y="1650"/>
                </a:cubicBezTo>
                <a:cubicBezTo>
                  <a:pt x="717" y="1649"/>
                  <a:pt x="717" y="1647"/>
                  <a:pt x="718" y="1645"/>
                </a:cubicBezTo>
                <a:cubicBezTo>
                  <a:pt x="718" y="1644"/>
                  <a:pt x="718" y="1641"/>
                  <a:pt x="718" y="1639"/>
                </a:cubicBezTo>
                <a:cubicBezTo>
                  <a:pt x="718" y="1632"/>
                  <a:pt x="715" y="1629"/>
                  <a:pt x="710" y="1628"/>
                </a:cubicBezTo>
                <a:cubicBezTo>
                  <a:pt x="710" y="1628"/>
                  <a:pt x="710" y="1628"/>
                  <a:pt x="710" y="1628"/>
                </a:cubicBezTo>
                <a:cubicBezTo>
                  <a:pt x="715" y="1626"/>
                  <a:pt x="718" y="1624"/>
                  <a:pt x="718" y="1617"/>
                </a:cubicBezTo>
                <a:cubicBezTo>
                  <a:pt x="718" y="1614"/>
                  <a:pt x="718" y="1612"/>
                  <a:pt x="718" y="1610"/>
                </a:cubicBezTo>
                <a:cubicBezTo>
                  <a:pt x="717" y="1609"/>
                  <a:pt x="717" y="1607"/>
                  <a:pt x="717" y="1606"/>
                </a:cubicBezTo>
                <a:cubicBezTo>
                  <a:pt x="717" y="1602"/>
                  <a:pt x="719" y="1600"/>
                  <a:pt x="722" y="1600"/>
                </a:cubicBezTo>
                <a:cubicBezTo>
                  <a:pt x="722" y="1600"/>
                  <a:pt x="722" y="1600"/>
                  <a:pt x="724" y="1600"/>
                </a:cubicBezTo>
                <a:cubicBezTo>
                  <a:pt x="724" y="1600"/>
                  <a:pt x="724" y="1600"/>
                  <a:pt x="724" y="1591"/>
                </a:cubicBezTo>
                <a:cubicBezTo>
                  <a:pt x="724" y="1591"/>
                  <a:pt x="724" y="1591"/>
                  <a:pt x="720" y="1591"/>
                </a:cubicBezTo>
                <a:cubicBezTo>
                  <a:pt x="711" y="1591"/>
                  <a:pt x="706" y="1595"/>
                  <a:pt x="706" y="1603"/>
                </a:cubicBezTo>
                <a:cubicBezTo>
                  <a:pt x="706" y="1606"/>
                  <a:pt x="706" y="1608"/>
                  <a:pt x="706" y="1611"/>
                </a:cubicBezTo>
                <a:cubicBezTo>
                  <a:pt x="706" y="1613"/>
                  <a:pt x="707" y="1616"/>
                  <a:pt x="707" y="1618"/>
                </a:cubicBezTo>
                <a:cubicBezTo>
                  <a:pt x="707" y="1620"/>
                  <a:pt x="706" y="1624"/>
                  <a:pt x="700" y="1624"/>
                </a:cubicBezTo>
                <a:close/>
                <a:moveTo>
                  <a:pt x="755" y="1632"/>
                </a:moveTo>
                <a:cubicBezTo>
                  <a:pt x="755" y="1632"/>
                  <a:pt x="755" y="1632"/>
                  <a:pt x="755" y="1632"/>
                </a:cubicBezTo>
                <a:cubicBezTo>
                  <a:pt x="755" y="1624"/>
                  <a:pt x="755" y="1624"/>
                  <a:pt x="755" y="1624"/>
                </a:cubicBezTo>
                <a:cubicBezTo>
                  <a:pt x="748" y="1624"/>
                  <a:pt x="748" y="1620"/>
                  <a:pt x="748" y="1618"/>
                </a:cubicBezTo>
                <a:cubicBezTo>
                  <a:pt x="748" y="1616"/>
                  <a:pt x="748" y="1613"/>
                  <a:pt x="748" y="1611"/>
                </a:cubicBezTo>
                <a:cubicBezTo>
                  <a:pt x="749" y="1608"/>
                  <a:pt x="749" y="1606"/>
                  <a:pt x="749" y="1603"/>
                </a:cubicBezTo>
                <a:cubicBezTo>
                  <a:pt x="749" y="1595"/>
                  <a:pt x="744" y="1591"/>
                  <a:pt x="734" y="1591"/>
                </a:cubicBezTo>
                <a:cubicBezTo>
                  <a:pt x="734" y="1591"/>
                  <a:pt x="734" y="1591"/>
                  <a:pt x="730" y="1591"/>
                </a:cubicBezTo>
                <a:cubicBezTo>
                  <a:pt x="730" y="1591"/>
                  <a:pt x="730" y="1591"/>
                  <a:pt x="730" y="1600"/>
                </a:cubicBezTo>
                <a:cubicBezTo>
                  <a:pt x="730" y="1600"/>
                  <a:pt x="730" y="1600"/>
                  <a:pt x="732" y="1600"/>
                </a:cubicBezTo>
                <a:cubicBezTo>
                  <a:pt x="736" y="1600"/>
                  <a:pt x="737" y="1602"/>
                  <a:pt x="737" y="1606"/>
                </a:cubicBezTo>
                <a:cubicBezTo>
                  <a:pt x="737" y="1607"/>
                  <a:pt x="737" y="1609"/>
                  <a:pt x="737" y="1610"/>
                </a:cubicBezTo>
                <a:cubicBezTo>
                  <a:pt x="736" y="1612"/>
                  <a:pt x="736" y="1614"/>
                  <a:pt x="736" y="1617"/>
                </a:cubicBezTo>
                <a:cubicBezTo>
                  <a:pt x="736" y="1624"/>
                  <a:pt x="739" y="1626"/>
                  <a:pt x="745" y="1628"/>
                </a:cubicBezTo>
                <a:cubicBezTo>
                  <a:pt x="745" y="1628"/>
                  <a:pt x="745" y="1628"/>
                  <a:pt x="745" y="1628"/>
                </a:cubicBezTo>
                <a:cubicBezTo>
                  <a:pt x="739" y="1629"/>
                  <a:pt x="736" y="1632"/>
                  <a:pt x="736" y="1639"/>
                </a:cubicBezTo>
                <a:cubicBezTo>
                  <a:pt x="736" y="1641"/>
                  <a:pt x="736" y="1644"/>
                  <a:pt x="737" y="1645"/>
                </a:cubicBezTo>
                <a:cubicBezTo>
                  <a:pt x="737" y="1647"/>
                  <a:pt x="737" y="1649"/>
                  <a:pt x="737" y="1650"/>
                </a:cubicBezTo>
                <a:cubicBezTo>
                  <a:pt x="737" y="1653"/>
                  <a:pt x="736" y="1656"/>
                  <a:pt x="732" y="1656"/>
                </a:cubicBezTo>
                <a:cubicBezTo>
                  <a:pt x="732" y="1656"/>
                  <a:pt x="732" y="1656"/>
                  <a:pt x="730" y="1656"/>
                </a:cubicBezTo>
                <a:cubicBezTo>
                  <a:pt x="730" y="1656"/>
                  <a:pt x="730" y="1656"/>
                  <a:pt x="730" y="1665"/>
                </a:cubicBezTo>
                <a:cubicBezTo>
                  <a:pt x="730" y="1665"/>
                  <a:pt x="730" y="1665"/>
                  <a:pt x="734" y="1665"/>
                </a:cubicBezTo>
                <a:cubicBezTo>
                  <a:pt x="743" y="1665"/>
                  <a:pt x="749" y="1662"/>
                  <a:pt x="749" y="1652"/>
                </a:cubicBezTo>
                <a:cubicBezTo>
                  <a:pt x="749" y="1650"/>
                  <a:pt x="749" y="1648"/>
                  <a:pt x="748" y="1645"/>
                </a:cubicBezTo>
                <a:cubicBezTo>
                  <a:pt x="748" y="1643"/>
                  <a:pt x="748" y="1640"/>
                  <a:pt x="748" y="1638"/>
                </a:cubicBezTo>
                <a:cubicBezTo>
                  <a:pt x="748" y="1635"/>
                  <a:pt x="748" y="1632"/>
                  <a:pt x="755" y="1632"/>
                </a:cubicBezTo>
                <a:close/>
                <a:moveTo>
                  <a:pt x="938" y="1665"/>
                </a:moveTo>
                <a:cubicBezTo>
                  <a:pt x="931" y="1665"/>
                  <a:pt x="924" y="1662"/>
                  <a:pt x="920" y="1656"/>
                </a:cubicBezTo>
                <a:cubicBezTo>
                  <a:pt x="916" y="1650"/>
                  <a:pt x="914" y="1641"/>
                  <a:pt x="914" y="1628"/>
                </a:cubicBezTo>
                <a:cubicBezTo>
                  <a:pt x="914" y="1615"/>
                  <a:pt x="916" y="1606"/>
                  <a:pt x="920" y="1599"/>
                </a:cubicBezTo>
                <a:cubicBezTo>
                  <a:pt x="925" y="1592"/>
                  <a:pt x="931" y="1589"/>
                  <a:pt x="940" y="1589"/>
                </a:cubicBezTo>
                <a:cubicBezTo>
                  <a:pt x="956" y="1589"/>
                  <a:pt x="964" y="1601"/>
                  <a:pt x="964" y="1627"/>
                </a:cubicBezTo>
                <a:cubicBezTo>
                  <a:pt x="964" y="1639"/>
                  <a:pt x="962" y="1649"/>
                  <a:pt x="957" y="1655"/>
                </a:cubicBezTo>
                <a:cubicBezTo>
                  <a:pt x="952" y="1662"/>
                  <a:pt x="946" y="1665"/>
                  <a:pt x="938" y="1665"/>
                </a:cubicBezTo>
                <a:close/>
                <a:moveTo>
                  <a:pt x="939" y="1598"/>
                </a:moveTo>
                <a:cubicBezTo>
                  <a:pt x="930" y="1598"/>
                  <a:pt x="925" y="1608"/>
                  <a:pt x="925" y="1628"/>
                </a:cubicBezTo>
                <a:cubicBezTo>
                  <a:pt x="925" y="1647"/>
                  <a:pt x="930" y="1655"/>
                  <a:pt x="939" y="1655"/>
                </a:cubicBezTo>
                <a:cubicBezTo>
                  <a:pt x="947" y="1655"/>
                  <a:pt x="952" y="1647"/>
                  <a:pt x="952" y="1628"/>
                </a:cubicBezTo>
                <a:cubicBezTo>
                  <a:pt x="952" y="1608"/>
                  <a:pt x="947" y="1598"/>
                  <a:pt x="939" y="1598"/>
                </a:cubicBezTo>
                <a:close/>
                <a:moveTo>
                  <a:pt x="1008" y="1665"/>
                </a:moveTo>
                <a:cubicBezTo>
                  <a:pt x="1001" y="1665"/>
                  <a:pt x="994" y="1662"/>
                  <a:pt x="990" y="1656"/>
                </a:cubicBezTo>
                <a:cubicBezTo>
                  <a:pt x="986" y="1650"/>
                  <a:pt x="984" y="1641"/>
                  <a:pt x="984" y="1628"/>
                </a:cubicBezTo>
                <a:cubicBezTo>
                  <a:pt x="984" y="1615"/>
                  <a:pt x="986" y="1606"/>
                  <a:pt x="990" y="1599"/>
                </a:cubicBezTo>
                <a:cubicBezTo>
                  <a:pt x="995" y="1592"/>
                  <a:pt x="1002" y="1589"/>
                  <a:pt x="1010" y="1589"/>
                </a:cubicBezTo>
                <a:cubicBezTo>
                  <a:pt x="1027" y="1589"/>
                  <a:pt x="1035" y="1601"/>
                  <a:pt x="1035" y="1627"/>
                </a:cubicBezTo>
                <a:cubicBezTo>
                  <a:pt x="1035" y="1639"/>
                  <a:pt x="1033" y="1649"/>
                  <a:pt x="1028" y="1655"/>
                </a:cubicBezTo>
                <a:cubicBezTo>
                  <a:pt x="1023" y="1662"/>
                  <a:pt x="1017" y="1665"/>
                  <a:pt x="1008" y="1665"/>
                </a:cubicBezTo>
                <a:close/>
                <a:moveTo>
                  <a:pt x="1010" y="1598"/>
                </a:moveTo>
                <a:cubicBezTo>
                  <a:pt x="1001" y="1598"/>
                  <a:pt x="996" y="1608"/>
                  <a:pt x="996" y="1628"/>
                </a:cubicBezTo>
                <a:cubicBezTo>
                  <a:pt x="996" y="1647"/>
                  <a:pt x="1000" y="1655"/>
                  <a:pt x="1009" y="1655"/>
                </a:cubicBezTo>
                <a:cubicBezTo>
                  <a:pt x="1018" y="1655"/>
                  <a:pt x="1022" y="1647"/>
                  <a:pt x="1022" y="1628"/>
                </a:cubicBezTo>
                <a:cubicBezTo>
                  <a:pt x="1022" y="1608"/>
                  <a:pt x="1018" y="1598"/>
                  <a:pt x="1010" y="1598"/>
                </a:cubicBezTo>
                <a:close/>
                <a:moveTo>
                  <a:pt x="1081" y="1592"/>
                </a:moveTo>
                <a:cubicBezTo>
                  <a:pt x="1081" y="1592"/>
                  <a:pt x="1081" y="1592"/>
                  <a:pt x="1081" y="1592"/>
                </a:cubicBezTo>
                <a:cubicBezTo>
                  <a:pt x="1076" y="1592"/>
                  <a:pt x="1076" y="1592"/>
                  <a:pt x="1076" y="1592"/>
                </a:cubicBezTo>
                <a:cubicBezTo>
                  <a:pt x="1074" y="1593"/>
                  <a:pt x="1073" y="1594"/>
                  <a:pt x="1070" y="1595"/>
                </a:cubicBezTo>
                <a:cubicBezTo>
                  <a:pt x="1069" y="1597"/>
                  <a:pt x="1067" y="1597"/>
                  <a:pt x="1065" y="1598"/>
                </a:cubicBezTo>
                <a:cubicBezTo>
                  <a:pt x="1064" y="1600"/>
                  <a:pt x="1062" y="1600"/>
                  <a:pt x="1060" y="1601"/>
                </a:cubicBezTo>
                <a:cubicBezTo>
                  <a:pt x="1058" y="1602"/>
                  <a:pt x="1057" y="1602"/>
                  <a:pt x="1054" y="1602"/>
                </a:cubicBezTo>
                <a:cubicBezTo>
                  <a:pt x="1054" y="1602"/>
                  <a:pt x="1054" y="1602"/>
                  <a:pt x="1054" y="1613"/>
                </a:cubicBezTo>
                <a:cubicBezTo>
                  <a:pt x="1057" y="1612"/>
                  <a:pt x="1060" y="1611"/>
                  <a:pt x="1063" y="1610"/>
                </a:cubicBezTo>
                <a:cubicBezTo>
                  <a:pt x="1065" y="1609"/>
                  <a:pt x="1067" y="1608"/>
                  <a:pt x="1070" y="1606"/>
                </a:cubicBezTo>
                <a:cubicBezTo>
                  <a:pt x="1070" y="1606"/>
                  <a:pt x="1070" y="1606"/>
                  <a:pt x="1070" y="1665"/>
                </a:cubicBezTo>
                <a:cubicBezTo>
                  <a:pt x="1070" y="1665"/>
                  <a:pt x="1070" y="1665"/>
                  <a:pt x="1081" y="1665"/>
                </a:cubicBezTo>
                <a:cubicBezTo>
                  <a:pt x="1081" y="1665"/>
                  <a:pt x="1081" y="1665"/>
                  <a:pt x="1081" y="1592"/>
                </a:cubicBezTo>
                <a:close/>
                <a:moveTo>
                  <a:pt x="1128" y="1592"/>
                </a:moveTo>
                <a:cubicBezTo>
                  <a:pt x="1128" y="1592"/>
                  <a:pt x="1128" y="1592"/>
                  <a:pt x="1128" y="1592"/>
                </a:cubicBezTo>
                <a:cubicBezTo>
                  <a:pt x="1123" y="1592"/>
                  <a:pt x="1123" y="1592"/>
                  <a:pt x="1123" y="1592"/>
                </a:cubicBezTo>
                <a:cubicBezTo>
                  <a:pt x="1121" y="1593"/>
                  <a:pt x="1119" y="1594"/>
                  <a:pt x="1117" y="1595"/>
                </a:cubicBezTo>
                <a:cubicBezTo>
                  <a:pt x="1116" y="1597"/>
                  <a:pt x="1114" y="1597"/>
                  <a:pt x="1112" y="1598"/>
                </a:cubicBezTo>
                <a:cubicBezTo>
                  <a:pt x="1111" y="1600"/>
                  <a:pt x="1108" y="1600"/>
                  <a:pt x="1107" y="1601"/>
                </a:cubicBezTo>
                <a:cubicBezTo>
                  <a:pt x="1105" y="1602"/>
                  <a:pt x="1103" y="1602"/>
                  <a:pt x="1101" y="1602"/>
                </a:cubicBezTo>
                <a:cubicBezTo>
                  <a:pt x="1101" y="1602"/>
                  <a:pt x="1101" y="1602"/>
                  <a:pt x="1101" y="1613"/>
                </a:cubicBezTo>
                <a:cubicBezTo>
                  <a:pt x="1104" y="1612"/>
                  <a:pt x="1107" y="1611"/>
                  <a:pt x="1109" y="1610"/>
                </a:cubicBezTo>
                <a:cubicBezTo>
                  <a:pt x="1112" y="1609"/>
                  <a:pt x="1114" y="1608"/>
                  <a:pt x="1117" y="1606"/>
                </a:cubicBezTo>
                <a:cubicBezTo>
                  <a:pt x="1117" y="1606"/>
                  <a:pt x="1117" y="1606"/>
                  <a:pt x="1117" y="1665"/>
                </a:cubicBezTo>
                <a:cubicBezTo>
                  <a:pt x="1117" y="1665"/>
                  <a:pt x="1117" y="1665"/>
                  <a:pt x="1128" y="1665"/>
                </a:cubicBezTo>
                <a:cubicBezTo>
                  <a:pt x="1128" y="1665"/>
                  <a:pt x="1128" y="1665"/>
                  <a:pt x="1128" y="1592"/>
                </a:cubicBezTo>
                <a:close/>
                <a:moveTo>
                  <a:pt x="1174" y="1592"/>
                </a:moveTo>
                <a:cubicBezTo>
                  <a:pt x="1174" y="1592"/>
                  <a:pt x="1174" y="1592"/>
                  <a:pt x="1174" y="1592"/>
                </a:cubicBezTo>
                <a:cubicBezTo>
                  <a:pt x="1170" y="1592"/>
                  <a:pt x="1170" y="1592"/>
                  <a:pt x="1170" y="1592"/>
                </a:cubicBezTo>
                <a:cubicBezTo>
                  <a:pt x="1167" y="1593"/>
                  <a:pt x="1166" y="1594"/>
                  <a:pt x="1164" y="1595"/>
                </a:cubicBezTo>
                <a:cubicBezTo>
                  <a:pt x="1162" y="1597"/>
                  <a:pt x="1160" y="1597"/>
                  <a:pt x="1159" y="1598"/>
                </a:cubicBezTo>
                <a:cubicBezTo>
                  <a:pt x="1157" y="1599"/>
                  <a:pt x="1155" y="1600"/>
                  <a:pt x="1153" y="1600"/>
                </a:cubicBezTo>
                <a:cubicBezTo>
                  <a:pt x="1152" y="1601"/>
                  <a:pt x="1149" y="1602"/>
                  <a:pt x="1148" y="1602"/>
                </a:cubicBezTo>
                <a:cubicBezTo>
                  <a:pt x="1148" y="1602"/>
                  <a:pt x="1148" y="1602"/>
                  <a:pt x="1148" y="1613"/>
                </a:cubicBezTo>
                <a:cubicBezTo>
                  <a:pt x="1151" y="1612"/>
                  <a:pt x="1154" y="1610"/>
                  <a:pt x="1156" y="1610"/>
                </a:cubicBezTo>
                <a:cubicBezTo>
                  <a:pt x="1158" y="1609"/>
                  <a:pt x="1161" y="1608"/>
                  <a:pt x="1162" y="1606"/>
                </a:cubicBezTo>
                <a:cubicBezTo>
                  <a:pt x="1162" y="1606"/>
                  <a:pt x="1162" y="1606"/>
                  <a:pt x="1162" y="1665"/>
                </a:cubicBezTo>
                <a:cubicBezTo>
                  <a:pt x="1162" y="1665"/>
                  <a:pt x="1162" y="1665"/>
                  <a:pt x="1174" y="1665"/>
                </a:cubicBezTo>
                <a:cubicBezTo>
                  <a:pt x="1174" y="1665"/>
                  <a:pt x="1174" y="1665"/>
                  <a:pt x="1174" y="1592"/>
                </a:cubicBezTo>
                <a:close/>
                <a:moveTo>
                  <a:pt x="983" y="1566"/>
                </a:moveTo>
                <a:cubicBezTo>
                  <a:pt x="976" y="1566"/>
                  <a:pt x="969" y="1563"/>
                  <a:pt x="965" y="1557"/>
                </a:cubicBezTo>
                <a:cubicBezTo>
                  <a:pt x="961" y="1551"/>
                  <a:pt x="959" y="1542"/>
                  <a:pt x="959" y="1530"/>
                </a:cubicBezTo>
                <a:cubicBezTo>
                  <a:pt x="959" y="1517"/>
                  <a:pt x="961" y="1507"/>
                  <a:pt x="965" y="1500"/>
                </a:cubicBezTo>
                <a:cubicBezTo>
                  <a:pt x="970" y="1494"/>
                  <a:pt x="976" y="1490"/>
                  <a:pt x="985" y="1490"/>
                </a:cubicBezTo>
                <a:cubicBezTo>
                  <a:pt x="1001" y="1490"/>
                  <a:pt x="1009" y="1503"/>
                  <a:pt x="1009" y="1528"/>
                </a:cubicBezTo>
                <a:cubicBezTo>
                  <a:pt x="1009" y="1541"/>
                  <a:pt x="1007" y="1550"/>
                  <a:pt x="1002" y="1557"/>
                </a:cubicBezTo>
                <a:cubicBezTo>
                  <a:pt x="998" y="1563"/>
                  <a:pt x="991" y="1566"/>
                  <a:pt x="983" y="1566"/>
                </a:cubicBezTo>
                <a:close/>
                <a:moveTo>
                  <a:pt x="984" y="1500"/>
                </a:moveTo>
                <a:cubicBezTo>
                  <a:pt x="975" y="1500"/>
                  <a:pt x="971" y="1510"/>
                  <a:pt x="971" y="1530"/>
                </a:cubicBezTo>
                <a:cubicBezTo>
                  <a:pt x="971" y="1548"/>
                  <a:pt x="975" y="1557"/>
                  <a:pt x="984" y="1557"/>
                </a:cubicBezTo>
                <a:cubicBezTo>
                  <a:pt x="992" y="1557"/>
                  <a:pt x="997" y="1548"/>
                  <a:pt x="997" y="1529"/>
                </a:cubicBezTo>
                <a:cubicBezTo>
                  <a:pt x="997" y="1509"/>
                  <a:pt x="992" y="1500"/>
                  <a:pt x="984" y="1500"/>
                </a:cubicBezTo>
                <a:close/>
                <a:moveTo>
                  <a:pt x="1057" y="1493"/>
                </a:moveTo>
                <a:cubicBezTo>
                  <a:pt x="1057" y="1493"/>
                  <a:pt x="1057" y="1493"/>
                  <a:pt x="1057" y="1493"/>
                </a:cubicBezTo>
                <a:cubicBezTo>
                  <a:pt x="1052" y="1493"/>
                  <a:pt x="1052" y="1493"/>
                  <a:pt x="1052" y="1493"/>
                </a:cubicBezTo>
                <a:cubicBezTo>
                  <a:pt x="1050" y="1494"/>
                  <a:pt x="1048" y="1496"/>
                  <a:pt x="1046" y="1496"/>
                </a:cubicBezTo>
                <a:cubicBezTo>
                  <a:pt x="1044" y="1498"/>
                  <a:pt x="1042" y="1498"/>
                  <a:pt x="1041" y="1499"/>
                </a:cubicBezTo>
                <a:cubicBezTo>
                  <a:pt x="1039" y="1500"/>
                  <a:pt x="1037" y="1501"/>
                  <a:pt x="1036" y="1501"/>
                </a:cubicBezTo>
                <a:cubicBezTo>
                  <a:pt x="1034" y="1502"/>
                  <a:pt x="1032" y="1503"/>
                  <a:pt x="1030" y="1504"/>
                </a:cubicBezTo>
                <a:cubicBezTo>
                  <a:pt x="1030" y="1504"/>
                  <a:pt x="1030" y="1504"/>
                  <a:pt x="1030" y="1514"/>
                </a:cubicBezTo>
                <a:cubicBezTo>
                  <a:pt x="1033" y="1513"/>
                  <a:pt x="1036" y="1512"/>
                  <a:pt x="1038" y="1511"/>
                </a:cubicBezTo>
                <a:cubicBezTo>
                  <a:pt x="1041" y="1510"/>
                  <a:pt x="1043" y="1509"/>
                  <a:pt x="1045" y="1507"/>
                </a:cubicBezTo>
                <a:cubicBezTo>
                  <a:pt x="1045" y="1507"/>
                  <a:pt x="1045" y="1507"/>
                  <a:pt x="1045" y="1566"/>
                </a:cubicBezTo>
                <a:cubicBezTo>
                  <a:pt x="1045" y="1566"/>
                  <a:pt x="1045" y="1566"/>
                  <a:pt x="1057" y="1566"/>
                </a:cubicBezTo>
                <a:cubicBezTo>
                  <a:pt x="1057" y="1566"/>
                  <a:pt x="1057" y="1566"/>
                  <a:pt x="1057" y="1493"/>
                </a:cubicBezTo>
                <a:close/>
                <a:moveTo>
                  <a:pt x="1104" y="1493"/>
                </a:moveTo>
                <a:cubicBezTo>
                  <a:pt x="1104" y="1493"/>
                  <a:pt x="1104" y="1493"/>
                  <a:pt x="1104" y="1493"/>
                </a:cubicBezTo>
                <a:cubicBezTo>
                  <a:pt x="1099" y="1493"/>
                  <a:pt x="1099" y="1493"/>
                  <a:pt x="1099" y="1493"/>
                </a:cubicBezTo>
                <a:cubicBezTo>
                  <a:pt x="1097" y="1494"/>
                  <a:pt x="1095" y="1496"/>
                  <a:pt x="1093" y="1496"/>
                </a:cubicBezTo>
                <a:cubicBezTo>
                  <a:pt x="1092" y="1498"/>
                  <a:pt x="1090" y="1498"/>
                  <a:pt x="1088" y="1499"/>
                </a:cubicBezTo>
                <a:cubicBezTo>
                  <a:pt x="1087" y="1501"/>
                  <a:pt x="1085" y="1501"/>
                  <a:pt x="1083" y="1502"/>
                </a:cubicBezTo>
                <a:cubicBezTo>
                  <a:pt x="1081" y="1503"/>
                  <a:pt x="1080" y="1504"/>
                  <a:pt x="1077" y="1504"/>
                </a:cubicBezTo>
                <a:cubicBezTo>
                  <a:pt x="1077" y="1504"/>
                  <a:pt x="1077" y="1504"/>
                  <a:pt x="1077" y="1514"/>
                </a:cubicBezTo>
                <a:cubicBezTo>
                  <a:pt x="1080" y="1513"/>
                  <a:pt x="1083" y="1512"/>
                  <a:pt x="1085" y="1511"/>
                </a:cubicBezTo>
                <a:cubicBezTo>
                  <a:pt x="1088" y="1510"/>
                  <a:pt x="1090" y="1509"/>
                  <a:pt x="1092" y="1507"/>
                </a:cubicBezTo>
                <a:cubicBezTo>
                  <a:pt x="1092" y="1507"/>
                  <a:pt x="1092" y="1507"/>
                  <a:pt x="1092" y="1566"/>
                </a:cubicBezTo>
                <a:cubicBezTo>
                  <a:pt x="1092" y="1566"/>
                  <a:pt x="1092" y="1566"/>
                  <a:pt x="1104" y="1566"/>
                </a:cubicBezTo>
                <a:cubicBezTo>
                  <a:pt x="1104" y="1566"/>
                  <a:pt x="1104" y="1566"/>
                  <a:pt x="1104" y="1493"/>
                </a:cubicBezTo>
                <a:close/>
                <a:moveTo>
                  <a:pt x="1150" y="1493"/>
                </a:moveTo>
                <a:cubicBezTo>
                  <a:pt x="1150" y="1493"/>
                  <a:pt x="1150" y="1493"/>
                  <a:pt x="1150" y="1493"/>
                </a:cubicBezTo>
                <a:cubicBezTo>
                  <a:pt x="1146" y="1493"/>
                  <a:pt x="1146" y="1493"/>
                  <a:pt x="1146" y="1493"/>
                </a:cubicBezTo>
                <a:cubicBezTo>
                  <a:pt x="1144" y="1494"/>
                  <a:pt x="1142" y="1496"/>
                  <a:pt x="1140" y="1496"/>
                </a:cubicBezTo>
                <a:cubicBezTo>
                  <a:pt x="1139" y="1498"/>
                  <a:pt x="1137" y="1498"/>
                  <a:pt x="1135" y="1499"/>
                </a:cubicBezTo>
                <a:cubicBezTo>
                  <a:pt x="1133" y="1501"/>
                  <a:pt x="1132" y="1501"/>
                  <a:pt x="1130" y="1502"/>
                </a:cubicBezTo>
                <a:cubicBezTo>
                  <a:pt x="1128" y="1503"/>
                  <a:pt x="1126" y="1504"/>
                  <a:pt x="1124" y="1504"/>
                </a:cubicBezTo>
                <a:cubicBezTo>
                  <a:pt x="1124" y="1504"/>
                  <a:pt x="1124" y="1504"/>
                  <a:pt x="1124" y="1514"/>
                </a:cubicBezTo>
                <a:cubicBezTo>
                  <a:pt x="1127" y="1513"/>
                  <a:pt x="1130" y="1512"/>
                  <a:pt x="1132" y="1511"/>
                </a:cubicBezTo>
                <a:cubicBezTo>
                  <a:pt x="1135" y="1510"/>
                  <a:pt x="1137" y="1509"/>
                  <a:pt x="1139" y="1507"/>
                </a:cubicBezTo>
                <a:cubicBezTo>
                  <a:pt x="1139" y="1507"/>
                  <a:pt x="1139" y="1507"/>
                  <a:pt x="1139" y="1566"/>
                </a:cubicBezTo>
                <a:cubicBezTo>
                  <a:pt x="1139" y="1566"/>
                  <a:pt x="1139" y="1566"/>
                  <a:pt x="1150" y="1566"/>
                </a:cubicBezTo>
                <a:cubicBezTo>
                  <a:pt x="1150" y="1566"/>
                  <a:pt x="1150" y="1566"/>
                  <a:pt x="1150" y="1493"/>
                </a:cubicBezTo>
                <a:close/>
                <a:moveTo>
                  <a:pt x="1198" y="1493"/>
                </a:moveTo>
                <a:cubicBezTo>
                  <a:pt x="1198" y="1493"/>
                  <a:pt x="1198" y="1493"/>
                  <a:pt x="1198" y="1493"/>
                </a:cubicBezTo>
                <a:cubicBezTo>
                  <a:pt x="1193" y="1493"/>
                  <a:pt x="1193" y="1493"/>
                  <a:pt x="1193" y="1493"/>
                </a:cubicBezTo>
                <a:cubicBezTo>
                  <a:pt x="1191" y="1494"/>
                  <a:pt x="1190" y="1496"/>
                  <a:pt x="1187" y="1496"/>
                </a:cubicBezTo>
                <a:cubicBezTo>
                  <a:pt x="1186" y="1498"/>
                  <a:pt x="1184" y="1498"/>
                  <a:pt x="1182" y="1499"/>
                </a:cubicBezTo>
                <a:cubicBezTo>
                  <a:pt x="1181" y="1501"/>
                  <a:pt x="1178" y="1501"/>
                  <a:pt x="1177" y="1502"/>
                </a:cubicBezTo>
                <a:cubicBezTo>
                  <a:pt x="1175" y="1503"/>
                  <a:pt x="1173" y="1504"/>
                  <a:pt x="1171" y="1504"/>
                </a:cubicBezTo>
                <a:cubicBezTo>
                  <a:pt x="1171" y="1504"/>
                  <a:pt x="1171" y="1504"/>
                  <a:pt x="1171" y="1514"/>
                </a:cubicBezTo>
                <a:cubicBezTo>
                  <a:pt x="1174" y="1513"/>
                  <a:pt x="1177" y="1512"/>
                  <a:pt x="1179" y="1511"/>
                </a:cubicBezTo>
                <a:cubicBezTo>
                  <a:pt x="1182" y="1510"/>
                  <a:pt x="1184" y="1509"/>
                  <a:pt x="1187" y="1507"/>
                </a:cubicBezTo>
                <a:cubicBezTo>
                  <a:pt x="1187" y="1507"/>
                  <a:pt x="1187" y="1507"/>
                  <a:pt x="1187" y="1566"/>
                </a:cubicBezTo>
                <a:cubicBezTo>
                  <a:pt x="1187" y="1566"/>
                  <a:pt x="1187" y="1566"/>
                  <a:pt x="1198" y="1566"/>
                </a:cubicBezTo>
                <a:cubicBezTo>
                  <a:pt x="1198" y="1566"/>
                  <a:pt x="1198" y="1566"/>
                  <a:pt x="1198" y="1493"/>
                </a:cubicBezTo>
                <a:close/>
                <a:moveTo>
                  <a:pt x="1321" y="1493"/>
                </a:moveTo>
                <a:cubicBezTo>
                  <a:pt x="1321" y="1493"/>
                  <a:pt x="1321" y="1493"/>
                  <a:pt x="1321" y="1493"/>
                </a:cubicBezTo>
                <a:cubicBezTo>
                  <a:pt x="1316" y="1493"/>
                  <a:pt x="1316" y="1493"/>
                  <a:pt x="1316" y="1493"/>
                </a:cubicBezTo>
                <a:cubicBezTo>
                  <a:pt x="1314" y="1494"/>
                  <a:pt x="1313" y="1496"/>
                  <a:pt x="1310" y="1496"/>
                </a:cubicBezTo>
                <a:cubicBezTo>
                  <a:pt x="1309" y="1498"/>
                  <a:pt x="1307" y="1498"/>
                  <a:pt x="1305" y="1499"/>
                </a:cubicBezTo>
                <a:cubicBezTo>
                  <a:pt x="1304" y="1501"/>
                  <a:pt x="1302" y="1501"/>
                  <a:pt x="1300" y="1502"/>
                </a:cubicBezTo>
                <a:cubicBezTo>
                  <a:pt x="1298" y="1503"/>
                  <a:pt x="1297" y="1504"/>
                  <a:pt x="1294" y="1504"/>
                </a:cubicBezTo>
                <a:cubicBezTo>
                  <a:pt x="1294" y="1504"/>
                  <a:pt x="1294" y="1504"/>
                  <a:pt x="1294" y="1514"/>
                </a:cubicBezTo>
                <a:cubicBezTo>
                  <a:pt x="1297" y="1513"/>
                  <a:pt x="1300" y="1512"/>
                  <a:pt x="1303" y="1511"/>
                </a:cubicBezTo>
                <a:cubicBezTo>
                  <a:pt x="1305" y="1510"/>
                  <a:pt x="1307" y="1509"/>
                  <a:pt x="1310" y="1507"/>
                </a:cubicBezTo>
                <a:cubicBezTo>
                  <a:pt x="1310" y="1507"/>
                  <a:pt x="1310" y="1507"/>
                  <a:pt x="1310" y="1566"/>
                </a:cubicBezTo>
                <a:cubicBezTo>
                  <a:pt x="1310" y="1566"/>
                  <a:pt x="1310" y="1566"/>
                  <a:pt x="1321" y="1566"/>
                </a:cubicBezTo>
                <a:cubicBezTo>
                  <a:pt x="1321" y="1566"/>
                  <a:pt x="1321" y="1566"/>
                  <a:pt x="1321" y="1493"/>
                </a:cubicBezTo>
                <a:close/>
                <a:moveTo>
                  <a:pt x="1369" y="1493"/>
                </a:moveTo>
                <a:cubicBezTo>
                  <a:pt x="1369" y="1493"/>
                  <a:pt x="1369" y="1493"/>
                  <a:pt x="1369" y="1493"/>
                </a:cubicBezTo>
                <a:cubicBezTo>
                  <a:pt x="1364" y="1493"/>
                  <a:pt x="1364" y="1493"/>
                  <a:pt x="1364" y="1493"/>
                </a:cubicBezTo>
                <a:cubicBezTo>
                  <a:pt x="1362" y="1494"/>
                  <a:pt x="1360" y="1496"/>
                  <a:pt x="1358" y="1496"/>
                </a:cubicBezTo>
                <a:cubicBezTo>
                  <a:pt x="1356" y="1498"/>
                  <a:pt x="1354" y="1498"/>
                  <a:pt x="1353" y="1499"/>
                </a:cubicBezTo>
                <a:cubicBezTo>
                  <a:pt x="1351" y="1501"/>
                  <a:pt x="1349" y="1501"/>
                  <a:pt x="1348" y="1502"/>
                </a:cubicBezTo>
                <a:cubicBezTo>
                  <a:pt x="1346" y="1503"/>
                  <a:pt x="1344" y="1504"/>
                  <a:pt x="1342" y="1504"/>
                </a:cubicBezTo>
                <a:cubicBezTo>
                  <a:pt x="1342" y="1504"/>
                  <a:pt x="1342" y="1504"/>
                  <a:pt x="1342" y="1514"/>
                </a:cubicBezTo>
                <a:cubicBezTo>
                  <a:pt x="1345" y="1513"/>
                  <a:pt x="1348" y="1512"/>
                  <a:pt x="1350" y="1511"/>
                </a:cubicBezTo>
                <a:cubicBezTo>
                  <a:pt x="1353" y="1510"/>
                  <a:pt x="1355" y="1509"/>
                  <a:pt x="1357" y="1507"/>
                </a:cubicBezTo>
                <a:cubicBezTo>
                  <a:pt x="1357" y="1507"/>
                  <a:pt x="1357" y="1507"/>
                  <a:pt x="1357" y="1566"/>
                </a:cubicBezTo>
                <a:cubicBezTo>
                  <a:pt x="1357" y="1566"/>
                  <a:pt x="1357" y="1566"/>
                  <a:pt x="1369" y="1566"/>
                </a:cubicBezTo>
                <a:cubicBezTo>
                  <a:pt x="1369" y="1566"/>
                  <a:pt x="1369" y="1566"/>
                  <a:pt x="1369" y="1493"/>
                </a:cubicBezTo>
                <a:close/>
                <a:moveTo>
                  <a:pt x="1416" y="1493"/>
                </a:moveTo>
                <a:cubicBezTo>
                  <a:pt x="1416" y="1493"/>
                  <a:pt x="1416" y="1493"/>
                  <a:pt x="1416" y="1493"/>
                </a:cubicBezTo>
                <a:cubicBezTo>
                  <a:pt x="1411" y="1493"/>
                  <a:pt x="1411" y="1493"/>
                  <a:pt x="1411" y="1493"/>
                </a:cubicBezTo>
                <a:cubicBezTo>
                  <a:pt x="1410" y="1494"/>
                  <a:pt x="1408" y="1496"/>
                  <a:pt x="1406" y="1496"/>
                </a:cubicBezTo>
                <a:cubicBezTo>
                  <a:pt x="1404" y="1498"/>
                  <a:pt x="1403" y="1498"/>
                  <a:pt x="1400" y="1499"/>
                </a:cubicBezTo>
                <a:cubicBezTo>
                  <a:pt x="1399" y="1501"/>
                  <a:pt x="1397" y="1501"/>
                  <a:pt x="1395" y="1502"/>
                </a:cubicBezTo>
                <a:cubicBezTo>
                  <a:pt x="1393" y="1503"/>
                  <a:pt x="1392" y="1504"/>
                  <a:pt x="1389" y="1504"/>
                </a:cubicBezTo>
                <a:cubicBezTo>
                  <a:pt x="1389" y="1504"/>
                  <a:pt x="1389" y="1504"/>
                  <a:pt x="1389" y="1514"/>
                </a:cubicBezTo>
                <a:cubicBezTo>
                  <a:pt x="1392" y="1513"/>
                  <a:pt x="1395" y="1512"/>
                  <a:pt x="1398" y="1511"/>
                </a:cubicBezTo>
                <a:cubicBezTo>
                  <a:pt x="1400" y="1510"/>
                  <a:pt x="1403" y="1509"/>
                  <a:pt x="1405" y="1507"/>
                </a:cubicBezTo>
                <a:cubicBezTo>
                  <a:pt x="1405" y="1507"/>
                  <a:pt x="1405" y="1507"/>
                  <a:pt x="1405" y="1566"/>
                </a:cubicBezTo>
                <a:cubicBezTo>
                  <a:pt x="1405" y="1566"/>
                  <a:pt x="1405" y="1566"/>
                  <a:pt x="1416" y="1566"/>
                </a:cubicBezTo>
                <a:cubicBezTo>
                  <a:pt x="1416" y="1566"/>
                  <a:pt x="1416" y="1566"/>
                  <a:pt x="1416" y="1493"/>
                </a:cubicBezTo>
                <a:close/>
                <a:moveTo>
                  <a:pt x="1463" y="1493"/>
                </a:moveTo>
                <a:cubicBezTo>
                  <a:pt x="1463" y="1493"/>
                  <a:pt x="1463" y="1493"/>
                  <a:pt x="1463" y="1493"/>
                </a:cubicBezTo>
                <a:cubicBezTo>
                  <a:pt x="1459" y="1493"/>
                  <a:pt x="1459" y="1493"/>
                  <a:pt x="1459" y="1493"/>
                </a:cubicBezTo>
                <a:cubicBezTo>
                  <a:pt x="1456" y="1494"/>
                  <a:pt x="1455" y="1496"/>
                  <a:pt x="1453" y="1496"/>
                </a:cubicBezTo>
                <a:cubicBezTo>
                  <a:pt x="1451" y="1498"/>
                  <a:pt x="1449" y="1498"/>
                  <a:pt x="1448" y="1499"/>
                </a:cubicBezTo>
                <a:cubicBezTo>
                  <a:pt x="1446" y="1500"/>
                  <a:pt x="1444" y="1501"/>
                  <a:pt x="1442" y="1501"/>
                </a:cubicBezTo>
                <a:cubicBezTo>
                  <a:pt x="1441" y="1502"/>
                  <a:pt x="1438" y="1503"/>
                  <a:pt x="1437" y="1504"/>
                </a:cubicBezTo>
                <a:cubicBezTo>
                  <a:pt x="1437" y="1504"/>
                  <a:pt x="1437" y="1504"/>
                  <a:pt x="1437" y="1514"/>
                </a:cubicBezTo>
                <a:cubicBezTo>
                  <a:pt x="1440" y="1513"/>
                  <a:pt x="1443" y="1512"/>
                  <a:pt x="1445" y="1511"/>
                </a:cubicBezTo>
                <a:cubicBezTo>
                  <a:pt x="1447" y="1510"/>
                  <a:pt x="1450" y="1509"/>
                  <a:pt x="1451" y="1507"/>
                </a:cubicBezTo>
                <a:cubicBezTo>
                  <a:pt x="1451" y="1507"/>
                  <a:pt x="1451" y="1507"/>
                  <a:pt x="1451" y="1566"/>
                </a:cubicBezTo>
                <a:cubicBezTo>
                  <a:pt x="1451" y="1566"/>
                  <a:pt x="1451" y="1566"/>
                  <a:pt x="1463" y="1566"/>
                </a:cubicBezTo>
                <a:cubicBezTo>
                  <a:pt x="1463" y="1566"/>
                  <a:pt x="1463" y="1566"/>
                  <a:pt x="1463" y="1493"/>
                </a:cubicBezTo>
                <a:close/>
                <a:moveTo>
                  <a:pt x="1219" y="1525"/>
                </a:moveTo>
                <a:cubicBezTo>
                  <a:pt x="1219" y="1525"/>
                  <a:pt x="1219" y="1525"/>
                  <a:pt x="1219" y="1525"/>
                </a:cubicBezTo>
                <a:cubicBezTo>
                  <a:pt x="1219" y="1533"/>
                  <a:pt x="1219" y="1533"/>
                  <a:pt x="1219" y="1533"/>
                </a:cubicBezTo>
                <a:cubicBezTo>
                  <a:pt x="1225" y="1534"/>
                  <a:pt x="1226" y="1537"/>
                  <a:pt x="1226" y="1539"/>
                </a:cubicBezTo>
                <a:cubicBezTo>
                  <a:pt x="1226" y="1541"/>
                  <a:pt x="1225" y="1544"/>
                  <a:pt x="1225" y="1546"/>
                </a:cubicBezTo>
                <a:cubicBezTo>
                  <a:pt x="1225" y="1549"/>
                  <a:pt x="1225" y="1551"/>
                  <a:pt x="1225" y="1553"/>
                </a:cubicBezTo>
                <a:cubicBezTo>
                  <a:pt x="1225" y="1563"/>
                  <a:pt x="1231" y="1566"/>
                  <a:pt x="1239" y="1566"/>
                </a:cubicBezTo>
                <a:cubicBezTo>
                  <a:pt x="1239" y="1566"/>
                  <a:pt x="1239" y="1566"/>
                  <a:pt x="1243" y="1566"/>
                </a:cubicBezTo>
                <a:cubicBezTo>
                  <a:pt x="1243" y="1566"/>
                  <a:pt x="1243" y="1566"/>
                  <a:pt x="1243" y="1557"/>
                </a:cubicBezTo>
                <a:cubicBezTo>
                  <a:pt x="1243" y="1557"/>
                  <a:pt x="1243" y="1557"/>
                  <a:pt x="1242" y="1557"/>
                </a:cubicBezTo>
                <a:cubicBezTo>
                  <a:pt x="1238" y="1557"/>
                  <a:pt x="1237" y="1555"/>
                  <a:pt x="1237" y="1551"/>
                </a:cubicBezTo>
                <a:cubicBezTo>
                  <a:pt x="1237" y="1550"/>
                  <a:pt x="1237" y="1548"/>
                  <a:pt x="1237" y="1546"/>
                </a:cubicBezTo>
                <a:cubicBezTo>
                  <a:pt x="1237" y="1545"/>
                  <a:pt x="1237" y="1543"/>
                  <a:pt x="1237" y="1540"/>
                </a:cubicBezTo>
                <a:cubicBezTo>
                  <a:pt x="1237" y="1533"/>
                  <a:pt x="1234" y="1530"/>
                  <a:pt x="1229" y="1529"/>
                </a:cubicBezTo>
                <a:cubicBezTo>
                  <a:pt x="1229" y="1529"/>
                  <a:pt x="1229" y="1529"/>
                  <a:pt x="1229" y="1529"/>
                </a:cubicBezTo>
                <a:cubicBezTo>
                  <a:pt x="1234" y="1528"/>
                  <a:pt x="1237" y="1525"/>
                  <a:pt x="1237" y="1518"/>
                </a:cubicBezTo>
                <a:cubicBezTo>
                  <a:pt x="1237" y="1515"/>
                  <a:pt x="1237" y="1513"/>
                  <a:pt x="1237" y="1512"/>
                </a:cubicBezTo>
                <a:cubicBezTo>
                  <a:pt x="1237" y="1510"/>
                  <a:pt x="1237" y="1508"/>
                  <a:pt x="1237" y="1507"/>
                </a:cubicBezTo>
                <a:cubicBezTo>
                  <a:pt x="1237" y="1503"/>
                  <a:pt x="1238" y="1501"/>
                  <a:pt x="1242" y="1501"/>
                </a:cubicBezTo>
                <a:cubicBezTo>
                  <a:pt x="1242" y="1501"/>
                  <a:pt x="1242" y="1501"/>
                  <a:pt x="1243" y="1501"/>
                </a:cubicBezTo>
                <a:cubicBezTo>
                  <a:pt x="1243" y="1501"/>
                  <a:pt x="1243" y="1501"/>
                  <a:pt x="1243" y="1492"/>
                </a:cubicBezTo>
                <a:cubicBezTo>
                  <a:pt x="1243" y="1492"/>
                  <a:pt x="1243" y="1492"/>
                  <a:pt x="1239" y="1492"/>
                </a:cubicBezTo>
                <a:cubicBezTo>
                  <a:pt x="1230" y="1492"/>
                  <a:pt x="1225" y="1496"/>
                  <a:pt x="1225" y="1504"/>
                </a:cubicBezTo>
                <a:cubicBezTo>
                  <a:pt x="1225" y="1507"/>
                  <a:pt x="1225" y="1509"/>
                  <a:pt x="1225" y="1512"/>
                </a:cubicBezTo>
                <a:cubicBezTo>
                  <a:pt x="1225" y="1514"/>
                  <a:pt x="1226" y="1517"/>
                  <a:pt x="1226" y="1519"/>
                </a:cubicBezTo>
                <a:cubicBezTo>
                  <a:pt x="1226" y="1521"/>
                  <a:pt x="1225" y="1525"/>
                  <a:pt x="1219" y="1525"/>
                </a:cubicBezTo>
                <a:close/>
                <a:moveTo>
                  <a:pt x="1274" y="1533"/>
                </a:moveTo>
                <a:cubicBezTo>
                  <a:pt x="1274" y="1533"/>
                  <a:pt x="1274" y="1533"/>
                  <a:pt x="1274" y="1533"/>
                </a:cubicBezTo>
                <a:cubicBezTo>
                  <a:pt x="1274" y="1525"/>
                  <a:pt x="1274" y="1525"/>
                  <a:pt x="1274" y="1525"/>
                </a:cubicBezTo>
                <a:cubicBezTo>
                  <a:pt x="1267" y="1525"/>
                  <a:pt x="1267" y="1521"/>
                  <a:pt x="1267" y="1519"/>
                </a:cubicBezTo>
                <a:cubicBezTo>
                  <a:pt x="1267" y="1517"/>
                  <a:pt x="1267" y="1514"/>
                  <a:pt x="1267" y="1512"/>
                </a:cubicBezTo>
                <a:cubicBezTo>
                  <a:pt x="1268" y="1509"/>
                  <a:pt x="1268" y="1507"/>
                  <a:pt x="1268" y="1504"/>
                </a:cubicBezTo>
                <a:cubicBezTo>
                  <a:pt x="1268" y="1496"/>
                  <a:pt x="1263" y="1492"/>
                  <a:pt x="1253" y="1492"/>
                </a:cubicBezTo>
                <a:cubicBezTo>
                  <a:pt x="1253" y="1492"/>
                  <a:pt x="1253" y="1492"/>
                  <a:pt x="1250" y="1492"/>
                </a:cubicBezTo>
                <a:cubicBezTo>
                  <a:pt x="1250" y="1492"/>
                  <a:pt x="1250" y="1492"/>
                  <a:pt x="1250" y="1501"/>
                </a:cubicBezTo>
                <a:cubicBezTo>
                  <a:pt x="1250" y="1501"/>
                  <a:pt x="1250" y="1501"/>
                  <a:pt x="1251" y="1501"/>
                </a:cubicBezTo>
                <a:cubicBezTo>
                  <a:pt x="1255" y="1501"/>
                  <a:pt x="1256" y="1503"/>
                  <a:pt x="1256" y="1507"/>
                </a:cubicBezTo>
                <a:cubicBezTo>
                  <a:pt x="1256" y="1508"/>
                  <a:pt x="1256" y="1510"/>
                  <a:pt x="1256" y="1512"/>
                </a:cubicBezTo>
                <a:cubicBezTo>
                  <a:pt x="1256" y="1513"/>
                  <a:pt x="1256" y="1515"/>
                  <a:pt x="1256" y="1518"/>
                </a:cubicBezTo>
                <a:cubicBezTo>
                  <a:pt x="1256" y="1525"/>
                  <a:pt x="1258" y="1528"/>
                  <a:pt x="1264" y="1529"/>
                </a:cubicBezTo>
                <a:cubicBezTo>
                  <a:pt x="1264" y="1529"/>
                  <a:pt x="1264" y="1529"/>
                  <a:pt x="1264" y="1529"/>
                </a:cubicBezTo>
                <a:cubicBezTo>
                  <a:pt x="1258" y="1530"/>
                  <a:pt x="1256" y="1533"/>
                  <a:pt x="1256" y="1540"/>
                </a:cubicBezTo>
                <a:cubicBezTo>
                  <a:pt x="1256" y="1543"/>
                  <a:pt x="1256" y="1545"/>
                  <a:pt x="1256" y="1546"/>
                </a:cubicBezTo>
                <a:cubicBezTo>
                  <a:pt x="1256" y="1548"/>
                  <a:pt x="1256" y="1550"/>
                  <a:pt x="1256" y="1551"/>
                </a:cubicBezTo>
                <a:cubicBezTo>
                  <a:pt x="1256" y="1555"/>
                  <a:pt x="1255" y="1557"/>
                  <a:pt x="1251" y="1557"/>
                </a:cubicBezTo>
                <a:cubicBezTo>
                  <a:pt x="1251" y="1557"/>
                  <a:pt x="1251" y="1557"/>
                  <a:pt x="1250" y="1557"/>
                </a:cubicBezTo>
                <a:cubicBezTo>
                  <a:pt x="1250" y="1557"/>
                  <a:pt x="1250" y="1557"/>
                  <a:pt x="1250" y="1566"/>
                </a:cubicBezTo>
                <a:cubicBezTo>
                  <a:pt x="1250" y="1566"/>
                  <a:pt x="1250" y="1566"/>
                  <a:pt x="1253" y="1566"/>
                </a:cubicBezTo>
                <a:cubicBezTo>
                  <a:pt x="1262" y="1566"/>
                  <a:pt x="1268" y="1563"/>
                  <a:pt x="1268" y="1553"/>
                </a:cubicBezTo>
                <a:cubicBezTo>
                  <a:pt x="1268" y="1551"/>
                  <a:pt x="1268" y="1549"/>
                  <a:pt x="1267" y="1546"/>
                </a:cubicBezTo>
                <a:cubicBezTo>
                  <a:pt x="1267" y="1544"/>
                  <a:pt x="1267" y="1541"/>
                  <a:pt x="1267" y="1539"/>
                </a:cubicBezTo>
                <a:cubicBezTo>
                  <a:pt x="1267" y="1537"/>
                  <a:pt x="1267" y="1534"/>
                  <a:pt x="1274" y="1533"/>
                </a:cubicBezTo>
                <a:close/>
                <a:moveTo>
                  <a:pt x="1601" y="1525"/>
                </a:moveTo>
                <a:cubicBezTo>
                  <a:pt x="1601" y="1525"/>
                  <a:pt x="1601" y="1525"/>
                  <a:pt x="1601" y="1525"/>
                </a:cubicBezTo>
                <a:cubicBezTo>
                  <a:pt x="1601" y="1533"/>
                  <a:pt x="1601" y="1533"/>
                  <a:pt x="1601" y="1533"/>
                </a:cubicBezTo>
                <a:cubicBezTo>
                  <a:pt x="1607" y="1534"/>
                  <a:pt x="1608" y="1537"/>
                  <a:pt x="1608" y="1539"/>
                </a:cubicBezTo>
                <a:cubicBezTo>
                  <a:pt x="1608" y="1541"/>
                  <a:pt x="1607" y="1544"/>
                  <a:pt x="1607" y="1546"/>
                </a:cubicBezTo>
                <a:cubicBezTo>
                  <a:pt x="1607" y="1549"/>
                  <a:pt x="1607" y="1551"/>
                  <a:pt x="1607" y="1553"/>
                </a:cubicBezTo>
                <a:cubicBezTo>
                  <a:pt x="1607" y="1563"/>
                  <a:pt x="1613" y="1566"/>
                  <a:pt x="1621" y="1566"/>
                </a:cubicBezTo>
                <a:cubicBezTo>
                  <a:pt x="1621" y="1566"/>
                  <a:pt x="1621" y="1566"/>
                  <a:pt x="1625" y="1566"/>
                </a:cubicBezTo>
                <a:cubicBezTo>
                  <a:pt x="1625" y="1566"/>
                  <a:pt x="1625" y="1566"/>
                  <a:pt x="1625" y="1557"/>
                </a:cubicBezTo>
                <a:cubicBezTo>
                  <a:pt x="1625" y="1557"/>
                  <a:pt x="1625" y="1557"/>
                  <a:pt x="1624" y="1557"/>
                </a:cubicBezTo>
                <a:cubicBezTo>
                  <a:pt x="1620" y="1557"/>
                  <a:pt x="1619" y="1555"/>
                  <a:pt x="1619" y="1551"/>
                </a:cubicBezTo>
                <a:cubicBezTo>
                  <a:pt x="1619" y="1550"/>
                  <a:pt x="1619" y="1548"/>
                  <a:pt x="1619" y="1546"/>
                </a:cubicBezTo>
                <a:cubicBezTo>
                  <a:pt x="1619" y="1545"/>
                  <a:pt x="1619" y="1543"/>
                  <a:pt x="1619" y="1540"/>
                </a:cubicBezTo>
                <a:cubicBezTo>
                  <a:pt x="1619" y="1533"/>
                  <a:pt x="1616" y="1530"/>
                  <a:pt x="1611" y="1529"/>
                </a:cubicBezTo>
                <a:cubicBezTo>
                  <a:pt x="1611" y="1529"/>
                  <a:pt x="1611" y="1529"/>
                  <a:pt x="1611" y="1529"/>
                </a:cubicBezTo>
                <a:cubicBezTo>
                  <a:pt x="1616" y="1528"/>
                  <a:pt x="1619" y="1525"/>
                  <a:pt x="1619" y="1518"/>
                </a:cubicBezTo>
                <a:cubicBezTo>
                  <a:pt x="1619" y="1515"/>
                  <a:pt x="1619" y="1513"/>
                  <a:pt x="1619" y="1512"/>
                </a:cubicBezTo>
                <a:cubicBezTo>
                  <a:pt x="1619" y="1510"/>
                  <a:pt x="1619" y="1508"/>
                  <a:pt x="1619" y="1507"/>
                </a:cubicBezTo>
                <a:cubicBezTo>
                  <a:pt x="1619" y="1503"/>
                  <a:pt x="1620" y="1501"/>
                  <a:pt x="1624" y="1501"/>
                </a:cubicBezTo>
                <a:cubicBezTo>
                  <a:pt x="1624" y="1501"/>
                  <a:pt x="1624" y="1501"/>
                  <a:pt x="1625" y="1501"/>
                </a:cubicBezTo>
                <a:cubicBezTo>
                  <a:pt x="1625" y="1501"/>
                  <a:pt x="1625" y="1501"/>
                  <a:pt x="1625" y="1492"/>
                </a:cubicBezTo>
                <a:cubicBezTo>
                  <a:pt x="1625" y="1492"/>
                  <a:pt x="1625" y="1492"/>
                  <a:pt x="1621" y="1492"/>
                </a:cubicBezTo>
                <a:cubicBezTo>
                  <a:pt x="1612" y="1492"/>
                  <a:pt x="1607" y="1496"/>
                  <a:pt x="1607" y="1504"/>
                </a:cubicBezTo>
                <a:cubicBezTo>
                  <a:pt x="1607" y="1507"/>
                  <a:pt x="1607" y="1509"/>
                  <a:pt x="1607" y="1512"/>
                </a:cubicBezTo>
                <a:cubicBezTo>
                  <a:pt x="1607" y="1514"/>
                  <a:pt x="1608" y="1517"/>
                  <a:pt x="1608" y="1519"/>
                </a:cubicBezTo>
                <a:cubicBezTo>
                  <a:pt x="1608" y="1521"/>
                  <a:pt x="1607" y="1525"/>
                  <a:pt x="1601" y="1525"/>
                </a:cubicBezTo>
                <a:close/>
                <a:moveTo>
                  <a:pt x="1656" y="1533"/>
                </a:moveTo>
                <a:cubicBezTo>
                  <a:pt x="1656" y="1533"/>
                  <a:pt x="1656" y="1533"/>
                  <a:pt x="1656" y="1533"/>
                </a:cubicBezTo>
                <a:cubicBezTo>
                  <a:pt x="1656" y="1525"/>
                  <a:pt x="1656" y="1525"/>
                  <a:pt x="1656" y="1525"/>
                </a:cubicBezTo>
                <a:cubicBezTo>
                  <a:pt x="1650" y="1525"/>
                  <a:pt x="1649" y="1521"/>
                  <a:pt x="1649" y="1519"/>
                </a:cubicBezTo>
                <a:cubicBezTo>
                  <a:pt x="1649" y="1517"/>
                  <a:pt x="1649" y="1514"/>
                  <a:pt x="1650" y="1512"/>
                </a:cubicBezTo>
                <a:cubicBezTo>
                  <a:pt x="1650" y="1509"/>
                  <a:pt x="1650" y="1507"/>
                  <a:pt x="1650" y="1504"/>
                </a:cubicBezTo>
                <a:cubicBezTo>
                  <a:pt x="1650" y="1496"/>
                  <a:pt x="1645" y="1492"/>
                  <a:pt x="1636" y="1492"/>
                </a:cubicBezTo>
                <a:cubicBezTo>
                  <a:pt x="1636" y="1492"/>
                  <a:pt x="1636" y="1492"/>
                  <a:pt x="1632" y="1492"/>
                </a:cubicBezTo>
                <a:cubicBezTo>
                  <a:pt x="1632" y="1492"/>
                  <a:pt x="1632" y="1492"/>
                  <a:pt x="1632" y="1501"/>
                </a:cubicBezTo>
                <a:cubicBezTo>
                  <a:pt x="1632" y="1501"/>
                  <a:pt x="1632" y="1501"/>
                  <a:pt x="1633" y="1501"/>
                </a:cubicBezTo>
                <a:cubicBezTo>
                  <a:pt x="1637" y="1501"/>
                  <a:pt x="1638" y="1503"/>
                  <a:pt x="1638" y="1507"/>
                </a:cubicBezTo>
                <a:cubicBezTo>
                  <a:pt x="1638" y="1508"/>
                  <a:pt x="1638" y="1510"/>
                  <a:pt x="1638" y="1512"/>
                </a:cubicBezTo>
                <a:cubicBezTo>
                  <a:pt x="1638" y="1513"/>
                  <a:pt x="1638" y="1515"/>
                  <a:pt x="1638" y="1518"/>
                </a:cubicBezTo>
                <a:cubicBezTo>
                  <a:pt x="1638" y="1525"/>
                  <a:pt x="1640" y="1528"/>
                  <a:pt x="1646" y="1529"/>
                </a:cubicBezTo>
                <a:cubicBezTo>
                  <a:pt x="1646" y="1529"/>
                  <a:pt x="1646" y="1529"/>
                  <a:pt x="1646" y="1529"/>
                </a:cubicBezTo>
                <a:cubicBezTo>
                  <a:pt x="1640" y="1530"/>
                  <a:pt x="1638" y="1533"/>
                  <a:pt x="1638" y="1540"/>
                </a:cubicBezTo>
                <a:cubicBezTo>
                  <a:pt x="1638" y="1543"/>
                  <a:pt x="1638" y="1545"/>
                  <a:pt x="1638" y="1546"/>
                </a:cubicBezTo>
                <a:cubicBezTo>
                  <a:pt x="1638" y="1548"/>
                  <a:pt x="1638" y="1550"/>
                  <a:pt x="1638" y="1551"/>
                </a:cubicBezTo>
                <a:cubicBezTo>
                  <a:pt x="1638" y="1555"/>
                  <a:pt x="1637" y="1557"/>
                  <a:pt x="1633" y="1557"/>
                </a:cubicBezTo>
                <a:cubicBezTo>
                  <a:pt x="1633" y="1557"/>
                  <a:pt x="1633" y="1557"/>
                  <a:pt x="1632" y="1557"/>
                </a:cubicBezTo>
                <a:cubicBezTo>
                  <a:pt x="1632" y="1557"/>
                  <a:pt x="1632" y="1557"/>
                  <a:pt x="1632" y="1566"/>
                </a:cubicBezTo>
                <a:cubicBezTo>
                  <a:pt x="1632" y="1566"/>
                  <a:pt x="1632" y="1566"/>
                  <a:pt x="1636" y="1566"/>
                </a:cubicBezTo>
                <a:cubicBezTo>
                  <a:pt x="1644" y="1566"/>
                  <a:pt x="1650" y="1563"/>
                  <a:pt x="1650" y="1553"/>
                </a:cubicBezTo>
                <a:cubicBezTo>
                  <a:pt x="1650" y="1551"/>
                  <a:pt x="1650" y="1549"/>
                  <a:pt x="1650" y="1546"/>
                </a:cubicBezTo>
                <a:cubicBezTo>
                  <a:pt x="1649" y="1544"/>
                  <a:pt x="1649" y="1541"/>
                  <a:pt x="1649" y="1539"/>
                </a:cubicBezTo>
                <a:cubicBezTo>
                  <a:pt x="1649" y="1537"/>
                  <a:pt x="1650" y="1534"/>
                  <a:pt x="1656" y="1533"/>
                </a:cubicBezTo>
                <a:close/>
                <a:moveTo>
                  <a:pt x="1703" y="1493"/>
                </a:moveTo>
                <a:cubicBezTo>
                  <a:pt x="1703" y="1493"/>
                  <a:pt x="1703" y="1493"/>
                  <a:pt x="1703" y="1493"/>
                </a:cubicBezTo>
                <a:cubicBezTo>
                  <a:pt x="1698" y="1493"/>
                  <a:pt x="1698" y="1493"/>
                  <a:pt x="1698" y="1493"/>
                </a:cubicBezTo>
                <a:cubicBezTo>
                  <a:pt x="1696" y="1494"/>
                  <a:pt x="1695" y="1496"/>
                  <a:pt x="1692" y="1496"/>
                </a:cubicBezTo>
                <a:cubicBezTo>
                  <a:pt x="1691" y="1498"/>
                  <a:pt x="1689" y="1498"/>
                  <a:pt x="1687" y="1499"/>
                </a:cubicBezTo>
                <a:cubicBezTo>
                  <a:pt x="1685" y="1500"/>
                  <a:pt x="1684" y="1501"/>
                  <a:pt x="1682" y="1501"/>
                </a:cubicBezTo>
                <a:cubicBezTo>
                  <a:pt x="1680" y="1502"/>
                  <a:pt x="1679" y="1503"/>
                  <a:pt x="1676" y="1504"/>
                </a:cubicBezTo>
                <a:cubicBezTo>
                  <a:pt x="1676" y="1504"/>
                  <a:pt x="1676" y="1504"/>
                  <a:pt x="1676" y="1514"/>
                </a:cubicBezTo>
                <a:cubicBezTo>
                  <a:pt x="1679" y="1513"/>
                  <a:pt x="1682" y="1512"/>
                  <a:pt x="1684" y="1511"/>
                </a:cubicBezTo>
                <a:cubicBezTo>
                  <a:pt x="1687" y="1510"/>
                  <a:pt x="1690" y="1509"/>
                  <a:pt x="1692" y="1507"/>
                </a:cubicBezTo>
                <a:cubicBezTo>
                  <a:pt x="1692" y="1507"/>
                  <a:pt x="1692" y="1507"/>
                  <a:pt x="1692" y="1566"/>
                </a:cubicBezTo>
                <a:cubicBezTo>
                  <a:pt x="1692" y="1566"/>
                  <a:pt x="1692" y="1566"/>
                  <a:pt x="1703" y="1566"/>
                </a:cubicBezTo>
                <a:cubicBezTo>
                  <a:pt x="1703" y="1566"/>
                  <a:pt x="1703" y="1566"/>
                  <a:pt x="1703" y="1493"/>
                </a:cubicBezTo>
                <a:close/>
                <a:moveTo>
                  <a:pt x="1750" y="1493"/>
                </a:moveTo>
                <a:cubicBezTo>
                  <a:pt x="1750" y="1493"/>
                  <a:pt x="1750" y="1493"/>
                  <a:pt x="1750" y="1493"/>
                </a:cubicBezTo>
                <a:cubicBezTo>
                  <a:pt x="1745" y="1493"/>
                  <a:pt x="1745" y="1493"/>
                  <a:pt x="1745" y="1493"/>
                </a:cubicBezTo>
                <a:cubicBezTo>
                  <a:pt x="1743" y="1494"/>
                  <a:pt x="1742" y="1496"/>
                  <a:pt x="1740" y="1496"/>
                </a:cubicBezTo>
                <a:cubicBezTo>
                  <a:pt x="1738" y="1498"/>
                  <a:pt x="1736" y="1498"/>
                  <a:pt x="1735" y="1499"/>
                </a:cubicBezTo>
                <a:cubicBezTo>
                  <a:pt x="1733" y="1501"/>
                  <a:pt x="1731" y="1501"/>
                  <a:pt x="1730" y="1502"/>
                </a:cubicBezTo>
                <a:cubicBezTo>
                  <a:pt x="1728" y="1503"/>
                  <a:pt x="1726" y="1504"/>
                  <a:pt x="1724" y="1504"/>
                </a:cubicBezTo>
                <a:cubicBezTo>
                  <a:pt x="1724" y="1504"/>
                  <a:pt x="1724" y="1504"/>
                  <a:pt x="1724" y="1514"/>
                </a:cubicBezTo>
                <a:cubicBezTo>
                  <a:pt x="1727" y="1513"/>
                  <a:pt x="1730" y="1512"/>
                  <a:pt x="1732" y="1511"/>
                </a:cubicBezTo>
                <a:cubicBezTo>
                  <a:pt x="1735" y="1510"/>
                  <a:pt x="1737" y="1509"/>
                  <a:pt x="1739" y="1507"/>
                </a:cubicBezTo>
                <a:cubicBezTo>
                  <a:pt x="1739" y="1507"/>
                  <a:pt x="1739" y="1507"/>
                  <a:pt x="1739" y="1566"/>
                </a:cubicBezTo>
                <a:cubicBezTo>
                  <a:pt x="1739" y="1566"/>
                  <a:pt x="1739" y="1566"/>
                  <a:pt x="1750" y="1566"/>
                </a:cubicBezTo>
                <a:cubicBezTo>
                  <a:pt x="1750" y="1566"/>
                  <a:pt x="1750" y="1566"/>
                  <a:pt x="1750" y="1493"/>
                </a:cubicBezTo>
                <a:close/>
                <a:moveTo>
                  <a:pt x="1797" y="1493"/>
                </a:moveTo>
                <a:cubicBezTo>
                  <a:pt x="1797" y="1493"/>
                  <a:pt x="1797" y="1493"/>
                  <a:pt x="1797" y="1493"/>
                </a:cubicBezTo>
                <a:cubicBezTo>
                  <a:pt x="1793" y="1493"/>
                  <a:pt x="1793" y="1493"/>
                  <a:pt x="1793" y="1493"/>
                </a:cubicBezTo>
                <a:cubicBezTo>
                  <a:pt x="1790" y="1494"/>
                  <a:pt x="1789" y="1496"/>
                  <a:pt x="1787" y="1496"/>
                </a:cubicBezTo>
                <a:cubicBezTo>
                  <a:pt x="1785" y="1498"/>
                  <a:pt x="1783" y="1498"/>
                  <a:pt x="1782" y="1499"/>
                </a:cubicBezTo>
                <a:cubicBezTo>
                  <a:pt x="1780" y="1501"/>
                  <a:pt x="1778" y="1501"/>
                  <a:pt x="1776" y="1502"/>
                </a:cubicBezTo>
                <a:cubicBezTo>
                  <a:pt x="1775" y="1503"/>
                  <a:pt x="1772" y="1504"/>
                  <a:pt x="1771" y="1504"/>
                </a:cubicBezTo>
                <a:cubicBezTo>
                  <a:pt x="1771" y="1504"/>
                  <a:pt x="1771" y="1504"/>
                  <a:pt x="1771" y="1514"/>
                </a:cubicBezTo>
                <a:cubicBezTo>
                  <a:pt x="1774" y="1513"/>
                  <a:pt x="1777" y="1512"/>
                  <a:pt x="1779" y="1511"/>
                </a:cubicBezTo>
                <a:cubicBezTo>
                  <a:pt x="1781" y="1510"/>
                  <a:pt x="1784" y="1509"/>
                  <a:pt x="1785" y="1507"/>
                </a:cubicBezTo>
                <a:cubicBezTo>
                  <a:pt x="1785" y="1507"/>
                  <a:pt x="1785" y="1507"/>
                  <a:pt x="1785" y="1566"/>
                </a:cubicBezTo>
                <a:cubicBezTo>
                  <a:pt x="1785" y="1566"/>
                  <a:pt x="1785" y="1566"/>
                  <a:pt x="1797" y="1566"/>
                </a:cubicBezTo>
                <a:cubicBezTo>
                  <a:pt x="1797" y="1566"/>
                  <a:pt x="1797" y="1566"/>
                  <a:pt x="1797" y="1493"/>
                </a:cubicBezTo>
                <a:close/>
                <a:moveTo>
                  <a:pt x="1920" y="1493"/>
                </a:moveTo>
                <a:cubicBezTo>
                  <a:pt x="1920" y="1493"/>
                  <a:pt x="1920" y="1493"/>
                  <a:pt x="1920" y="1493"/>
                </a:cubicBezTo>
                <a:cubicBezTo>
                  <a:pt x="1915" y="1493"/>
                  <a:pt x="1915" y="1493"/>
                  <a:pt x="1915" y="1493"/>
                </a:cubicBezTo>
                <a:cubicBezTo>
                  <a:pt x="1913" y="1494"/>
                  <a:pt x="1911" y="1496"/>
                  <a:pt x="1909" y="1496"/>
                </a:cubicBezTo>
                <a:cubicBezTo>
                  <a:pt x="1908" y="1498"/>
                  <a:pt x="1906" y="1498"/>
                  <a:pt x="1904" y="1499"/>
                </a:cubicBezTo>
                <a:cubicBezTo>
                  <a:pt x="1903" y="1501"/>
                  <a:pt x="1900" y="1501"/>
                  <a:pt x="1899" y="1502"/>
                </a:cubicBezTo>
                <a:cubicBezTo>
                  <a:pt x="1897" y="1503"/>
                  <a:pt x="1895" y="1504"/>
                  <a:pt x="1893" y="1504"/>
                </a:cubicBezTo>
                <a:cubicBezTo>
                  <a:pt x="1893" y="1504"/>
                  <a:pt x="1893" y="1504"/>
                  <a:pt x="1893" y="1514"/>
                </a:cubicBezTo>
                <a:cubicBezTo>
                  <a:pt x="1896" y="1513"/>
                  <a:pt x="1899" y="1512"/>
                  <a:pt x="1902" y="1511"/>
                </a:cubicBezTo>
                <a:cubicBezTo>
                  <a:pt x="1904" y="1510"/>
                  <a:pt x="1906" y="1509"/>
                  <a:pt x="1909" y="1507"/>
                </a:cubicBezTo>
                <a:cubicBezTo>
                  <a:pt x="1909" y="1507"/>
                  <a:pt x="1909" y="1507"/>
                  <a:pt x="1909" y="1566"/>
                </a:cubicBezTo>
                <a:cubicBezTo>
                  <a:pt x="1909" y="1566"/>
                  <a:pt x="1909" y="1566"/>
                  <a:pt x="1920" y="1566"/>
                </a:cubicBezTo>
                <a:cubicBezTo>
                  <a:pt x="1920" y="1566"/>
                  <a:pt x="1920" y="1566"/>
                  <a:pt x="1920" y="1493"/>
                </a:cubicBezTo>
                <a:close/>
                <a:moveTo>
                  <a:pt x="1818" y="1525"/>
                </a:moveTo>
                <a:cubicBezTo>
                  <a:pt x="1818" y="1525"/>
                  <a:pt x="1818" y="1525"/>
                  <a:pt x="1818" y="1525"/>
                </a:cubicBezTo>
                <a:cubicBezTo>
                  <a:pt x="1818" y="1533"/>
                  <a:pt x="1818" y="1533"/>
                  <a:pt x="1818" y="1533"/>
                </a:cubicBezTo>
                <a:cubicBezTo>
                  <a:pt x="1824" y="1534"/>
                  <a:pt x="1825" y="1537"/>
                  <a:pt x="1825" y="1539"/>
                </a:cubicBezTo>
                <a:cubicBezTo>
                  <a:pt x="1825" y="1541"/>
                  <a:pt x="1824" y="1544"/>
                  <a:pt x="1824" y="1546"/>
                </a:cubicBezTo>
                <a:cubicBezTo>
                  <a:pt x="1824" y="1549"/>
                  <a:pt x="1824" y="1551"/>
                  <a:pt x="1824" y="1553"/>
                </a:cubicBezTo>
                <a:cubicBezTo>
                  <a:pt x="1824" y="1563"/>
                  <a:pt x="1829" y="1566"/>
                  <a:pt x="1838" y="1566"/>
                </a:cubicBezTo>
                <a:cubicBezTo>
                  <a:pt x="1838" y="1566"/>
                  <a:pt x="1838" y="1566"/>
                  <a:pt x="1842" y="1566"/>
                </a:cubicBezTo>
                <a:cubicBezTo>
                  <a:pt x="1842" y="1566"/>
                  <a:pt x="1842" y="1566"/>
                  <a:pt x="1842" y="1557"/>
                </a:cubicBezTo>
                <a:cubicBezTo>
                  <a:pt x="1842" y="1557"/>
                  <a:pt x="1842" y="1557"/>
                  <a:pt x="1840" y="1557"/>
                </a:cubicBezTo>
                <a:cubicBezTo>
                  <a:pt x="1836" y="1557"/>
                  <a:pt x="1835" y="1555"/>
                  <a:pt x="1835" y="1551"/>
                </a:cubicBezTo>
                <a:cubicBezTo>
                  <a:pt x="1835" y="1550"/>
                  <a:pt x="1835" y="1548"/>
                  <a:pt x="1836" y="1546"/>
                </a:cubicBezTo>
                <a:cubicBezTo>
                  <a:pt x="1836" y="1545"/>
                  <a:pt x="1836" y="1543"/>
                  <a:pt x="1836" y="1540"/>
                </a:cubicBezTo>
                <a:cubicBezTo>
                  <a:pt x="1836" y="1533"/>
                  <a:pt x="1833" y="1530"/>
                  <a:pt x="1828" y="1529"/>
                </a:cubicBezTo>
                <a:cubicBezTo>
                  <a:pt x="1828" y="1529"/>
                  <a:pt x="1828" y="1529"/>
                  <a:pt x="1828" y="1529"/>
                </a:cubicBezTo>
                <a:cubicBezTo>
                  <a:pt x="1833" y="1528"/>
                  <a:pt x="1836" y="1525"/>
                  <a:pt x="1836" y="1518"/>
                </a:cubicBezTo>
                <a:cubicBezTo>
                  <a:pt x="1836" y="1515"/>
                  <a:pt x="1836" y="1513"/>
                  <a:pt x="1836" y="1512"/>
                </a:cubicBezTo>
                <a:cubicBezTo>
                  <a:pt x="1835" y="1510"/>
                  <a:pt x="1835" y="1508"/>
                  <a:pt x="1835" y="1507"/>
                </a:cubicBezTo>
                <a:cubicBezTo>
                  <a:pt x="1835" y="1503"/>
                  <a:pt x="1836" y="1501"/>
                  <a:pt x="1840" y="1501"/>
                </a:cubicBezTo>
                <a:cubicBezTo>
                  <a:pt x="1840" y="1501"/>
                  <a:pt x="1840" y="1501"/>
                  <a:pt x="1842" y="1501"/>
                </a:cubicBezTo>
                <a:cubicBezTo>
                  <a:pt x="1842" y="1501"/>
                  <a:pt x="1842" y="1501"/>
                  <a:pt x="1842" y="1492"/>
                </a:cubicBezTo>
                <a:cubicBezTo>
                  <a:pt x="1842" y="1492"/>
                  <a:pt x="1842" y="1492"/>
                  <a:pt x="1838" y="1492"/>
                </a:cubicBezTo>
                <a:cubicBezTo>
                  <a:pt x="1829" y="1492"/>
                  <a:pt x="1824" y="1496"/>
                  <a:pt x="1824" y="1504"/>
                </a:cubicBezTo>
                <a:cubicBezTo>
                  <a:pt x="1824" y="1507"/>
                  <a:pt x="1824" y="1509"/>
                  <a:pt x="1824" y="1512"/>
                </a:cubicBezTo>
                <a:cubicBezTo>
                  <a:pt x="1824" y="1514"/>
                  <a:pt x="1825" y="1517"/>
                  <a:pt x="1825" y="1519"/>
                </a:cubicBezTo>
                <a:cubicBezTo>
                  <a:pt x="1825" y="1521"/>
                  <a:pt x="1824" y="1525"/>
                  <a:pt x="1818" y="1525"/>
                </a:cubicBezTo>
                <a:close/>
                <a:moveTo>
                  <a:pt x="1873" y="1533"/>
                </a:moveTo>
                <a:cubicBezTo>
                  <a:pt x="1873" y="1533"/>
                  <a:pt x="1873" y="1533"/>
                  <a:pt x="1873" y="1533"/>
                </a:cubicBezTo>
                <a:cubicBezTo>
                  <a:pt x="1873" y="1525"/>
                  <a:pt x="1873" y="1525"/>
                  <a:pt x="1873" y="1525"/>
                </a:cubicBezTo>
                <a:cubicBezTo>
                  <a:pt x="1866" y="1525"/>
                  <a:pt x="1866" y="1521"/>
                  <a:pt x="1866" y="1519"/>
                </a:cubicBezTo>
                <a:cubicBezTo>
                  <a:pt x="1866" y="1517"/>
                  <a:pt x="1866" y="1514"/>
                  <a:pt x="1866" y="1512"/>
                </a:cubicBezTo>
                <a:cubicBezTo>
                  <a:pt x="1867" y="1509"/>
                  <a:pt x="1867" y="1507"/>
                  <a:pt x="1867" y="1504"/>
                </a:cubicBezTo>
                <a:cubicBezTo>
                  <a:pt x="1867" y="1496"/>
                  <a:pt x="1862" y="1492"/>
                  <a:pt x="1852" y="1492"/>
                </a:cubicBezTo>
                <a:cubicBezTo>
                  <a:pt x="1852" y="1492"/>
                  <a:pt x="1852" y="1492"/>
                  <a:pt x="1848" y="1492"/>
                </a:cubicBezTo>
                <a:cubicBezTo>
                  <a:pt x="1848" y="1492"/>
                  <a:pt x="1848" y="1492"/>
                  <a:pt x="1848" y="1501"/>
                </a:cubicBezTo>
                <a:cubicBezTo>
                  <a:pt x="1848" y="1501"/>
                  <a:pt x="1848" y="1501"/>
                  <a:pt x="1850" y="1501"/>
                </a:cubicBezTo>
                <a:cubicBezTo>
                  <a:pt x="1854" y="1501"/>
                  <a:pt x="1855" y="1503"/>
                  <a:pt x="1855" y="1507"/>
                </a:cubicBezTo>
                <a:cubicBezTo>
                  <a:pt x="1855" y="1508"/>
                  <a:pt x="1855" y="1510"/>
                  <a:pt x="1855" y="1512"/>
                </a:cubicBezTo>
                <a:cubicBezTo>
                  <a:pt x="1854" y="1513"/>
                  <a:pt x="1854" y="1515"/>
                  <a:pt x="1854" y="1518"/>
                </a:cubicBezTo>
                <a:cubicBezTo>
                  <a:pt x="1854" y="1525"/>
                  <a:pt x="1857" y="1528"/>
                  <a:pt x="1863" y="1529"/>
                </a:cubicBezTo>
                <a:cubicBezTo>
                  <a:pt x="1863" y="1529"/>
                  <a:pt x="1863" y="1529"/>
                  <a:pt x="1863" y="1529"/>
                </a:cubicBezTo>
                <a:cubicBezTo>
                  <a:pt x="1857" y="1530"/>
                  <a:pt x="1854" y="1533"/>
                  <a:pt x="1854" y="1540"/>
                </a:cubicBezTo>
                <a:cubicBezTo>
                  <a:pt x="1854" y="1543"/>
                  <a:pt x="1854" y="1545"/>
                  <a:pt x="1855" y="1546"/>
                </a:cubicBezTo>
                <a:cubicBezTo>
                  <a:pt x="1855" y="1548"/>
                  <a:pt x="1855" y="1550"/>
                  <a:pt x="1855" y="1551"/>
                </a:cubicBezTo>
                <a:cubicBezTo>
                  <a:pt x="1855" y="1555"/>
                  <a:pt x="1854" y="1557"/>
                  <a:pt x="1850" y="1557"/>
                </a:cubicBezTo>
                <a:cubicBezTo>
                  <a:pt x="1850" y="1557"/>
                  <a:pt x="1850" y="1557"/>
                  <a:pt x="1848" y="1557"/>
                </a:cubicBezTo>
                <a:cubicBezTo>
                  <a:pt x="1848" y="1557"/>
                  <a:pt x="1848" y="1557"/>
                  <a:pt x="1848" y="1566"/>
                </a:cubicBezTo>
                <a:cubicBezTo>
                  <a:pt x="1848" y="1566"/>
                  <a:pt x="1848" y="1566"/>
                  <a:pt x="1852" y="1566"/>
                </a:cubicBezTo>
                <a:cubicBezTo>
                  <a:pt x="1861" y="1566"/>
                  <a:pt x="1867" y="1563"/>
                  <a:pt x="1867" y="1553"/>
                </a:cubicBezTo>
                <a:cubicBezTo>
                  <a:pt x="1867" y="1551"/>
                  <a:pt x="1867" y="1549"/>
                  <a:pt x="1866" y="1546"/>
                </a:cubicBezTo>
                <a:cubicBezTo>
                  <a:pt x="1866" y="1544"/>
                  <a:pt x="1866" y="1541"/>
                  <a:pt x="1866" y="1539"/>
                </a:cubicBezTo>
                <a:cubicBezTo>
                  <a:pt x="1866" y="1537"/>
                  <a:pt x="1866" y="1534"/>
                  <a:pt x="1873" y="1533"/>
                </a:cubicBezTo>
                <a:close/>
                <a:moveTo>
                  <a:pt x="1014" y="1444"/>
                </a:moveTo>
                <a:cubicBezTo>
                  <a:pt x="1014" y="1446"/>
                  <a:pt x="1015" y="1447"/>
                  <a:pt x="1015" y="1448"/>
                </a:cubicBezTo>
                <a:cubicBezTo>
                  <a:pt x="1016" y="1450"/>
                  <a:pt x="1016" y="1452"/>
                  <a:pt x="1017" y="1453"/>
                </a:cubicBezTo>
                <a:cubicBezTo>
                  <a:pt x="1017" y="1455"/>
                  <a:pt x="1017" y="1457"/>
                  <a:pt x="1017" y="1458"/>
                </a:cubicBezTo>
                <a:cubicBezTo>
                  <a:pt x="1018" y="1461"/>
                  <a:pt x="1017" y="1463"/>
                  <a:pt x="1014" y="1463"/>
                </a:cubicBezTo>
                <a:cubicBezTo>
                  <a:pt x="1011" y="1463"/>
                  <a:pt x="1008" y="1463"/>
                  <a:pt x="1005" y="1463"/>
                </a:cubicBezTo>
                <a:cubicBezTo>
                  <a:pt x="1005" y="1463"/>
                  <a:pt x="1004" y="1463"/>
                  <a:pt x="1004" y="1463"/>
                </a:cubicBezTo>
                <a:cubicBezTo>
                  <a:pt x="1002" y="1465"/>
                  <a:pt x="1001" y="1466"/>
                  <a:pt x="999" y="1467"/>
                </a:cubicBezTo>
                <a:cubicBezTo>
                  <a:pt x="997" y="1470"/>
                  <a:pt x="994" y="1470"/>
                  <a:pt x="992" y="1468"/>
                </a:cubicBezTo>
                <a:cubicBezTo>
                  <a:pt x="990" y="1466"/>
                  <a:pt x="989" y="1463"/>
                  <a:pt x="987" y="1461"/>
                </a:cubicBezTo>
                <a:cubicBezTo>
                  <a:pt x="986" y="1459"/>
                  <a:pt x="987" y="1457"/>
                  <a:pt x="989" y="1456"/>
                </a:cubicBezTo>
                <a:cubicBezTo>
                  <a:pt x="986" y="1456"/>
                  <a:pt x="985" y="1456"/>
                  <a:pt x="983" y="1456"/>
                </a:cubicBezTo>
                <a:cubicBezTo>
                  <a:pt x="982" y="1458"/>
                  <a:pt x="981" y="1460"/>
                  <a:pt x="980" y="1462"/>
                </a:cubicBezTo>
                <a:cubicBezTo>
                  <a:pt x="980" y="1463"/>
                  <a:pt x="980" y="1463"/>
                  <a:pt x="980" y="1464"/>
                </a:cubicBezTo>
                <a:cubicBezTo>
                  <a:pt x="980" y="1467"/>
                  <a:pt x="979" y="1469"/>
                  <a:pt x="976" y="1468"/>
                </a:cubicBezTo>
                <a:cubicBezTo>
                  <a:pt x="973" y="1468"/>
                  <a:pt x="970" y="1467"/>
                  <a:pt x="967" y="1466"/>
                </a:cubicBezTo>
                <a:cubicBezTo>
                  <a:pt x="965" y="1465"/>
                  <a:pt x="964" y="1464"/>
                  <a:pt x="965" y="1462"/>
                </a:cubicBezTo>
                <a:cubicBezTo>
                  <a:pt x="965" y="1461"/>
                  <a:pt x="965" y="1460"/>
                  <a:pt x="965" y="1460"/>
                </a:cubicBezTo>
                <a:cubicBezTo>
                  <a:pt x="963" y="1459"/>
                  <a:pt x="961" y="1458"/>
                  <a:pt x="959" y="1457"/>
                </a:cubicBezTo>
                <a:cubicBezTo>
                  <a:pt x="958" y="1456"/>
                  <a:pt x="956" y="1454"/>
                  <a:pt x="956" y="1452"/>
                </a:cubicBezTo>
                <a:cubicBezTo>
                  <a:pt x="955" y="1450"/>
                  <a:pt x="955" y="1449"/>
                  <a:pt x="957" y="1447"/>
                </a:cubicBezTo>
                <a:cubicBezTo>
                  <a:pt x="960" y="1445"/>
                  <a:pt x="961" y="1442"/>
                  <a:pt x="960" y="1438"/>
                </a:cubicBezTo>
                <a:cubicBezTo>
                  <a:pt x="960" y="1436"/>
                  <a:pt x="960" y="1434"/>
                  <a:pt x="960" y="1432"/>
                </a:cubicBezTo>
                <a:cubicBezTo>
                  <a:pt x="959" y="1431"/>
                  <a:pt x="957" y="1431"/>
                  <a:pt x="956" y="1430"/>
                </a:cubicBezTo>
                <a:cubicBezTo>
                  <a:pt x="955" y="1428"/>
                  <a:pt x="954" y="1426"/>
                  <a:pt x="954" y="1424"/>
                </a:cubicBezTo>
                <a:cubicBezTo>
                  <a:pt x="954" y="1421"/>
                  <a:pt x="957" y="1419"/>
                  <a:pt x="960" y="1418"/>
                </a:cubicBezTo>
                <a:cubicBezTo>
                  <a:pt x="960" y="1419"/>
                  <a:pt x="960" y="1419"/>
                  <a:pt x="961" y="1420"/>
                </a:cubicBezTo>
                <a:cubicBezTo>
                  <a:pt x="961" y="1421"/>
                  <a:pt x="961" y="1422"/>
                  <a:pt x="961" y="1423"/>
                </a:cubicBezTo>
                <a:cubicBezTo>
                  <a:pt x="960" y="1423"/>
                  <a:pt x="960" y="1423"/>
                  <a:pt x="960" y="1423"/>
                </a:cubicBezTo>
                <a:cubicBezTo>
                  <a:pt x="959" y="1424"/>
                  <a:pt x="959" y="1425"/>
                  <a:pt x="958" y="1427"/>
                </a:cubicBezTo>
                <a:cubicBezTo>
                  <a:pt x="959" y="1427"/>
                  <a:pt x="960" y="1427"/>
                  <a:pt x="960" y="1427"/>
                </a:cubicBezTo>
                <a:cubicBezTo>
                  <a:pt x="961" y="1425"/>
                  <a:pt x="962" y="1425"/>
                  <a:pt x="963" y="1423"/>
                </a:cubicBezTo>
                <a:cubicBezTo>
                  <a:pt x="967" y="1417"/>
                  <a:pt x="973" y="1413"/>
                  <a:pt x="981" y="1411"/>
                </a:cubicBezTo>
                <a:cubicBezTo>
                  <a:pt x="984" y="1411"/>
                  <a:pt x="988" y="1410"/>
                  <a:pt x="990" y="1407"/>
                </a:cubicBezTo>
                <a:cubicBezTo>
                  <a:pt x="990" y="1406"/>
                  <a:pt x="991" y="1406"/>
                  <a:pt x="991" y="1406"/>
                </a:cubicBezTo>
                <a:cubicBezTo>
                  <a:pt x="994" y="1406"/>
                  <a:pt x="995" y="1403"/>
                  <a:pt x="997" y="1401"/>
                </a:cubicBezTo>
                <a:cubicBezTo>
                  <a:pt x="1005" y="1394"/>
                  <a:pt x="1017" y="1393"/>
                  <a:pt x="1025" y="1400"/>
                </a:cubicBezTo>
                <a:cubicBezTo>
                  <a:pt x="1027" y="1402"/>
                  <a:pt x="1030" y="1404"/>
                  <a:pt x="1032" y="1406"/>
                </a:cubicBezTo>
                <a:cubicBezTo>
                  <a:pt x="1034" y="1407"/>
                  <a:pt x="1035" y="1409"/>
                  <a:pt x="1036" y="1411"/>
                </a:cubicBezTo>
                <a:cubicBezTo>
                  <a:pt x="1037" y="1412"/>
                  <a:pt x="1038" y="1412"/>
                  <a:pt x="1039" y="1411"/>
                </a:cubicBezTo>
                <a:cubicBezTo>
                  <a:pt x="1040" y="1411"/>
                  <a:pt x="1040" y="1410"/>
                  <a:pt x="1041" y="1409"/>
                </a:cubicBezTo>
                <a:cubicBezTo>
                  <a:pt x="1043" y="1406"/>
                  <a:pt x="1046" y="1406"/>
                  <a:pt x="1047" y="1410"/>
                </a:cubicBezTo>
                <a:cubicBezTo>
                  <a:pt x="1049" y="1413"/>
                  <a:pt x="1049" y="1415"/>
                  <a:pt x="1050" y="1419"/>
                </a:cubicBezTo>
                <a:cubicBezTo>
                  <a:pt x="1051" y="1423"/>
                  <a:pt x="1050" y="1427"/>
                  <a:pt x="1049" y="1432"/>
                </a:cubicBezTo>
                <a:cubicBezTo>
                  <a:pt x="1046" y="1438"/>
                  <a:pt x="1042" y="1442"/>
                  <a:pt x="1035" y="1442"/>
                </a:cubicBezTo>
                <a:cubicBezTo>
                  <a:pt x="1034" y="1442"/>
                  <a:pt x="1034" y="1442"/>
                  <a:pt x="1033" y="1442"/>
                </a:cubicBezTo>
                <a:cubicBezTo>
                  <a:pt x="1030" y="1441"/>
                  <a:pt x="1029" y="1442"/>
                  <a:pt x="1029" y="1444"/>
                </a:cubicBezTo>
                <a:cubicBezTo>
                  <a:pt x="1027" y="1448"/>
                  <a:pt x="1021" y="1450"/>
                  <a:pt x="1018" y="1447"/>
                </a:cubicBezTo>
                <a:cubicBezTo>
                  <a:pt x="1017" y="1446"/>
                  <a:pt x="1016" y="1445"/>
                  <a:pt x="1015" y="1444"/>
                </a:cubicBezTo>
                <a:cubicBezTo>
                  <a:pt x="1014" y="1444"/>
                  <a:pt x="1014" y="1444"/>
                  <a:pt x="1014" y="1444"/>
                </a:cubicBezTo>
                <a:close/>
                <a:moveTo>
                  <a:pt x="1008" y="1440"/>
                </a:moveTo>
                <a:cubicBezTo>
                  <a:pt x="1012" y="1441"/>
                  <a:pt x="1015" y="1442"/>
                  <a:pt x="1018" y="1445"/>
                </a:cubicBezTo>
                <a:cubicBezTo>
                  <a:pt x="1020" y="1447"/>
                  <a:pt x="1022" y="1448"/>
                  <a:pt x="1024" y="1447"/>
                </a:cubicBezTo>
                <a:cubicBezTo>
                  <a:pt x="1027" y="1446"/>
                  <a:pt x="1028" y="1444"/>
                  <a:pt x="1028" y="1441"/>
                </a:cubicBezTo>
                <a:cubicBezTo>
                  <a:pt x="1028" y="1441"/>
                  <a:pt x="1027" y="1441"/>
                  <a:pt x="1027" y="1442"/>
                </a:cubicBezTo>
                <a:cubicBezTo>
                  <a:pt x="1027" y="1443"/>
                  <a:pt x="1025" y="1444"/>
                  <a:pt x="1025" y="1445"/>
                </a:cubicBezTo>
                <a:cubicBezTo>
                  <a:pt x="1023" y="1446"/>
                  <a:pt x="1022" y="1446"/>
                  <a:pt x="1021" y="1446"/>
                </a:cubicBezTo>
                <a:cubicBezTo>
                  <a:pt x="1021" y="1446"/>
                  <a:pt x="1020" y="1444"/>
                  <a:pt x="1020" y="1444"/>
                </a:cubicBezTo>
                <a:cubicBezTo>
                  <a:pt x="1020" y="1441"/>
                  <a:pt x="1021" y="1439"/>
                  <a:pt x="1021" y="1437"/>
                </a:cubicBezTo>
                <a:cubicBezTo>
                  <a:pt x="1024" y="1438"/>
                  <a:pt x="1027" y="1439"/>
                  <a:pt x="1031" y="1440"/>
                </a:cubicBezTo>
                <a:cubicBezTo>
                  <a:pt x="1038" y="1441"/>
                  <a:pt x="1044" y="1439"/>
                  <a:pt x="1047" y="1431"/>
                </a:cubicBezTo>
                <a:cubicBezTo>
                  <a:pt x="1049" y="1426"/>
                  <a:pt x="1049" y="1421"/>
                  <a:pt x="1048" y="1416"/>
                </a:cubicBezTo>
                <a:cubicBezTo>
                  <a:pt x="1047" y="1414"/>
                  <a:pt x="1047" y="1412"/>
                  <a:pt x="1046" y="1410"/>
                </a:cubicBezTo>
                <a:cubicBezTo>
                  <a:pt x="1045" y="1409"/>
                  <a:pt x="1044" y="1408"/>
                  <a:pt x="1043" y="1410"/>
                </a:cubicBezTo>
                <a:cubicBezTo>
                  <a:pt x="1041" y="1412"/>
                  <a:pt x="1040" y="1413"/>
                  <a:pt x="1038" y="1414"/>
                </a:cubicBezTo>
                <a:cubicBezTo>
                  <a:pt x="1037" y="1414"/>
                  <a:pt x="1036" y="1415"/>
                  <a:pt x="1036" y="1416"/>
                </a:cubicBezTo>
                <a:cubicBezTo>
                  <a:pt x="1037" y="1419"/>
                  <a:pt x="1036" y="1423"/>
                  <a:pt x="1035" y="1426"/>
                </a:cubicBezTo>
                <a:cubicBezTo>
                  <a:pt x="1035" y="1424"/>
                  <a:pt x="1036" y="1422"/>
                  <a:pt x="1036" y="1420"/>
                </a:cubicBezTo>
                <a:cubicBezTo>
                  <a:pt x="1036" y="1419"/>
                  <a:pt x="1035" y="1419"/>
                  <a:pt x="1035" y="1419"/>
                </a:cubicBezTo>
                <a:cubicBezTo>
                  <a:pt x="1034" y="1419"/>
                  <a:pt x="1034" y="1419"/>
                  <a:pt x="1034" y="1419"/>
                </a:cubicBezTo>
                <a:cubicBezTo>
                  <a:pt x="1033" y="1421"/>
                  <a:pt x="1032" y="1422"/>
                  <a:pt x="1031" y="1423"/>
                </a:cubicBezTo>
                <a:cubicBezTo>
                  <a:pt x="1031" y="1423"/>
                  <a:pt x="1031" y="1423"/>
                  <a:pt x="1031" y="1423"/>
                </a:cubicBezTo>
                <a:cubicBezTo>
                  <a:pt x="1031" y="1422"/>
                  <a:pt x="1032" y="1420"/>
                  <a:pt x="1032" y="1418"/>
                </a:cubicBezTo>
                <a:cubicBezTo>
                  <a:pt x="1031" y="1419"/>
                  <a:pt x="1030" y="1419"/>
                  <a:pt x="1030" y="1420"/>
                </a:cubicBezTo>
                <a:cubicBezTo>
                  <a:pt x="1029" y="1420"/>
                  <a:pt x="1029" y="1421"/>
                  <a:pt x="1029" y="1422"/>
                </a:cubicBezTo>
                <a:cubicBezTo>
                  <a:pt x="1029" y="1418"/>
                  <a:pt x="1029" y="1418"/>
                  <a:pt x="1035" y="1417"/>
                </a:cubicBezTo>
                <a:cubicBezTo>
                  <a:pt x="1035" y="1417"/>
                  <a:pt x="1034" y="1416"/>
                  <a:pt x="1034" y="1416"/>
                </a:cubicBezTo>
                <a:cubicBezTo>
                  <a:pt x="1031" y="1417"/>
                  <a:pt x="1030" y="1415"/>
                  <a:pt x="1030" y="1413"/>
                </a:cubicBezTo>
                <a:cubicBezTo>
                  <a:pt x="1032" y="1412"/>
                  <a:pt x="1033" y="1412"/>
                  <a:pt x="1035" y="1412"/>
                </a:cubicBezTo>
                <a:cubicBezTo>
                  <a:pt x="1033" y="1409"/>
                  <a:pt x="1032" y="1406"/>
                  <a:pt x="1029" y="1406"/>
                </a:cubicBezTo>
                <a:cubicBezTo>
                  <a:pt x="1028" y="1406"/>
                  <a:pt x="1028" y="1406"/>
                  <a:pt x="1028" y="1405"/>
                </a:cubicBezTo>
                <a:cubicBezTo>
                  <a:pt x="1025" y="1403"/>
                  <a:pt x="1023" y="1401"/>
                  <a:pt x="1020" y="1399"/>
                </a:cubicBezTo>
                <a:cubicBezTo>
                  <a:pt x="1018" y="1398"/>
                  <a:pt x="1015" y="1397"/>
                  <a:pt x="1013" y="1397"/>
                </a:cubicBezTo>
                <a:cubicBezTo>
                  <a:pt x="1010" y="1397"/>
                  <a:pt x="1006" y="1398"/>
                  <a:pt x="1003" y="1399"/>
                </a:cubicBezTo>
                <a:cubicBezTo>
                  <a:pt x="1001" y="1400"/>
                  <a:pt x="998" y="1402"/>
                  <a:pt x="996" y="1405"/>
                </a:cubicBezTo>
                <a:cubicBezTo>
                  <a:pt x="998" y="1405"/>
                  <a:pt x="999" y="1405"/>
                  <a:pt x="1000" y="1405"/>
                </a:cubicBezTo>
                <a:cubicBezTo>
                  <a:pt x="1000" y="1406"/>
                  <a:pt x="999" y="1406"/>
                  <a:pt x="998" y="1406"/>
                </a:cubicBezTo>
                <a:cubicBezTo>
                  <a:pt x="996" y="1407"/>
                  <a:pt x="993" y="1406"/>
                  <a:pt x="991" y="1408"/>
                </a:cubicBezTo>
                <a:cubicBezTo>
                  <a:pt x="988" y="1412"/>
                  <a:pt x="984" y="1416"/>
                  <a:pt x="980" y="1420"/>
                </a:cubicBezTo>
                <a:cubicBezTo>
                  <a:pt x="978" y="1422"/>
                  <a:pt x="978" y="1425"/>
                  <a:pt x="976" y="1427"/>
                </a:cubicBezTo>
                <a:cubicBezTo>
                  <a:pt x="976" y="1427"/>
                  <a:pt x="976" y="1428"/>
                  <a:pt x="977" y="1429"/>
                </a:cubicBezTo>
                <a:cubicBezTo>
                  <a:pt x="978" y="1431"/>
                  <a:pt x="979" y="1433"/>
                  <a:pt x="981" y="1434"/>
                </a:cubicBezTo>
                <a:cubicBezTo>
                  <a:pt x="982" y="1433"/>
                  <a:pt x="983" y="1431"/>
                  <a:pt x="984" y="1430"/>
                </a:cubicBezTo>
                <a:cubicBezTo>
                  <a:pt x="984" y="1431"/>
                  <a:pt x="984" y="1433"/>
                  <a:pt x="983" y="1434"/>
                </a:cubicBezTo>
                <a:cubicBezTo>
                  <a:pt x="982" y="1435"/>
                  <a:pt x="981" y="1436"/>
                  <a:pt x="981" y="1438"/>
                </a:cubicBezTo>
                <a:cubicBezTo>
                  <a:pt x="980" y="1439"/>
                  <a:pt x="981" y="1440"/>
                  <a:pt x="981" y="1441"/>
                </a:cubicBezTo>
                <a:cubicBezTo>
                  <a:pt x="984" y="1444"/>
                  <a:pt x="987" y="1444"/>
                  <a:pt x="991" y="1442"/>
                </a:cubicBezTo>
                <a:cubicBezTo>
                  <a:pt x="993" y="1441"/>
                  <a:pt x="996" y="1440"/>
                  <a:pt x="999" y="1439"/>
                </a:cubicBezTo>
                <a:cubicBezTo>
                  <a:pt x="1000" y="1438"/>
                  <a:pt x="1001" y="1438"/>
                  <a:pt x="1001" y="1436"/>
                </a:cubicBezTo>
                <a:cubicBezTo>
                  <a:pt x="1001" y="1433"/>
                  <a:pt x="1001" y="1429"/>
                  <a:pt x="1001" y="1426"/>
                </a:cubicBezTo>
                <a:cubicBezTo>
                  <a:pt x="1001" y="1423"/>
                  <a:pt x="1001" y="1420"/>
                  <a:pt x="1001" y="1417"/>
                </a:cubicBezTo>
                <a:cubicBezTo>
                  <a:pt x="1002" y="1420"/>
                  <a:pt x="1002" y="1423"/>
                  <a:pt x="1003" y="1425"/>
                </a:cubicBezTo>
                <a:cubicBezTo>
                  <a:pt x="1004" y="1430"/>
                  <a:pt x="1004" y="1434"/>
                  <a:pt x="1002" y="1438"/>
                </a:cubicBezTo>
                <a:cubicBezTo>
                  <a:pt x="1002" y="1439"/>
                  <a:pt x="1001" y="1440"/>
                  <a:pt x="1001" y="1440"/>
                </a:cubicBezTo>
                <a:cubicBezTo>
                  <a:pt x="997" y="1440"/>
                  <a:pt x="994" y="1442"/>
                  <a:pt x="991" y="1444"/>
                </a:cubicBezTo>
                <a:cubicBezTo>
                  <a:pt x="986" y="1447"/>
                  <a:pt x="982" y="1445"/>
                  <a:pt x="979" y="1441"/>
                </a:cubicBezTo>
                <a:cubicBezTo>
                  <a:pt x="978" y="1441"/>
                  <a:pt x="978" y="1440"/>
                  <a:pt x="979" y="1439"/>
                </a:cubicBezTo>
                <a:cubicBezTo>
                  <a:pt x="980" y="1437"/>
                  <a:pt x="979" y="1435"/>
                  <a:pt x="977" y="1433"/>
                </a:cubicBezTo>
                <a:cubicBezTo>
                  <a:pt x="976" y="1431"/>
                  <a:pt x="974" y="1429"/>
                  <a:pt x="975" y="1426"/>
                </a:cubicBezTo>
                <a:cubicBezTo>
                  <a:pt x="976" y="1424"/>
                  <a:pt x="977" y="1422"/>
                  <a:pt x="978" y="1421"/>
                </a:cubicBezTo>
                <a:cubicBezTo>
                  <a:pt x="980" y="1418"/>
                  <a:pt x="982" y="1415"/>
                  <a:pt x="984" y="1413"/>
                </a:cubicBezTo>
                <a:cubicBezTo>
                  <a:pt x="984" y="1413"/>
                  <a:pt x="983" y="1413"/>
                  <a:pt x="983" y="1413"/>
                </a:cubicBezTo>
                <a:cubicBezTo>
                  <a:pt x="978" y="1414"/>
                  <a:pt x="973" y="1415"/>
                  <a:pt x="969" y="1419"/>
                </a:cubicBezTo>
                <a:cubicBezTo>
                  <a:pt x="965" y="1423"/>
                  <a:pt x="962" y="1428"/>
                  <a:pt x="961" y="1435"/>
                </a:cubicBezTo>
                <a:cubicBezTo>
                  <a:pt x="961" y="1442"/>
                  <a:pt x="963" y="1448"/>
                  <a:pt x="967" y="1453"/>
                </a:cubicBezTo>
                <a:cubicBezTo>
                  <a:pt x="967" y="1454"/>
                  <a:pt x="968" y="1456"/>
                  <a:pt x="968" y="1457"/>
                </a:cubicBezTo>
                <a:cubicBezTo>
                  <a:pt x="968" y="1459"/>
                  <a:pt x="967" y="1460"/>
                  <a:pt x="967" y="1461"/>
                </a:cubicBezTo>
                <a:cubicBezTo>
                  <a:pt x="966" y="1463"/>
                  <a:pt x="967" y="1464"/>
                  <a:pt x="968" y="1465"/>
                </a:cubicBezTo>
                <a:cubicBezTo>
                  <a:pt x="971" y="1465"/>
                  <a:pt x="974" y="1466"/>
                  <a:pt x="976" y="1466"/>
                </a:cubicBezTo>
                <a:cubicBezTo>
                  <a:pt x="977" y="1466"/>
                  <a:pt x="978" y="1465"/>
                  <a:pt x="978" y="1465"/>
                </a:cubicBezTo>
                <a:cubicBezTo>
                  <a:pt x="978" y="1464"/>
                  <a:pt x="978" y="1462"/>
                  <a:pt x="979" y="1461"/>
                </a:cubicBezTo>
                <a:cubicBezTo>
                  <a:pt x="981" y="1459"/>
                  <a:pt x="981" y="1456"/>
                  <a:pt x="981" y="1453"/>
                </a:cubicBezTo>
                <a:cubicBezTo>
                  <a:pt x="981" y="1453"/>
                  <a:pt x="981" y="1453"/>
                  <a:pt x="981" y="1452"/>
                </a:cubicBezTo>
                <a:cubicBezTo>
                  <a:pt x="981" y="1452"/>
                  <a:pt x="981" y="1452"/>
                  <a:pt x="981" y="1452"/>
                </a:cubicBezTo>
                <a:cubicBezTo>
                  <a:pt x="982" y="1454"/>
                  <a:pt x="983" y="1454"/>
                  <a:pt x="985" y="1454"/>
                </a:cubicBezTo>
                <a:cubicBezTo>
                  <a:pt x="986" y="1454"/>
                  <a:pt x="987" y="1454"/>
                  <a:pt x="988" y="1454"/>
                </a:cubicBezTo>
                <a:cubicBezTo>
                  <a:pt x="990" y="1454"/>
                  <a:pt x="993" y="1455"/>
                  <a:pt x="994" y="1451"/>
                </a:cubicBezTo>
                <a:cubicBezTo>
                  <a:pt x="994" y="1453"/>
                  <a:pt x="994" y="1455"/>
                  <a:pt x="994" y="1455"/>
                </a:cubicBezTo>
                <a:cubicBezTo>
                  <a:pt x="993" y="1456"/>
                  <a:pt x="991" y="1457"/>
                  <a:pt x="990" y="1457"/>
                </a:cubicBezTo>
                <a:cubicBezTo>
                  <a:pt x="989" y="1458"/>
                  <a:pt x="988" y="1460"/>
                  <a:pt x="989" y="1461"/>
                </a:cubicBezTo>
                <a:cubicBezTo>
                  <a:pt x="990" y="1463"/>
                  <a:pt x="991" y="1465"/>
                  <a:pt x="993" y="1467"/>
                </a:cubicBezTo>
                <a:cubicBezTo>
                  <a:pt x="995" y="1468"/>
                  <a:pt x="997" y="1468"/>
                  <a:pt x="998" y="1466"/>
                </a:cubicBezTo>
                <a:cubicBezTo>
                  <a:pt x="999" y="1465"/>
                  <a:pt x="999" y="1465"/>
                  <a:pt x="1000" y="1464"/>
                </a:cubicBezTo>
                <a:cubicBezTo>
                  <a:pt x="1002" y="1463"/>
                  <a:pt x="1003" y="1461"/>
                  <a:pt x="1005" y="1460"/>
                </a:cubicBezTo>
                <a:cubicBezTo>
                  <a:pt x="1009" y="1456"/>
                  <a:pt x="1011" y="1450"/>
                  <a:pt x="1013" y="1444"/>
                </a:cubicBezTo>
                <a:cubicBezTo>
                  <a:pt x="1013" y="1444"/>
                  <a:pt x="1012" y="1443"/>
                  <a:pt x="1012" y="1442"/>
                </a:cubicBezTo>
                <a:cubicBezTo>
                  <a:pt x="1011" y="1441"/>
                  <a:pt x="1010" y="1440"/>
                  <a:pt x="1008" y="1440"/>
                </a:cubicBezTo>
                <a:close/>
                <a:moveTo>
                  <a:pt x="961" y="1446"/>
                </a:moveTo>
                <a:cubicBezTo>
                  <a:pt x="960" y="1447"/>
                  <a:pt x="959" y="1448"/>
                  <a:pt x="958" y="1449"/>
                </a:cubicBezTo>
                <a:cubicBezTo>
                  <a:pt x="957" y="1449"/>
                  <a:pt x="957" y="1450"/>
                  <a:pt x="957" y="1451"/>
                </a:cubicBezTo>
                <a:cubicBezTo>
                  <a:pt x="957" y="1453"/>
                  <a:pt x="961" y="1458"/>
                  <a:pt x="964" y="1457"/>
                </a:cubicBezTo>
                <a:cubicBezTo>
                  <a:pt x="966" y="1457"/>
                  <a:pt x="967" y="1456"/>
                  <a:pt x="966" y="1455"/>
                </a:cubicBezTo>
                <a:cubicBezTo>
                  <a:pt x="964" y="1452"/>
                  <a:pt x="963" y="1449"/>
                  <a:pt x="961" y="1446"/>
                </a:cubicBezTo>
                <a:close/>
                <a:moveTo>
                  <a:pt x="1014" y="1448"/>
                </a:moveTo>
                <a:cubicBezTo>
                  <a:pt x="1012" y="1453"/>
                  <a:pt x="1009" y="1457"/>
                  <a:pt x="1007" y="1461"/>
                </a:cubicBezTo>
                <a:cubicBezTo>
                  <a:pt x="1010" y="1461"/>
                  <a:pt x="1012" y="1462"/>
                  <a:pt x="1015" y="1461"/>
                </a:cubicBezTo>
                <a:cubicBezTo>
                  <a:pt x="1015" y="1461"/>
                  <a:pt x="1015" y="1460"/>
                  <a:pt x="1015" y="1460"/>
                </a:cubicBezTo>
                <a:cubicBezTo>
                  <a:pt x="1015" y="1457"/>
                  <a:pt x="1015" y="1455"/>
                  <a:pt x="1015" y="1452"/>
                </a:cubicBezTo>
                <a:cubicBezTo>
                  <a:pt x="1015" y="1451"/>
                  <a:pt x="1014" y="1450"/>
                  <a:pt x="1014" y="1448"/>
                </a:cubicBezTo>
                <a:close/>
                <a:moveTo>
                  <a:pt x="961" y="1428"/>
                </a:moveTo>
                <a:cubicBezTo>
                  <a:pt x="960" y="1428"/>
                  <a:pt x="960" y="1429"/>
                  <a:pt x="959" y="1429"/>
                </a:cubicBezTo>
                <a:cubicBezTo>
                  <a:pt x="958" y="1429"/>
                  <a:pt x="958" y="1429"/>
                  <a:pt x="958" y="1428"/>
                </a:cubicBezTo>
                <a:cubicBezTo>
                  <a:pt x="957" y="1428"/>
                  <a:pt x="957" y="1427"/>
                  <a:pt x="957" y="1426"/>
                </a:cubicBezTo>
                <a:cubicBezTo>
                  <a:pt x="958" y="1424"/>
                  <a:pt x="958" y="1422"/>
                  <a:pt x="959" y="1420"/>
                </a:cubicBezTo>
                <a:cubicBezTo>
                  <a:pt x="958" y="1420"/>
                  <a:pt x="958" y="1420"/>
                  <a:pt x="958" y="1420"/>
                </a:cubicBezTo>
                <a:cubicBezTo>
                  <a:pt x="957" y="1421"/>
                  <a:pt x="956" y="1422"/>
                  <a:pt x="955" y="1423"/>
                </a:cubicBezTo>
                <a:cubicBezTo>
                  <a:pt x="954" y="1424"/>
                  <a:pt x="956" y="1429"/>
                  <a:pt x="958" y="1430"/>
                </a:cubicBezTo>
                <a:cubicBezTo>
                  <a:pt x="959" y="1431"/>
                  <a:pt x="961" y="1430"/>
                  <a:pt x="961" y="1428"/>
                </a:cubicBezTo>
                <a:close/>
                <a:moveTo>
                  <a:pt x="961" y="1446"/>
                </a:moveTo>
                <a:cubicBezTo>
                  <a:pt x="960" y="1447"/>
                  <a:pt x="959" y="1448"/>
                  <a:pt x="958" y="1449"/>
                </a:cubicBezTo>
                <a:cubicBezTo>
                  <a:pt x="957" y="1449"/>
                  <a:pt x="957" y="1450"/>
                  <a:pt x="957" y="1451"/>
                </a:cubicBezTo>
                <a:cubicBezTo>
                  <a:pt x="957" y="1454"/>
                  <a:pt x="961" y="1458"/>
                  <a:pt x="964" y="1458"/>
                </a:cubicBezTo>
                <a:cubicBezTo>
                  <a:pt x="966" y="1458"/>
                  <a:pt x="967" y="1457"/>
                  <a:pt x="966" y="1455"/>
                </a:cubicBezTo>
                <a:cubicBezTo>
                  <a:pt x="964" y="1452"/>
                  <a:pt x="963" y="1449"/>
                  <a:pt x="961" y="1446"/>
                </a:cubicBezTo>
                <a:close/>
                <a:moveTo>
                  <a:pt x="1014" y="1448"/>
                </a:moveTo>
                <a:cubicBezTo>
                  <a:pt x="1012" y="1453"/>
                  <a:pt x="1009" y="1457"/>
                  <a:pt x="1007" y="1462"/>
                </a:cubicBezTo>
                <a:cubicBezTo>
                  <a:pt x="1010" y="1462"/>
                  <a:pt x="1012" y="1462"/>
                  <a:pt x="1015" y="1462"/>
                </a:cubicBezTo>
                <a:cubicBezTo>
                  <a:pt x="1015" y="1462"/>
                  <a:pt x="1016" y="1460"/>
                  <a:pt x="1016" y="1460"/>
                </a:cubicBezTo>
                <a:cubicBezTo>
                  <a:pt x="1016" y="1457"/>
                  <a:pt x="1016" y="1455"/>
                  <a:pt x="1015" y="1452"/>
                </a:cubicBezTo>
                <a:cubicBezTo>
                  <a:pt x="1015" y="1451"/>
                  <a:pt x="1014" y="1450"/>
                  <a:pt x="1014" y="1448"/>
                </a:cubicBezTo>
                <a:close/>
                <a:moveTo>
                  <a:pt x="961" y="1428"/>
                </a:moveTo>
                <a:cubicBezTo>
                  <a:pt x="961" y="1428"/>
                  <a:pt x="960" y="1429"/>
                  <a:pt x="959" y="1429"/>
                </a:cubicBezTo>
                <a:cubicBezTo>
                  <a:pt x="959" y="1429"/>
                  <a:pt x="958" y="1429"/>
                  <a:pt x="958" y="1428"/>
                </a:cubicBezTo>
                <a:cubicBezTo>
                  <a:pt x="957" y="1428"/>
                  <a:pt x="957" y="1427"/>
                  <a:pt x="957" y="1426"/>
                </a:cubicBezTo>
                <a:cubicBezTo>
                  <a:pt x="958" y="1424"/>
                  <a:pt x="958" y="1422"/>
                  <a:pt x="959" y="1420"/>
                </a:cubicBezTo>
                <a:cubicBezTo>
                  <a:pt x="959" y="1420"/>
                  <a:pt x="959" y="1420"/>
                  <a:pt x="958" y="1420"/>
                </a:cubicBezTo>
                <a:cubicBezTo>
                  <a:pt x="957" y="1421"/>
                  <a:pt x="956" y="1422"/>
                  <a:pt x="955" y="1423"/>
                </a:cubicBezTo>
                <a:cubicBezTo>
                  <a:pt x="955" y="1424"/>
                  <a:pt x="956" y="1430"/>
                  <a:pt x="958" y="1430"/>
                </a:cubicBezTo>
                <a:cubicBezTo>
                  <a:pt x="959" y="1431"/>
                  <a:pt x="961" y="1430"/>
                  <a:pt x="961" y="1428"/>
                </a:cubicBezTo>
                <a:close/>
                <a:moveTo>
                  <a:pt x="1014" y="1420"/>
                </a:moveTo>
                <a:cubicBezTo>
                  <a:pt x="1017" y="1416"/>
                  <a:pt x="1017" y="1416"/>
                  <a:pt x="1021" y="1415"/>
                </a:cubicBezTo>
                <a:cubicBezTo>
                  <a:pt x="1021" y="1417"/>
                  <a:pt x="1022" y="1418"/>
                  <a:pt x="1023" y="1418"/>
                </a:cubicBezTo>
                <a:cubicBezTo>
                  <a:pt x="1021" y="1419"/>
                  <a:pt x="1019" y="1421"/>
                  <a:pt x="1017" y="1422"/>
                </a:cubicBezTo>
                <a:cubicBezTo>
                  <a:pt x="1016" y="1421"/>
                  <a:pt x="1016" y="1421"/>
                  <a:pt x="1015" y="1419"/>
                </a:cubicBezTo>
                <a:cubicBezTo>
                  <a:pt x="1015" y="1419"/>
                  <a:pt x="1014" y="1419"/>
                  <a:pt x="1014" y="1420"/>
                </a:cubicBezTo>
                <a:close/>
                <a:moveTo>
                  <a:pt x="1019" y="1419"/>
                </a:moveTo>
                <a:cubicBezTo>
                  <a:pt x="1019" y="1419"/>
                  <a:pt x="1018" y="1419"/>
                  <a:pt x="1017" y="1419"/>
                </a:cubicBezTo>
                <a:cubicBezTo>
                  <a:pt x="1017" y="1419"/>
                  <a:pt x="1016" y="1419"/>
                  <a:pt x="1016" y="1420"/>
                </a:cubicBezTo>
                <a:cubicBezTo>
                  <a:pt x="1016" y="1420"/>
                  <a:pt x="1017" y="1421"/>
                  <a:pt x="1017" y="1421"/>
                </a:cubicBezTo>
                <a:cubicBezTo>
                  <a:pt x="1018" y="1421"/>
                  <a:pt x="1018" y="1420"/>
                  <a:pt x="1019" y="1419"/>
                </a:cubicBezTo>
                <a:close/>
                <a:moveTo>
                  <a:pt x="1001" y="1409"/>
                </a:moveTo>
                <a:cubicBezTo>
                  <a:pt x="994" y="1409"/>
                  <a:pt x="991" y="1411"/>
                  <a:pt x="990" y="1419"/>
                </a:cubicBezTo>
                <a:cubicBezTo>
                  <a:pt x="991" y="1417"/>
                  <a:pt x="992" y="1415"/>
                  <a:pt x="993" y="1412"/>
                </a:cubicBezTo>
                <a:cubicBezTo>
                  <a:pt x="994" y="1412"/>
                  <a:pt x="994" y="1412"/>
                  <a:pt x="994" y="1412"/>
                </a:cubicBezTo>
                <a:cubicBezTo>
                  <a:pt x="994" y="1414"/>
                  <a:pt x="994" y="1414"/>
                  <a:pt x="994" y="1415"/>
                </a:cubicBezTo>
                <a:cubicBezTo>
                  <a:pt x="995" y="1412"/>
                  <a:pt x="997" y="1410"/>
                  <a:pt x="1001" y="1409"/>
                </a:cubicBezTo>
                <a:close/>
                <a:moveTo>
                  <a:pt x="1044" y="1411"/>
                </a:moveTo>
                <a:cubicBezTo>
                  <a:pt x="1042" y="1412"/>
                  <a:pt x="1040" y="1414"/>
                  <a:pt x="1039" y="1415"/>
                </a:cubicBezTo>
                <a:cubicBezTo>
                  <a:pt x="1040" y="1416"/>
                  <a:pt x="1043" y="1414"/>
                  <a:pt x="1044" y="1411"/>
                </a:cubicBezTo>
                <a:close/>
                <a:moveTo>
                  <a:pt x="1011" y="1413"/>
                </a:moveTo>
                <a:cubicBezTo>
                  <a:pt x="1012" y="1412"/>
                  <a:pt x="1013" y="1410"/>
                  <a:pt x="1014" y="1409"/>
                </a:cubicBezTo>
                <a:cubicBezTo>
                  <a:pt x="1011" y="1410"/>
                  <a:pt x="1010" y="1411"/>
                  <a:pt x="1011" y="1413"/>
                </a:cubicBezTo>
                <a:close/>
                <a:moveTo>
                  <a:pt x="1020" y="1435"/>
                </a:moveTo>
                <a:cubicBezTo>
                  <a:pt x="1019" y="1435"/>
                  <a:pt x="1018" y="1436"/>
                  <a:pt x="1018" y="1437"/>
                </a:cubicBezTo>
                <a:cubicBezTo>
                  <a:pt x="1018" y="1436"/>
                  <a:pt x="1020" y="1435"/>
                  <a:pt x="1020" y="1435"/>
                </a:cubicBezTo>
                <a:close/>
                <a:moveTo>
                  <a:pt x="1019" y="1419"/>
                </a:moveTo>
                <a:cubicBezTo>
                  <a:pt x="1019" y="1419"/>
                  <a:pt x="1018" y="1418"/>
                  <a:pt x="1017" y="1418"/>
                </a:cubicBezTo>
                <a:cubicBezTo>
                  <a:pt x="1017" y="1418"/>
                  <a:pt x="1016" y="1419"/>
                  <a:pt x="1016" y="1419"/>
                </a:cubicBezTo>
                <a:cubicBezTo>
                  <a:pt x="1016" y="1420"/>
                  <a:pt x="1016" y="1420"/>
                  <a:pt x="1017" y="1421"/>
                </a:cubicBezTo>
                <a:cubicBezTo>
                  <a:pt x="1018" y="1420"/>
                  <a:pt x="1018" y="1420"/>
                  <a:pt x="1019" y="1419"/>
                </a:cubicBezTo>
                <a:close/>
                <a:moveTo>
                  <a:pt x="1544" y="1540"/>
                </a:moveTo>
                <a:cubicBezTo>
                  <a:pt x="1544" y="1542"/>
                  <a:pt x="1545" y="1543"/>
                  <a:pt x="1545" y="1544"/>
                </a:cubicBezTo>
                <a:cubicBezTo>
                  <a:pt x="1546" y="1546"/>
                  <a:pt x="1546" y="1548"/>
                  <a:pt x="1547" y="1549"/>
                </a:cubicBezTo>
                <a:cubicBezTo>
                  <a:pt x="1547" y="1551"/>
                  <a:pt x="1547" y="1553"/>
                  <a:pt x="1547" y="1554"/>
                </a:cubicBezTo>
                <a:cubicBezTo>
                  <a:pt x="1548" y="1557"/>
                  <a:pt x="1547" y="1559"/>
                  <a:pt x="1543" y="1559"/>
                </a:cubicBezTo>
                <a:cubicBezTo>
                  <a:pt x="1541" y="1559"/>
                  <a:pt x="1538" y="1559"/>
                  <a:pt x="1535" y="1559"/>
                </a:cubicBezTo>
                <a:cubicBezTo>
                  <a:pt x="1535" y="1559"/>
                  <a:pt x="1534" y="1559"/>
                  <a:pt x="1534" y="1559"/>
                </a:cubicBezTo>
                <a:cubicBezTo>
                  <a:pt x="1532" y="1561"/>
                  <a:pt x="1530" y="1562"/>
                  <a:pt x="1529" y="1563"/>
                </a:cubicBezTo>
                <a:cubicBezTo>
                  <a:pt x="1527" y="1566"/>
                  <a:pt x="1524" y="1566"/>
                  <a:pt x="1522" y="1564"/>
                </a:cubicBezTo>
                <a:cubicBezTo>
                  <a:pt x="1520" y="1562"/>
                  <a:pt x="1519" y="1559"/>
                  <a:pt x="1517" y="1557"/>
                </a:cubicBezTo>
                <a:cubicBezTo>
                  <a:pt x="1516" y="1555"/>
                  <a:pt x="1517" y="1553"/>
                  <a:pt x="1519" y="1552"/>
                </a:cubicBezTo>
                <a:cubicBezTo>
                  <a:pt x="1516" y="1552"/>
                  <a:pt x="1515" y="1552"/>
                  <a:pt x="1513" y="1552"/>
                </a:cubicBezTo>
                <a:cubicBezTo>
                  <a:pt x="1512" y="1554"/>
                  <a:pt x="1511" y="1556"/>
                  <a:pt x="1510" y="1558"/>
                </a:cubicBezTo>
                <a:cubicBezTo>
                  <a:pt x="1510" y="1559"/>
                  <a:pt x="1510" y="1559"/>
                  <a:pt x="1510" y="1560"/>
                </a:cubicBezTo>
                <a:cubicBezTo>
                  <a:pt x="1510" y="1563"/>
                  <a:pt x="1509" y="1565"/>
                  <a:pt x="1506" y="1564"/>
                </a:cubicBezTo>
                <a:cubicBezTo>
                  <a:pt x="1502" y="1564"/>
                  <a:pt x="1500" y="1563"/>
                  <a:pt x="1497" y="1562"/>
                </a:cubicBezTo>
                <a:cubicBezTo>
                  <a:pt x="1495" y="1561"/>
                  <a:pt x="1494" y="1560"/>
                  <a:pt x="1495" y="1558"/>
                </a:cubicBezTo>
                <a:cubicBezTo>
                  <a:pt x="1495" y="1557"/>
                  <a:pt x="1495" y="1556"/>
                  <a:pt x="1495" y="1556"/>
                </a:cubicBezTo>
                <a:cubicBezTo>
                  <a:pt x="1493" y="1555"/>
                  <a:pt x="1491" y="1554"/>
                  <a:pt x="1489" y="1553"/>
                </a:cubicBezTo>
                <a:cubicBezTo>
                  <a:pt x="1487" y="1552"/>
                  <a:pt x="1486" y="1550"/>
                  <a:pt x="1486" y="1548"/>
                </a:cubicBezTo>
                <a:cubicBezTo>
                  <a:pt x="1485" y="1546"/>
                  <a:pt x="1485" y="1545"/>
                  <a:pt x="1487" y="1543"/>
                </a:cubicBezTo>
                <a:cubicBezTo>
                  <a:pt x="1490" y="1541"/>
                  <a:pt x="1491" y="1538"/>
                  <a:pt x="1490" y="1534"/>
                </a:cubicBezTo>
                <a:cubicBezTo>
                  <a:pt x="1490" y="1532"/>
                  <a:pt x="1490" y="1530"/>
                  <a:pt x="1490" y="1528"/>
                </a:cubicBezTo>
                <a:cubicBezTo>
                  <a:pt x="1489" y="1527"/>
                  <a:pt x="1487" y="1527"/>
                  <a:pt x="1486" y="1526"/>
                </a:cubicBezTo>
                <a:cubicBezTo>
                  <a:pt x="1485" y="1524"/>
                  <a:pt x="1484" y="1522"/>
                  <a:pt x="1484" y="1520"/>
                </a:cubicBezTo>
                <a:cubicBezTo>
                  <a:pt x="1484" y="1517"/>
                  <a:pt x="1487" y="1515"/>
                  <a:pt x="1490" y="1514"/>
                </a:cubicBezTo>
                <a:cubicBezTo>
                  <a:pt x="1490" y="1515"/>
                  <a:pt x="1490" y="1515"/>
                  <a:pt x="1491" y="1516"/>
                </a:cubicBezTo>
                <a:cubicBezTo>
                  <a:pt x="1491" y="1517"/>
                  <a:pt x="1491" y="1518"/>
                  <a:pt x="1491" y="1519"/>
                </a:cubicBezTo>
                <a:cubicBezTo>
                  <a:pt x="1490" y="1519"/>
                  <a:pt x="1490" y="1519"/>
                  <a:pt x="1489" y="1519"/>
                </a:cubicBezTo>
                <a:cubicBezTo>
                  <a:pt x="1489" y="1520"/>
                  <a:pt x="1489" y="1521"/>
                  <a:pt x="1488" y="1523"/>
                </a:cubicBezTo>
                <a:cubicBezTo>
                  <a:pt x="1489" y="1523"/>
                  <a:pt x="1490" y="1523"/>
                  <a:pt x="1490" y="1523"/>
                </a:cubicBezTo>
                <a:cubicBezTo>
                  <a:pt x="1491" y="1521"/>
                  <a:pt x="1492" y="1521"/>
                  <a:pt x="1493" y="1519"/>
                </a:cubicBezTo>
                <a:cubicBezTo>
                  <a:pt x="1497" y="1513"/>
                  <a:pt x="1503" y="1509"/>
                  <a:pt x="1511" y="1507"/>
                </a:cubicBezTo>
                <a:cubicBezTo>
                  <a:pt x="1514" y="1507"/>
                  <a:pt x="1517" y="1506"/>
                  <a:pt x="1520" y="1503"/>
                </a:cubicBezTo>
                <a:cubicBezTo>
                  <a:pt x="1520" y="1502"/>
                  <a:pt x="1521" y="1502"/>
                  <a:pt x="1521" y="1502"/>
                </a:cubicBezTo>
                <a:cubicBezTo>
                  <a:pt x="1524" y="1502"/>
                  <a:pt x="1525" y="1499"/>
                  <a:pt x="1527" y="1497"/>
                </a:cubicBezTo>
                <a:cubicBezTo>
                  <a:pt x="1535" y="1490"/>
                  <a:pt x="1547" y="1489"/>
                  <a:pt x="1554" y="1496"/>
                </a:cubicBezTo>
                <a:cubicBezTo>
                  <a:pt x="1557" y="1498"/>
                  <a:pt x="1560" y="1500"/>
                  <a:pt x="1562" y="1502"/>
                </a:cubicBezTo>
                <a:cubicBezTo>
                  <a:pt x="1564" y="1503"/>
                  <a:pt x="1565" y="1505"/>
                  <a:pt x="1566" y="1507"/>
                </a:cubicBezTo>
                <a:cubicBezTo>
                  <a:pt x="1567" y="1508"/>
                  <a:pt x="1567" y="1508"/>
                  <a:pt x="1569" y="1507"/>
                </a:cubicBezTo>
                <a:cubicBezTo>
                  <a:pt x="1569" y="1507"/>
                  <a:pt x="1570" y="1506"/>
                  <a:pt x="1571" y="1505"/>
                </a:cubicBezTo>
                <a:cubicBezTo>
                  <a:pt x="1573" y="1502"/>
                  <a:pt x="1576" y="1502"/>
                  <a:pt x="1577" y="1506"/>
                </a:cubicBezTo>
                <a:cubicBezTo>
                  <a:pt x="1579" y="1509"/>
                  <a:pt x="1579" y="1511"/>
                  <a:pt x="1580" y="1515"/>
                </a:cubicBezTo>
                <a:cubicBezTo>
                  <a:pt x="1580" y="1519"/>
                  <a:pt x="1580" y="1523"/>
                  <a:pt x="1579" y="1528"/>
                </a:cubicBezTo>
                <a:cubicBezTo>
                  <a:pt x="1576" y="1534"/>
                  <a:pt x="1571" y="1538"/>
                  <a:pt x="1565" y="1538"/>
                </a:cubicBezTo>
                <a:cubicBezTo>
                  <a:pt x="1564" y="1538"/>
                  <a:pt x="1564" y="1538"/>
                  <a:pt x="1563" y="1538"/>
                </a:cubicBezTo>
                <a:cubicBezTo>
                  <a:pt x="1560" y="1537"/>
                  <a:pt x="1559" y="1538"/>
                  <a:pt x="1558" y="1540"/>
                </a:cubicBezTo>
                <a:cubicBezTo>
                  <a:pt x="1557" y="1544"/>
                  <a:pt x="1551" y="1546"/>
                  <a:pt x="1548" y="1543"/>
                </a:cubicBezTo>
                <a:cubicBezTo>
                  <a:pt x="1547" y="1542"/>
                  <a:pt x="1546" y="1541"/>
                  <a:pt x="1545" y="1540"/>
                </a:cubicBezTo>
                <a:cubicBezTo>
                  <a:pt x="1544" y="1540"/>
                  <a:pt x="1544" y="1540"/>
                  <a:pt x="1544" y="1540"/>
                </a:cubicBezTo>
                <a:close/>
                <a:moveTo>
                  <a:pt x="1538" y="1536"/>
                </a:moveTo>
                <a:cubicBezTo>
                  <a:pt x="1542" y="1537"/>
                  <a:pt x="1545" y="1538"/>
                  <a:pt x="1548" y="1541"/>
                </a:cubicBezTo>
                <a:cubicBezTo>
                  <a:pt x="1550" y="1543"/>
                  <a:pt x="1552" y="1544"/>
                  <a:pt x="1554" y="1543"/>
                </a:cubicBezTo>
                <a:cubicBezTo>
                  <a:pt x="1556" y="1542"/>
                  <a:pt x="1558" y="1540"/>
                  <a:pt x="1558" y="1537"/>
                </a:cubicBezTo>
                <a:cubicBezTo>
                  <a:pt x="1558" y="1537"/>
                  <a:pt x="1557" y="1537"/>
                  <a:pt x="1557" y="1538"/>
                </a:cubicBezTo>
                <a:cubicBezTo>
                  <a:pt x="1556" y="1539"/>
                  <a:pt x="1555" y="1540"/>
                  <a:pt x="1554" y="1541"/>
                </a:cubicBezTo>
                <a:cubicBezTo>
                  <a:pt x="1553" y="1542"/>
                  <a:pt x="1552" y="1542"/>
                  <a:pt x="1551" y="1542"/>
                </a:cubicBezTo>
                <a:cubicBezTo>
                  <a:pt x="1551" y="1542"/>
                  <a:pt x="1550" y="1540"/>
                  <a:pt x="1550" y="1540"/>
                </a:cubicBezTo>
                <a:cubicBezTo>
                  <a:pt x="1550" y="1537"/>
                  <a:pt x="1551" y="1535"/>
                  <a:pt x="1551" y="1533"/>
                </a:cubicBezTo>
                <a:cubicBezTo>
                  <a:pt x="1554" y="1534"/>
                  <a:pt x="1557" y="1535"/>
                  <a:pt x="1561" y="1536"/>
                </a:cubicBezTo>
                <a:cubicBezTo>
                  <a:pt x="1568" y="1537"/>
                  <a:pt x="1574" y="1535"/>
                  <a:pt x="1577" y="1527"/>
                </a:cubicBezTo>
                <a:cubicBezTo>
                  <a:pt x="1579" y="1522"/>
                  <a:pt x="1579" y="1517"/>
                  <a:pt x="1578" y="1512"/>
                </a:cubicBezTo>
                <a:cubicBezTo>
                  <a:pt x="1577" y="1510"/>
                  <a:pt x="1577" y="1508"/>
                  <a:pt x="1576" y="1506"/>
                </a:cubicBezTo>
                <a:cubicBezTo>
                  <a:pt x="1575" y="1505"/>
                  <a:pt x="1574" y="1504"/>
                  <a:pt x="1573" y="1506"/>
                </a:cubicBezTo>
                <a:cubicBezTo>
                  <a:pt x="1571" y="1508"/>
                  <a:pt x="1569" y="1509"/>
                  <a:pt x="1567" y="1510"/>
                </a:cubicBezTo>
                <a:cubicBezTo>
                  <a:pt x="1567" y="1510"/>
                  <a:pt x="1566" y="1511"/>
                  <a:pt x="1566" y="1512"/>
                </a:cubicBezTo>
                <a:cubicBezTo>
                  <a:pt x="1567" y="1515"/>
                  <a:pt x="1566" y="1519"/>
                  <a:pt x="1565" y="1522"/>
                </a:cubicBezTo>
                <a:cubicBezTo>
                  <a:pt x="1565" y="1520"/>
                  <a:pt x="1566" y="1518"/>
                  <a:pt x="1566" y="1516"/>
                </a:cubicBezTo>
                <a:cubicBezTo>
                  <a:pt x="1566" y="1515"/>
                  <a:pt x="1565" y="1515"/>
                  <a:pt x="1565" y="1515"/>
                </a:cubicBezTo>
                <a:cubicBezTo>
                  <a:pt x="1564" y="1515"/>
                  <a:pt x="1564" y="1515"/>
                  <a:pt x="1564" y="1515"/>
                </a:cubicBezTo>
                <a:cubicBezTo>
                  <a:pt x="1563" y="1517"/>
                  <a:pt x="1562" y="1518"/>
                  <a:pt x="1561" y="1519"/>
                </a:cubicBezTo>
                <a:cubicBezTo>
                  <a:pt x="1561" y="1519"/>
                  <a:pt x="1561" y="1519"/>
                  <a:pt x="1561" y="1519"/>
                </a:cubicBezTo>
                <a:cubicBezTo>
                  <a:pt x="1561" y="1518"/>
                  <a:pt x="1562" y="1516"/>
                  <a:pt x="1562" y="1514"/>
                </a:cubicBezTo>
                <a:cubicBezTo>
                  <a:pt x="1561" y="1515"/>
                  <a:pt x="1560" y="1515"/>
                  <a:pt x="1560" y="1516"/>
                </a:cubicBezTo>
                <a:cubicBezTo>
                  <a:pt x="1559" y="1516"/>
                  <a:pt x="1559" y="1517"/>
                  <a:pt x="1558" y="1518"/>
                </a:cubicBezTo>
                <a:cubicBezTo>
                  <a:pt x="1559" y="1514"/>
                  <a:pt x="1559" y="1514"/>
                  <a:pt x="1565" y="1513"/>
                </a:cubicBezTo>
                <a:cubicBezTo>
                  <a:pt x="1565" y="1513"/>
                  <a:pt x="1564" y="1512"/>
                  <a:pt x="1564" y="1512"/>
                </a:cubicBezTo>
                <a:cubicBezTo>
                  <a:pt x="1561" y="1513"/>
                  <a:pt x="1560" y="1511"/>
                  <a:pt x="1560" y="1509"/>
                </a:cubicBezTo>
                <a:cubicBezTo>
                  <a:pt x="1562" y="1508"/>
                  <a:pt x="1563" y="1508"/>
                  <a:pt x="1565" y="1508"/>
                </a:cubicBezTo>
                <a:cubicBezTo>
                  <a:pt x="1563" y="1505"/>
                  <a:pt x="1562" y="1502"/>
                  <a:pt x="1558" y="1502"/>
                </a:cubicBezTo>
                <a:cubicBezTo>
                  <a:pt x="1558" y="1502"/>
                  <a:pt x="1558" y="1502"/>
                  <a:pt x="1558" y="1501"/>
                </a:cubicBezTo>
                <a:cubicBezTo>
                  <a:pt x="1555" y="1499"/>
                  <a:pt x="1553" y="1497"/>
                  <a:pt x="1550" y="1495"/>
                </a:cubicBezTo>
                <a:cubicBezTo>
                  <a:pt x="1548" y="1494"/>
                  <a:pt x="1545" y="1493"/>
                  <a:pt x="1543" y="1493"/>
                </a:cubicBezTo>
                <a:cubicBezTo>
                  <a:pt x="1540" y="1493"/>
                  <a:pt x="1536" y="1494"/>
                  <a:pt x="1533" y="1495"/>
                </a:cubicBezTo>
                <a:cubicBezTo>
                  <a:pt x="1530" y="1496"/>
                  <a:pt x="1528" y="1498"/>
                  <a:pt x="1526" y="1501"/>
                </a:cubicBezTo>
                <a:cubicBezTo>
                  <a:pt x="1528" y="1501"/>
                  <a:pt x="1529" y="1501"/>
                  <a:pt x="1530" y="1501"/>
                </a:cubicBezTo>
                <a:cubicBezTo>
                  <a:pt x="1530" y="1502"/>
                  <a:pt x="1529" y="1502"/>
                  <a:pt x="1528" y="1502"/>
                </a:cubicBezTo>
                <a:cubicBezTo>
                  <a:pt x="1526" y="1503"/>
                  <a:pt x="1523" y="1502"/>
                  <a:pt x="1521" y="1504"/>
                </a:cubicBezTo>
                <a:cubicBezTo>
                  <a:pt x="1517" y="1508"/>
                  <a:pt x="1513" y="1512"/>
                  <a:pt x="1510" y="1516"/>
                </a:cubicBezTo>
                <a:cubicBezTo>
                  <a:pt x="1508" y="1518"/>
                  <a:pt x="1508" y="1521"/>
                  <a:pt x="1506" y="1523"/>
                </a:cubicBezTo>
                <a:cubicBezTo>
                  <a:pt x="1506" y="1523"/>
                  <a:pt x="1506" y="1524"/>
                  <a:pt x="1507" y="1525"/>
                </a:cubicBezTo>
                <a:cubicBezTo>
                  <a:pt x="1508" y="1527"/>
                  <a:pt x="1509" y="1529"/>
                  <a:pt x="1511" y="1530"/>
                </a:cubicBezTo>
                <a:cubicBezTo>
                  <a:pt x="1512" y="1529"/>
                  <a:pt x="1513" y="1527"/>
                  <a:pt x="1514" y="1526"/>
                </a:cubicBezTo>
                <a:cubicBezTo>
                  <a:pt x="1514" y="1527"/>
                  <a:pt x="1513" y="1529"/>
                  <a:pt x="1513" y="1530"/>
                </a:cubicBezTo>
                <a:cubicBezTo>
                  <a:pt x="1512" y="1531"/>
                  <a:pt x="1511" y="1532"/>
                  <a:pt x="1511" y="1534"/>
                </a:cubicBezTo>
                <a:cubicBezTo>
                  <a:pt x="1510" y="1535"/>
                  <a:pt x="1511" y="1536"/>
                  <a:pt x="1511" y="1537"/>
                </a:cubicBezTo>
                <a:cubicBezTo>
                  <a:pt x="1513" y="1540"/>
                  <a:pt x="1517" y="1540"/>
                  <a:pt x="1521" y="1538"/>
                </a:cubicBezTo>
                <a:cubicBezTo>
                  <a:pt x="1523" y="1537"/>
                  <a:pt x="1526" y="1536"/>
                  <a:pt x="1528" y="1535"/>
                </a:cubicBezTo>
                <a:cubicBezTo>
                  <a:pt x="1530" y="1534"/>
                  <a:pt x="1531" y="1534"/>
                  <a:pt x="1531" y="1532"/>
                </a:cubicBezTo>
                <a:cubicBezTo>
                  <a:pt x="1531" y="1529"/>
                  <a:pt x="1531" y="1525"/>
                  <a:pt x="1531" y="1522"/>
                </a:cubicBezTo>
                <a:cubicBezTo>
                  <a:pt x="1531" y="1519"/>
                  <a:pt x="1531" y="1516"/>
                  <a:pt x="1531" y="1513"/>
                </a:cubicBezTo>
                <a:cubicBezTo>
                  <a:pt x="1532" y="1516"/>
                  <a:pt x="1532" y="1519"/>
                  <a:pt x="1533" y="1521"/>
                </a:cubicBezTo>
                <a:cubicBezTo>
                  <a:pt x="1534" y="1526"/>
                  <a:pt x="1534" y="1530"/>
                  <a:pt x="1532" y="1534"/>
                </a:cubicBezTo>
                <a:cubicBezTo>
                  <a:pt x="1532" y="1535"/>
                  <a:pt x="1531" y="1536"/>
                  <a:pt x="1531" y="1536"/>
                </a:cubicBezTo>
                <a:cubicBezTo>
                  <a:pt x="1527" y="1536"/>
                  <a:pt x="1524" y="1538"/>
                  <a:pt x="1521" y="1540"/>
                </a:cubicBezTo>
                <a:cubicBezTo>
                  <a:pt x="1516" y="1543"/>
                  <a:pt x="1512" y="1541"/>
                  <a:pt x="1509" y="1537"/>
                </a:cubicBezTo>
                <a:cubicBezTo>
                  <a:pt x="1508" y="1537"/>
                  <a:pt x="1508" y="1536"/>
                  <a:pt x="1509" y="1535"/>
                </a:cubicBezTo>
                <a:cubicBezTo>
                  <a:pt x="1510" y="1533"/>
                  <a:pt x="1509" y="1531"/>
                  <a:pt x="1507" y="1529"/>
                </a:cubicBezTo>
                <a:cubicBezTo>
                  <a:pt x="1506" y="1527"/>
                  <a:pt x="1504" y="1525"/>
                  <a:pt x="1505" y="1522"/>
                </a:cubicBezTo>
                <a:cubicBezTo>
                  <a:pt x="1506" y="1520"/>
                  <a:pt x="1507" y="1518"/>
                  <a:pt x="1508" y="1517"/>
                </a:cubicBezTo>
                <a:cubicBezTo>
                  <a:pt x="1510" y="1514"/>
                  <a:pt x="1512" y="1511"/>
                  <a:pt x="1514" y="1509"/>
                </a:cubicBezTo>
                <a:cubicBezTo>
                  <a:pt x="1513" y="1509"/>
                  <a:pt x="1513" y="1509"/>
                  <a:pt x="1513" y="1509"/>
                </a:cubicBezTo>
                <a:cubicBezTo>
                  <a:pt x="1508" y="1510"/>
                  <a:pt x="1503" y="1511"/>
                  <a:pt x="1499" y="1515"/>
                </a:cubicBezTo>
                <a:cubicBezTo>
                  <a:pt x="1495" y="1519"/>
                  <a:pt x="1492" y="1524"/>
                  <a:pt x="1491" y="1531"/>
                </a:cubicBezTo>
                <a:cubicBezTo>
                  <a:pt x="1491" y="1538"/>
                  <a:pt x="1493" y="1544"/>
                  <a:pt x="1497" y="1549"/>
                </a:cubicBezTo>
                <a:cubicBezTo>
                  <a:pt x="1497" y="1550"/>
                  <a:pt x="1498" y="1552"/>
                  <a:pt x="1498" y="1553"/>
                </a:cubicBezTo>
                <a:cubicBezTo>
                  <a:pt x="1498" y="1555"/>
                  <a:pt x="1497" y="1556"/>
                  <a:pt x="1497" y="1557"/>
                </a:cubicBezTo>
                <a:cubicBezTo>
                  <a:pt x="1496" y="1559"/>
                  <a:pt x="1497" y="1560"/>
                  <a:pt x="1498" y="1561"/>
                </a:cubicBezTo>
                <a:cubicBezTo>
                  <a:pt x="1501" y="1561"/>
                  <a:pt x="1504" y="1562"/>
                  <a:pt x="1506" y="1562"/>
                </a:cubicBezTo>
                <a:cubicBezTo>
                  <a:pt x="1507" y="1562"/>
                  <a:pt x="1508" y="1561"/>
                  <a:pt x="1508" y="1561"/>
                </a:cubicBezTo>
                <a:cubicBezTo>
                  <a:pt x="1508" y="1560"/>
                  <a:pt x="1508" y="1558"/>
                  <a:pt x="1509" y="1557"/>
                </a:cubicBezTo>
                <a:cubicBezTo>
                  <a:pt x="1511" y="1555"/>
                  <a:pt x="1511" y="1552"/>
                  <a:pt x="1511" y="1549"/>
                </a:cubicBezTo>
                <a:cubicBezTo>
                  <a:pt x="1511" y="1549"/>
                  <a:pt x="1511" y="1549"/>
                  <a:pt x="1511" y="1548"/>
                </a:cubicBezTo>
                <a:cubicBezTo>
                  <a:pt x="1511" y="1548"/>
                  <a:pt x="1511" y="1548"/>
                  <a:pt x="1511" y="1548"/>
                </a:cubicBezTo>
                <a:cubicBezTo>
                  <a:pt x="1512" y="1550"/>
                  <a:pt x="1513" y="1550"/>
                  <a:pt x="1515" y="1550"/>
                </a:cubicBezTo>
                <a:cubicBezTo>
                  <a:pt x="1516" y="1550"/>
                  <a:pt x="1517" y="1550"/>
                  <a:pt x="1518" y="1550"/>
                </a:cubicBezTo>
                <a:cubicBezTo>
                  <a:pt x="1520" y="1550"/>
                  <a:pt x="1523" y="1551"/>
                  <a:pt x="1524" y="1547"/>
                </a:cubicBezTo>
                <a:cubicBezTo>
                  <a:pt x="1524" y="1549"/>
                  <a:pt x="1524" y="1551"/>
                  <a:pt x="1524" y="1551"/>
                </a:cubicBezTo>
                <a:cubicBezTo>
                  <a:pt x="1523" y="1552"/>
                  <a:pt x="1521" y="1553"/>
                  <a:pt x="1520" y="1553"/>
                </a:cubicBezTo>
                <a:cubicBezTo>
                  <a:pt x="1519" y="1554"/>
                  <a:pt x="1518" y="1556"/>
                  <a:pt x="1519" y="1557"/>
                </a:cubicBezTo>
                <a:cubicBezTo>
                  <a:pt x="1520" y="1559"/>
                  <a:pt x="1521" y="1561"/>
                  <a:pt x="1523" y="1563"/>
                </a:cubicBezTo>
                <a:cubicBezTo>
                  <a:pt x="1525" y="1564"/>
                  <a:pt x="1526" y="1564"/>
                  <a:pt x="1528" y="1562"/>
                </a:cubicBezTo>
                <a:cubicBezTo>
                  <a:pt x="1528" y="1561"/>
                  <a:pt x="1529" y="1561"/>
                  <a:pt x="1530" y="1560"/>
                </a:cubicBezTo>
                <a:cubicBezTo>
                  <a:pt x="1532" y="1559"/>
                  <a:pt x="1533" y="1557"/>
                  <a:pt x="1535" y="1556"/>
                </a:cubicBezTo>
                <a:cubicBezTo>
                  <a:pt x="1539" y="1552"/>
                  <a:pt x="1541" y="1546"/>
                  <a:pt x="1543" y="1540"/>
                </a:cubicBezTo>
                <a:cubicBezTo>
                  <a:pt x="1543" y="1540"/>
                  <a:pt x="1542" y="1539"/>
                  <a:pt x="1541" y="1538"/>
                </a:cubicBezTo>
                <a:cubicBezTo>
                  <a:pt x="1541" y="1537"/>
                  <a:pt x="1540" y="1536"/>
                  <a:pt x="1538" y="1536"/>
                </a:cubicBezTo>
                <a:close/>
                <a:moveTo>
                  <a:pt x="1491" y="1542"/>
                </a:moveTo>
                <a:cubicBezTo>
                  <a:pt x="1490" y="1543"/>
                  <a:pt x="1489" y="1544"/>
                  <a:pt x="1487" y="1545"/>
                </a:cubicBezTo>
                <a:cubicBezTo>
                  <a:pt x="1487" y="1545"/>
                  <a:pt x="1487" y="1546"/>
                  <a:pt x="1487" y="1547"/>
                </a:cubicBezTo>
                <a:cubicBezTo>
                  <a:pt x="1487" y="1549"/>
                  <a:pt x="1491" y="1554"/>
                  <a:pt x="1494" y="1553"/>
                </a:cubicBezTo>
                <a:cubicBezTo>
                  <a:pt x="1496" y="1553"/>
                  <a:pt x="1497" y="1552"/>
                  <a:pt x="1496" y="1551"/>
                </a:cubicBezTo>
                <a:cubicBezTo>
                  <a:pt x="1494" y="1548"/>
                  <a:pt x="1493" y="1545"/>
                  <a:pt x="1491" y="1542"/>
                </a:cubicBezTo>
                <a:close/>
                <a:moveTo>
                  <a:pt x="1544" y="1544"/>
                </a:moveTo>
                <a:cubicBezTo>
                  <a:pt x="1541" y="1549"/>
                  <a:pt x="1539" y="1553"/>
                  <a:pt x="1537" y="1557"/>
                </a:cubicBezTo>
                <a:cubicBezTo>
                  <a:pt x="1540" y="1557"/>
                  <a:pt x="1542" y="1558"/>
                  <a:pt x="1545" y="1557"/>
                </a:cubicBezTo>
                <a:cubicBezTo>
                  <a:pt x="1545" y="1557"/>
                  <a:pt x="1545" y="1556"/>
                  <a:pt x="1545" y="1556"/>
                </a:cubicBezTo>
                <a:cubicBezTo>
                  <a:pt x="1545" y="1553"/>
                  <a:pt x="1545" y="1551"/>
                  <a:pt x="1545" y="1548"/>
                </a:cubicBezTo>
                <a:cubicBezTo>
                  <a:pt x="1545" y="1547"/>
                  <a:pt x="1544" y="1546"/>
                  <a:pt x="1544" y="1544"/>
                </a:cubicBezTo>
                <a:close/>
                <a:moveTo>
                  <a:pt x="1491" y="1524"/>
                </a:moveTo>
                <a:cubicBezTo>
                  <a:pt x="1490" y="1524"/>
                  <a:pt x="1489" y="1525"/>
                  <a:pt x="1489" y="1525"/>
                </a:cubicBezTo>
                <a:cubicBezTo>
                  <a:pt x="1488" y="1525"/>
                  <a:pt x="1487" y="1525"/>
                  <a:pt x="1487" y="1524"/>
                </a:cubicBezTo>
                <a:cubicBezTo>
                  <a:pt x="1487" y="1524"/>
                  <a:pt x="1487" y="1523"/>
                  <a:pt x="1487" y="1522"/>
                </a:cubicBezTo>
                <a:cubicBezTo>
                  <a:pt x="1487" y="1520"/>
                  <a:pt x="1488" y="1518"/>
                  <a:pt x="1489" y="1516"/>
                </a:cubicBezTo>
                <a:cubicBezTo>
                  <a:pt x="1488" y="1516"/>
                  <a:pt x="1488" y="1516"/>
                  <a:pt x="1488" y="1516"/>
                </a:cubicBezTo>
                <a:cubicBezTo>
                  <a:pt x="1487" y="1517"/>
                  <a:pt x="1486" y="1518"/>
                  <a:pt x="1485" y="1519"/>
                </a:cubicBezTo>
                <a:cubicBezTo>
                  <a:pt x="1484" y="1520"/>
                  <a:pt x="1486" y="1525"/>
                  <a:pt x="1487" y="1526"/>
                </a:cubicBezTo>
                <a:cubicBezTo>
                  <a:pt x="1489" y="1527"/>
                  <a:pt x="1491" y="1526"/>
                  <a:pt x="1491" y="1524"/>
                </a:cubicBezTo>
                <a:close/>
                <a:moveTo>
                  <a:pt x="1491" y="1542"/>
                </a:moveTo>
                <a:cubicBezTo>
                  <a:pt x="1490" y="1543"/>
                  <a:pt x="1489" y="1544"/>
                  <a:pt x="1488" y="1545"/>
                </a:cubicBezTo>
                <a:cubicBezTo>
                  <a:pt x="1487" y="1545"/>
                  <a:pt x="1487" y="1546"/>
                  <a:pt x="1487" y="1547"/>
                </a:cubicBezTo>
                <a:cubicBezTo>
                  <a:pt x="1487" y="1550"/>
                  <a:pt x="1491" y="1554"/>
                  <a:pt x="1494" y="1554"/>
                </a:cubicBezTo>
                <a:cubicBezTo>
                  <a:pt x="1496" y="1554"/>
                  <a:pt x="1496" y="1553"/>
                  <a:pt x="1496" y="1551"/>
                </a:cubicBezTo>
                <a:cubicBezTo>
                  <a:pt x="1494" y="1548"/>
                  <a:pt x="1493" y="1545"/>
                  <a:pt x="1491" y="1542"/>
                </a:cubicBezTo>
                <a:close/>
                <a:moveTo>
                  <a:pt x="1544" y="1544"/>
                </a:moveTo>
                <a:cubicBezTo>
                  <a:pt x="1542" y="1549"/>
                  <a:pt x="1539" y="1553"/>
                  <a:pt x="1537" y="1558"/>
                </a:cubicBezTo>
                <a:cubicBezTo>
                  <a:pt x="1540" y="1558"/>
                  <a:pt x="1542" y="1558"/>
                  <a:pt x="1545" y="1558"/>
                </a:cubicBezTo>
                <a:cubicBezTo>
                  <a:pt x="1545" y="1558"/>
                  <a:pt x="1545" y="1556"/>
                  <a:pt x="1545" y="1556"/>
                </a:cubicBezTo>
                <a:cubicBezTo>
                  <a:pt x="1545" y="1553"/>
                  <a:pt x="1545" y="1551"/>
                  <a:pt x="1545" y="1548"/>
                </a:cubicBezTo>
                <a:cubicBezTo>
                  <a:pt x="1545" y="1547"/>
                  <a:pt x="1544" y="1546"/>
                  <a:pt x="1544" y="1544"/>
                </a:cubicBezTo>
                <a:close/>
                <a:moveTo>
                  <a:pt x="1491" y="1524"/>
                </a:moveTo>
                <a:cubicBezTo>
                  <a:pt x="1490" y="1524"/>
                  <a:pt x="1490" y="1525"/>
                  <a:pt x="1489" y="1525"/>
                </a:cubicBezTo>
                <a:cubicBezTo>
                  <a:pt x="1488" y="1525"/>
                  <a:pt x="1488" y="1525"/>
                  <a:pt x="1488" y="1524"/>
                </a:cubicBezTo>
                <a:cubicBezTo>
                  <a:pt x="1487" y="1524"/>
                  <a:pt x="1487" y="1523"/>
                  <a:pt x="1487" y="1522"/>
                </a:cubicBezTo>
                <a:cubicBezTo>
                  <a:pt x="1488" y="1520"/>
                  <a:pt x="1488" y="1518"/>
                  <a:pt x="1489" y="1516"/>
                </a:cubicBezTo>
                <a:cubicBezTo>
                  <a:pt x="1488" y="1516"/>
                  <a:pt x="1488" y="1516"/>
                  <a:pt x="1488" y="1516"/>
                </a:cubicBezTo>
                <a:cubicBezTo>
                  <a:pt x="1487" y="1517"/>
                  <a:pt x="1486" y="1518"/>
                  <a:pt x="1485" y="1519"/>
                </a:cubicBezTo>
                <a:cubicBezTo>
                  <a:pt x="1484" y="1520"/>
                  <a:pt x="1486" y="1526"/>
                  <a:pt x="1488" y="1526"/>
                </a:cubicBezTo>
                <a:cubicBezTo>
                  <a:pt x="1489" y="1527"/>
                  <a:pt x="1491" y="1526"/>
                  <a:pt x="1491" y="1524"/>
                </a:cubicBezTo>
                <a:close/>
                <a:moveTo>
                  <a:pt x="1544" y="1516"/>
                </a:moveTo>
                <a:cubicBezTo>
                  <a:pt x="1547" y="1512"/>
                  <a:pt x="1547" y="1512"/>
                  <a:pt x="1550" y="1511"/>
                </a:cubicBezTo>
                <a:cubicBezTo>
                  <a:pt x="1550" y="1513"/>
                  <a:pt x="1552" y="1514"/>
                  <a:pt x="1553" y="1514"/>
                </a:cubicBezTo>
                <a:cubicBezTo>
                  <a:pt x="1551" y="1515"/>
                  <a:pt x="1549" y="1517"/>
                  <a:pt x="1547" y="1518"/>
                </a:cubicBezTo>
                <a:cubicBezTo>
                  <a:pt x="1546" y="1517"/>
                  <a:pt x="1546" y="1517"/>
                  <a:pt x="1545" y="1515"/>
                </a:cubicBezTo>
                <a:cubicBezTo>
                  <a:pt x="1545" y="1515"/>
                  <a:pt x="1544" y="1515"/>
                  <a:pt x="1544" y="1516"/>
                </a:cubicBezTo>
                <a:close/>
                <a:moveTo>
                  <a:pt x="1549" y="1515"/>
                </a:moveTo>
                <a:cubicBezTo>
                  <a:pt x="1549" y="1515"/>
                  <a:pt x="1548" y="1515"/>
                  <a:pt x="1547" y="1515"/>
                </a:cubicBezTo>
                <a:cubicBezTo>
                  <a:pt x="1547" y="1515"/>
                  <a:pt x="1546" y="1515"/>
                  <a:pt x="1546" y="1516"/>
                </a:cubicBezTo>
                <a:cubicBezTo>
                  <a:pt x="1546" y="1516"/>
                  <a:pt x="1547" y="1517"/>
                  <a:pt x="1547" y="1517"/>
                </a:cubicBezTo>
                <a:cubicBezTo>
                  <a:pt x="1548" y="1517"/>
                  <a:pt x="1548" y="1516"/>
                  <a:pt x="1549" y="1515"/>
                </a:cubicBezTo>
                <a:close/>
                <a:moveTo>
                  <a:pt x="1531" y="1505"/>
                </a:moveTo>
                <a:cubicBezTo>
                  <a:pt x="1524" y="1505"/>
                  <a:pt x="1521" y="1507"/>
                  <a:pt x="1520" y="1515"/>
                </a:cubicBezTo>
                <a:cubicBezTo>
                  <a:pt x="1521" y="1513"/>
                  <a:pt x="1522" y="1511"/>
                  <a:pt x="1524" y="1508"/>
                </a:cubicBezTo>
                <a:cubicBezTo>
                  <a:pt x="1524" y="1508"/>
                  <a:pt x="1524" y="1508"/>
                  <a:pt x="1524" y="1508"/>
                </a:cubicBezTo>
                <a:cubicBezTo>
                  <a:pt x="1524" y="1510"/>
                  <a:pt x="1524" y="1510"/>
                  <a:pt x="1524" y="1511"/>
                </a:cubicBezTo>
                <a:cubicBezTo>
                  <a:pt x="1525" y="1508"/>
                  <a:pt x="1527" y="1506"/>
                  <a:pt x="1531" y="1505"/>
                </a:cubicBezTo>
                <a:close/>
                <a:moveTo>
                  <a:pt x="1574" y="1507"/>
                </a:moveTo>
                <a:cubicBezTo>
                  <a:pt x="1572" y="1508"/>
                  <a:pt x="1570" y="1510"/>
                  <a:pt x="1568" y="1511"/>
                </a:cubicBezTo>
                <a:cubicBezTo>
                  <a:pt x="1570" y="1511"/>
                  <a:pt x="1573" y="1510"/>
                  <a:pt x="1574" y="1507"/>
                </a:cubicBezTo>
                <a:close/>
                <a:moveTo>
                  <a:pt x="1541" y="1509"/>
                </a:moveTo>
                <a:cubicBezTo>
                  <a:pt x="1542" y="1508"/>
                  <a:pt x="1543" y="1506"/>
                  <a:pt x="1544" y="1505"/>
                </a:cubicBezTo>
                <a:cubicBezTo>
                  <a:pt x="1541" y="1506"/>
                  <a:pt x="1540" y="1507"/>
                  <a:pt x="1541" y="1509"/>
                </a:cubicBezTo>
                <a:close/>
                <a:moveTo>
                  <a:pt x="1550" y="1531"/>
                </a:moveTo>
                <a:cubicBezTo>
                  <a:pt x="1549" y="1531"/>
                  <a:pt x="1548" y="1532"/>
                  <a:pt x="1548" y="1533"/>
                </a:cubicBezTo>
                <a:cubicBezTo>
                  <a:pt x="1548" y="1532"/>
                  <a:pt x="1549" y="1531"/>
                  <a:pt x="1550" y="1531"/>
                </a:cubicBezTo>
                <a:close/>
                <a:moveTo>
                  <a:pt x="1549" y="1515"/>
                </a:moveTo>
                <a:cubicBezTo>
                  <a:pt x="1548" y="1515"/>
                  <a:pt x="1548" y="1514"/>
                  <a:pt x="1547" y="1514"/>
                </a:cubicBezTo>
                <a:cubicBezTo>
                  <a:pt x="1547" y="1514"/>
                  <a:pt x="1546" y="1515"/>
                  <a:pt x="1546" y="1515"/>
                </a:cubicBezTo>
                <a:cubicBezTo>
                  <a:pt x="1546" y="1516"/>
                  <a:pt x="1546" y="1516"/>
                  <a:pt x="1547" y="1517"/>
                </a:cubicBezTo>
                <a:cubicBezTo>
                  <a:pt x="1548" y="1516"/>
                  <a:pt x="1548" y="1516"/>
                  <a:pt x="1549" y="1515"/>
                </a:cubicBezTo>
                <a:close/>
                <a:moveTo>
                  <a:pt x="1097" y="1397"/>
                </a:moveTo>
                <a:cubicBezTo>
                  <a:pt x="1097" y="1397"/>
                  <a:pt x="1097" y="1397"/>
                  <a:pt x="1097" y="1397"/>
                </a:cubicBezTo>
                <a:cubicBezTo>
                  <a:pt x="1092" y="1397"/>
                  <a:pt x="1092" y="1397"/>
                  <a:pt x="1092" y="1397"/>
                </a:cubicBezTo>
                <a:cubicBezTo>
                  <a:pt x="1090" y="1398"/>
                  <a:pt x="1088" y="1400"/>
                  <a:pt x="1086" y="1400"/>
                </a:cubicBezTo>
                <a:cubicBezTo>
                  <a:pt x="1085" y="1402"/>
                  <a:pt x="1083" y="1402"/>
                  <a:pt x="1081" y="1403"/>
                </a:cubicBezTo>
                <a:cubicBezTo>
                  <a:pt x="1080" y="1405"/>
                  <a:pt x="1078" y="1405"/>
                  <a:pt x="1076" y="1406"/>
                </a:cubicBezTo>
                <a:cubicBezTo>
                  <a:pt x="1074" y="1407"/>
                  <a:pt x="1072" y="1408"/>
                  <a:pt x="1070" y="1408"/>
                </a:cubicBezTo>
                <a:cubicBezTo>
                  <a:pt x="1070" y="1408"/>
                  <a:pt x="1070" y="1408"/>
                  <a:pt x="1070" y="1418"/>
                </a:cubicBezTo>
                <a:cubicBezTo>
                  <a:pt x="1073" y="1417"/>
                  <a:pt x="1076" y="1416"/>
                  <a:pt x="1078" y="1415"/>
                </a:cubicBezTo>
                <a:cubicBezTo>
                  <a:pt x="1081" y="1414"/>
                  <a:pt x="1083" y="1413"/>
                  <a:pt x="1086" y="1411"/>
                </a:cubicBezTo>
                <a:cubicBezTo>
                  <a:pt x="1086" y="1411"/>
                  <a:pt x="1086" y="1411"/>
                  <a:pt x="1086" y="1470"/>
                </a:cubicBezTo>
                <a:cubicBezTo>
                  <a:pt x="1086" y="1470"/>
                  <a:pt x="1086" y="1470"/>
                  <a:pt x="1097" y="1470"/>
                </a:cubicBezTo>
                <a:cubicBezTo>
                  <a:pt x="1097" y="1470"/>
                  <a:pt x="1097" y="1470"/>
                  <a:pt x="1097" y="1397"/>
                </a:cubicBezTo>
                <a:close/>
                <a:moveTo>
                  <a:pt x="1144" y="1397"/>
                </a:moveTo>
                <a:cubicBezTo>
                  <a:pt x="1144" y="1397"/>
                  <a:pt x="1144" y="1397"/>
                  <a:pt x="1144" y="1397"/>
                </a:cubicBezTo>
                <a:cubicBezTo>
                  <a:pt x="1139" y="1397"/>
                  <a:pt x="1139" y="1397"/>
                  <a:pt x="1139" y="1397"/>
                </a:cubicBezTo>
                <a:cubicBezTo>
                  <a:pt x="1138" y="1398"/>
                  <a:pt x="1135" y="1400"/>
                  <a:pt x="1134" y="1400"/>
                </a:cubicBezTo>
                <a:cubicBezTo>
                  <a:pt x="1132" y="1402"/>
                  <a:pt x="1130" y="1402"/>
                  <a:pt x="1128" y="1403"/>
                </a:cubicBezTo>
                <a:cubicBezTo>
                  <a:pt x="1127" y="1405"/>
                  <a:pt x="1125" y="1405"/>
                  <a:pt x="1123" y="1406"/>
                </a:cubicBezTo>
                <a:cubicBezTo>
                  <a:pt x="1121" y="1407"/>
                  <a:pt x="1119" y="1408"/>
                  <a:pt x="1117" y="1408"/>
                </a:cubicBezTo>
                <a:cubicBezTo>
                  <a:pt x="1117" y="1408"/>
                  <a:pt x="1117" y="1408"/>
                  <a:pt x="1117" y="1418"/>
                </a:cubicBezTo>
                <a:cubicBezTo>
                  <a:pt x="1120" y="1417"/>
                  <a:pt x="1123" y="1416"/>
                  <a:pt x="1126" y="1415"/>
                </a:cubicBezTo>
                <a:cubicBezTo>
                  <a:pt x="1128" y="1414"/>
                  <a:pt x="1130" y="1413"/>
                  <a:pt x="1133" y="1411"/>
                </a:cubicBezTo>
                <a:cubicBezTo>
                  <a:pt x="1133" y="1411"/>
                  <a:pt x="1133" y="1411"/>
                  <a:pt x="1133" y="1470"/>
                </a:cubicBezTo>
                <a:cubicBezTo>
                  <a:pt x="1133" y="1470"/>
                  <a:pt x="1133" y="1470"/>
                  <a:pt x="1144" y="1470"/>
                </a:cubicBezTo>
                <a:cubicBezTo>
                  <a:pt x="1144" y="1470"/>
                  <a:pt x="1144" y="1470"/>
                  <a:pt x="1144" y="1397"/>
                </a:cubicBezTo>
                <a:close/>
                <a:moveTo>
                  <a:pt x="1190" y="1397"/>
                </a:moveTo>
                <a:cubicBezTo>
                  <a:pt x="1190" y="1397"/>
                  <a:pt x="1190" y="1397"/>
                  <a:pt x="1190" y="1397"/>
                </a:cubicBezTo>
                <a:cubicBezTo>
                  <a:pt x="1186" y="1397"/>
                  <a:pt x="1186" y="1397"/>
                  <a:pt x="1186" y="1397"/>
                </a:cubicBezTo>
                <a:cubicBezTo>
                  <a:pt x="1184" y="1398"/>
                  <a:pt x="1182" y="1400"/>
                  <a:pt x="1180" y="1400"/>
                </a:cubicBezTo>
                <a:cubicBezTo>
                  <a:pt x="1179" y="1402"/>
                  <a:pt x="1176" y="1402"/>
                  <a:pt x="1175" y="1403"/>
                </a:cubicBezTo>
                <a:cubicBezTo>
                  <a:pt x="1173" y="1404"/>
                  <a:pt x="1171" y="1405"/>
                  <a:pt x="1169" y="1405"/>
                </a:cubicBezTo>
                <a:cubicBezTo>
                  <a:pt x="1168" y="1406"/>
                  <a:pt x="1165" y="1407"/>
                  <a:pt x="1164" y="1408"/>
                </a:cubicBezTo>
                <a:cubicBezTo>
                  <a:pt x="1164" y="1408"/>
                  <a:pt x="1164" y="1408"/>
                  <a:pt x="1164" y="1418"/>
                </a:cubicBezTo>
                <a:cubicBezTo>
                  <a:pt x="1167" y="1417"/>
                  <a:pt x="1170" y="1416"/>
                  <a:pt x="1172" y="1415"/>
                </a:cubicBezTo>
                <a:cubicBezTo>
                  <a:pt x="1174" y="1414"/>
                  <a:pt x="1177" y="1413"/>
                  <a:pt x="1179" y="1411"/>
                </a:cubicBezTo>
                <a:cubicBezTo>
                  <a:pt x="1179" y="1411"/>
                  <a:pt x="1179" y="1411"/>
                  <a:pt x="1179" y="1470"/>
                </a:cubicBezTo>
                <a:cubicBezTo>
                  <a:pt x="1179" y="1470"/>
                  <a:pt x="1179" y="1470"/>
                  <a:pt x="1190" y="1470"/>
                </a:cubicBezTo>
                <a:cubicBezTo>
                  <a:pt x="1190" y="1470"/>
                  <a:pt x="1190" y="1470"/>
                  <a:pt x="1190" y="1397"/>
                </a:cubicBezTo>
                <a:close/>
                <a:moveTo>
                  <a:pt x="1327" y="1429"/>
                </a:moveTo>
                <a:cubicBezTo>
                  <a:pt x="1327" y="1429"/>
                  <a:pt x="1327" y="1429"/>
                  <a:pt x="1327" y="1429"/>
                </a:cubicBezTo>
                <a:cubicBezTo>
                  <a:pt x="1327" y="1437"/>
                  <a:pt x="1327" y="1437"/>
                  <a:pt x="1327" y="1437"/>
                </a:cubicBezTo>
                <a:cubicBezTo>
                  <a:pt x="1333" y="1438"/>
                  <a:pt x="1334" y="1441"/>
                  <a:pt x="1334" y="1443"/>
                </a:cubicBezTo>
                <a:cubicBezTo>
                  <a:pt x="1334" y="1445"/>
                  <a:pt x="1333" y="1448"/>
                  <a:pt x="1333" y="1450"/>
                </a:cubicBezTo>
                <a:cubicBezTo>
                  <a:pt x="1333" y="1453"/>
                  <a:pt x="1332" y="1455"/>
                  <a:pt x="1332" y="1457"/>
                </a:cubicBezTo>
                <a:cubicBezTo>
                  <a:pt x="1332" y="1467"/>
                  <a:pt x="1338" y="1470"/>
                  <a:pt x="1347" y="1470"/>
                </a:cubicBezTo>
                <a:cubicBezTo>
                  <a:pt x="1347" y="1470"/>
                  <a:pt x="1347" y="1470"/>
                  <a:pt x="1351" y="1470"/>
                </a:cubicBezTo>
                <a:cubicBezTo>
                  <a:pt x="1351" y="1470"/>
                  <a:pt x="1351" y="1470"/>
                  <a:pt x="1351" y="1461"/>
                </a:cubicBezTo>
                <a:cubicBezTo>
                  <a:pt x="1351" y="1461"/>
                  <a:pt x="1351" y="1461"/>
                  <a:pt x="1349" y="1461"/>
                </a:cubicBezTo>
                <a:cubicBezTo>
                  <a:pt x="1345" y="1461"/>
                  <a:pt x="1344" y="1459"/>
                  <a:pt x="1344" y="1455"/>
                </a:cubicBezTo>
                <a:cubicBezTo>
                  <a:pt x="1344" y="1454"/>
                  <a:pt x="1344" y="1452"/>
                  <a:pt x="1345" y="1450"/>
                </a:cubicBezTo>
                <a:cubicBezTo>
                  <a:pt x="1345" y="1449"/>
                  <a:pt x="1345" y="1447"/>
                  <a:pt x="1345" y="1444"/>
                </a:cubicBezTo>
                <a:cubicBezTo>
                  <a:pt x="1345" y="1437"/>
                  <a:pt x="1342" y="1434"/>
                  <a:pt x="1337" y="1433"/>
                </a:cubicBezTo>
                <a:cubicBezTo>
                  <a:pt x="1337" y="1433"/>
                  <a:pt x="1337" y="1433"/>
                  <a:pt x="1337" y="1433"/>
                </a:cubicBezTo>
                <a:cubicBezTo>
                  <a:pt x="1342" y="1432"/>
                  <a:pt x="1345" y="1429"/>
                  <a:pt x="1345" y="1422"/>
                </a:cubicBezTo>
                <a:cubicBezTo>
                  <a:pt x="1345" y="1419"/>
                  <a:pt x="1345" y="1417"/>
                  <a:pt x="1345" y="1416"/>
                </a:cubicBezTo>
                <a:cubicBezTo>
                  <a:pt x="1344" y="1414"/>
                  <a:pt x="1344" y="1412"/>
                  <a:pt x="1344" y="1411"/>
                </a:cubicBezTo>
                <a:cubicBezTo>
                  <a:pt x="1344" y="1407"/>
                  <a:pt x="1345" y="1405"/>
                  <a:pt x="1349" y="1405"/>
                </a:cubicBezTo>
                <a:cubicBezTo>
                  <a:pt x="1349" y="1405"/>
                  <a:pt x="1349" y="1405"/>
                  <a:pt x="1351" y="1405"/>
                </a:cubicBezTo>
                <a:cubicBezTo>
                  <a:pt x="1351" y="1405"/>
                  <a:pt x="1351" y="1405"/>
                  <a:pt x="1351" y="1396"/>
                </a:cubicBezTo>
                <a:cubicBezTo>
                  <a:pt x="1351" y="1396"/>
                  <a:pt x="1351" y="1396"/>
                  <a:pt x="1347" y="1396"/>
                </a:cubicBezTo>
                <a:cubicBezTo>
                  <a:pt x="1338" y="1396"/>
                  <a:pt x="1332" y="1400"/>
                  <a:pt x="1332" y="1408"/>
                </a:cubicBezTo>
                <a:cubicBezTo>
                  <a:pt x="1332" y="1411"/>
                  <a:pt x="1333" y="1413"/>
                  <a:pt x="1333" y="1416"/>
                </a:cubicBezTo>
                <a:cubicBezTo>
                  <a:pt x="1333" y="1418"/>
                  <a:pt x="1334" y="1421"/>
                  <a:pt x="1334" y="1423"/>
                </a:cubicBezTo>
                <a:cubicBezTo>
                  <a:pt x="1334" y="1425"/>
                  <a:pt x="1333" y="1429"/>
                  <a:pt x="1327" y="1429"/>
                </a:cubicBezTo>
                <a:close/>
                <a:moveTo>
                  <a:pt x="1381" y="1437"/>
                </a:moveTo>
                <a:cubicBezTo>
                  <a:pt x="1381" y="1437"/>
                  <a:pt x="1381" y="1437"/>
                  <a:pt x="1381" y="1437"/>
                </a:cubicBezTo>
                <a:cubicBezTo>
                  <a:pt x="1381" y="1429"/>
                  <a:pt x="1381" y="1429"/>
                  <a:pt x="1381" y="1429"/>
                </a:cubicBezTo>
                <a:cubicBezTo>
                  <a:pt x="1375" y="1429"/>
                  <a:pt x="1375" y="1425"/>
                  <a:pt x="1375" y="1423"/>
                </a:cubicBezTo>
                <a:cubicBezTo>
                  <a:pt x="1375" y="1421"/>
                  <a:pt x="1375" y="1418"/>
                  <a:pt x="1375" y="1416"/>
                </a:cubicBezTo>
                <a:cubicBezTo>
                  <a:pt x="1375" y="1413"/>
                  <a:pt x="1375" y="1411"/>
                  <a:pt x="1375" y="1408"/>
                </a:cubicBezTo>
                <a:cubicBezTo>
                  <a:pt x="1375" y="1400"/>
                  <a:pt x="1370" y="1396"/>
                  <a:pt x="1361" y="1396"/>
                </a:cubicBezTo>
                <a:cubicBezTo>
                  <a:pt x="1361" y="1396"/>
                  <a:pt x="1361" y="1396"/>
                  <a:pt x="1357" y="1396"/>
                </a:cubicBezTo>
                <a:cubicBezTo>
                  <a:pt x="1357" y="1396"/>
                  <a:pt x="1357" y="1396"/>
                  <a:pt x="1357" y="1405"/>
                </a:cubicBezTo>
                <a:cubicBezTo>
                  <a:pt x="1357" y="1405"/>
                  <a:pt x="1357" y="1405"/>
                  <a:pt x="1359" y="1405"/>
                </a:cubicBezTo>
                <a:cubicBezTo>
                  <a:pt x="1362" y="1405"/>
                  <a:pt x="1364" y="1407"/>
                  <a:pt x="1364" y="1411"/>
                </a:cubicBezTo>
                <a:cubicBezTo>
                  <a:pt x="1364" y="1412"/>
                  <a:pt x="1364" y="1414"/>
                  <a:pt x="1364" y="1416"/>
                </a:cubicBezTo>
                <a:cubicBezTo>
                  <a:pt x="1363" y="1417"/>
                  <a:pt x="1363" y="1419"/>
                  <a:pt x="1363" y="1422"/>
                </a:cubicBezTo>
                <a:cubicBezTo>
                  <a:pt x="1363" y="1429"/>
                  <a:pt x="1366" y="1432"/>
                  <a:pt x="1372" y="1433"/>
                </a:cubicBezTo>
                <a:cubicBezTo>
                  <a:pt x="1372" y="1433"/>
                  <a:pt x="1372" y="1433"/>
                  <a:pt x="1372" y="1433"/>
                </a:cubicBezTo>
                <a:cubicBezTo>
                  <a:pt x="1366" y="1434"/>
                  <a:pt x="1363" y="1437"/>
                  <a:pt x="1363" y="1444"/>
                </a:cubicBezTo>
                <a:cubicBezTo>
                  <a:pt x="1363" y="1447"/>
                  <a:pt x="1363" y="1449"/>
                  <a:pt x="1364" y="1450"/>
                </a:cubicBezTo>
                <a:cubicBezTo>
                  <a:pt x="1364" y="1452"/>
                  <a:pt x="1364" y="1454"/>
                  <a:pt x="1364" y="1455"/>
                </a:cubicBezTo>
                <a:cubicBezTo>
                  <a:pt x="1364" y="1459"/>
                  <a:pt x="1363" y="1461"/>
                  <a:pt x="1359" y="1461"/>
                </a:cubicBezTo>
                <a:cubicBezTo>
                  <a:pt x="1359" y="1461"/>
                  <a:pt x="1359" y="1461"/>
                  <a:pt x="1357" y="1461"/>
                </a:cubicBezTo>
                <a:cubicBezTo>
                  <a:pt x="1357" y="1461"/>
                  <a:pt x="1357" y="1461"/>
                  <a:pt x="1357" y="1470"/>
                </a:cubicBezTo>
                <a:cubicBezTo>
                  <a:pt x="1357" y="1470"/>
                  <a:pt x="1357" y="1470"/>
                  <a:pt x="1361" y="1470"/>
                </a:cubicBezTo>
                <a:cubicBezTo>
                  <a:pt x="1370" y="1470"/>
                  <a:pt x="1375" y="1467"/>
                  <a:pt x="1375" y="1457"/>
                </a:cubicBezTo>
                <a:cubicBezTo>
                  <a:pt x="1375" y="1455"/>
                  <a:pt x="1375" y="1453"/>
                  <a:pt x="1375" y="1450"/>
                </a:cubicBezTo>
                <a:cubicBezTo>
                  <a:pt x="1375" y="1448"/>
                  <a:pt x="1375" y="1445"/>
                  <a:pt x="1375" y="1443"/>
                </a:cubicBezTo>
                <a:cubicBezTo>
                  <a:pt x="1375" y="1441"/>
                  <a:pt x="1375" y="1438"/>
                  <a:pt x="1381" y="1437"/>
                </a:cubicBezTo>
                <a:close/>
                <a:moveTo>
                  <a:pt x="1428" y="1397"/>
                </a:moveTo>
                <a:cubicBezTo>
                  <a:pt x="1428" y="1397"/>
                  <a:pt x="1428" y="1397"/>
                  <a:pt x="1428" y="1397"/>
                </a:cubicBezTo>
                <a:cubicBezTo>
                  <a:pt x="1423" y="1397"/>
                  <a:pt x="1423" y="1397"/>
                  <a:pt x="1423" y="1397"/>
                </a:cubicBezTo>
                <a:cubicBezTo>
                  <a:pt x="1421" y="1398"/>
                  <a:pt x="1420" y="1400"/>
                  <a:pt x="1417" y="1400"/>
                </a:cubicBezTo>
                <a:cubicBezTo>
                  <a:pt x="1416" y="1402"/>
                  <a:pt x="1414" y="1402"/>
                  <a:pt x="1412" y="1403"/>
                </a:cubicBezTo>
                <a:cubicBezTo>
                  <a:pt x="1410" y="1404"/>
                  <a:pt x="1409" y="1405"/>
                  <a:pt x="1407" y="1405"/>
                </a:cubicBezTo>
                <a:cubicBezTo>
                  <a:pt x="1405" y="1406"/>
                  <a:pt x="1404" y="1407"/>
                  <a:pt x="1401" y="1408"/>
                </a:cubicBezTo>
                <a:cubicBezTo>
                  <a:pt x="1401" y="1408"/>
                  <a:pt x="1401" y="1408"/>
                  <a:pt x="1401" y="1418"/>
                </a:cubicBezTo>
                <a:cubicBezTo>
                  <a:pt x="1404" y="1417"/>
                  <a:pt x="1407" y="1416"/>
                  <a:pt x="1409" y="1415"/>
                </a:cubicBezTo>
                <a:cubicBezTo>
                  <a:pt x="1412" y="1414"/>
                  <a:pt x="1415" y="1413"/>
                  <a:pt x="1417" y="1411"/>
                </a:cubicBezTo>
                <a:cubicBezTo>
                  <a:pt x="1417" y="1411"/>
                  <a:pt x="1417" y="1411"/>
                  <a:pt x="1417" y="1470"/>
                </a:cubicBezTo>
                <a:cubicBezTo>
                  <a:pt x="1417" y="1470"/>
                  <a:pt x="1417" y="1470"/>
                  <a:pt x="1428" y="1470"/>
                </a:cubicBezTo>
                <a:cubicBezTo>
                  <a:pt x="1428" y="1470"/>
                  <a:pt x="1428" y="1470"/>
                  <a:pt x="1428" y="1397"/>
                </a:cubicBezTo>
                <a:close/>
                <a:moveTo>
                  <a:pt x="1475" y="1397"/>
                </a:moveTo>
                <a:cubicBezTo>
                  <a:pt x="1475" y="1397"/>
                  <a:pt x="1475" y="1397"/>
                  <a:pt x="1475" y="1397"/>
                </a:cubicBezTo>
                <a:cubicBezTo>
                  <a:pt x="1470" y="1397"/>
                  <a:pt x="1470" y="1397"/>
                  <a:pt x="1470" y="1397"/>
                </a:cubicBezTo>
                <a:cubicBezTo>
                  <a:pt x="1468" y="1398"/>
                  <a:pt x="1466" y="1400"/>
                  <a:pt x="1464" y="1400"/>
                </a:cubicBezTo>
                <a:cubicBezTo>
                  <a:pt x="1463" y="1402"/>
                  <a:pt x="1460" y="1402"/>
                  <a:pt x="1459" y="1403"/>
                </a:cubicBezTo>
                <a:cubicBezTo>
                  <a:pt x="1457" y="1405"/>
                  <a:pt x="1455" y="1405"/>
                  <a:pt x="1454" y="1406"/>
                </a:cubicBezTo>
                <a:cubicBezTo>
                  <a:pt x="1452" y="1407"/>
                  <a:pt x="1450" y="1408"/>
                  <a:pt x="1448" y="1408"/>
                </a:cubicBezTo>
                <a:cubicBezTo>
                  <a:pt x="1448" y="1408"/>
                  <a:pt x="1448" y="1408"/>
                  <a:pt x="1448" y="1418"/>
                </a:cubicBezTo>
                <a:cubicBezTo>
                  <a:pt x="1451" y="1417"/>
                  <a:pt x="1454" y="1416"/>
                  <a:pt x="1456" y="1415"/>
                </a:cubicBezTo>
                <a:cubicBezTo>
                  <a:pt x="1459" y="1414"/>
                  <a:pt x="1461" y="1413"/>
                  <a:pt x="1463" y="1411"/>
                </a:cubicBezTo>
                <a:cubicBezTo>
                  <a:pt x="1463" y="1411"/>
                  <a:pt x="1463" y="1411"/>
                  <a:pt x="1463" y="1470"/>
                </a:cubicBezTo>
                <a:cubicBezTo>
                  <a:pt x="1463" y="1470"/>
                  <a:pt x="1463" y="1470"/>
                  <a:pt x="1475" y="1470"/>
                </a:cubicBezTo>
                <a:cubicBezTo>
                  <a:pt x="1475" y="1470"/>
                  <a:pt x="1475" y="1470"/>
                  <a:pt x="1475" y="1397"/>
                </a:cubicBezTo>
                <a:close/>
                <a:moveTo>
                  <a:pt x="1520" y="1397"/>
                </a:moveTo>
                <a:cubicBezTo>
                  <a:pt x="1520" y="1397"/>
                  <a:pt x="1520" y="1397"/>
                  <a:pt x="1520" y="1397"/>
                </a:cubicBezTo>
                <a:cubicBezTo>
                  <a:pt x="1516" y="1397"/>
                  <a:pt x="1516" y="1397"/>
                  <a:pt x="1516" y="1397"/>
                </a:cubicBezTo>
                <a:cubicBezTo>
                  <a:pt x="1514" y="1398"/>
                  <a:pt x="1513" y="1400"/>
                  <a:pt x="1510" y="1400"/>
                </a:cubicBezTo>
                <a:cubicBezTo>
                  <a:pt x="1509" y="1402"/>
                  <a:pt x="1507" y="1402"/>
                  <a:pt x="1505" y="1403"/>
                </a:cubicBezTo>
                <a:cubicBezTo>
                  <a:pt x="1503" y="1405"/>
                  <a:pt x="1502" y="1405"/>
                  <a:pt x="1500" y="1406"/>
                </a:cubicBezTo>
                <a:cubicBezTo>
                  <a:pt x="1498" y="1407"/>
                  <a:pt x="1496" y="1408"/>
                  <a:pt x="1495" y="1408"/>
                </a:cubicBezTo>
                <a:cubicBezTo>
                  <a:pt x="1495" y="1408"/>
                  <a:pt x="1495" y="1408"/>
                  <a:pt x="1495" y="1418"/>
                </a:cubicBezTo>
                <a:cubicBezTo>
                  <a:pt x="1497" y="1417"/>
                  <a:pt x="1500" y="1416"/>
                  <a:pt x="1502" y="1415"/>
                </a:cubicBezTo>
                <a:cubicBezTo>
                  <a:pt x="1505" y="1414"/>
                  <a:pt x="1508" y="1413"/>
                  <a:pt x="1509" y="1411"/>
                </a:cubicBezTo>
                <a:cubicBezTo>
                  <a:pt x="1509" y="1411"/>
                  <a:pt x="1509" y="1411"/>
                  <a:pt x="1509" y="1470"/>
                </a:cubicBezTo>
                <a:cubicBezTo>
                  <a:pt x="1509" y="1470"/>
                  <a:pt x="1509" y="1470"/>
                  <a:pt x="1520" y="1470"/>
                </a:cubicBezTo>
                <a:cubicBezTo>
                  <a:pt x="1520" y="1470"/>
                  <a:pt x="1520" y="1470"/>
                  <a:pt x="1520" y="1397"/>
                </a:cubicBezTo>
                <a:close/>
                <a:moveTo>
                  <a:pt x="1270" y="1444"/>
                </a:moveTo>
                <a:cubicBezTo>
                  <a:pt x="1270" y="1446"/>
                  <a:pt x="1271" y="1447"/>
                  <a:pt x="1272" y="1448"/>
                </a:cubicBezTo>
                <a:cubicBezTo>
                  <a:pt x="1272" y="1450"/>
                  <a:pt x="1272" y="1452"/>
                  <a:pt x="1273" y="1453"/>
                </a:cubicBezTo>
                <a:cubicBezTo>
                  <a:pt x="1273" y="1455"/>
                  <a:pt x="1273" y="1457"/>
                  <a:pt x="1273" y="1458"/>
                </a:cubicBezTo>
                <a:cubicBezTo>
                  <a:pt x="1274" y="1461"/>
                  <a:pt x="1273" y="1463"/>
                  <a:pt x="1270" y="1463"/>
                </a:cubicBezTo>
                <a:cubicBezTo>
                  <a:pt x="1267" y="1463"/>
                  <a:pt x="1264" y="1463"/>
                  <a:pt x="1261" y="1463"/>
                </a:cubicBezTo>
                <a:cubicBezTo>
                  <a:pt x="1261" y="1463"/>
                  <a:pt x="1260" y="1463"/>
                  <a:pt x="1260" y="1463"/>
                </a:cubicBezTo>
                <a:cubicBezTo>
                  <a:pt x="1258" y="1465"/>
                  <a:pt x="1257" y="1466"/>
                  <a:pt x="1255" y="1467"/>
                </a:cubicBezTo>
                <a:cubicBezTo>
                  <a:pt x="1253" y="1470"/>
                  <a:pt x="1250" y="1470"/>
                  <a:pt x="1248" y="1468"/>
                </a:cubicBezTo>
                <a:cubicBezTo>
                  <a:pt x="1246" y="1466"/>
                  <a:pt x="1245" y="1463"/>
                  <a:pt x="1243" y="1461"/>
                </a:cubicBezTo>
                <a:cubicBezTo>
                  <a:pt x="1242" y="1459"/>
                  <a:pt x="1243" y="1457"/>
                  <a:pt x="1245" y="1456"/>
                </a:cubicBezTo>
                <a:cubicBezTo>
                  <a:pt x="1242" y="1456"/>
                  <a:pt x="1241" y="1456"/>
                  <a:pt x="1239" y="1456"/>
                </a:cubicBezTo>
                <a:cubicBezTo>
                  <a:pt x="1239" y="1458"/>
                  <a:pt x="1237" y="1460"/>
                  <a:pt x="1237" y="1462"/>
                </a:cubicBezTo>
                <a:cubicBezTo>
                  <a:pt x="1237" y="1463"/>
                  <a:pt x="1236" y="1463"/>
                  <a:pt x="1236" y="1464"/>
                </a:cubicBezTo>
                <a:cubicBezTo>
                  <a:pt x="1236" y="1467"/>
                  <a:pt x="1235" y="1469"/>
                  <a:pt x="1232" y="1468"/>
                </a:cubicBezTo>
                <a:cubicBezTo>
                  <a:pt x="1229" y="1468"/>
                  <a:pt x="1226" y="1467"/>
                  <a:pt x="1223" y="1466"/>
                </a:cubicBezTo>
                <a:cubicBezTo>
                  <a:pt x="1221" y="1465"/>
                  <a:pt x="1221" y="1464"/>
                  <a:pt x="1221" y="1462"/>
                </a:cubicBezTo>
                <a:cubicBezTo>
                  <a:pt x="1221" y="1461"/>
                  <a:pt x="1221" y="1460"/>
                  <a:pt x="1222" y="1460"/>
                </a:cubicBezTo>
                <a:cubicBezTo>
                  <a:pt x="1219" y="1459"/>
                  <a:pt x="1217" y="1458"/>
                  <a:pt x="1215" y="1457"/>
                </a:cubicBezTo>
                <a:cubicBezTo>
                  <a:pt x="1214" y="1456"/>
                  <a:pt x="1213" y="1454"/>
                  <a:pt x="1212" y="1452"/>
                </a:cubicBezTo>
                <a:cubicBezTo>
                  <a:pt x="1211" y="1450"/>
                  <a:pt x="1211" y="1449"/>
                  <a:pt x="1213" y="1447"/>
                </a:cubicBezTo>
                <a:cubicBezTo>
                  <a:pt x="1216" y="1445"/>
                  <a:pt x="1217" y="1442"/>
                  <a:pt x="1216" y="1438"/>
                </a:cubicBezTo>
                <a:cubicBezTo>
                  <a:pt x="1216" y="1436"/>
                  <a:pt x="1216" y="1434"/>
                  <a:pt x="1216" y="1432"/>
                </a:cubicBezTo>
                <a:cubicBezTo>
                  <a:pt x="1215" y="1431"/>
                  <a:pt x="1213" y="1431"/>
                  <a:pt x="1212" y="1430"/>
                </a:cubicBezTo>
                <a:cubicBezTo>
                  <a:pt x="1211" y="1428"/>
                  <a:pt x="1210" y="1426"/>
                  <a:pt x="1210" y="1424"/>
                </a:cubicBezTo>
                <a:cubicBezTo>
                  <a:pt x="1210" y="1421"/>
                  <a:pt x="1213" y="1419"/>
                  <a:pt x="1216" y="1418"/>
                </a:cubicBezTo>
                <a:cubicBezTo>
                  <a:pt x="1217" y="1419"/>
                  <a:pt x="1217" y="1419"/>
                  <a:pt x="1217" y="1420"/>
                </a:cubicBezTo>
                <a:cubicBezTo>
                  <a:pt x="1217" y="1421"/>
                  <a:pt x="1217" y="1422"/>
                  <a:pt x="1217" y="1423"/>
                </a:cubicBezTo>
                <a:cubicBezTo>
                  <a:pt x="1217" y="1423"/>
                  <a:pt x="1216" y="1423"/>
                  <a:pt x="1216" y="1423"/>
                </a:cubicBezTo>
                <a:cubicBezTo>
                  <a:pt x="1215" y="1424"/>
                  <a:pt x="1215" y="1425"/>
                  <a:pt x="1214" y="1427"/>
                </a:cubicBezTo>
                <a:cubicBezTo>
                  <a:pt x="1215" y="1427"/>
                  <a:pt x="1216" y="1427"/>
                  <a:pt x="1217" y="1427"/>
                </a:cubicBezTo>
                <a:cubicBezTo>
                  <a:pt x="1218" y="1425"/>
                  <a:pt x="1219" y="1425"/>
                  <a:pt x="1219" y="1423"/>
                </a:cubicBezTo>
                <a:cubicBezTo>
                  <a:pt x="1224" y="1417"/>
                  <a:pt x="1230" y="1413"/>
                  <a:pt x="1237" y="1411"/>
                </a:cubicBezTo>
                <a:cubicBezTo>
                  <a:pt x="1241" y="1411"/>
                  <a:pt x="1244" y="1410"/>
                  <a:pt x="1246" y="1407"/>
                </a:cubicBezTo>
                <a:cubicBezTo>
                  <a:pt x="1246" y="1406"/>
                  <a:pt x="1247" y="1406"/>
                  <a:pt x="1247" y="1406"/>
                </a:cubicBezTo>
                <a:cubicBezTo>
                  <a:pt x="1250" y="1406"/>
                  <a:pt x="1252" y="1403"/>
                  <a:pt x="1253" y="1401"/>
                </a:cubicBezTo>
                <a:cubicBezTo>
                  <a:pt x="1261" y="1394"/>
                  <a:pt x="1273" y="1393"/>
                  <a:pt x="1281" y="1400"/>
                </a:cubicBezTo>
                <a:cubicBezTo>
                  <a:pt x="1283" y="1402"/>
                  <a:pt x="1286" y="1404"/>
                  <a:pt x="1288" y="1406"/>
                </a:cubicBezTo>
                <a:cubicBezTo>
                  <a:pt x="1290" y="1407"/>
                  <a:pt x="1291" y="1409"/>
                  <a:pt x="1292" y="1411"/>
                </a:cubicBezTo>
                <a:cubicBezTo>
                  <a:pt x="1293" y="1412"/>
                  <a:pt x="1293" y="1412"/>
                  <a:pt x="1295" y="1411"/>
                </a:cubicBezTo>
                <a:cubicBezTo>
                  <a:pt x="1295" y="1411"/>
                  <a:pt x="1296" y="1410"/>
                  <a:pt x="1297" y="1409"/>
                </a:cubicBezTo>
                <a:cubicBezTo>
                  <a:pt x="1299" y="1406"/>
                  <a:pt x="1302" y="1406"/>
                  <a:pt x="1303" y="1410"/>
                </a:cubicBezTo>
                <a:cubicBezTo>
                  <a:pt x="1304" y="1413"/>
                  <a:pt x="1305" y="1415"/>
                  <a:pt x="1306" y="1419"/>
                </a:cubicBezTo>
                <a:cubicBezTo>
                  <a:pt x="1306" y="1423"/>
                  <a:pt x="1306" y="1427"/>
                  <a:pt x="1304" y="1432"/>
                </a:cubicBezTo>
                <a:cubicBezTo>
                  <a:pt x="1302" y="1438"/>
                  <a:pt x="1297" y="1442"/>
                  <a:pt x="1291" y="1442"/>
                </a:cubicBezTo>
                <a:cubicBezTo>
                  <a:pt x="1290" y="1442"/>
                  <a:pt x="1290" y="1442"/>
                  <a:pt x="1289" y="1442"/>
                </a:cubicBezTo>
                <a:cubicBezTo>
                  <a:pt x="1286" y="1441"/>
                  <a:pt x="1285" y="1442"/>
                  <a:pt x="1284" y="1444"/>
                </a:cubicBezTo>
                <a:cubicBezTo>
                  <a:pt x="1283" y="1448"/>
                  <a:pt x="1277" y="1450"/>
                  <a:pt x="1274" y="1447"/>
                </a:cubicBezTo>
                <a:cubicBezTo>
                  <a:pt x="1273" y="1446"/>
                  <a:pt x="1272" y="1445"/>
                  <a:pt x="1271" y="1444"/>
                </a:cubicBezTo>
                <a:cubicBezTo>
                  <a:pt x="1270" y="1444"/>
                  <a:pt x="1270" y="1444"/>
                  <a:pt x="1270" y="1444"/>
                </a:cubicBezTo>
                <a:close/>
                <a:moveTo>
                  <a:pt x="1264" y="1440"/>
                </a:moveTo>
                <a:cubicBezTo>
                  <a:pt x="1268" y="1441"/>
                  <a:pt x="1272" y="1442"/>
                  <a:pt x="1274" y="1445"/>
                </a:cubicBezTo>
                <a:cubicBezTo>
                  <a:pt x="1276" y="1447"/>
                  <a:pt x="1278" y="1448"/>
                  <a:pt x="1280" y="1447"/>
                </a:cubicBezTo>
                <a:cubicBezTo>
                  <a:pt x="1282" y="1446"/>
                  <a:pt x="1284" y="1444"/>
                  <a:pt x="1284" y="1441"/>
                </a:cubicBezTo>
                <a:cubicBezTo>
                  <a:pt x="1284" y="1441"/>
                  <a:pt x="1283" y="1441"/>
                  <a:pt x="1283" y="1442"/>
                </a:cubicBezTo>
                <a:cubicBezTo>
                  <a:pt x="1282" y="1443"/>
                  <a:pt x="1281" y="1444"/>
                  <a:pt x="1281" y="1445"/>
                </a:cubicBezTo>
                <a:cubicBezTo>
                  <a:pt x="1279" y="1446"/>
                  <a:pt x="1278" y="1446"/>
                  <a:pt x="1277" y="1446"/>
                </a:cubicBezTo>
                <a:cubicBezTo>
                  <a:pt x="1277" y="1446"/>
                  <a:pt x="1276" y="1444"/>
                  <a:pt x="1276" y="1444"/>
                </a:cubicBezTo>
                <a:cubicBezTo>
                  <a:pt x="1276" y="1441"/>
                  <a:pt x="1277" y="1439"/>
                  <a:pt x="1277" y="1437"/>
                </a:cubicBezTo>
                <a:cubicBezTo>
                  <a:pt x="1280" y="1438"/>
                  <a:pt x="1283" y="1439"/>
                  <a:pt x="1287" y="1440"/>
                </a:cubicBezTo>
                <a:cubicBezTo>
                  <a:pt x="1294" y="1441"/>
                  <a:pt x="1300" y="1439"/>
                  <a:pt x="1303" y="1431"/>
                </a:cubicBezTo>
                <a:cubicBezTo>
                  <a:pt x="1305" y="1426"/>
                  <a:pt x="1304" y="1421"/>
                  <a:pt x="1304" y="1416"/>
                </a:cubicBezTo>
                <a:cubicBezTo>
                  <a:pt x="1303" y="1414"/>
                  <a:pt x="1302" y="1412"/>
                  <a:pt x="1302" y="1410"/>
                </a:cubicBezTo>
                <a:cubicBezTo>
                  <a:pt x="1301" y="1409"/>
                  <a:pt x="1300" y="1408"/>
                  <a:pt x="1299" y="1410"/>
                </a:cubicBezTo>
                <a:cubicBezTo>
                  <a:pt x="1297" y="1412"/>
                  <a:pt x="1295" y="1413"/>
                  <a:pt x="1293" y="1414"/>
                </a:cubicBezTo>
                <a:cubicBezTo>
                  <a:pt x="1293" y="1414"/>
                  <a:pt x="1292" y="1415"/>
                  <a:pt x="1292" y="1416"/>
                </a:cubicBezTo>
                <a:cubicBezTo>
                  <a:pt x="1293" y="1419"/>
                  <a:pt x="1292" y="1423"/>
                  <a:pt x="1291" y="1426"/>
                </a:cubicBezTo>
                <a:cubicBezTo>
                  <a:pt x="1291" y="1424"/>
                  <a:pt x="1292" y="1422"/>
                  <a:pt x="1292" y="1420"/>
                </a:cubicBezTo>
                <a:cubicBezTo>
                  <a:pt x="1292" y="1419"/>
                  <a:pt x="1291" y="1419"/>
                  <a:pt x="1291" y="1419"/>
                </a:cubicBezTo>
                <a:cubicBezTo>
                  <a:pt x="1290" y="1419"/>
                  <a:pt x="1290" y="1419"/>
                  <a:pt x="1290" y="1419"/>
                </a:cubicBezTo>
                <a:cubicBezTo>
                  <a:pt x="1289" y="1421"/>
                  <a:pt x="1288" y="1422"/>
                  <a:pt x="1287" y="1423"/>
                </a:cubicBezTo>
                <a:cubicBezTo>
                  <a:pt x="1287" y="1423"/>
                  <a:pt x="1287" y="1423"/>
                  <a:pt x="1287" y="1423"/>
                </a:cubicBezTo>
                <a:cubicBezTo>
                  <a:pt x="1287" y="1422"/>
                  <a:pt x="1288" y="1420"/>
                  <a:pt x="1288" y="1418"/>
                </a:cubicBezTo>
                <a:cubicBezTo>
                  <a:pt x="1287" y="1419"/>
                  <a:pt x="1286" y="1419"/>
                  <a:pt x="1286" y="1420"/>
                </a:cubicBezTo>
                <a:cubicBezTo>
                  <a:pt x="1285" y="1420"/>
                  <a:pt x="1285" y="1421"/>
                  <a:pt x="1284" y="1422"/>
                </a:cubicBezTo>
                <a:cubicBezTo>
                  <a:pt x="1285" y="1418"/>
                  <a:pt x="1285" y="1418"/>
                  <a:pt x="1291" y="1417"/>
                </a:cubicBezTo>
                <a:cubicBezTo>
                  <a:pt x="1291" y="1417"/>
                  <a:pt x="1290" y="1416"/>
                  <a:pt x="1290" y="1416"/>
                </a:cubicBezTo>
                <a:cubicBezTo>
                  <a:pt x="1287" y="1417"/>
                  <a:pt x="1286" y="1415"/>
                  <a:pt x="1286" y="1413"/>
                </a:cubicBezTo>
                <a:cubicBezTo>
                  <a:pt x="1288" y="1412"/>
                  <a:pt x="1289" y="1412"/>
                  <a:pt x="1291" y="1412"/>
                </a:cubicBezTo>
                <a:cubicBezTo>
                  <a:pt x="1289" y="1409"/>
                  <a:pt x="1288" y="1406"/>
                  <a:pt x="1284" y="1406"/>
                </a:cubicBezTo>
                <a:cubicBezTo>
                  <a:pt x="1284" y="1406"/>
                  <a:pt x="1284" y="1406"/>
                  <a:pt x="1284" y="1405"/>
                </a:cubicBezTo>
                <a:cubicBezTo>
                  <a:pt x="1281" y="1403"/>
                  <a:pt x="1279" y="1401"/>
                  <a:pt x="1276" y="1399"/>
                </a:cubicBezTo>
                <a:cubicBezTo>
                  <a:pt x="1274" y="1398"/>
                  <a:pt x="1271" y="1397"/>
                  <a:pt x="1269" y="1397"/>
                </a:cubicBezTo>
                <a:cubicBezTo>
                  <a:pt x="1266" y="1397"/>
                  <a:pt x="1262" y="1398"/>
                  <a:pt x="1259" y="1399"/>
                </a:cubicBezTo>
                <a:cubicBezTo>
                  <a:pt x="1257" y="1400"/>
                  <a:pt x="1254" y="1402"/>
                  <a:pt x="1252" y="1405"/>
                </a:cubicBezTo>
                <a:cubicBezTo>
                  <a:pt x="1254" y="1405"/>
                  <a:pt x="1255" y="1405"/>
                  <a:pt x="1256" y="1405"/>
                </a:cubicBezTo>
                <a:cubicBezTo>
                  <a:pt x="1256" y="1406"/>
                  <a:pt x="1255" y="1406"/>
                  <a:pt x="1254" y="1406"/>
                </a:cubicBezTo>
                <a:cubicBezTo>
                  <a:pt x="1252" y="1407"/>
                  <a:pt x="1249" y="1406"/>
                  <a:pt x="1247" y="1408"/>
                </a:cubicBezTo>
                <a:cubicBezTo>
                  <a:pt x="1244" y="1412"/>
                  <a:pt x="1240" y="1416"/>
                  <a:pt x="1236" y="1420"/>
                </a:cubicBezTo>
                <a:cubicBezTo>
                  <a:pt x="1235" y="1422"/>
                  <a:pt x="1234" y="1425"/>
                  <a:pt x="1233" y="1427"/>
                </a:cubicBezTo>
                <a:cubicBezTo>
                  <a:pt x="1233" y="1427"/>
                  <a:pt x="1233" y="1428"/>
                  <a:pt x="1233" y="1429"/>
                </a:cubicBezTo>
                <a:cubicBezTo>
                  <a:pt x="1234" y="1431"/>
                  <a:pt x="1235" y="1433"/>
                  <a:pt x="1237" y="1434"/>
                </a:cubicBezTo>
                <a:cubicBezTo>
                  <a:pt x="1238" y="1433"/>
                  <a:pt x="1239" y="1431"/>
                  <a:pt x="1241" y="1430"/>
                </a:cubicBezTo>
                <a:cubicBezTo>
                  <a:pt x="1240" y="1431"/>
                  <a:pt x="1240" y="1433"/>
                  <a:pt x="1239" y="1434"/>
                </a:cubicBezTo>
                <a:cubicBezTo>
                  <a:pt x="1238" y="1435"/>
                  <a:pt x="1237" y="1436"/>
                  <a:pt x="1237" y="1438"/>
                </a:cubicBezTo>
                <a:cubicBezTo>
                  <a:pt x="1237" y="1439"/>
                  <a:pt x="1237" y="1440"/>
                  <a:pt x="1237" y="1441"/>
                </a:cubicBezTo>
                <a:cubicBezTo>
                  <a:pt x="1240" y="1444"/>
                  <a:pt x="1243" y="1444"/>
                  <a:pt x="1247" y="1442"/>
                </a:cubicBezTo>
                <a:cubicBezTo>
                  <a:pt x="1249" y="1441"/>
                  <a:pt x="1252" y="1440"/>
                  <a:pt x="1255" y="1439"/>
                </a:cubicBezTo>
                <a:cubicBezTo>
                  <a:pt x="1256" y="1438"/>
                  <a:pt x="1257" y="1438"/>
                  <a:pt x="1257" y="1436"/>
                </a:cubicBezTo>
                <a:cubicBezTo>
                  <a:pt x="1257" y="1433"/>
                  <a:pt x="1257" y="1429"/>
                  <a:pt x="1257" y="1426"/>
                </a:cubicBezTo>
                <a:cubicBezTo>
                  <a:pt x="1257" y="1423"/>
                  <a:pt x="1257" y="1420"/>
                  <a:pt x="1257" y="1417"/>
                </a:cubicBezTo>
                <a:cubicBezTo>
                  <a:pt x="1258" y="1420"/>
                  <a:pt x="1259" y="1423"/>
                  <a:pt x="1259" y="1425"/>
                </a:cubicBezTo>
                <a:cubicBezTo>
                  <a:pt x="1260" y="1430"/>
                  <a:pt x="1260" y="1434"/>
                  <a:pt x="1259" y="1438"/>
                </a:cubicBezTo>
                <a:cubicBezTo>
                  <a:pt x="1258" y="1439"/>
                  <a:pt x="1257" y="1440"/>
                  <a:pt x="1257" y="1440"/>
                </a:cubicBezTo>
                <a:cubicBezTo>
                  <a:pt x="1253" y="1440"/>
                  <a:pt x="1250" y="1442"/>
                  <a:pt x="1247" y="1444"/>
                </a:cubicBezTo>
                <a:cubicBezTo>
                  <a:pt x="1242" y="1447"/>
                  <a:pt x="1239" y="1445"/>
                  <a:pt x="1235" y="1441"/>
                </a:cubicBezTo>
                <a:cubicBezTo>
                  <a:pt x="1235" y="1441"/>
                  <a:pt x="1235" y="1440"/>
                  <a:pt x="1235" y="1439"/>
                </a:cubicBezTo>
                <a:cubicBezTo>
                  <a:pt x="1236" y="1437"/>
                  <a:pt x="1235" y="1435"/>
                  <a:pt x="1233" y="1433"/>
                </a:cubicBezTo>
                <a:cubicBezTo>
                  <a:pt x="1232" y="1431"/>
                  <a:pt x="1230" y="1429"/>
                  <a:pt x="1232" y="1426"/>
                </a:cubicBezTo>
                <a:cubicBezTo>
                  <a:pt x="1232" y="1424"/>
                  <a:pt x="1233" y="1422"/>
                  <a:pt x="1234" y="1421"/>
                </a:cubicBezTo>
                <a:cubicBezTo>
                  <a:pt x="1236" y="1418"/>
                  <a:pt x="1238" y="1415"/>
                  <a:pt x="1240" y="1413"/>
                </a:cubicBezTo>
                <a:cubicBezTo>
                  <a:pt x="1240" y="1413"/>
                  <a:pt x="1239" y="1413"/>
                  <a:pt x="1239" y="1413"/>
                </a:cubicBezTo>
                <a:cubicBezTo>
                  <a:pt x="1234" y="1414"/>
                  <a:pt x="1230" y="1415"/>
                  <a:pt x="1226" y="1419"/>
                </a:cubicBezTo>
                <a:cubicBezTo>
                  <a:pt x="1221" y="1423"/>
                  <a:pt x="1218" y="1428"/>
                  <a:pt x="1218" y="1435"/>
                </a:cubicBezTo>
                <a:cubicBezTo>
                  <a:pt x="1217" y="1442"/>
                  <a:pt x="1220" y="1448"/>
                  <a:pt x="1223" y="1453"/>
                </a:cubicBezTo>
                <a:cubicBezTo>
                  <a:pt x="1224" y="1454"/>
                  <a:pt x="1224" y="1456"/>
                  <a:pt x="1224" y="1457"/>
                </a:cubicBezTo>
                <a:cubicBezTo>
                  <a:pt x="1224" y="1459"/>
                  <a:pt x="1224" y="1460"/>
                  <a:pt x="1223" y="1461"/>
                </a:cubicBezTo>
                <a:cubicBezTo>
                  <a:pt x="1222" y="1463"/>
                  <a:pt x="1223" y="1464"/>
                  <a:pt x="1224" y="1465"/>
                </a:cubicBezTo>
                <a:cubicBezTo>
                  <a:pt x="1227" y="1465"/>
                  <a:pt x="1230" y="1466"/>
                  <a:pt x="1233" y="1466"/>
                </a:cubicBezTo>
                <a:cubicBezTo>
                  <a:pt x="1233" y="1466"/>
                  <a:pt x="1234" y="1465"/>
                  <a:pt x="1234" y="1465"/>
                </a:cubicBezTo>
                <a:cubicBezTo>
                  <a:pt x="1235" y="1464"/>
                  <a:pt x="1235" y="1462"/>
                  <a:pt x="1235" y="1461"/>
                </a:cubicBezTo>
                <a:cubicBezTo>
                  <a:pt x="1237" y="1459"/>
                  <a:pt x="1237" y="1456"/>
                  <a:pt x="1237" y="1453"/>
                </a:cubicBezTo>
                <a:cubicBezTo>
                  <a:pt x="1237" y="1453"/>
                  <a:pt x="1237" y="1453"/>
                  <a:pt x="1237" y="1452"/>
                </a:cubicBezTo>
                <a:cubicBezTo>
                  <a:pt x="1237" y="1452"/>
                  <a:pt x="1237" y="1452"/>
                  <a:pt x="1237" y="1452"/>
                </a:cubicBezTo>
                <a:cubicBezTo>
                  <a:pt x="1238" y="1454"/>
                  <a:pt x="1239" y="1454"/>
                  <a:pt x="1241" y="1454"/>
                </a:cubicBezTo>
                <a:cubicBezTo>
                  <a:pt x="1242" y="1454"/>
                  <a:pt x="1243" y="1454"/>
                  <a:pt x="1244" y="1454"/>
                </a:cubicBezTo>
                <a:cubicBezTo>
                  <a:pt x="1246" y="1454"/>
                  <a:pt x="1250" y="1455"/>
                  <a:pt x="1250" y="1451"/>
                </a:cubicBezTo>
                <a:cubicBezTo>
                  <a:pt x="1250" y="1453"/>
                  <a:pt x="1250" y="1455"/>
                  <a:pt x="1250" y="1455"/>
                </a:cubicBezTo>
                <a:cubicBezTo>
                  <a:pt x="1249" y="1456"/>
                  <a:pt x="1248" y="1457"/>
                  <a:pt x="1246" y="1457"/>
                </a:cubicBezTo>
                <a:cubicBezTo>
                  <a:pt x="1245" y="1458"/>
                  <a:pt x="1244" y="1460"/>
                  <a:pt x="1245" y="1461"/>
                </a:cubicBezTo>
                <a:cubicBezTo>
                  <a:pt x="1246" y="1463"/>
                  <a:pt x="1248" y="1465"/>
                  <a:pt x="1249" y="1467"/>
                </a:cubicBezTo>
                <a:cubicBezTo>
                  <a:pt x="1251" y="1468"/>
                  <a:pt x="1253" y="1468"/>
                  <a:pt x="1254" y="1466"/>
                </a:cubicBezTo>
                <a:cubicBezTo>
                  <a:pt x="1255" y="1465"/>
                  <a:pt x="1255" y="1465"/>
                  <a:pt x="1256" y="1464"/>
                </a:cubicBezTo>
                <a:cubicBezTo>
                  <a:pt x="1258" y="1463"/>
                  <a:pt x="1259" y="1461"/>
                  <a:pt x="1261" y="1460"/>
                </a:cubicBezTo>
                <a:cubicBezTo>
                  <a:pt x="1265" y="1456"/>
                  <a:pt x="1267" y="1450"/>
                  <a:pt x="1269" y="1444"/>
                </a:cubicBezTo>
                <a:cubicBezTo>
                  <a:pt x="1269" y="1444"/>
                  <a:pt x="1268" y="1443"/>
                  <a:pt x="1268" y="1442"/>
                </a:cubicBezTo>
                <a:cubicBezTo>
                  <a:pt x="1267" y="1441"/>
                  <a:pt x="1266" y="1440"/>
                  <a:pt x="1264" y="1440"/>
                </a:cubicBezTo>
                <a:close/>
                <a:moveTo>
                  <a:pt x="1217" y="1446"/>
                </a:moveTo>
                <a:cubicBezTo>
                  <a:pt x="1217" y="1447"/>
                  <a:pt x="1215" y="1448"/>
                  <a:pt x="1214" y="1449"/>
                </a:cubicBezTo>
                <a:cubicBezTo>
                  <a:pt x="1213" y="1449"/>
                  <a:pt x="1213" y="1450"/>
                  <a:pt x="1213" y="1451"/>
                </a:cubicBezTo>
                <a:cubicBezTo>
                  <a:pt x="1213" y="1453"/>
                  <a:pt x="1217" y="1458"/>
                  <a:pt x="1221" y="1457"/>
                </a:cubicBezTo>
                <a:cubicBezTo>
                  <a:pt x="1222" y="1457"/>
                  <a:pt x="1223" y="1456"/>
                  <a:pt x="1222" y="1455"/>
                </a:cubicBezTo>
                <a:cubicBezTo>
                  <a:pt x="1221" y="1452"/>
                  <a:pt x="1219" y="1449"/>
                  <a:pt x="1217" y="1446"/>
                </a:cubicBezTo>
                <a:close/>
                <a:moveTo>
                  <a:pt x="1270" y="1448"/>
                </a:moveTo>
                <a:cubicBezTo>
                  <a:pt x="1268" y="1453"/>
                  <a:pt x="1265" y="1457"/>
                  <a:pt x="1263" y="1461"/>
                </a:cubicBezTo>
                <a:cubicBezTo>
                  <a:pt x="1266" y="1461"/>
                  <a:pt x="1268" y="1462"/>
                  <a:pt x="1271" y="1461"/>
                </a:cubicBezTo>
                <a:cubicBezTo>
                  <a:pt x="1271" y="1461"/>
                  <a:pt x="1272" y="1460"/>
                  <a:pt x="1272" y="1460"/>
                </a:cubicBezTo>
                <a:cubicBezTo>
                  <a:pt x="1272" y="1457"/>
                  <a:pt x="1272" y="1455"/>
                  <a:pt x="1271" y="1452"/>
                </a:cubicBezTo>
                <a:cubicBezTo>
                  <a:pt x="1271" y="1451"/>
                  <a:pt x="1270" y="1450"/>
                  <a:pt x="1270" y="1448"/>
                </a:cubicBezTo>
                <a:close/>
                <a:moveTo>
                  <a:pt x="1217" y="1428"/>
                </a:moveTo>
                <a:cubicBezTo>
                  <a:pt x="1217" y="1428"/>
                  <a:pt x="1216" y="1429"/>
                  <a:pt x="1215" y="1429"/>
                </a:cubicBezTo>
                <a:cubicBezTo>
                  <a:pt x="1215" y="1429"/>
                  <a:pt x="1214" y="1429"/>
                  <a:pt x="1214" y="1428"/>
                </a:cubicBezTo>
                <a:cubicBezTo>
                  <a:pt x="1213" y="1428"/>
                  <a:pt x="1213" y="1427"/>
                  <a:pt x="1213" y="1426"/>
                </a:cubicBezTo>
                <a:cubicBezTo>
                  <a:pt x="1214" y="1424"/>
                  <a:pt x="1214" y="1422"/>
                  <a:pt x="1215" y="1420"/>
                </a:cubicBezTo>
                <a:cubicBezTo>
                  <a:pt x="1215" y="1420"/>
                  <a:pt x="1215" y="1420"/>
                  <a:pt x="1214" y="1420"/>
                </a:cubicBezTo>
                <a:cubicBezTo>
                  <a:pt x="1213" y="1421"/>
                  <a:pt x="1212" y="1422"/>
                  <a:pt x="1212" y="1423"/>
                </a:cubicBezTo>
                <a:cubicBezTo>
                  <a:pt x="1211" y="1424"/>
                  <a:pt x="1212" y="1429"/>
                  <a:pt x="1214" y="1430"/>
                </a:cubicBezTo>
                <a:cubicBezTo>
                  <a:pt x="1215" y="1431"/>
                  <a:pt x="1217" y="1430"/>
                  <a:pt x="1217" y="1428"/>
                </a:cubicBezTo>
                <a:close/>
                <a:moveTo>
                  <a:pt x="1218" y="1446"/>
                </a:moveTo>
                <a:cubicBezTo>
                  <a:pt x="1217" y="1447"/>
                  <a:pt x="1215" y="1448"/>
                  <a:pt x="1214" y="1449"/>
                </a:cubicBezTo>
                <a:cubicBezTo>
                  <a:pt x="1214" y="1449"/>
                  <a:pt x="1213" y="1450"/>
                  <a:pt x="1213" y="1451"/>
                </a:cubicBezTo>
                <a:cubicBezTo>
                  <a:pt x="1213" y="1454"/>
                  <a:pt x="1218" y="1458"/>
                  <a:pt x="1221" y="1458"/>
                </a:cubicBezTo>
                <a:cubicBezTo>
                  <a:pt x="1222" y="1458"/>
                  <a:pt x="1223" y="1457"/>
                  <a:pt x="1222" y="1455"/>
                </a:cubicBezTo>
                <a:cubicBezTo>
                  <a:pt x="1221" y="1452"/>
                  <a:pt x="1219" y="1449"/>
                  <a:pt x="1218" y="1446"/>
                </a:cubicBezTo>
                <a:close/>
                <a:moveTo>
                  <a:pt x="1270" y="1448"/>
                </a:moveTo>
                <a:cubicBezTo>
                  <a:pt x="1267" y="1453"/>
                  <a:pt x="1265" y="1457"/>
                  <a:pt x="1263" y="1462"/>
                </a:cubicBezTo>
                <a:cubicBezTo>
                  <a:pt x="1265" y="1462"/>
                  <a:pt x="1268" y="1462"/>
                  <a:pt x="1271" y="1462"/>
                </a:cubicBezTo>
                <a:cubicBezTo>
                  <a:pt x="1271" y="1462"/>
                  <a:pt x="1271" y="1460"/>
                  <a:pt x="1271" y="1460"/>
                </a:cubicBezTo>
                <a:cubicBezTo>
                  <a:pt x="1271" y="1457"/>
                  <a:pt x="1271" y="1455"/>
                  <a:pt x="1271" y="1452"/>
                </a:cubicBezTo>
                <a:cubicBezTo>
                  <a:pt x="1271" y="1451"/>
                  <a:pt x="1270" y="1450"/>
                  <a:pt x="1270" y="1448"/>
                </a:cubicBezTo>
                <a:close/>
                <a:moveTo>
                  <a:pt x="1217" y="1428"/>
                </a:moveTo>
                <a:cubicBezTo>
                  <a:pt x="1216" y="1428"/>
                  <a:pt x="1216" y="1429"/>
                  <a:pt x="1215" y="1429"/>
                </a:cubicBezTo>
                <a:cubicBezTo>
                  <a:pt x="1215" y="1429"/>
                  <a:pt x="1214" y="1429"/>
                  <a:pt x="1214" y="1428"/>
                </a:cubicBezTo>
                <a:cubicBezTo>
                  <a:pt x="1213" y="1428"/>
                  <a:pt x="1213" y="1427"/>
                  <a:pt x="1213" y="1426"/>
                </a:cubicBezTo>
                <a:cubicBezTo>
                  <a:pt x="1214" y="1424"/>
                  <a:pt x="1214" y="1422"/>
                  <a:pt x="1215" y="1420"/>
                </a:cubicBezTo>
                <a:cubicBezTo>
                  <a:pt x="1215" y="1420"/>
                  <a:pt x="1215" y="1420"/>
                  <a:pt x="1214" y="1420"/>
                </a:cubicBezTo>
                <a:cubicBezTo>
                  <a:pt x="1213" y="1421"/>
                  <a:pt x="1212" y="1422"/>
                  <a:pt x="1212" y="1423"/>
                </a:cubicBezTo>
                <a:cubicBezTo>
                  <a:pt x="1211" y="1424"/>
                  <a:pt x="1212" y="1430"/>
                  <a:pt x="1214" y="1430"/>
                </a:cubicBezTo>
                <a:cubicBezTo>
                  <a:pt x="1215" y="1431"/>
                  <a:pt x="1217" y="1430"/>
                  <a:pt x="1217" y="1428"/>
                </a:cubicBezTo>
                <a:close/>
                <a:moveTo>
                  <a:pt x="1269" y="1420"/>
                </a:moveTo>
                <a:cubicBezTo>
                  <a:pt x="1273" y="1416"/>
                  <a:pt x="1273" y="1416"/>
                  <a:pt x="1277" y="1415"/>
                </a:cubicBezTo>
                <a:cubicBezTo>
                  <a:pt x="1277" y="1417"/>
                  <a:pt x="1278" y="1418"/>
                  <a:pt x="1280" y="1418"/>
                </a:cubicBezTo>
                <a:cubicBezTo>
                  <a:pt x="1277" y="1419"/>
                  <a:pt x="1275" y="1421"/>
                  <a:pt x="1273" y="1422"/>
                </a:cubicBezTo>
                <a:cubicBezTo>
                  <a:pt x="1272" y="1421"/>
                  <a:pt x="1272" y="1421"/>
                  <a:pt x="1271" y="1419"/>
                </a:cubicBezTo>
                <a:cubicBezTo>
                  <a:pt x="1271" y="1419"/>
                  <a:pt x="1270" y="1419"/>
                  <a:pt x="1269" y="1420"/>
                </a:cubicBezTo>
                <a:close/>
                <a:moveTo>
                  <a:pt x="1276" y="1419"/>
                </a:moveTo>
                <a:cubicBezTo>
                  <a:pt x="1275" y="1419"/>
                  <a:pt x="1274" y="1419"/>
                  <a:pt x="1273" y="1419"/>
                </a:cubicBezTo>
                <a:cubicBezTo>
                  <a:pt x="1273" y="1419"/>
                  <a:pt x="1272" y="1419"/>
                  <a:pt x="1272" y="1420"/>
                </a:cubicBezTo>
                <a:cubicBezTo>
                  <a:pt x="1272" y="1420"/>
                  <a:pt x="1273" y="1421"/>
                  <a:pt x="1273" y="1421"/>
                </a:cubicBezTo>
                <a:cubicBezTo>
                  <a:pt x="1274" y="1421"/>
                  <a:pt x="1274" y="1420"/>
                  <a:pt x="1276" y="1419"/>
                </a:cubicBezTo>
                <a:close/>
                <a:moveTo>
                  <a:pt x="1256" y="1409"/>
                </a:moveTo>
                <a:cubicBezTo>
                  <a:pt x="1250" y="1409"/>
                  <a:pt x="1247" y="1411"/>
                  <a:pt x="1246" y="1419"/>
                </a:cubicBezTo>
                <a:cubicBezTo>
                  <a:pt x="1247" y="1417"/>
                  <a:pt x="1248" y="1415"/>
                  <a:pt x="1249" y="1412"/>
                </a:cubicBezTo>
                <a:cubicBezTo>
                  <a:pt x="1250" y="1412"/>
                  <a:pt x="1250" y="1412"/>
                  <a:pt x="1250" y="1412"/>
                </a:cubicBezTo>
                <a:cubicBezTo>
                  <a:pt x="1250" y="1414"/>
                  <a:pt x="1250" y="1414"/>
                  <a:pt x="1250" y="1415"/>
                </a:cubicBezTo>
                <a:cubicBezTo>
                  <a:pt x="1251" y="1412"/>
                  <a:pt x="1253" y="1410"/>
                  <a:pt x="1256" y="1409"/>
                </a:cubicBezTo>
                <a:close/>
                <a:moveTo>
                  <a:pt x="1300" y="1411"/>
                </a:moveTo>
                <a:cubicBezTo>
                  <a:pt x="1298" y="1412"/>
                  <a:pt x="1296" y="1414"/>
                  <a:pt x="1295" y="1415"/>
                </a:cubicBezTo>
                <a:cubicBezTo>
                  <a:pt x="1297" y="1416"/>
                  <a:pt x="1299" y="1414"/>
                  <a:pt x="1300" y="1411"/>
                </a:cubicBezTo>
                <a:close/>
                <a:moveTo>
                  <a:pt x="1267" y="1413"/>
                </a:moveTo>
                <a:cubicBezTo>
                  <a:pt x="1268" y="1412"/>
                  <a:pt x="1269" y="1410"/>
                  <a:pt x="1270" y="1409"/>
                </a:cubicBezTo>
                <a:cubicBezTo>
                  <a:pt x="1267" y="1410"/>
                  <a:pt x="1267" y="1411"/>
                  <a:pt x="1267" y="1413"/>
                </a:cubicBezTo>
                <a:close/>
                <a:moveTo>
                  <a:pt x="1277" y="1435"/>
                </a:moveTo>
                <a:cubicBezTo>
                  <a:pt x="1275" y="1435"/>
                  <a:pt x="1274" y="1436"/>
                  <a:pt x="1274" y="1437"/>
                </a:cubicBezTo>
                <a:cubicBezTo>
                  <a:pt x="1275" y="1436"/>
                  <a:pt x="1276" y="1435"/>
                  <a:pt x="1277" y="1435"/>
                </a:cubicBezTo>
                <a:close/>
                <a:moveTo>
                  <a:pt x="1276" y="1419"/>
                </a:moveTo>
                <a:cubicBezTo>
                  <a:pt x="1275" y="1419"/>
                  <a:pt x="1274" y="1418"/>
                  <a:pt x="1274" y="1418"/>
                </a:cubicBezTo>
                <a:cubicBezTo>
                  <a:pt x="1273" y="1418"/>
                  <a:pt x="1272" y="1419"/>
                  <a:pt x="1272" y="1419"/>
                </a:cubicBezTo>
                <a:cubicBezTo>
                  <a:pt x="1272" y="1420"/>
                  <a:pt x="1273" y="1420"/>
                  <a:pt x="1273" y="1421"/>
                </a:cubicBezTo>
                <a:cubicBezTo>
                  <a:pt x="1274" y="1420"/>
                  <a:pt x="1274" y="1420"/>
                  <a:pt x="1276" y="1419"/>
                </a:cubicBezTo>
                <a:close/>
                <a:moveTo>
                  <a:pt x="1567" y="1397"/>
                </a:moveTo>
                <a:cubicBezTo>
                  <a:pt x="1567" y="1397"/>
                  <a:pt x="1567" y="1397"/>
                  <a:pt x="1567" y="1397"/>
                </a:cubicBezTo>
                <a:cubicBezTo>
                  <a:pt x="1562" y="1397"/>
                  <a:pt x="1562" y="1397"/>
                  <a:pt x="1562" y="1397"/>
                </a:cubicBezTo>
                <a:cubicBezTo>
                  <a:pt x="1560" y="1398"/>
                  <a:pt x="1559" y="1400"/>
                  <a:pt x="1556" y="1400"/>
                </a:cubicBezTo>
                <a:cubicBezTo>
                  <a:pt x="1555" y="1402"/>
                  <a:pt x="1553" y="1402"/>
                  <a:pt x="1551" y="1403"/>
                </a:cubicBezTo>
                <a:cubicBezTo>
                  <a:pt x="1549" y="1405"/>
                  <a:pt x="1548" y="1405"/>
                  <a:pt x="1546" y="1406"/>
                </a:cubicBezTo>
                <a:cubicBezTo>
                  <a:pt x="1544" y="1407"/>
                  <a:pt x="1542" y="1408"/>
                  <a:pt x="1541" y="1408"/>
                </a:cubicBezTo>
                <a:cubicBezTo>
                  <a:pt x="1541" y="1408"/>
                  <a:pt x="1541" y="1408"/>
                  <a:pt x="1541" y="1418"/>
                </a:cubicBezTo>
                <a:cubicBezTo>
                  <a:pt x="1544" y="1417"/>
                  <a:pt x="1546" y="1416"/>
                  <a:pt x="1549" y="1415"/>
                </a:cubicBezTo>
                <a:cubicBezTo>
                  <a:pt x="1551" y="1414"/>
                  <a:pt x="1554" y="1413"/>
                  <a:pt x="1555" y="1411"/>
                </a:cubicBezTo>
                <a:cubicBezTo>
                  <a:pt x="1555" y="1411"/>
                  <a:pt x="1555" y="1411"/>
                  <a:pt x="1555" y="1470"/>
                </a:cubicBezTo>
                <a:cubicBezTo>
                  <a:pt x="1555" y="1470"/>
                  <a:pt x="1555" y="1470"/>
                  <a:pt x="1567" y="1470"/>
                </a:cubicBezTo>
                <a:cubicBezTo>
                  <a:pt x="1567" y="1470"/>
                  <a:pt x="1567" y="1470"/>
                  <a:pt x="1567" y="1397"/>
                </a:cubicBezTo>
                <a:close/>
                <a:moveTo>
                  <a:pt x="1688" y="1397"/>
                </a:moveTo>
                <a:cubicBezTo>
                  <a:pt x="1688" y="1397"/>
                  <a:pt x="1688" y="1397"/>
                  <a:pt x="1688" y="1397"/>
                </a:cubicBezTo>
                <a:cubicBezTo>
                  <a:pt x="1683" y="1397"/>
                  <a:pt x="1683" y="1397"/>
                  <a:pt x="1683" y="1397"/>
                </a:cubicBezTo>
                <a:cubicBezTo>
                  <a:pt x="1681" y="1398"/>
                  <a:pt x="1680" y="1400"/>
                  <a:pt x="1677" y="1400"/>
                </a:cubicBezTo>
                <a:cubicBezTo>
                  <a:pt x="1676" y="1402"/>
                  <a:pt x="1674" y="1402"/>
                  <a:pt x="1672" y="1403"/>
                </a:cubicBezTo>
                <a:cubicBezTo>
                  <a:pt x="1671" y="1405"/>
                  <a:pt x="1669" y="1405"/>
                  <a:pt x="1667" y="1406"/>
                </a:cubicBezTo>
                <a:cubicBezTo>
                  <a:pt x="1665" y="1407"/>
                  <a:pt x="1663" y="1408"/>
                  <a:pt x="1661" y="1408"/>
                </a:cubicBezTo>
                <a:cubicBezTo>
                  <a:pt x="1661" y="1408"/>
                  <a:pt x="1661" y="1408"/>
                  <a:pt x="1661" y="1418"/>
                </a:cubicBezTo>
                <a:cubicBezTo>
                  <a:pt x="1664" y="1417"/>
                  <a:pt x="1667" y="1416"/>
                  <a:pt x="1670" y="1415"/>
                </a:cubicBezTo>
                <a:cubicBezTo>
                  <a:pt x="1672" y="1414"/>
                  <a:pt x="1674" y="1413"/>
                  <a:pt x="1677" y="1411"/>
                </a:cubicBezTo>
                <a:cubicBezTo>
                  <a:pt x="1677" y="1411"/>
                  <a:pt x="1677" y="1411"/>
                  <a:pt x="1677" y="1470"/>
                </a:cubicBezTo>
                <a:cubicBezTo>
                  <a:pt x="1677" y="1470"/>
                  <a:pt x="1677" y="1470"/>
                  <a:pt x="1688" y="1470"/>
                </a:cubicBezTo>
                <a:cubicBezTo>
                  <a:pt x="1688" y="1470"/>
                  <a:pt x="1688" y="1470"/>
                  <a:pt x="1688" y="1397"/>
                </a:cubicBezTo>
                <a:close/>
                <a:moveTo>
                  <a:pt x="1735" y="1397"/>
                </a:moveTo>
                <a:cubicBezTo>
                  <a:pt x="1735" y="1397"/>
                  <a:pt x="1735" y="1397"/>
                  <a:pt x="1735" y="1397"/>
                </a:cubicBezTo>
                <a:cubicBezTo>
                  <a:pt x="1730" y="1397"/>
                  <a:pt x="1730" y="1397"/>
                  <a:pt x="1730" y="1397"/>
                </a:cubicBezTo>
                <a:cubicBezTo>
                  <a:pt x="1728" y="1398"/>
                  <a:pt x="1726" y="1400"/>
                  <a:pt x="1724" y="1400"/>
                </a:cubicBezTo>
                <a:cubicBezTo>
                  <a:pt x="1723" y="1402"/>
                  <a:pt x="1721" y="1402"/>
                  <a:pt x="1719" y="1403"/>
                </a:cubicBezTo>
                <a:cubicBezTo>
                  <a:pt x="1718" y="1405"/>
                  <a:pt x="1715" y="1405"/>
                  <a:pt x="1714" y="1406"/>
                </a:cubicBezTo>
                <a:cubicBezTo>
                  <a:pt x="1712" y="1407"/>
                  <a:pt x="1710" y="1408"/>
                  <a:pt x="1708" y="1408"/>
                </a:cubicBezTo>
                <a:cubicBezTo>
                  <a:pt x="1708" y="1408"/>
                  <a:pt x="1708" y="1408"/>
                  <a:pt x="1708" y="1418"/>
                </a:cubicBezTo>
                <a:cubicBezTo>
                  <a:pt x="1711" y="1417"/>
                  <a:pt x="1714" y="1416"/>
                  <a:pt x="1716" y="1415"/>
                </a:cubicBezTo>
                <a:cubicBezTo>
                  <a:pt x="1719" y="1414"/>
                  <a:pt x="1721" y="1413"/>
                  <a:pt x="1723" y="1411"/>
                </a:cubicBezTo>
                <a:cubicBezTo>
                  <a:pt x="1723" y="1411"/>
                  <a:pt x="1723" y="1411"/>
                  <a:pt x="1723" y="1470"/>
                </a:cubicBezTo>
                <a:cubicBezTo>
                  <a:pt x="1723" y="1470"/>
                  <a:pt x="1723" y="1470"/>
                  <a:pt x="1735" y="1470"/>
                </a:cubicBezTo>
                <a:cubicBezTo>
                  <a:pt x="1735" y="1470"/>
                  <a:pt x="1735" y="1470"/>
                  <a:pt x="1735" y="1397"/>
                </a:cubicBezTo>
                <a:close/>
                <a:moveTo>
                  <a:pt x="1781" y="1397"/>
                </a:moveTo>
                <a:cubicBezTo>
                  <a:pt x="1781" y="1397"/>
                  <a:pt x="1781" y="1397"/>
                  <a:pt x="1781" y="1397"/>
                </a:cubicBezTo>
                <a:cubicBezTo>
                  <a:pt x="1777" y="1397"/>
                  <a:pt x="1777" y="1397"/>
                  <a:pt x="1777" y="1397"/>
                </a:cubicBezTo>
                <a:cubicBezTo>
                  <a:pt x="1775" y="1398"/>
                  <a:pt x="1773" y="1400"/>
                  <a:pt x="1771" y="1400"/>
                </a:cubicBezTo>
                <a:cubicBezTo>
                  <a:pt x="1770" y="1402"/>
                  <a:pt x="1767" y="1402"/>
                  <a:pt x="1766" y="1403"/>
                </a:cubicBezTo>
                <a:cubicBezTo>
                  <a:pt x="1764" y="1404"/>
                  <a:pt x="1762" y="1405"/>
                  <a:pt x="1760" y="1405"/>
                </a:cubicBezTo>
                <a:cubicBezTo>
                  <a:pt x="1759" y="1406"/>
                  <a:pt x="1757" y="1407"/>
                  <a:pt x="1755" y="1408"/>
                </a:cubicBezTo>
                <a:cubicBezTo>
                  <a:pt x="1755" y="1408"/>
                  <a:pt x="1755" y="1408"/>
                  <a:pt x="1755" y="1418"/>
                </a:cubicBezTo>
                <a:cubicBezTo>
                  <a:pt x="1758" y="1417"/>
                  <a:pt x="1761" y="1416"/>
                  <a:pt x="1763" y="1415"/>
                </a:cubicBezTo>
                <a:cubicBezTo>
                  <a:pt x="1765" y="1414"/>
                  <a:pt x="1768" y="1413"/>
                  <a:pt x="1770" y="1411"/>
                </a:cubicBezTo>
                <a:cubicBezTo>
                  <a:pt x="1770" y="1411"/>
                  <a:pt x="1770" y="1411"/>
                  <a:pt x="1770" y="1470"/>
                </a:cubicBezTo>
                <a:cubicBezTo>
                  <a:pt x="1770" y="1470"/>
                  <a:pt x="1770" y="1470"/>
                  <a:pt x="1781" y="1470"/>
                </a:cubicBezTo>
                <a:cubicBezTo>
                  <a:pt x="1781" y="1470"/>
                  <a:pt x="1781" y="1470"/>
                  <a:pt x="1781" y="1397"/>
                </a:cubicBezTo>
                <a:close/>
                <a:moveTo>
                  <a:pt x="1587" y="1429"/>
                </a:moveTo>
                <a:cubicBezTo>
                  <a:pt x="1587" y="1429"/>
                  <a:pt x="1587" y="1429"/>
                  <a:pt x="1587" y="1429"/>
                </a:cubicBezTo>
                <a:cubicBezTo>
                  <a:pt x="1586" y="1437"/>
                  <a:pt x="1586" y="1437"/>
                  <a:pt x="1586" y="1437"/>
                </a:cubicBezTo>
                <a:cubicBezTo>
                  <a:pt x="1593" y="1438"/>
                  <a:pt x="1593" y="1441"/>
                  <a:pt x="1593" y="1443"/>
                </a:cubicBezTo>
                <a:cubicBezTo>
                  <a:pt x="1593" y="1445"/>
                  <a:pt x="1593" y="1448"/>
                  <a:pt x="1593" y="1450"/>
                </a:cubicBezTo>
                <a:cubicBezTo>
                  <a:pt x="1593" y="1453"/>
                  <a:pt x="1592" y="1455"/>
                  <a:pt x="1592" y="1457"/>
                </a:cubicBezTo>
                <a:cubicBezTo>
                  <a:pt x="1592" y="1467"/>
                  <a:pt x="1598" y="1470"/>
                  <a:pt x="1607" y="1470"/>
                </a:cubicBezTo>
                <a:cubicBezTo>
                  <a:pt x="1607" y="1470"/>
                  <a:pt x="1607" y="1470"/>
                  <a:pt x="1610" y="1470"/>
                </a:cubicBezTo>
                <a:cubicBezTo>
                  <a:pt x="1610" y="1470"/>
                  <a:pt x="1610" y="1470"/>
                  <a:pt x="1610" y="1461"/>
                </a:cubicBezTo>
                <a:cubicBezTo>
                  <a:pt x="1610" y="1461"/>
                  <a:pt x="1610" y="1461"/>
                  <a:pt x="1609" y="1461"/>
                </a:cubicBezTo>
                <a:cubicBezTo>
                  <a:pt x="1605" y="1461"/>
                  <a:pt x="1604" y="1459"/>
                  <a:pt x="1604" y="1455"/>
                </a:cubicBezTo>
                <a:cubicBezTo>
                  <a:pt x="1604" y="1454"/>
                  <a:pt x="1604" y="1452"/>
                  <a:pt x="1604" y="1450"/>
                </a:cubicBezTo>
                <a:cubicBezTo>
                  <a:pt x="1604" y="1449"/>
                  <a:pt x="1605" y="1447"/>
                  <a:pt x="1605" y="1444"/>
                </a:cubicBezTo>
                <a:cubicBezTo>
                  <a:pt x="1605" y="1437"/>
                  <a:pt x="1602" y="1434"/>
                  <a:pt x="1596" y="1433"/>
                </a:cubicBezTo>
                <a:cubicBezTo>
                  <a:pt x="1596" y="1433"/>
                  <a:pt x="1596" y="1433"/>
                  <a:pt x="1596" y="1433"/>
                </a:cubicBezTo>
                <a:cubicBezTo>
                  <a:pt x="1602" y="1432"/>
                  <a:pt x="1605" y="1429"/>
                  <a:pt x="1605" y="1422"/>
                </a:cubicBezTo>
                <a:cubicBezTo>
                  <a:pt x="1605" y="1419"/>
                  <a:pt x="1604" y="1417"/>
                  <a:pt x="1604" y="1416"/>
                </a:cubicBezTo>
                <a:cubicBezTo>
                  <a:pt x="1604" y="1414"/>
                  <a:pt x="1604" y="1412"/>
                  <a:pt x="1604" y="1411"/>
                </a:cubicBezTo>
                <a:cubicBezTo>
                  <a:pt x="1604" y="1407"/>
                  <a:pt x="1605" y="1405"/>
                  <a:pt x="1609" y="1405"/>
                </a:cubicBezTo>
                <a:cubicBezTo>
                  <a:pt x="1609" y="1405"/>
                  <a:pt x="1609" y="1405"/>
                  <a:pt x="1610" y="1405"/>
                </a:cubicBezTo>
                <a:cubicBezTo>
                  <a:pt x="1610" y="1405"/>
                  <a:pt x="1610" y="1405"/>
                  <a:pt x="1610" y="1396"/>
                </a:cubicBezTo>
                <a:cubicBezTo>
                  <a:pt x="1610" y="1396"/>
                  <a:pt x="1610" y="1396"/>
                  <a:pt x="1607" y="1396"/>
                </a:cubicBezTo>
                <a:cubicBezTo>
                  <a:pt x="1598" y="1396"/>
                  <a:pt x="1592" y="1400"/>
                  <a:pt x="1592" y="1408"/>
                </a:cubicBezTo>
                <a:cubicBezTo>
                  <a:pt x="1592" y="1411"/>
                  <a:pt x="1593" y="1413"/>
                  <a:pt x="1593" y="1416"/>
                </a:cubicBezTo>
                <a:cubicBezTo>
                  <a:pt x="1593" y="1418"/>
                  <a:pt x="1593" y="1421"/>
                  <a:pt x="1593" y="1423"/>
                </a:cubicBezTo>
                <a:cubicBezTo>
                  <a:pt x="1593" y="1425"/>
                  <a:pt x="1593" y="1429"/>
                  <a:pt x="1587" y="1429"/>
                </a:cubicBezTo>
                <a:close/>
                <a:moveTo>
                  <a:pt x="1641" y="1437"/>
                </a:moveTo>
                <a:cubicBezTo>
                  <a:pt x="1641" y="1437"/>
                  <a:pt x="1641" y="1437"/>
                  <a:pt x="1641" y="1437"/>
                </a:cubicBezTo>
                <a:cubicBezTo>
                  <a:pt x="1641" y="1429"/>
                  <a:pt x="1641" y="1429"/>
                  <a:pt x="1641" y="1429"/>
                </a:cubicBezTo>
                <a:cubicBezTo>
                  <a:pt x="1635" y="1429"/>
                  <a:pt x="1635" y="1425"/>
                  <a:pt x="1635" y="1423"/>
                </a:cubicBezTo>
                <a:cubicBezTo>
                  <a:pt x="1635" y="1421"/>
                  <a:pt x="1635" y="1418"/>
                  <a:pt x="1635" y="1416"/>
                </a:cubicBezTo>
                <a:cubicBezTo>
                  <a:pt x="1636" y="1413"/>
                  <a:pt x="1636" y="1411"/>
                  <a:pt x="1636" y="1408"/>
                </a:cubicBezTo>
                <a:cubicBezTo>
                  <a:pt x="1636" y="1400"/>
                  <a:pt x="1630" y="1396"/>
                  <a:pt x="1621" y="1396"/>
                </a:cubicBezTo>
                <a:cubicBezTo>
                  <a:pt x="1621" y="1396"/>
                  <a:pt x="1621" y="1396"/>
                  <a:pt x="1617" y="1396"/>
                </a:cubicBezTo>
                <a:cubicBezTo>
                  <a:pt x="1617" y="1396"/>
                  <a:pt x="1617" y="1396"/>
                  <a:pt x="1617" y="1405"/>
                </a:cubicBezTo>
                <a:cubicBezTo>
                  <a:pt x="1617" y="1405"/>
                  <a:pt x="1617" y="1405"/>
                  <a:pt x="1619" y="1405"/>
                </a:cubicBezTo>
                <a:cubicBezTo>
                  <a:pt x="1623" y="1405"/>
                  <a:pt x="1624" y="1407"/>
                  <a:pt x="1624" y="1411"/>
                </a:cubicBezTo>
                <a:cubicBezTo>
                  <a:pt x="1624" y="1412"/>
                  <a:pt x="1624" y="1414"/>
                  <a:pt x="1624" y="1416"/>
                </a:cubicBezTo>
                <a:cubicBezTo>
                  <a:pt x="1623" y="1417"/>
                  <a:pt x="1623" y="1419"/>
                  <a:pt x="1623" y="1422"/>
                </a:cubicBezTo>
                <a:cubicBezTo>
                  <a:pt x="1623" y="1429"/>
                  <a:pt x="1626" y="1432"/>
                  <a:pt x="1632" y="1433"/>
                </a:cubicBezTo>
                <a:cubicBezTo>
                  <a:pt x="1632" y="1433"/>
                  <a:pt x="1632" y="1433"/>
                  <a:pt x="1632" y="1433"/>
                </a:cubicBezTo>
                <a:cubicBezTo>
                  <a:pt x="1626" y="1434"/>
                  <a:pt x="1623" y="1437"/>
                  <a:pt x="1623" y="1444"/>
                </a:cubicBezTo>
                <a:cubicBezTo>
                  <a:pt x="1623" y="1447"/>
                  <a:pt x="1623" y="1449"/>
                  <a:pt x="1624" y="1450"/>
                </a:cubicBezTo>
                <a:cubicBezTo>
                  <a:pt x="1624" y="1452"/>
                  <a:pt x="1624" y="1454"/>
                  <a:pt x="1624" y="1455"/>
                </a:cubicBezTo>
                <a:cubicBezTo>
                  <a:pt x="1624" y="1459"/>
                  <a:pt x="1623" y="1461"/>
                  <a:pt x="1619" y="1461"/>
                </a:cubicBezTo>
                <a:cubicBezTo>
                  <a:pt x="1619" y="1461"/>
                  <a:pt x="1619" y="1461"/>
                  <a:pt x="1617" y="1461"/>
                </a:cubicBezTo>
                <a:cubicBezTo>
                  <a:pt x="1617" y="1461"/>
                  <a:pt x="1617" y="1461"/>
                  <a:pt x="1617" y="1470"/>
                </a:cubicBezTo>
                <a:cubicBezTo>
                  <a:pt x="1617" y="1470"/>
                  <a:pt x="1617" y="1470"/>
                  <a:pt x="1621" y="1470"/>
                </a:cubicBezTo>
                <a:cubicBezTo>
                  <a:pt x="1630" y="1470"/>
                  <a:pt x="1636" y="1467"/>
                  <a:pt x="1636" y="1457"/>
                </a:cubicBezTo>
                <a:cubicBezTo>
                  <a:pt x="1636" y="1455"/>
                  <a:pt x="1636" y="1453"/>
                  <a:pt x="1635" y="1450"/>
                </a:cubicBezTo>
                <a:cubicBezTo>
                  <a:pt x="1635" y="1448"/>
                  <a:pt x="1635" y="1445"/>
                  <a:pt x="1635" y="1443"/>
                </a:cubicBezTo>
                <a:cubicBezTo>
                  <a:pt x="1635" y="1441"/>
                  <a:pt x="1635" y="1438"/>
                  <a:pt x="1641" y="1437"/>
                </a:cubicBezTo>
                <a:close/>
                <a:moveTo>
                  <a:pt x="1825" y="1470"/>
                </a:moveTo>
                <a:cubicBezTo>
                  <a:pt x="1818" y="1470"/>
                  <a:pt x="1811" y="1467"/>
                  <a:pt x="1807" y="1461"/>
                </a:cubicBezTo>
                <a:cubicBezTo>
                  <a:pt x="1803" y="1455"/>
                  <a:pt x="1801" y="1446"/>
                  <a:pt x="1801" y="1434"/>
                </a:cubicBezTo>
                <a:cubicBezTo>
                  <a:pt x="1801" y="1421"/>
                  <a:pt x="1803" y="1411"/>
                  <a:pt x="1807" y="1404"/>
                </a:cubicBezTo>
                <a:cubicBezTo>
                  <a:pt x="1812" y="1398"/>
                  <a:pt x="1818" y="1394"/>
                  <a:pt x="1827" y="1394"/>
                </a:cubicBezTo>
                <a:cubicBezTo>
                  <a:pt x="1843" y="1394"/>
                  <a:pt x="1851" y="1407"/>
                  <a:pt x="1851" y="1432"/>
                </a:cubicBezTo>
                <a:cubicBezTo>
                  <a:pt x="1851" y="1445"/>
                  <a:pt x="1849" y="1454"/>
                  <a:pt x="1844" y="1461"/>
                </a:cubicBezTo>
                <a:cubicBezTo>
                  <a:pt x="1840" y="1467"/>
                  <a:pt x="1833" y="1470"/>
                  <a:pt x="1825" y="1470"/>
                </a:cubicBezTo>
                <a:close/>
                <a:moveTo>
                  <a:pt x="1826" y="1404"/>
                </a:moveTo>
                <a:cubicBezTo>
                  <a:pt x="1817" y="1404"/>
                  <a:pt x="1813" y="1414"/>
                  <a:pt x="1813" y="1434"/>
                </a:cubicBezTo>
                <a:cubicBezTo>
                  <a:pt x="1813" y="1452"/>
                  <a:pt x="1817" y="1461"/>
                  <a:pt x="1826" y="1461"/>
                </a:cubicBezTo>
                <a:cubicBezTo>
                  <a:pt x="1834" y="1461"/>
                  <a:pt x="1839" y="1452"/>
                  <a:pt x="1839" y="1433"/>
                </a:cubicBezTo>
                <a:cubicBezTo>
                  <a:pt x="1839" y="1413"/>
                  <a:pt x="1834" y="1404"/>
                  <a:pt x="1826" y="1404"/>
                </a:cubicBezTo>
                <a:close/>
                <a:moveTo>
                  <a:pt x="1895" y="1470"/>
                </a:moveTo>
                <a:cubicBezTo>
                  <a:pt x="1888" y="1470"/>
                  <a:pt x="1882" y="1467"/>
                  <a:pt x="1878" y="1461"/>
                </a:cubicBezTo>
                <a:cubicBezTo>
                  <a:pt x="1874" y="1455"/>
                  <a:pt x="1871" y="1446"/>
                  <a:pt x="1871" y="1434"/>
                </a:cubicBezTo>
                <a:cubicBezTo>
                  <a:pt x="1871" y="1421"/>
                  <a:pt x="1874" y="1411"/>
                  <a:pt x="1878" y="1404"/>
                </a:cubicBezTo>
                <a:cubicBezTo>
                  <a:pt x="1882" y="1398"/>
                  <a:pt x="1889" y="1394"/>
                  <a:pt x="1898" y="1394"/>
                </a:cubicBezTo>
                <a:cubicBezTo>
                  <a:pt x="1914" y="1394"/>
                  <a:pt x="1922" y="1407"/>
                  <a:pt x="1922" y="1432"/>
                </a:cubicBezTo>
                <a:cubicBezTo>
                  <a:pt x="1922" y="1445"/>
                  <a:pt x="1920" y="1454"/>
                  <a:pt x="1915" y="1461"/>
                </a:cubicBezTo>
                <a:cubicBezTo>
                  <a:pt x="1910" y="1467"/>
                  <a:pt x="1904" y="1470"/>
                  <a:pt x="1895" y="1470"/>
                </a:cubicBezTo>
                <a:close/>
                <a:moveTo>
                  <a:pt x="1897" y="1404"/>
                </a:moveTo>
                <a:cubicBezTo>
                  <a:pt x="1888" y="1404"/>
                  <a:pt x="1883" y="1414"/>
                  <a:pt x="1883" y="1434"/>
                </a:cubicBezTo>
                <a:cubicBezTo>
                  <a:pt x="1883" y="1452"/>
                  <a:pt x="1887" y="1461"/>
                  <a:pt x="1896" y="1461"/>
                </a:cubicBezTo>
                <a:cubicBezTo>
                  <a:pt x="1905" y="1461"/>
                  <a:pt x="1909" y="1452"/>
                  <a:pt x="1909" y="1433"/>
                </a:cubicBezTo>
                <a:cubicBezTo>
                  <a:pt x="1909" y="1413"/>
                  <a:pt x="1905" y="1404"/>
                  <a:pt x="1897" y="1404"/>
                </a:cubicBezTo>
                <a:close/>
                <a:moveTo>
                  <a:pt x="41" y="1493"/>
                </a:moveTo>
                <a:cubicBezTo>
                  <a:pt x="41" y="1493"/>
                  <a:pt x="41" y="1493"/>
                  <a:pt x="41" y="1493"/>
                </a:cubicBezTo>
                <a:cubicBezTo>
                  <a:pt x="36" y="1493"/>
                  <a:pt x="36" y="1493"/>
                  <a:pt x="36" y="1493"/>
                </a:cubicBezTo>
                <a:cubicBezTo>
                  <a:pt x="33" y="1494"/>
                  <a:pt x="32" y="1496"/>
                  <a:pt x="30" y="1496"/>
                </a:cubicBezTo>
                <a:cubicBezTo>
                  <a:pt x="28" y="1498"/>
                  <a:pt x="27" y="1498"/>
                  <a:pt x="25" y="1499"/>
                </a:cubicBezTo>
                <a:cubicBezTo>
                  <a:pt x="23" y="1501"/>
                  <a:pt x="21" y="1501"/>
                  <a:pt x="20" y="1502"/>
                </a:cubicBezTo>
                <a:cubicBezTo>
                  <a:pt x="17" y="1503"/>
                  <a:pt x="16" y="1504"/>
                  <a:pt x="14" y="1504"/>
                </a:cubicBezTo>
                <a:cubicBezTo>
                  <a:pt x="14" y="1504"/>
                  <a:pt x="14" y="1504"/>
                  <a:pt x="14" y="1514"/>
                </a:cubicBezTo>
                <a:cubicBezTo>
                  <a:pt x="17" y="1513"/>
                  <a:pt x="20" y="1512"/>
                  <a:pt x="22" y="1511"/>
                </a:cubicBezTo>
                <a:cubicBezTo>
                  <a:pt x="25" y="1510"/>
                  <a:pt x="27" y="1509"/>
                  <a:pt x="29" y="1507"/>
                </a:cubicBezTo>
                <a:cubicBezTo>
                  <a:pt x="29" y="1507"/>
                  <a:pt x="29" y="1507"/>
                  <a:pt x="29" y="1566"/>
                </a:cubicBezTo>
                <a:cubicBezTo>
                  <a:pt x="29" y="1566"/>
                  <a:pt x="29" y="1566"/>
                  <a:pt x="41" y="1566"/>
                </a:cubicBezTo>
                <a:cubicBezTo>
                  <a:pt x="41" y="1566"/>
                  <a:pt x="41" y="1566"/>
                  <a:pt x="41" y="1493"/>
                </a:cubicBezTo>
                <a:close/>
                <a:moveTo>
                  <a:pt x="88" y="1493"/>
                </a:moveTo>
                <a:cubicBezTo>
                  <a:pt x="88" y="1493"/>
                  <a:pt x="88" y="1493"/>
                  <a:pt x="88" y="1493"/>
                </a:cubicBezTo>
                <a:cubicBezTo>
                  <a:pt x="83" y="1493"/>
                  <a:pt x="83" y="1493"/>
                  <a:pt x="83" y="1493"/>
                </a:cubicBezTo>
                <a:cubicBezTo>
                  <a:pt x="81" y="1494"/>
                  <a:pt x="79" y="1496"/>
                  <a:pt x="77" y="1496"/>
                </a:cubicBezTo>
                <a:cubicBezTo>
                  <a:pt x="76" y="1498"/>
                  <a:pt x="74" y="1498"/>
                  <a:pt x="72" y="1499"/>
                </a:cubicBezTo>
                <a:cubicBezTo>
                  <a:pt x="71" y="1501"/>
                  <a:pt x="69" y="1501"/>
                  <a:pt x="67" y="1502"/>
                </a:cubicBezTo>
                <a:cubicBezTo>
                  <a:pt x="65" y="1503"/>
                  <a:pt x="63" y="1504"/>
                  <a:pt x="61" y="1504"/>
                </a:cubicBezTo>
                <a:cubicBezTo>
                  <a:pt x="61" y="1504"/>
                  <a:pt x="61" y="1504"/>
                  <a:pt x="61" y="1514"/>
                </a:cubicBezTo>
                <a:cubicBezTo>
                  <a:pt x="64" y="1513"/>
                  <a:pt x="67" y="1512"/>
                  <a:pt x="69" y="1511"/>
                </a:cubicBezTo>
                <a:cubicBezTo>
                  <a:pt x="72" y="1510"/>
                  <a:pt x="74" y="1509"/>
                  <a:pt x="77" y="1507"/>
                </a:cubicBezTo>
                <a:cubicBezTo>
                  <a:pt x="77" y="1507"/>
                  <a:pt x="77" y="1507"/>
                  <a:pt x="77" y="1566"/>
                </a:cubicBezTo>
                <a:cubicBezTo>
                  <a:pt x="77" y="1566"/>
                  <a:pt x="77" y="1566"/>
                  <a:pt x="88" y="1566"/>
                </a:cubicBezTo>
                <a:cubicBezTo>
                  <a:pt x="88" y="1566"/>
                  <a:pt x="88" y="1566"/>
                  <a:pt x="88" y="1493"/>
                </a:cubicBezTo>
                <a:close/>
                <a:moveTo>
                  <a:pt x="135" y="1493"/>
                </a:moveTo>
                <a:cubicBezTo>
                  <a:pt x="135" y="1493"/>
                  <a:pt x="135" y="1493"/>
                  <a:pt x="135" y="1493"/>
                </a:cubicBezTo>
                <a:cubicBezTo>
                  <a:pt x="130" y="1493"/>
                  <a:pt x="130" y="1493"/>
                  <a:pt x="130" y="1493"/>
                </a:cubicBezTo>
                <a:cubicBezTo>
                  <a:pt x="128" y="1494"/>
                  <a:pt x="127" y="1496"/>
                  <a:pt x="125" y="1496"/>
                </a:cubicBezTo>
                <a:cubicBezTo>
                  <a:pt x="123" y="1498"/>
                  <a:pt x="121" y="1498"/>
                  <a:pt x="120" y="1499"/>
                </a:cubicBezTo>
                <a:cubicBezTo>
                  <a:pt x="117" y="1500"/>
                  <a:pt x="116" y="1501"/>
                  <a:pt x="114" y="1501"/>
                </a:cubicBezTo>
                <a:cubicBezTo>
                  <a:pt x="112" y="1502"/>
                  <a:pt x="110" y="1503"/>
                  <a:pt x="109" y="1504"/>
                </a:cubicBezTo>
                <a:cubicBezTo>
                  <a:pt x="109" y="1504"/>
                  <a:pt x="109" y="1504"/>
                  <a:pt x="109" y="1514"/>
                </a:cubicBezTo>
                <a:cubicBezTo>
                  <a:pt x="112" y="1513"/>
                  <a:pt x="115" y="1512"/>
                  <a:pt x="117" y="1511"/>
                </a:cubicBezTo>
                <a:cubicBezTo>
                  <a:pt x="119" y="1510"/>
                  <a:pt x="122" y="1509"/>
                  <a:pt x="123" y="1507"/>
                </a:cubicBezTo>
                <a:cubicBezTo>
                  <a:pt x="123" y="1507"/>
                  <a:pt x="123" y="1507"/>
                  <a:pt x="123" y="1566"/>
                </a:cubicBezTo>
                <a:cubicBezTo>
                  <a:pt x="123" y="1566"/>
                  <a:pt x="123" y="1566"/>
                  <a:pt x="135" y="1566"/>
                </a:cubicBezTo>
                <a:cubicBezTo>
                  <a:pt x="135" y="1566"/>
                  <a:pt x="135" y="1566"/>
                  <a:pt x="135" y="1493"/>
                </a:cubicBezTo>
                <a:close/>
                <a:moveTo>
                  <a:pt x="179" y="1566"/>
                </a:moveTo>
                <a:cubicBezTo>
                  <a:pt x="172" y="1566"/>
                  <a:pt x="166" y="1563"/>
                  <a:pt x="161" y="1557"/>
                </a:cubicBezTo>
                <a:cubicBezTo>
                  <a:pt x="158" y="1551"/>
                  <a:pt x="155" y="1542"/>
                  <a:pt x="155" y="1530"/>
                </a:cubicBezTo>
                <a:cubicBezTo>
                  <a:pt x="155" y="1517"/>
                  <a:pt x="158" y="1507"/>
                  <a:pt x="162" y="1500"/>
                </a:cubicBezTo>
                <a:cubicBezTo>
                  <a:pt x="166" y="1494"/>
                  <a:pt x="173" y="1490"/>
                  <a:pt x="182" y="1490"/>
                </a:cubicBezTo>
                <a:cubicBezTo>
                  <a:pt x="198" y="1490"/>
                  <a:pt x="206" y="1503"/>
                  <a:pt x="206" y="1528"/>
                </a:cubicBezTo>
                <a:cubicBezTo>
                  <a:pt x="206" y="1541"/>
                  <a:pt x="204" y="1550"/>
                  <a:pt x="198" y="1557"/>
                </a:cubicBezTo>
                <a:cubicBezTo>
                  <a:pt x="194" y="1563"/>
                  <a:pt x="188" y="1566"/>
                  <a:pt x="179" y="1566"/>
                </a:cubicBezTo>
                <a:close/>
                <a:moveTo>
                  <a:pt x="181" y="1500"/>
                </a:moveTo>
                <a:cubicBezTo>
                  <a:pt x="171" y="1500"/>
                  <a:pt x="167" y="1510"/>
                  <a:pt x="167" y="1530"/>
                </a:cubicBezTo>
                <a:cubicBezTo>
                  <a:pt x="167" y="1548"/>
                  <a:pt x="171" y="1557"/>
                  <a:pt x="180" y="1557"/>
                </a:cubicBezTo>
                <a:cubicBezTo>
                  <a:pt x="189" y="1557"/>
                  <a:pt x="193" y="1548"/>
                  <a:pt x="193" y="1529"/>
                </a:cubicBezTo>
                <a:cubicBezTo>
                  <a:pt x="193" y="1509"/>
                  <a:pt x="189" y="1500"/>
                  <a:pt x="181" y="1500"/>
                </a:cubicBezTo>
                <a:close/>
                <a:moveTo>
                  <a:pt x="251" y="1566"/>
                </a:moveTo>
                <a:cubicBezTo>
                  <a:pt x="243" y="1566"/>
                  <a:pt x="237" y="1563"/>
                  <a:pt x="233" y="1557"/>
                </a:cubicBezTo>
                <a:cubicBezTo>
                  <a:pt x="229" y="1551"/>
                  <a:pt x="226" y="1542"/>
                  <a:pt x="226" y="1530"/>
                </a:cubicBezTo>
                <a:cubicBezTo>
                  <a:pt x="226" y="1517"/>
                  <a:pt x="229" y="1507"/>
                  <a:pt x="233" y="1500"/>
                </a:cubicBezTo>
                <a:cubicBezTo>
                  <a:pt x="237" y="1494"/>
                  <a:pt x="244" y="1490"/>
                  <a:pt x="253" y="1490"/>
                </a:cubicBezTo>
                <a:cubicBezTo>
                  <a:pt x="269" y="1490"/>
                  <a:pt x="277" y="1503"/>
                  <a:pt x="277" y="1528"/>
                </a:cubicBezTo>
                <a:cubicBezTo>
                  <a:pt x="277" y="1541"/>
                  <a:pt x="275" y="1550"/>
                  <a:pt x="270" y="1557"/>
                </a:cubicBezTo>
                <a:cubicBezTo>
                  <a:pt x="265" y="1563"/>
                  <a:pt x="259" y="1566"/>
                  <a:pt x="251" y="1566"/>
                </a:cubicBezTo>
                <a:close/>
                <a:moveTo>
                  <a:pt x="252" y="1500"/>
                </a:moveTo>
                <a:cubicBezTo>
                  <a:pt x="243" y="1500"/>
                  <a:pt x="238" y="1510"/>
                  <a:pt x="238" y="1530"/>
                </a:cubicBezTo>
                <a:cubicBezTo>
                  <a:pt x="238" y="1548"/>
                  <a:pt x="242" y="1557"/>
                  <a:pt x="251" y="1557"/>
                </a:cubicBezTo>
                <a:cubicBezTo>
                  <a:pt x="260" y="1557"/>
                  <a:pt x="264" y="1548"/>
                  <a:pt x="264" y="1529"/>
                </a:cubicBezTo>
                <a:cubicBezTo>
                  <a:pt x="264" y="1509"/>
                  <a:pt x="260" y="1500"/>
                  <a:pt x="252" y="1500"/>
                </a:cubicBezTo>
                <a:close/>
                <a:moveTo>
                  <a:pt x="463" y="1566"/>
                </a:moveTo>
                <a:cubicBezTo>
                  <a:pt x="456" y="1566"/>
                  <a:pt x="450" y="1563"/>
                  <a:pt x="446" y="1557"/>
                </a:cubicBezTo>
                <a:cubicBezTo>
                  <a:pt x="441" y="1551"/>
                  <a:pt x="439" y="1541"/>
                  <a:pt x="439" y="1530"/>
                </a:cubicBezTo>
                <a:cubicBezTo>
                  <a:pt x="439" y="1517"/>
                  <a:pt x="441" y="1507"/>
                  <a:pt x="446" y="1500"/>
                </a:cubicBezTo>
                <a:cubicBezTo>
                  <a:pt x="450" y="1493"/>
                  <a:pt x="457" y="1490"/>
                  <a:pt x="466" y="1490"/>
                </a:cubicBezTo>
                <a:cubicBezTo>
                  <a:pt x="482" y="1490"/>
                  <a:pt x="490" y="1503"/>
                  <a:pt x="490" y="1527"/>
                </a:cubicBezTo>
                <a:cubicBezTo>
                  <a:pt x="490" y="1541"/>
                  <a:pt x="488" y="1550"/>
                  <a:pt x="483" y="1557"/>
                </a:cubicBezTo>
                <a:cubicBezTo>
                  <a:pt x="478" y="1563"/>
                  <a:pt x="472" y="1566"/>
                  <a:pt x="463" y="1566"/>
                </a:cubicBezTo>
                <a:close/>
                <a:moveTo>
                  <a:pt x="465" y="1500"/>
                </a:moveTo>
                <a:cubicBezTo>
                  <a:pt x="456" y="1500"/>
                  <a:pt x="452" y="1509"/>
                  <a:pt x="452" y="1529"/>
                </a:cubicBezTo>
                <a:cubicBezTo>
                  <a:pt x="452" y="1547"/>
                  <a:pt x="456" y="1557"/>
                  <a:pt x="465" y="1557"/>
                </a:cubicBezTo>
                <a:cubicBezTo>
                  <a:pt x="473" y="1557"/>
                  <a:pt x="477" y="1547"/>
                  <a:pt x="477" y="1529"/>
                </a:cubicBezTo>
                <a:cubicBezTo>
                  <a:pt x="477" y="1509"/>
                  <a:pt x="474" y="1500"/>
                  <a:pt x="465" y="1500"/>
                </a:cubicBezTo>
                <a:close/>
                <a:moveTo>
                  <a:pt x="582" y="1566"/>
                </a:moveTo>
                <a:cubicBezTo>
                  <a:pt x="574" y="1566"/>
                  <a:pt x="569" y="1563"/>
                  <a:pt x="564" y="1557"/>
                </a:cubicBezTo>
                <a:cubicBezTo>
                  <a:pt x="560" y="1551"/>
                  <a:pt x="558" y="1541"/>
                  <a:pt x="558" y="1530"/>
                </a:cubicBezTo>
                <a:cubicBezTo>
                  <a:pt x="558" y="1517"/>
                  <a:pt x="560" y="1507"/>
                  <a:pt x="564" y="1500"/>
                </a:cubicBezTo>
                <a:cubicBezTo>
                  <a:pt x="569" y="1493"/>
                  <a:pt x="575" y="1490"/>
                  <a:pt x="584" y="1490"/>
                </a:cubicBezTo>
                <a:cubicBezTo>
                  <a:pt x="600" y="1490"/>
                  <a:pt x="608" y="1503"/>
                  <a:pt x="608" y="1527"/>
                </a:cubicBezTo>
                <a:cubicBezTo>
                  <a:pt x="608" y="1541"/>
                  <a:pt x="606" y="1550"/>
                  <a:pt x="601" y="1557"/>
                </a:cubicBezTo>
                <a:cubicBezTo>
                  <a:pt x="596" y="1563"/>
                  <a:pt x="590" y="1566"/>
                  <a:pt x="582" y="1566"/>
                </a:cubicBezTo>
                <a:close/>
                <a:moveTo>
                  <a:pt x="583" y="1500"/>
                </a:moveTo>
                <a:cubicBezTo>
                  <a:pt x="574" y="1500"/>
                  <a:pt x="570" y="1509"/>
                  <a:pt x="570" y="1529"/>
                </a:cubicBezTo>
                <a:cubicBezTo>
                  <a:pt x="570" y="1547"/>
                  <a:pt x="574" y="1557"/>
                  <a:pt x="583" y="1557"/>
                </a:cubicBezTo>
                <a:cubicBezTo>
                  <a:pt x="591" y="1557"/>
                  <a:pt x="596" y="1547"/>
                  <a:pt x="596" y="1529"/>
                </a:cubicBezTo>
                <a:cubicBezTo>
                  <a:pt x="596" y="1509"/>
                  <a:pt x="592" y="1500"/>
                  <a:pt x="583" y="1500"/>
                </a:cubicBezTo>
                <a:close/>
                <a:moveTo>
                  <a:pt x="537" y="1493"/>
                </a:moveTo>
                <a:cubicBezTo>
                  <a:pt x="537" y="1493"/>
                  <a:pt x="537" y="1493"/>
                  <a:pt x="537" y="1493"/>
                </a:cubicBezTo>
                <a:cubicBezTo>
                  <a:pt x="532" y="1493"/>
                  <a:pt x="532" y="1493"/>
                  <a:pt x="532" y="1493"/>
                </a:cubicBezTo>
                <a:cubicBezTo>
                  <a:pt x="530" y="1494"/>
                  <a:pt x="528" y="1496"/>
                  <a:pt x="526" y="1496"/>
                </a:cubicBezTo>
                <a:cubicBezTo>
                  <a:pt x="525" y="1498"/>
                  <a:pt x="522" y="1498"/>
                  <a:pt x="521" y="1499"/>
                </a:cubicBezTo>
                <a:cubicBezTo>
                  <a:pt x="520" y="1500"/>
                  <a:pt x="517" y="1501"/>
                  <a:pt x="516" y="1501"/>
                </a:cubicBezTo>
                <a:cubicBezTo>
                  <a:pt x="514" y="1502"/>
                  <a:pt x="512" y="1503"/>
                  <a:pt x="510" y="1504"/>
                </a:cubicBezTo>
                <a:cubicBezTo>
                  <a:pt x="510" y="1504"/>
                  <a:pt x="510" y="1504"/>
                  <a:pt x="510" y="1514"/>
                </a:cubicBezTo>
                <a:cubicBezTo>
                  <a:pt x="513" y="1513"/>
                  <a:pt x="516" y="1512"/>
                  <a:pt x="518" y="1511"/>
                </a:cubicBezTo>
                <a:cubicBezTo>
                  <a:pt x="521" y="1510"/>
                  <a:pt x="523" y="1509"/>
                  <a:pt x="525" y="1507"/>
                </a:cubicBezTo>
                <a:cubicBezTo>
                  <a:pt x="525" y="1507"/>
                  <a:pt x="525" y="1507"/>
                  <a:pt x="525" y="1566"/>
                </a:cubicBezTo>
                <a:cubicBezTo>
                  <a:pt x="525" y="1566"/>
                  <a:pt x="525" y="1566"/>
                  <a:pt x="537" y="1566"/>
                </a:cubicBezTo>
                <a:cubicBezTo>
                  <a:pt x="537" y="1566"/>
                  <a:pt x="537" y="1566"/>
                  <a:pt x="537" y="1493"/>
                </a:cubicBezTo>
                <a:close/>
                <a:moveTo>
                  <a:pt x="653" y="1566"/>
                </a:moveTo>
                <a:cubicBezTo>
                  <a:pt x="645" y="1566"/>
                  <a:pt x="638" y="1563"/>
                  <a:pt x="635" y="1557"/>
                </a:cubicBezTo>
                <a:cubicBezTo>
                  <a:pt x="630" y="1551"/>
                  <a:pt x="628" y="1542"/>
                  <a:pt x="628" y="1530"/>
                </a:cubicBezTo>
                <a:cubicBezTo>
                  <a:pt x="628" y="1517"/>
                  <a:pt x="630" y="1507"/>
                  <a:pt x="635" y="1500"/>
                </a:cubicBezTo>
                <a:cubicBezTo>
                  <a:pt x="639" y="1494"/>
                  <a:pt x="646" y="1490"/>
                  <a:pt x="655" y="1490"/>
                </a:cubicBezTo>
                <a:cubicBezTo>
                  <a:pt x="671" y="1490"/>
                  <a:pt x="679" y="1503"/>
                  <a:pt x="679" y="1528"/>
                </a:cubicBezTo>
                <a:cubicBezTo>
                  <a:pt x="679" y="1541"/>
                  <a:pt x="677" y="1550"/>
                  <a:pt x="672" y="1557"/>
                </a:cubicBezTo>
                <a:cubicBezTo>
                  <a:pt x="667" y="1563"/>
                  <a:pt x="661" y="1566"/>
                  <a:pt x="653" y="1566"/>
                </a:cubicBezTo>
                <a:close/>
                <a:moveTo>
                  <a:pt x="654" y="1500"/>
                </a:moveTo>
                <a:cubicBezTo>
                  <a:pt x="645" y="1500"/>
                  <a:pt x="640" y="1510"/>
                  <a:pt x="640" y="1530"/>
                </a:cubicBezTo>
                <a:cubicBezTo>
                  <a:pt x="640" y="1548"/>
                  <a:pt x="644" y="1557"/>
                  <a:pt x="653" y="1557"/>
                </a:cubicBezTo>
                <a:cubicBezTo>
                  <a:pt x="662" y="1557"/>
                  <a:pt x="667" y="1548"/>
                  <a:pt x="667" y="1529"/>
                </a:cubicBezTo>
                <a:cubicBezTo>
                  <a:pt x="667" y="1509"/>
                  <a:pt x="662" y="1500"/>
                  <a:pt x="654" y="1500"/>
                </a:cubicBezTo>
                <a:close/>
                <a:moveTo>
                  <a:pt x="700" y="1525"/>
                </a:moveTo>
                <a:cubicBezTo>
                  <a:pt x="700" y="1525"/>
                  <a:pt x="700" y="1525"/>
                  <a:pt x="700" y="1525"/>
                </a:cubicBezTo>
                <a:cubicBezTo>
                  <a:pt x="699" y="1533"/>
                  <a:pt x="699" y="1533"/>
                  <a:pt x="699" y="1533"/>
                </a:cubicBezTo>
                <a:cubicBezTo>
                  <a:pt x="706" y="1534"/>
                  <a:pt x="706" y="1537"/>
                  <a:pt x="706" y="1539"/>
                </a:cubicBezTo>
                <a:cubicBezTo>
                  <a:pt x="706" y="1541"/>
                  <a:pt x="706" y="1544"/>
                  <a:pt x="706" y="1546"/>
                </a:cubicBezTo>
                <a:cubicBezTo>
                  <a:pt x="706" y="1549"/>
                  <a:pt x="705" y="1551"/>
                  <a:pt x="705" y="1553"/>
                </a:cubicBezTo>
                <a:cubicBezTo>
                  <a:pt x="705" y="1563"/>
                  <a:pt x="711" y="1566"/>
                  <a:pt x="720" y="1566"/>
                </a:cubicBezTo>
                <a:cubicBezTo>
                  <a:pt x="720" y="1566"/>
                  <a:pt x="720" y="1566"/>
                  <a:pt x="724" y="1566"/>
                </a:cubicBezTo>
                <a:cubicBezTo>
                  <a:pt x="724" y="1566"/>
                  <a:pt x="724" y="1566"/>
                  <a:pt x="724" y="1557"/>
                </a:cubicBezTo>
                <a:cubicBezTo>
                  <a:pt x="724" y="1557"/>
                  <a:pt x="724" y="1557"/>
                  <a:pt x="722" y="1557"/>
                </a:cubicBezTo>
                <a:cubicBezTo>
                  <a:pt x="718" y="1557"/>
                  <a:pt x="717" y="1555"/>
                  <a:pt x="717" y="1551"/>
                </a:cubicBezTo>
                <a:cubicBezTo>
                  <a:pt x="717" y="1550"/>
                  <a:pt x="717" y="1548"/>
                  <a:pt x="718" y="1546"/>
                </a:cubicBezTo>
                <a:cubicBezTo>
                  <a:pt x="718" y="1545"/>
                  <a:pt x="718" y="1543"/>
                  <a:pt x="718" y="1540"/>
                </a:cubicBezTo>
                <a:cubicBezTo>
                  <a:pt x="718" y="1533"/>
                  <a:pt x="715" y="1530"/>
                  <a:pt x="709" y="1529"/>
                </a:cubicBezTo>
                <a:cubicBezTo>
                  <a:pt x="709" y="1529"/>
                  <a:pt x="709" y="1529"/>
                  <a:pt x="709" y="1529"/>
                </a:cubicBezTo>
                <a:cubicBezTo>
                  <a:pt x="715" y="1528"/>
                  <a:pt x="718" y="1525"/>
                  <a:pt x="718" y="1518"/>
                </a:cubicBezTo>
                <a:cubicBezTo>
                  <a:pt x="718" y="1515"/>
                  <a:pt x="718" y="1513"/>
                  <a:pt x="718" y="1512"/>
                </a:cubicBezTo>
                <a:cubicBezTo>
                  <a:pt x="717" y="1510"/>
                  <a:pt x="717" y="1508"/>
                  <a:pt x="717" y="1507"/>
                </a:cubicBezTo>
                <a:cubicBezTo>
                  <a:pt x="717" y="1503"/>
                  <a:pt x="718" y="1501"/>
                  <a:pt x="722" y="1501"/>
                </a:cubicBezTo>
                <a:cubicBezTo>
                  <a:pt x="722" y="1501"/>
                  <a:pt x="722" y="1501"/>
                  <a:pt x="724" y="1501"/>
                </a:cubicBezTo>
                <a:cubicBezTo>
                  <a:pt x="724" y="1501"/>
                  <a:pt x="724" y="1501"/>
                  <a:pt x="724" y="1492"/>
                </a:cubicBezTo>
                <a:cubicBezTo>
                  <a:pt x="724" y="1492"/>
                  <a:pt x="724" y="1492"/>
                  <a:pt x="720" y="1492"/>
                </a:cubicBezTo>
                <a:cubicBezTo>
                  <a:pt x="711" y="1492"/>
                  <a:pt x="705" y="1496"/>
                  <a:pt x="705" y="1504"/>
                </a:cubicBezTo>
                <a:cubicBezTo>
                  <a:pt x="705" y="1507"/>
                  <a:pt x="706" y="1509"/>
                  <a:pt x="706" y="1512"/>
                </a:cubicBezTo>
                <a:cubicBezTo>
                  <a:pt x="706" y="1514"/>
                  <a:pt x="706" y="1517"/>
                  <a:pt x="706" y="1519"/>
                </a:cubicBezTo>
                <a:cubicBezTo>
                  <a:pt x="706" y="1521"/>
                  <a:pt x="706" y="1525"/>
                  <a:pt x="700" y="1525"/>
                </a:cubicBezTo>
                <a:close/>
                <a:moveTo>
                  <a:pt x="754" y="1533"/>
                </a:moveTo>
                <a:cubicBezTo>
                  <a:pt x="754" y="1533"/>
                  <a:pt x="754" y="1533"/>
                  <a:pt x="754" y="1533"/>
                </a:cubicBezTo>
                <a:cubicBezTo>
                  <a:pt x="754" y="1525"/>
                  <a:pt x="754" y="1525"/>
                  <a:pt x="754" y="1525"/>
                </a:cubicBezTo>
                <a:cubicBezTo>
                  <a:pt x="748" y="1525"/>
                  <a:pt x="748" y="1521"/>
                  <a:pt x="748" y="1519"/>
                </a:cubicBezTo>
                <a:cubicBezTo>
                  <a:pt x="748" y="1517"/>
                  <a:pt x="748" y="1514"/>
                  <a:pt x="748" y="1512"/>
                </a:cubicBezTo>
                <a:cubicBezTo>
                  <a:pt x="749" y="1509"/>
                  <a:pt x="749" y="1507"/>
                  <a:pt x="749" y="1504"/>
                </a:cubicBezTo>
                <a:cubicBezTo>
                  <a:pt x="749" y="1496"/>
                  <a:pt x="743" y="1492"/>
                  <a:pt x="734" y="1492"/>
                </a:cubicBezTo>
                <a:cubicBezTo>
                  <a:pt x="734" y="1492"/>
                  <a:pt x="734" y="1492"/>
                  <a:pt x="730" y="1492"/>
                </a:cubicBezTo>
                <a:cubicBezTo>
                  <a:pt x="730" y="1492"/>
                  <a:pt x="730" y="1492"/>
                  <a:pt x="730" y="1501"/>
                </a:cubicBezTo>
                <a:cubicBezTo>
                  <a:pt x="730" y="1501"/>
                  <a:pt x="730" y="1501"/>
                  <a:pt x="732" y="1501"/>
                </a:cubicBezTo>
                <a:cubicBezTo>
                  <a:pt x="736" y="1501"/>
                  <a:pt x="737" y="1503"/>
                  <a:pt x="737" y="1507"/>
                </a:cubicBezTo>
                <a:cubicBezTo>
                  <a:pt x="737" y="1508"/>
                  <a:pt x="737" y="1510"/>
                  <a:pt x="737" y="1512"/>
                </a:cubicBezTo>
                <a:cubicBezTo>
                  <a:pt x="736" y="1513"/>
                  <a:pt x="736" y="1515"/>
                  <a:pt x="736" y="1518"/>
                </a:cubicBezTo>
                <a:cubicBezTo>
                  <a:pt x="736" y="1525"/>
                  <a:pt x="739" y="1528"/>
                  <a:pt x="745" y="1529"/>
                </a:cubicBezTo>
                <a:cubicBezTo>
                  <a:pt x="745" y="1529"/>
                  <a:pt x="745" y="1529"/>
                  <a:pt x="745" y="1529"/>
                </a:cubicBezTo>
                <a:cubicBezTo>
                  <a:pt x="739" y="1530"/>
                  <a:pt x="736" y="1533"/>
                  <a:pt x="736" y="1540"/>
                </a:cubicBezTo>
                <a:cubicBezTo>
                  <a:pt x="736" y="1543"/>
                  <a:pt x="736" y="1545"/>
                  <a:pt x="737" y="1546"/>
                </a:cubicBezTo>
                <a:cubicBezTo>
                  <a:pt x="737" y="1548"/>
                  <a:pt x="737" y="1550"/>
                  <a:pt x="737" y="1551"/>
                </a:cubicBezTo>
                <a:cubicBezTo>
                  <a:pt x="737" y="1555"/>
                  <a:pt x="736" y="1557"/>
                  <a:pt x="732" y="1557"/>
                </a:cubicBezTo>
                <a:cubicBezTo>
                  <a:pt x="732" y="1557"/>
                  <a:pt x="732" y="1557"/>
                  <a:pt x="730" y="1557"/>
                </a:cubicBezTo>
                <a:cubicBezTo>
                  <a:pt x="730" y="1557"/>
                  <a:pt x="730" y="1557"/>
                  <a:pt x="730" y="1566"/>
                </a:cubicBezTo>
                <a:cubicBezTo>
                  <a:pt x="730" y="1566"/>
                  <a:pt x="730" y="1566"/>
                  <a:pt x="734" y="1566"/>
                </a:cubicBezTo>
                <a:cubicBezTo>
                  <a:pt x="743" y="1566"/>
                  <a:pt x="749" y="1563"/>
                  <a:pt x="749" y="1553"/>
                </a:cubicBezTo>
                <a:cubicBezTo>
                  <a:pt x="749" y="1551"/>
                  <a:pt x="749" y="1549"/>
                  <a:pt x="748" y="1546"/>
                </a:cubicBezTo>
                <a:cubicBezTo>
                  <a:pt x="748" y="1544"/>
                  <a:pt x="748" y="1541"/>
                  <a:pt x="748" y="1539"/>
                </a:cubicBezTo>
                <a:cubicBezTo>
                  <a:pt x="748" y="1537"/>
                  <a:pt x="748" y="1534"/>
                  <a:pt x="754" y="1533"/>
                </a:cubicBezTo>
                <a:close/>
                <a:moveTo>
                  <a:pt x="875" y="1566"/>
                </a:moveTo>
                <a:cubicBezTo>
                  <a:pt x="867" y="1566"/>
                  <a:pt x="861" y="1563"/>
                  <a:pt x="856" y="1557"/>
                </a:cubicBezTo>
                <a:cubicBezTo>
                  <a:pt x="853" y="1551"/>
                  <a:pt x="850" y="1542"/>
                  <a:pt x="850" y="1530"/>
                </a:cubicBezTo>
                <a:cubicBezTo>
                  <a:pt x="850" y="1517"/>
                  <a:pt x="853" y="1507"/>
                  <a:pt x="857" y="1500"/>
                </a:cubicBezTo>
                <a:cubicBezTo>
                  <a:pt x="861" y="1494"/>
                  <a:pt x="868" y="1490"/>
                  <a:pt x="877" y="1490"/>
                </a:cubicBezTo>
                <a:cubicBezTo>
                  <a:pt x="893" y="1490"/>
                  <a:pt x="901" y="1503"/>
                  <a:pt x="901" y="1528"/>
                </a:cubicBezTo>
                <a:cubicBezTo>
                  <a:pt x="901" y="1541"/>
                  <a:pt x="899" y="1550"/>
                  <a:pt x="894" y="1557"/>
                </a:cubicBezTo>
                <a:cubicBezTo>
                  <a:pt x="889" y="1563"/>
                  <a:pt x="883" y="1566"/>
                  <a:pt x="875" y="1566"/>
                </a:cubicBezTo>
                <a:close/>
                <a:moveTo>
                  <a:pt x="876" y="1500"/>
                </a:moveTo>
                <a:cubicBezTo>
                  <a:pt x="867" y="1500"/>
                  <a:pt x="862" y="1510"/>
                  <a:pt x="862" y="1530"/>
                </a:cubicBezTo>
                <a:cubicBezTo>
                  <a:pt x="862" y="1548"/>
                  <a:pt x="867" y="1557"/>
                  <a:pt x="875" y="1557"/>
                </a:cubicBezTo>
                <a:cubicBezTo>
                  <a:pt x="884" y="1557"/>
                  <a:pt x="889" y="1548"/>
                  <a:pt x="889" y="1529"/>
                </a:cubicBezTo>
                <a:cubicBezTo>
                  <a:pt x="889" y="1509"/>
                  <a:pt x="884" y="1500"/>
                  <a:pt x="876" y="1500"/>
                </a:cubicBezTo>
                <a:close/>
                <a:moveTo>
                  <a:pt x="949" y="1493"/>
                </a:moveTo>
                <a:cubicBezTo>
                  <a:pt x="949" y="1493"/>
                  <a:pt x="949" y="1493"/>
                  <a:pt x="949" y="1493"/>
                </a:cubicBezTo>
                <a:cubicBezTo>
                  <a:pt x="944" y="1493"/>
                  <a:pt x="944" y="1493"/>
                  <a:pt x="944" y="1493"/>
                </a:cubicBezTo>
                <a:cubicBezTo>
                  <a:pt x="941" y="1494"/>
                  <a:pt x="940" y="1496"/>
                  <a:pt x="938" y="1496"/>
                </a:cubicBezTo>
                <a:cubicBezTo>
                  <a:pt x="936" y="1498"/>
                  <a:pt x="934" y="1498"/>
                  <a:pt x="933" y="1499"/>
                </a:cubicBezTo>
                <a:cubicBezTo>
                  <a:pt x="930" y="1500"/>
                  <a:pt x="929" y="1501"/>
                  <a:pt x="927" y="1501"/>
                </a:cubicBezTo>
                <a:cubicBezTo>
                  <a:pt x="925" y="1502"/>
                  <a:pt x="924" y="1503"/>
                  <a:pt x="921" y="1504"/>
                </a:cubicBezTo>
                <a:cubicBezTo>
                  <a:pt x="921" y="1504"/>
                  <a:pt x="921" y="1504"/>
                  <a:pt x="921" y="1514"/>
                </a:cubicBezTo>
                <a:cubicBezTo>
                  <a:pt x="924" y="1513"/>
                  <a:pt x="927" y="1512"/>
                  <a:pt x="930" y="1511"/>
                </a:cubicBezTo>
                <a:cubicBezTo>
                  <a:pt x="933" y="1510"/>
                  <a:pt x="935" y="1509"/>
                  <a:pt x="937" y="1507"/>
                </a:cubicBezTo>
                <a:cubicBezTo>
                  <a:pt x="937" y="1507"/>
                  <a:pt x="937" y="1507"/>
                  <a:pt x="937" y="1566"/>
                </a:cubicBezTo>
                <a:cubicBezTo>
                  <a:pt x="937" y="1566"/>
                  <a:pt x="937" y="1566"/>
                  <a:pt x="949" y="1566"/>
                </a:cubicBezTo>
                <a:cubicBezTo>
                  <a:pt x="949" y="1566"/>
                  <a:pt x="949" y="1566"/>
                  <a:pt x="949" y="1493"/>
                </a:cubicBezTo>
                <a:close/>
                <a:moveTo>
                  <a:pt x="781" y="1566"/>
                </a:moveTo>
                <a:cubicBezTo>
                  <a:pt x="784" y="1547"/>
                  <a:pt x="784" y="1547"/>
                  <a:pt x="784" y="1547"/>
                </a:cubicBezTo>
                <a:cubicBezTo>
                  <a:pt x="775" y="1547"/>
                  <a:pt x="775" y="1547"/>
                  <a:pt x="775" y="1547"/>
                </a:cubicBezTo>
                <a:cubicBezTo>
                  <a:pt x="775" y="1535"/>
                  <a:pt x="775" y="1535"/>
                  <a:pt x="775" y="1535"/>
                </a:cubicBezTo>
                <a:cubicBezTo>
                  <a:pt x="786" y="1535"/>
                  <a:pt x="786" y="1535"/>
                  <a:pt x="786" y="1535"/>
                </a:cubicBezTo>
                <a:cubicBezTo>
                  <a:pt x="787" y="1524"/>
                  <a:pt x="787" y="1524"/>
                  <a:pt x="787" y="1524"/>
                </a:cubicBezTo>
                <a:cubicBezTo>
                  <a:pt x="778" y="1524"/>
                  <a:pt x="778" y="1524"/>
                  <a:pt x="778" y="1524"/>
                </a:cubicBezTo>
                <a:cubicBezTo>
                  <a:pt x="778" y="1512"/>
                  <a:pt x="778" y="1512"/>
                  <a:pt x="778" y="1512"/>
                </a:cubicBezTo>
                <a:cubicBezTo>
                  <a:pt x="789" y="1512"/>
                  <a:pt x="789" y="1512"/>
                  <a:pt x="789" y="1512"/>
                </a:cubicBezTo>
                <a:cubicBezTo>
                  <a:pt x="792" y="1494"/>
                  <a:pt x="792" y="1494"/>
                  <a:pt x="792" y="1494"/>
                </a:cubicBezTo>
                <a:cubicBezTo>
                  <a:pt x="803" y="1494"/>
                  <a:pt x="803" y="1494"/>
                  <a:pt x="803" y="1494"/>
                </a:cubicBezTo>
                <a:cubicBezTo>
                  <a:pt x="800" y="1512"/>
                  <a:pt x="800" y="1512"/>
                  <a:pt x="800" y="1512"/>
                </a:cubicBezTo>
                <a:cubicBezTo>
                  <a:pt x="810" y="1512"/>
                  <a:pt x="810" y="1512"/>
                  <a:pt x="810" y="1512"/>
                </a:cubicBezTo>
                <a:cubicBezTo>
                  <a:pt x="813" y="1494"/>
                  <a:pt x="813" y="1494"/>
                  <a:pt x="813" y="1494"/>
                </a:cubicBezTo>
                <a:cubicBezTo>
                  <a:pt x="824" y="1494"/>
                  <a:pt x="824" y="1494"/>
                  <a:pt x="824" y="1494"/>
                </a:cubicBezTo>
                <a:cubicBezTo>
                  <a:pt x="821" y="1512"/>
                  <a:pt x="821" y="1512"/>
                  <a:pt x="821" y="1512"/>
                </a:cubicBezTo>
                <a:cubicBezTo>
                  <a:pt x="830" y="1512"/>
                  <a:pt x="830" y="1512"/>
                  <a:pt x="830" y="1512"/>
                </a:cubicBezTo>
                <a:cubicBezTo>
                  <a:pt x="830" y="1524"/>
                  <a:pt x="830" y="1524"/>
                  <a:pt x="830" y="1524"/>
                </a:cubicBezTo>
                <a:cubicBezTo>
                  <a:pt x="820" y="1524"/>
                  <a:pt x="820" y="1524"/>
                  <a:pt x="820" y="1524"/>
                </a:cubicBezTo>
                <a:cubicBezTo>
                  <a:pt x="818" y="1535"/>
                  <a:pt x="818" y="1535"/>
                  <a:pt x="818" y="1535"/>
                </a:cubicBezTo>
                <a:cubicBezTo>
                  <a:pt x="827" y="1535"/>
                  <a:pt x="827" y="1535"/>
                  <a:pt x="827" y="1535"/>
                </a:cubicBezTo>
                <a:cubicBezTo>
                  <a:pt x="827" y="1547"/>
                  <a:pt x="827" y="1547"/>
                  <a:pt x="827" y="1547"/>
                </a:cubicBezTo>
                <a:cubicBezTo>
                  <a:pt x="816" y="1547"/>
                  <a:pt x="816" y="1547"/>
                  <a:pt x="816" y="1547"/>
                </a:cubicBezTo>
                <a:cubicBezTo>
                  <a:pt x="813" y="1566"/>
                  <a:pt x="813" y="1566"/>
                  <a:pt x="813" y="1566"/>
                </a:cubicBezTo>
                <a:cubicBezTo>
                  <a:pt x="802" y="1566"/>
                  <a:pt x="802" y="1566"/>
                  <a:pt x="802" y="1566"/>
                </a:cubicBezTo>
                <a:cubicBezTo>
                  <a:pt x="805" y="1547"/>
                  <a:pt x="805" y="1547"/>
                  <a:pt x="805" y="1547"/>
                </a:cubicBezTo>
                <a:cubicBezTo>
                  <a:pt x="795" y="1547"/>
                  <a:pt x="795" y="1547"/>
                  <a:pt x="795" y="1547"/>
                </a:cubicBezTo>
                <a:cubicBezTo>
                  <a:pt x="792" y="1566"/>
                  <a:pt x="792" y="1566"/>
                  <a:pt x="792" y="1566"/>
                </a:cubicBezTo>
                <a:cubicBezTo>
                  <a:pt x="781" y="1566"/>
                  <a:pt x="781" y="1566"/>
                  <a:pt x="781" y="1566"/>
                </a:cubicBezTo>
                <a:cubicBezTo>
                  <a:pt x="781" y="1566"/>
                  <a:pt x="781" y="1566"/>
                  <a:pt x="781" y="1566"/>
                </a:cubicBezTo>
                <a:close/>
                <a:moveTo>
                  <a:pt x="807" y="1535"/>
                </a:moveTo>
                <a:cubicBezTo>
                  <a:pt x="808" y="1524"/>
                  <a:pt x="808" y="1524"/>
                  <a:pt x="808" y="1524"/>
                </a:cubicBezTo>
                <a:cubicBezTo>
                  <a:pt x="799" y="1524"/>
                  <a:pt x="799" y="1524"/>
                  <a:pt x="799" y="1524"/>
                </a:cubicBezTo>
                <a:cubicBezTo>
                  <a:pt x="797" y="1535"/>
                  <a:pt x="797" y="1535"/>
                  <a:pt x="797" y="1535"/>
                </a:cubicBezTo>
                <a:cubicBezTo>
                  <a:pt x="807" y="1535"/>
                  <a:pt x="807" y="1535"/>
                  <a:pt x="807" y="1535"/>
                </a:cubicBezTo>
                <a:cubicBezTo>
                  <a:pt x="807" y="1535"/>
                  <a:pt x="807" y="1535"/>
                  <a:pt x="807" y="1535"/>
                </a:cubicBezTo>
                <a:close/>
                <a:moveTo>
                  <a:pt x="325" y="1493"/>
                </a:moveTo>
                <a:cubicBezTo>
                  <a:pt x="325" y="1493"/>
                  <a:pt x="325" y="1493"/>
                  <a:pt x="325" y="1493"/>
                </a:cubicBezTo>
                <a:cubicBezTo>
                  <a:pt x="320" y="1493"/>
                  <a:pt x="320" y="1493"/>
                  <a:pt x="320" y="1493"/>
                </a:cubicBezTo>
                <a:cubicBezTo>
                  <a:pt x="317" y="1494"/>
                  <a:pt x="316" y="1496"/>
                  <a:pt x="314" y="1496"/>
                </a:cubicBezTo>
                <a:cubicBezTo>
                  <a:pt x="312" y="1498"/>
                  <a:pt x="311" y="1498"/>
                  <a:pt x="309" y="1499"/>
                </a:cubicBezTo>
                <a:cubicBezTo>
                  <a:pt x="307" y="1501"/>
                  <a:pt x="305" y="1501"/>
                  <a:pt x="303" y="1502"/>
                </a:cubicBezTo>
                <a:cubicBezTo>
                  <a:pt x="301" y="1503"/>
                  <a:pt x="300" y="1504"/>
                  <a:pt x="297" y="1504"/>
                </a:cubicBezTo>
                <a:cubicBezTo>
                  <a:pt x="297" y="1504"/>
                  <a:pt x="297" y="1504"/>
                  <a:pt x="297" y="1514"/>
                </a:cubicBezTo>
                <a:cubicBezTo>
                  <a:pt x="300" y="1513"/>
                  <a:pt x="303" y="1512"/>
                  <a:pt x="306" y="1511"/>
                </a:cubicBezTo>
                <a:cubicBezTo>
                  <a:pt x="309" y="1510"/>
                  <a:pt x="311" y="1509"/>
                  <a:pt x="313" y="1507"/>
                </a:cubicBezTo>
                <a:cubicBezTo>
                  <a:pt x="313" y="1507"/>
                  <a:pt x="313" y="1507"/>
                  <a:pt x="313" y="1566"/>
                </a:cubicBezTo>
                <a:cubicBezTo>
                  <a:pt x="313" y="1566"/>
                  <a:pt x="313" y="1566"/>
                  <a:pt x="325" y="1566"/>
                </a:cubicBezTo>
                <a:cubicBezTo>
                  <a:pt x="325" y="1566"/>
                  <a:pt x="325" y="1566"/>
                  <a:pt x="325" y="1493"/>
                </a:cubicBezTo>
                <a:close/>
                <a:moveTo>
                  <a:pt x="372" y="1493"/>
                </a:moveTo>
                <a:cubicBezTo>
                  <a:pt x="372" y="1493"/>
                  <a:pt x="372" y="1493"/>
                  <a:pt x="372" y="1493"/>
                </a:cubicBezTo>
                <a:cubicBezTo>
                  <a:pt x="367" y="1493"/>
                  <a:pt x="367" y="1493"/>
                  <a:pt x="367" y="1493"/>
                </a:cubicBezTo>
                <a:cubicBezTo>
                  <a:pt x="365" y="1494"/>
                  <a:pt x="363" y="1496"/>
                  <a:pt x="361" y="1496"/>
                </a:cubicBezTo>
                <a:cubicBezTo>
                  <a:pt x="360" y="1498"/>
                  <a:pt x="358" y="1498"/>
                  <a:pt x="356" y="1499"/>
                </a:cubicBezTo>
                <a:cubicBezTo>
                  <a:pt x="355" y="1501"/>
                  <a:pt x="352" y="1501"/>
                  <a:pt x="351" y="1502"/>
                </a:cubicBezTo>
                <a:cubicBezTo>
                  <a:pt x="349" y="1503"/>
                  <a:pt x="347" y="1504"/>
                  <a:pt x="345" y="1504"/>
                </a:cubicBezTo>
                <a:cubicBezTo>
                  <a:pt x="345" y="1504"/>
                  <a:pt x="345" y="1504"/>
                  <a:pt x="345" y="1514"/>
                </a:cubicBezTo>
                <a:cubicBezTo>
                  <a:pt x="348" y="1513"/>
                  <a:pt x="351" y="1512"/>
                  <a:pt x="353" y="1511"/>
                </a:cubicBezTo>
                <a:cubicBezTo>
                  <a:pt x="356" y="1510"/>
                  <a:pt x="358" y="1509"/>
                  <a:pt x="361" y="1507"/>
                </a:cubicBezTo>
                <a:cubicBezTo>
                  <a:pt x="361" y="1507"/>
                  <a:pt x="361" y="1507"/>
                  <a:pt x="361" y="1566"/>
                </a:cubicBezTo>
                <a:cubicBezTo>
                  <a:pt x="361" y="1566"/>
                  <a:pt x="361" y="1566"/>
                  <a:pt x="372" y="1566"/>
                </a:cubicBezTo>
                <a:cubicBezTo>
                  <a:pt x="372" y="1566"/>
                  <a:pt x="372" y="1566"/>
                  <a:pt x="372" y="1493"/>
                </a:cubicBezTo>
                <a:close/>
                <a:moveTo>
                  <a:pt x="419" y="1493"/>
                </a:moveTo>
                <a:cubicBezTo>
                  <a:pt x="419" y="1493"/>
                  <a:pt x="419" y="1493"/>
                  <a:pt x="419" y="1493"/>
                </a:cubicBezTo>
                <a:cubicBezTo>
                  <a:pt x="414" y="1493"/>
                  <a:pt x="414" y="1493"/>
                  <a:pt x="414" y="1493"/>
                </a:cubicBezTo>
                <a:cubicBezTo>
                  <a:pt x="412" y="1494"/>
                  <a:pt x="411" y="1496"/>
                  <a:pt x="409" y="1496"/>
                </a:cubicBezTo>
                <a:cubicBezTo>
                  <a:pt x="407" y="1498"/>
                  <a:pt x="405" y="1498"/>
                  <a:pt x="403" y="1499"/>
                </a:cubicBezTo>
                <a:cubicBezTo>
                  <a:pt x="401" y="1500"/>
                  <a:pt x="400" y="1501"/>
                  <a:pt x="398" y="1501"/>
                </a:cubicBezTo>
                <a:cubicBezTo>
                  <a:pt x="396" y="1502"/>
                  <a:pt x="394" y="1503"/>
                  <a:pt x="392" y="1504"/>
                </a:cubicBezTo>
                <a:cubicBezTo>
                  <a:pt x="392" y="1504"/>
                  <a:pt x="392" y="1504"/>
                  <a:pt x="392" y="1514"/>
                </a:cubicBezTo>
                <a:cubicBezTo>
                  <a:pt x="395" y="1513"/>
                  <a:pt x="398" y="1512"/>
                  <a:pt x="401" y="1511"/>
                </a:cubicBezTo>
                <a:cubicBezTo>
                  <a:pt x="403" y="1510"/>
                  <a:pt x="406" y="1509"/>
                  <a:pt x="407" y="1507"/>
                </a:cubicBezTo>
                <a:cubicBezTo>
                  <a:pt x="407" y="1507"/>
                  <a:pt x="407" y="1507"/>
                  <a:pt x="407" y="1566"/>
                </a:cubicBezTo>
                <a:cubicBezTo>
                  <a:pt x="407" y="1566"/>
                  <a:pt x="407" y="1566"/>
                  <a:pt x="419" y="1566"/>
                </a:cubicBezTo>
                <a:cubicBezTo>
                  <a:pt x="419" y="1566"/>
                  <a:pt x="419" y="1566"/>
                  <a:pt x="419" y="1493"/>
                </a:cubicBezTo>
                <a:close/>
                <a:moveTo>
                  <a:pt x="626" y="1397"/>
                </a:moveTo>
                <a:cubicBezTo>
                  <a:pt x="626" y="1397"/>
                  <a:pt x="626" y="1397"/>
                  <a:pt x="626" y="1397"/>
                </a:cubicBezTo>
                <a:cubicBezTo>
                  <a:pt x="621" y="1397"/>
                  <a:pt x="621" y="1397"/>
                  <a:pt x="621" y="1397"/>
                </a:cubicBezTo>
                <a:cubicBezTo>
                  <a:pt x="619" y="1398"/>
                  <a:pt x="617" y="1400"/>
                  <a:pt x="615" y="1400"/>
                </a:cubicBezTo>
                <a:cubicBezTo>
                  <a:pt x="613" y="1402"/>
                  <a:pt x="611" y="1402"/>
                  <a:pt x="610" y="1403"/>
                </a:cubicBezTo>
                <a:cubicBezTo>
                  <a:pt x="608" y="1404"/>
                  <a:pt x="606" y="1405"/>
                  <a:pt x="605" y="1405"/>
                </a:cubicBezTo>
                <a:cubicBezTo>
                  <a:pt x="603" y="1406"/>
                  <a:pt x="601" y="1407"/>
                  <a:pt x="599" y="1408"/>
                </a:cubicBezTo>
                <a:cubicBezTo>
                  <a:pt x="599" y="1408"/>
                  <a:pt x="599" y="1408"/>
                  <a:pt x="599" y="1418"/>
                </a:cubicBezTo>
                <a:cubicBezTo>
                  <a:pt x="602" y="1417"/>
                  <a:pt x="605" y="1416"/>
                  <a:pt x="607" y="1415"/>
                </a:cubicBezTo>
                <a:cubicBezTo>
                  <a:pt x="610" y="1414"/>
                  <a:pt x="612" y="1413"/>
                  <a:pt x="614" y="1411"/>
                </a:cubicBezTo>
                <a:cubicBezTo>
                  <a:pt x="614" y="1411"/>
                  <a:pt x="614" y="1411"/>
                  <a:pt x="614" y="1470"/>
                </a:cubicBezTo>
                <a:cubicBezTo>
                  <a:pt x="614" y="1470"/>
                  <a:pt x="614" y="1470"/>
                  <a:pt x="626" y="1470"/>
                </a:cubicBezTo>
                <a:cubicBezTo>
                  <a:pt x="626" y="1470"/>
                  <a:pt x="626" y="1470"/>
                  <a:pt x="626" y="1397"/>
                </a:cubicBezTo>
                <a:close/>
                <a:moveTo>
                  <a:pt x="672" y="1397"/>
                </a:moveTo>
                <a:cubicBezTo>
                  <a:pt x="672" y="1397"/>
                  <a:pt x="672" y="1397"/>
                  <a:pt x="672" y="1397"/>
                </a:cubicBezTo>
                <a:cubicBezTo>
                  <a:pt x="667" y="1397"/>
                  <a:pt x="667" y="1397"/>
                  <a:pt x="667" y="1397"/>
                </a:cubicBezTo>
                <a:cubicBezTo>
                  <a:pt x="665" y="1398"/>
                  <a:pt x="664" y="1400"/>
                  <a:pt x="662" y="1400"/>
                </a:cubicBezTo>
                <a:cubicBezTo>
                  <a:pt x="660" y="1402"/>
                  <a:pt x="658" y="1402"/>
                  <a:pt x="657" y="1403"/>
                </a:cubicBezTo>
                <a:cubicBezTo>
                  <a:pt x="655" y="1405"/>
                  <a:pt x="653" y="1405"/>
                  <a:pt x="652" y="1406"/>
                </a:cubicBezTo>
                <a:cubicBezTo>
                  <a:pt x="650" y="1407"/>
                  <a:pt x="648" y="1408"/>
                  <a:pt x="646" y="1408"/>
                </a:cubicBezTo>
                <a:cubicBezTo>
                  <a:pt x="646" y="1408"/>
                  <a:pt x="646" y="1408"/>
                  <a:pt x="646" y="1418"/>
                </a:cubicBezTo>
                <a:cubicBezTo>
                  <a:pt x="649" y="1417"/>
                  <a:pt x="652" y="1416"/>
                  <a:pt x="654" y="1415"/>
                </a:cubicBezTo>
                <a:cubicBezTo>
                  <a:pt x="657" y="1414"/>
                  <a:pt x="659" y="1413"/>
                  <a:pt x="661" y="1411"/>
                </a:cubicBezTo>
                <a:cubicBezTo>
                  <a:pt x="661" y="1411"/>
                  <a:pt x="661" y="1411"/>
                  <a:pt x="661" y="1470"/>
                </a:cubicBezTo>
                <a:cubicBezTo>
                  <a:pt x="661" y="1470"/>
                  <a:pt x="661" y="1470"/>
                  <a:pt x="672" y="1470"/>
                </a:cubicBezTo>
                <a:cubicBezTo>
                  <a:pt x="672" y="1470"/>
                  <a:pt x="672" y="1470"/>
                  <a:pt x="672" y="1397"/>
                </a:cubicBezTo>
                <a:close/>
                <a:moveTo>
                  <a:pt x="718" y="1397"/>
                </a:moveTo>
                <a:cubicBezTo>
                  <a:pt x="718" y="1397"/>
                  <a:pt x="718" y="1397"/>
                  <a:pt x="718" y="1397"/>
                </a:cubicBezTo>
                <a:cubicBezTo>
                  <a:pt x="714" y="1397"/>
                  <a:pt x="714" y="1397"/>
                  <a:pt x="714" y="1397"/>
                </a:cubicBezTo>
                <a:cubicBezTo>
                  <a:pt x="712" y="1398"/>
                  <a:pt x="710" y="1400"/>
                  <a:pt x="708" y="1400"/>
                </a:cubicBezTo>
                <a:cubicBezTo>
                  <a:pt x="707" y="1402"/>
                  <a:pt x="704" y="1402"/>
                  <a:pt x="703" y="1403"/>
                </a:cubicBezTo>
                <a:cubicBezTo>
                  <a:pt x="701" y="1405"/>
                  <a:pt x="699" y="1405"/>
                  <a:pt x="697" y="1406"/>
                </a:cubicBezTo>
                <a:cubicBezTo>
                  <a:pt x="696" y="1407"/>
                  <a:pt x="693" y="1408"/>
                  <a:pt x="692" y="1408"/>
                </a:cubicBezTo>
                <a:cubicBezTo>
                  <a:pt x="692" y="1408"/>
                  <a:pt x="692" y="1408"/>
                  <a:pt x="692" y="1418"/>
                </a:cubicBezTo>
                <a:cubicBezTo>
                  <a:pt x="695" y="1417"/>
                  <a:pt x="698" y="1416"/>
                  <a:pt x="700" y="1415"/>
                </a:cubicBezTo>
                <a:cubicBezTo>
                  <a:pt x="702" y="1414"/>
                  <a:pt x="705" y="1413"/>
                  <a:pt x="707" y="1411"/>
                </a:cubicBezTo>
                <a:cubicBezTo>
                  <a:pt x="707" y="1411"/>
                  <a:pt x="707" y="1411"/>
                  <a:pt x="707" y="1470"/>
                </a:cubicBezTo>
                <a:cubicBezTo>
                  <a:pt x="707" y="1470"/>
                  <a:pt x="707" y="1470"/>
                  <a:pt x="718" y="1470"/>
                </a:cubicBezTo>
                <a:cubicBezTo>
                  <a:pt x="718" y="1470"/>
                  <a:pt x="718" y="1470"/>
                  <a:pt x="718" y="1397"/>
                </a:cubicBezTo>
                <a:close/>
                <a:moveTo>
                  <a:pt x="765" y="1397"/>
                </a:moveTo>
                <a:cubicBezTo>
                  <a:pt x="765" y="1397"/>
                  <a:pt x="765" y="1397"/>
                  <a:pt x="765" y="1397"/>
                </a:cubicBezTo>
                <a:cubicBezTo>
                  <a:pt x="760" y="1397"/>
                  <a:pt x="760" y="1397"/>
                  <a:pt x="760" y="1397"/>
                </a:cubicBezTo>
                <a:cubicBezTo>
                  <a:pt x="758" y="1398"/>
                  <a:pt x="756" y="1400"/>
                  <a:pt x="754" y="1400"/>
                </a:cubicBezTo>
                <a:cubicBezTo>
                  <a:pt x="753" y="1402"/>
                  <a:pt x="751" y="1402"/>
                  <a:pt x="749" y="1403"/>
                </a:cubicBezTo>
                <a:cubicBezTo>
                  <a:pt x="748" y="1405"/>
                  <a:pt x="745" y="1405"/>
                  <a:pt x="744" y="1406"/>
                </a:cubicBezTo>
                <a:cubicBezTo>
                  <a:pt x="742" y="1407"/>
                  <a:pt x="740" y="1408"/>
                  <a:pt x="738" y="1408"/>
                </a:cubicBezTo>
                <a:cubicBezTo>
                  <a:pt x="738" y="1408"/>
                  <a:pt x="738" y="1408"/>
                  <a:pt x="738" y="1418"/>
                </a:cubicBezTo>
                <a:cubicBezTo>
                  <a:pt x="741" y="1417"/>
                  <a:pt x="744" y="1416"/>
                  <a:pt x="746" y="1415"/>
                </a:cubicBezTo>
                <a:cubicBezTo>
                  <a:pt x="749" y="1414"/>
                  <a:pt x="751" y="1413"/>
                  <a:pt x="753" y="1411"/>
                </a:cubicBezTo>
                <a:cubicBezTo>
                  <a:pt x="753" y="1411"/>
                  <a:pt x="753" y="1411"/>
                  <a:pt x="753" y="1470"/>
                </a:cubicBezTo>
                <a:cubicBezTo>
                  <a:pt x="753" y="1470"/>
                  <a:pt x="753" y="1470"/>
                  <a:pt x="765" y="1470"/>
                </a:cubicBezTo>
                <a:cubicBezTo>
                  <a:pt x="765" y="1470"/>
                  <a:pt x="765" y="1470"/>
                  <a:pt x="765" y="1397"/>
                </a:cubicBezTo>
                <a:close/>
                <a:moveTo>
                  <a:pt x="887" y="1397"/>
                </a:moveTo>
                <a:cubicBezTo>
                  <a:pt x="887" y="1397"/>
                  <a:pt x="887" y="1397"/>
                  <a:pt x="887" y="1397"/>
                </a:cubicBezTo>
                <a:cubicBezTo>
                  <a:pt x="882" y="1397"/>
                  <a:pt x="882" y="1397"/>
                  <a:pt x="882" y="1397"/>
                </a:cubicBezTo>
                <a:cubicBezTo>
                  <a:pt x="880" y="1398"/>
                  <a:pt x="878" y="1400"/>
                  <a:pt x="876" y="1400"/>
                </a:cubicBezTo>
                <a:cubicBezTo>
                  <a:pt x="875" y="1402"/>
                  <a:pt x="873" y="1402"/>
                  <a:pt x="871" y="1403"/>
                </a:cubicBezTo>
                <a:cubicBezTo>
                  <a:pt x="869" y="1405"/>
                  <a:pt x="867" y="1405"/>
                  <a:pt x="866" y="1406"/>
                </a:cubicBezTo>
                <a:cubicBezTo>
                  <a:pt x="864" y="1407"/>
                  <a:pt x="862" y="1408"/>
                  <a:pt x="860" y="1408"/>
                </a:cubicBezTo>
                <a:cubicBezTo>
                  <a:pt x="860" y="1408"/>
                  <a:pt x="860" y="1408"/>
                  <a:pt x="860" y="1418"/>
                </a:cubicBezTo>
                <a:cubicBezTo>
                  <a:pt x="863" y="1417"/>
                  <a:pt x="866" y="1416"/>
                  <a:pt x="869" y="1415"/>
                </a:cubicBezTo>
                <a:cubicBezTo>
                  <a:pt x="871" y="1414"/>
                  <a:pt x="873" y="1413"/>
                  <a:pt x="875" y="1411"/>
                </a:cubicBezTo>
                <a:cubicBezTo>
                  <a:pt x="875" y="1411"/>
                  <a:pt x="875" y="1411"/>
                  <a:pt x="875" y="1470"/>
                </a:cubicBezTo>
                <a:cubicBezTo>
                  <a:pt x="875" y="1470"/>
                  <a:pt x="875" y="1470"/>
                  <a:pt x="887" y="1470"/>
                </a:cubicBezTo>
                <a:cubicBezTo>
                  <a:pt x="887" y="1470"/>
                  <a:pt x="887" y="1470"/>
                  <a:pt x="887" y="1397"/>
                </a:cubicBezTo>
                <a:close/>
                <a:moveTo>
                  <a:pt x="934" y="1397"/>
                </a:moveTo>
                <a:cubicBezTo>
                  <a:pt x="934" y="1397"/>
                  <a:pt x="934" y="1397"/>
                  <a:pt x="934" y="1397"/>
                </a:cubicBezTo>
                <a:cubicBezTo>
                  <a:pt x="929" y="1397"/>
                  <a:pt x="929" y="1397"/>
                  <a:pt x="929" y="1397"/>
                </a:cubicBezTo>
                <a:cubicBezTo>
                  <a:pt x="927" y="1398"/>
                  <a:pt x="925" y="1400"/>
                  <a:pt x="923" y="1400"/>
                </a:cubicBezTo>
                <a:cubicBezTo>
                  <a:pt x="921" y="1402"/>
                  <a:pt x="919" y="1402"/>
                  <a:pt x="918" y="1403"/>
                </a:cubicBezTo>
                <a:cubicBezTo>
                  <a:pt x="916" y="1405"/>
                  <a:pt x="914" y="1405"/>
                  <a:pt x="912" y="1406"/>
                </a:cubicBezTo>
                <a:cubicBezTo>
                  <a:pt x="910" y="1407"/>
                  <a:pt x="909" y="1408"/>
                  <a:pt x="907" y="1408"/>
                </a:cubicBezTo>
                <a:cubicBezTo>
                  <a:pt x="907" y="1408"/>
                  <a:pt x="907" y="1408"/>
                  <a:pt x="907" y="1418"/>
                </a:cubicBezTo>
                <a:cubicBezTo>
                  <a:pt x="910" y="1417"/>
                  <a:pt x="912" y="1416"/>
                  <a:pt x="915" y="1415"/>
                </a:cubicBezTo>
                <a:cubicBezTo>
                  <a:pt x="918" y="1414"/>
                  <a:pt x="920" y="1413"/>
                  <a:pt x="922" y="1411"/>
                </a:cubicBezTo>
                <a:cubicBezTo>
                  <a:pt x="922" y="1411"/>
                  <a:pt x="922" y="1411"/>
                  <a:pt x="922" y="1470"/>
                </a:cubicBezTo>
                <a:cubicBezTo>
                  <a:pt x="922" y="1470"/>
                  <a:pt x="922" y="1470"/>
                  <a:pt x="934" y="1470"/>
                </a:cubicBezTo>
                <a:cubicBezTo>
                  <a:pt x="934" y="1470"/>
                  <a:pt x="934" y="1470"/>
                  <a:pt x="934" y="1397"/>
                </a:cubicBezTo>
                <a:close/>
                <a:moveTo>
                  <a:pt x="786" y="1429"/>
                </a:moveTo>
                <a:cubicBezTo>
                  <a:pt x="786" y="1429"/>
                  <a:pt x="786" y="1429"/>
                  <a:pt x="786" y="1429"/>
                </a:cubicBezTo>
                <a:cubicBezTo>
                  <a:pt x="785" y="1437"/>
                  <a:pt x="785" y="1437"/>
                  <a:pt x="785" y="1437"/>
                </a:cubicBezTo>
                <a:cubicBezTo>
                  <a:pt x="791" y="1438"/>
                  <a:pt x="792" y="1441"/>
                  <a:pt x="792" y="1443"/>
                </a:cubicBezTo>
                <a:cubicBezTo>
                  <a:pt x="792" y="1445"/>
                  <a:pt x="792" y="1448"/>
                  <a:pt x="792" y="1450"/>
                </a:cubicBezTo>
                <a:cubicBezTo>
                  <a:pt x="791" y="1453"/>
                  <a:pt x="791" y="1455"/>
                  <a:pt x="791" y="1457"/>
                </a:cubicBezTo>
                <a:cubicBezTo>
                  <a:pt x="791" y="1467"/>
                  <a:pt x="797" y="1470"/>
                  <a:pt x="805" y="1470"/>
                </a:cubicBezTo>
                <a:cubicBezTo>
                  <a:pt x="805" y="1470"/>
                  <a:pt x="805" y="1470"/>
                  <a:pt x="809" y="1470"/>
                </a:cubicBezTo>
                <a:cubicBezTo>
                  <a:pt x="809" y="1470"/>
                  <a:pt x="809" y="1470"/>
                  <a:pt x="809" y="1461"/>
                </a:cubicBezTo>
                <a:cubicBezTo>
                  <a:pt x="809" y="1461"/>
                  <a:pt x="809" y="1461"/>
                  <a:pt x="808" y="1461"/>
                </a:cubicBezTo>
                <a:cubicBezTo>
                  <a:pt x="804" y="1461"/>
                  <a:pt x="803" y="1459"/>
                  <a:pt x="803" y="1455"/>
                </a:cubicBezTo>
                <a:cubicBezTo>
                  <a:pt x="803" y="1454"/>
                  <a:pt x="803" y="1452"/>
                  <a:pt x="803" y="1450"/>
                </a:cubicBezTo>
                <a:cubicBezTo>
                  <a:pt x="803" y="1449"/>
                  <a:pt x="804" y="1447"/>
                  <a:pt x="804" y="1444"/>
                </a:cubicBezTo>
                <a:cubicBezTo>
                  <a:pt x="804" y="1437"/>
                  <a:pt x="801" y="1434"/>
                  <a:pt x="795" y="1433"/>
                </a:cubicBezTo>
                <a:cubicBezTo>
                  <a:pt x="795" y="1433"/>
                  <a:pt x="795" y="1433"/>
                  <a:pt x="795" y="1433"/>
                </a:cubicBezTo>
                <a:cubicBezTo>
                  <a:pt x="801" y="1432"/>
                  <a:pt x="804" y="1429"/>
                  <a:pt x="804" y="1422"/>
                </a:cubicBezTo>
                <a:cubicBezTo>
                  <a:pt x="804" y="1419"/>
                  <a:pt x="803" y="1417"/>
                  <a:pt x="803" y="1416"/>
                </a:cubicBezTo>
                <a:cubicBezTo>
                  <a:pt x="803" y="1414"/>
                  <a:pt x="803" y="1412"/>
                  <a:pt x="803" y="1411"/>
                </a:cubicBezTo>
                <a:cubicBezTo>
                  <a:pt x="803" y="1407"/>
                  <a:pt x="804" y="1405"/>
                  <a:pt x="808" y="1405"/>
                </a:cubicBezTo>
                <a:cubicBezTo>
                  <a:pt x="808" y="1405"/>
                  <a:pt x="808" y="1405"/>
                  <a:pt x="809" y="1405"/>
                </a:cubicBezTo>
                <a:cubicBezTo>
                  <a:pt x="809" y="1405"/>
                  <a:pt x="809" y="1405"/>
                  <a:pt x="809" y="1396"/>
                </a:cubicBezTo>
                <a:cubicBezTo>
                  <a:pt x="809" y="1396"/>
                  <a:pt x="809" y="1396"/>
                  <a:pt x="805" y="1396"/>
                </a:cubicBezTo>
                <a:cubicBezTo>
                  <a:pt x="797" y="1396"/>
                  <a:pt x="791" y="1400"/>
                  <a:pt x="791" y="1408"/>
                </a:cubicBezTo>
                <a:cubicBezTo>
                  <a:pt x="791" y="1411"/>
                  <a:pt x="791" y="1413"/>
                  <a:pt x="791" y="1416"/>
                </a:cubicBezTo>
                <a:cubicBezTo>
                  <a:pt x="792" y="1418"/>
                  <a:pt x="792" y="1421"/>
                  <a:pt x="792" y="1423"/>
                </a:cubicBezTo>
                <a:cubicBezTo>
                  <a:pt x="792" y="1425"/>
                  <a:pt x="791" y="1429"/>
                  <a:pt x="786" y="1429"/>
                </a:cubicBezTo>
                <a:close/>
                <a:moveTo>
                  <a:pt x="840" y="1437"/>
                </a:moveTo>
                <a:cubicBezTo>
                  <a:pt x="840" y="1437"/>
                  <a:pt x="840" y="1437"/>
                  <a:pt x="840" y="1437"/>
                </a:cubicBezTo>
                <a:cubicBezTo>
                  <a:pt x="840" y="1429"/>
                  <a:pt x="840" y="1429"/>
                  <a:pt x="840" y="1429"/>
                </a:cubicBezTo>
                <a:cubicBezTo>
                  <a:pt x="834" y="1429"/>
                  <a:pt x="833" y="1425"/>
                  <a:pt x="833" y="1423"/>
                </a:cubicBezTo>
                <a:cubicBezTo>
                  <a:pt x="833" y="1421"/>
                  <a:pt x="833" y="1418"/>
                  <a:pt x="834" y="1416"/>
                </a:cubicBezTo>
                <a:cubicBezTo>
                  <a:pt x="834" y="1413"/>
                  <a:pt x="834" y="1411"/>
                  <a:pt x="834" y="1408"/>
                </a:cubicBezTo>
                <a:cubicBezTo>
                  <a:pt x="834" y="1400"/>
                  <a:pt x="829" y="1396"/>
                  <a:pt x="820" y="1396"/>
                </a:cubicBezTo>
                <a:cubicBezTo>
                  <a:pt x="820" y="1396"/>
                  <a:pt x="820" y="1396"/>
                  <a:pt x="816" y="1396"/>
                </a:cubicBezTo>
                <a:cubicBezTo>
                  <a:pt x="816" y="1396"/>
                  <a:pt x="816" y="1396"/>
                  <a:pt x="816" y="1405"/>
                </a:cubicBezTo>
                <a:cubicBezTo>
                  <a:pt x="816" y="1405"/>
                  <a:pt x="816" y="1405"/>
                  <a:pt x="817" y="1405"/>
                </a:cubicBezTo>
                <a:cubicBezTo>
                  <a:pt x="821" y="1405"/>
                  <a:pt x="822" y="1407"/>
                  <a:pt x="822" y="1411"/>
                </a:cubicBezTo>
                <a:cubicBezTo>
                  <a:pt x="822" y="1412"/>
                  <a:pt x="822" y="1414"/>
                  <a:pt x="822" y="1416"/>
                </a:cubicBezTo>
                <a:cubicBezTo>
                  <a:pt x="822" y="1417"/>
                  <a:pt x="822" y="1419"/>
                  <a:pt x="822" y="1422"/>
                </a:cubicBezTo>
                <a:cubicBezTo>
                  <a:pt x="822" y="1429"/>
                  <a:pt x="824" y="1432"/>
                  <a:pt x="830" y="1433"/>
                </a:cubicBezTo>
                <a:cubicBezTo>
                  <a:pt x="830" y="1433"/>
                  <a:pt x="830" y="1433"/>
                  <a:pt x="830" y="1433"/>
                </a:cubicBezTo>
                <a:cubicBezTo>
                  <a:pt x="824" y="1434"/>
                  <a:pt x="822" y="1437"/>
                  <a:pt x="822" y="1444"/>
                </a:cubicBezTo>
                <a:cubicBezTo>
                  <a:pt x="822" y="1447"/>
                  <a:pt x="822" y="1449"/>
                  <a:pt x="822" y="1450"/>
                </a:cubicBezTo>
                <a:cubicBezTo>
                  <a:pt x="822" y="1452"/>
                  <a:pt x="822" y="1454"/>
                  <a:pt x="822" y="1455"/>
                </a:cubicBezTo>
                <a:cubicBezTo>
                  <a:pt x="822" y="1459"/>
                  <a:pt x="821" y="1461"/>
                  <a:pt x="817" y="1461"/>
                </a:cubicBezTo>
                <a:cubicBezTo>
                  <a:pt x="817" y="1461"/>
                  <a:pt x="817" y="1461"/>
                  <a:pt x="816" y="1461"/>
                </a:cubicBezTo>
                <a:cubicBezTo>
                  <a:pt x="816" y="1461"/>
                  <a:pt x="816" y="1461"/>
                  <a:pt x="816" y="1470"/>
                </a:cubicBezTo>
                <a:cubicBezTo>
                  <a:pt x="816" y="1470"/>
                  <a:pt x="816" y="1470"/>
                  <a:pt x="820" y="1470"/>
                </a:cubicBezTo>
                <a:cubicBezTo>
                  <a:pt x="828" y="1470"/>
                  <a:pt x="834" y="1467"/>
                  <a:pt x="834" y="1457"/>
                </a:cubicBezTo>
                <a:cubicBezTo>
                  <a:pt x="834" y="1455"/>
                  <a:pt x="834" y="1453"/>
                  <a:pt x="834" y="1450"/>
                </a:cubicBezTo>
                <a:cubicBezTo>
                  <a:pt x="833" y="1448"/>
                  <a:pt x="833" y="1445"/>
                  <a:pt x="833" y="1443"/>
                </a:cubicBezTo>
                <a:cubicBezTo>
                  <a:pt x="833" y="1441"/>
                  <a:pt x="834" y="1438"/>
                  <a:pt x="840" y="1437"/>
                </a:cubicBezTo>
                <a:close/>
                <a:moveTo>
                  <a:pt x="226" y="1470"/>
                </a:moveTo>
                <a:cubicBezTo>
                  <a:pt x="219" y="1470"/>
                  <a:pt x="212" y="1467"/>
                  <a:pt x="208" y="1461"/>
                </a:cubicBezTo>
                <a:cubicBezTo>
                  <a:pt x="204" y="1455"/>
                  <a:pt x="202" y="1446"/>
                  <a:pt x="202" y="1434"/>
                </a:cubicBezTo>
                <a:cubicBezTo>
                  <a:pt x="202" y="1421"/>
                  <a:pt x="204" y="1411"/>
                  <a:pt x="209" y="1404"/>
                </a:cubicBezTo>
                <a:cubicBezTo>
                  <a:pt x="213" y="1398"/>
                  <a:pt x="219" y="1394"/>
                  <a:pt x="228" y="1394"/>
                </a:cubicBezTo>
                <a:cubicBezTo>
                  <a:pt x="244" y="1394"/>
                  <a:pt x="252" y="1407"/>
                  <a:pt x="252" y="1432"/>
                </a:cubicBezTo>
                <a:cubicBezTo>
                  <a:pt x="252" y="1445"/>
                  <a:pt x="250" y="1454"/>
                  <a:pt x="245" y="1461"/>
                </a:cubicBezTo>
                <a:cubicBezTo>
                  <a:pt x="241" y="1467"/>
                  <a:pt x="234" y="1470"/>
                  <a:pt x="226" y="1470"/>
                </a:cubicBezTo>
                <a:close/>
                <a:moveTo>
                  <a:pt x="227" y="1404"/>
                </a:moveTo>
                <a:cubicBezTo>
                  <a:pt x="218" y="1404"/>
                  <a:pt x="214" y="1414"/>
                  <a:pt x="214" y="1434"/>
                </a:cubicBezTo>
                <a:cubicBezTo>
                  <a:pt x="214" y="1452"/>
                  <a:pt x="218" y="1461"/>
                  <a:pt x="227" y="1461"/>
                </a:cubicBezTo>
                <a:cubicBezTo>
                  <a:pt x="236" y="1461"/>
                  <a:pt x="240" y="1452"/>
                  <a:pt x="240" y="1433"/>
                </a:cubicBezTo>
                <a:cubicBezTo>
                  <a:pt x="240" y="1413"/>
                  <a:pt x="236" y="1404"/>
                  <a:pt x="227" y="1404"/>
                </a:cubicBezTo>
                <a:close/>
                <a:moveTo>
                  <a:pt x="296" y="1470"/>
                </a:moveTo>
                <a:cubicBezTo>
                  <a:pt x="289" y="1470"/>
                  <a:pt x="282" y="1467"/>
                  <a:pt x="279" y="1461"/>
                </a:cubicBezTo>
                <a:cubicBezTo>
                  <a:pt x="274" y="1455"/>
                  <a:pt x="272" y="1446"/>
                  <a:pt x="272" y="1434"/>
                </a:cubicBezTo>
                <a:cubicBezTo>
                  <a:pt x="272" y="1421"/>
                  <a:pt x="274" y="1411"/>
                  <a:pt x="279" y="1404"/>
                </a:cubicBezTo>
                <a:cubicBezTo>
                  <a:pt x="283" y="1398"/>
                  <a:pt x="290" y="1394"/>
                  <a:pt x="298" y="1394"/>
                </a:cubicBezTo>
                <a:cubicBezTo>
                  <a:pt x="314" y="1394"/>
                  <a:pt x="322" y="1407"/>
                  <a:pt x="322" y="1432"/>
                </a:cubicBezTo>
                <a:cubicBezTo>
                  <a:pt x="322" y="1445"/>
                  <a:pt x="320" y="1454"/>
                  <a:pt x="316" y="1461"/>
                </a:cubicBezTo>
                <a:cubicBezTo>
                  <a:pt x="311" y="1467"/>
                  <a:pt x="305" y="1470"/>
                  <a:pt x="296" y="1470"/>
                </a:cubicBezTo>
                <a:close/>
                <a:moveTo>
                  <a:pt x="298" y="1404"/>
                </a:moveTo>
                <a:cubicBezTo>
                  <a:pt x="289" y="1404"/>
                  <a:pt x="284" y="1414"/>
                  <a:pt x="284" y="1434"/>
                </a:cubicBezTo>
                <a:cubicBezTo>
                  <a:pt x="284" y="1452"/>
                  <a:pt x="288" y="1461"/>
                  <a:pt x="297" y="1461"/>
                </a:cubicBezTo>
                <a:cubicBezTo>
                  <a:pt x="306" y="1461"/>
                  <a:pt x="310" y="1452"/>
                  <a:pt x="310" y="1433"/>
                </a:cubicBezTo>
                <a:cubicBezTo>
                  <a:pt x="310" y="1413"/>
                  <a:pt x="306" y="1404"/>
                  <a:pt x="298" y="1404"/>
                </a:cubicBezTo>
                <a:close/>
                <a:moveTo>
                  <a:pt x="506" y="1470"/>
                </a:moveTo>
                <a:cubicBezTo>
                  <a:pt x="499" y="1470"/>
                  <a:pt x="493" y="1467"/>
                  <a:pt x="489" y="1461"/>
                </a:cubicBezTo>
                <a:cubicBezTo>
                  <a:pt x="484" y="1455"/>
                  <a:pt x="482" y="1445"/>
                  <a:pt x="482" y="1434"/>
                </a:cubicBezTo>
                <a:cubicBezTo>
                  <a:pt x="482" y="1421"/>
                  <a:pt x="484" y="1411"/>
                  <a:pt x="489" y="1404"/>
                </a:cubicBezTo>
                <a:cubicBezTo>
                  <a:pt x="493" y="1397"/>
                  <a:pt x="500" y="1394"/>
                  <a:pt x="509" y="1394"/>
                </a:cubicBezTo>
                <a:cubicBezTo>
                  <a:pt x="525" y="1394"/>
                  <a:pt x="533" y="1407"/>
                  <a:pt x="533" y="1431"/>
                </a:cubicBezTo>
                <a:cubicBezTo>
                  <a:pt x="533" y="1445"/>
                  <a:pt x="530" y="1454"/>
                  <a:pt x="526" y="1461"/>
                </a:cubicBezTo>
                <a:cubicBezTo>
                  <a:pt x="521" y="1467"/>
                  <a:pt x="515" y="1470"/>
                  <a:pt x="506" y="1470"/>
                </a:cubicBezTo>
                <a:close/>
                <a:moveTo>
                  <a:pt x="508" y="1404"/>
                </a:moveTo>
                <a:cubicBezTo>
                  <a:pt x="499" y="1404"/>
                  <a:pt x="495" y="1413"/>
                  <a:pt x="495" y="1433"/>
                </a:cubicBezTo>
                <a:cubicBezTo>
                  <a:pt x="495" y="1451"/>
                  <a:pt x="499" y="1461"/>
                  <a:pt x="508" y="1461"/>
                </a:cubicBezTo>
                <a:cubicBezTo>
                  <a:pt x="516" y="1461"/>
                  <a:pt x="520" y="1451"/>
                  <a:pt x="520" y="1433"/>
                </a:cubicBezTo>
                <a:cubicBezTo>
                  <a:pt x="520" y="1413"/>
                  <a:pt x="517" y="1404"/>
                  <a:pt x="508" y="1404"/>
                </a:cubicBezTo>
                <a:close/>
                <a:moveTo>
                  <a:pt x="579" y="1397"/>
                </a:moveTo>
                <a:cubicBezTo>
                  <a:pt x="579" y="1397"/>
                  <a:pt x="579" y="1397"/>
                  <a:pt x="579" y="1397"/>
                </a:cubicBezTo>
                <a:cubicBezTo>
                  <a:pt x="574" y="1397"/>
                  <a:pt x="574" y="1397"/>
                  <a:pt x="574" y="1397"/>
                </a:cubicBezTo>
                <a:cubicBezTo>
                  <a:pt x="572" y="1398"/>
                  <a:pt x="570" y="1400"/>
                  <a:pt x="568" y="1400"/>
                </a:cubicBezTo>
                <a:cubicBezTo>
                  <a:pt x="567" y="1402"/>
                  <a:pt x="565" y="1402"/>
                  <a:pt x="563" y="1403"/>
                </a:cubicBezTo>
                <a:cubicBezTo>
                  <a:pt x="562" y="1404"/>
                  <a:pt x="560" y="1405"/>
                  <a:pt x="558" y="1405"/>
                </a:cubicBezTo>
                <a:cubicBezTo>
                  <a:pt x="556" y="1406"/>
                  <a:pt x="555" y="1407"/>
                  <a:pt x="552" y="1408"/>
                </a:cubicBezTo>
                <a:cubicBezTo>
                  <a:pt x="552" y="1408"/>
                  <a:pt x="552" y="1408"/>
                  <a:pt x="552" y="1418"/>
                </a:cubicBezTo>
                <a:cubicBezTo>
                  <a:pt x="555" y="1417"/>
                  <a:pt x="558" y="1416"/>
                  <a:pt x="560" y="1415"/>
                </a:cubicBezTo>
                <a:cubicBezTo>
                  <a:pt x="563" y="1414"/>
                  <a:pt x="565" y="1413"/>
                  <a:pt x="568" y="1411"/>
                </a:cubicBezTo>
                <a:cubicBezTo>
                  <a:pt x="568" y="1411"/>
                  <a:pt x="568" y="1411"/>
                  <a:pt x="568" y="1470"/>
                </a:cubicBezTo>
                <a:cubicBezTo>
                  <a:pt x="568" y="1470"/>
                  <a:pt x="568" y="1470"/>
                  <a:pt x="579" y="1470"/>
                </a:cubicBezTo>
                <a:cubicBezTo>
                  <a:pt x="579" y="1470"/>
                  <a:pt x="579" y="1470"/>
                  <a:pt x="579" y="1397"/>
                </a:cubicBezTo>
                <a:close/>
                <a:moveTo>
                  <a:pt x="369" y="1397"/>
                </a:moveTo>
                <a:cubicBezTo>
                  <a:pt x="369" y="1397"/>
                  <a:pt x="369" y="1397"/>
                  <a:pt x="369" y="1397"/>
                </a:cubicBezTo>
                <a:cubicBezTo>
                  <a:pt x="364" y="1397"/>
                  <a:pt x="364" y="1397"/>
                  <a:pt x="364" y="1397"/>
                </a:cubicBezTo>
                <a:cubicBezTo>
                  <a:pt x="362" y="1398"/>
                  <a:pt x="361" y="1400"/>
                  <a:pt x="359" y="1400"/>
                </a:cubicBezTo>
                <a:cubicBezTo>
                  <a:pt x="357" y="1402"/>
                  <a:pt x="356" y="1402"/>
                  <a:pt x="353" y="1403"/>
                </a:cubicBezTo>
                <a:cubicBezTo>
                  <a:pt x="352" y="1405"/>
                  <a:pt x="350" y="1405"/>
                  <a:pt x="348" y="1406"/>
                </a:cubicBezTo>
                <a:cubicBezTo>
                  <a:pt x="346" y="1407"/>
                  <a:pt x="345" y="1408"/>
                  <a:pt x="343" y="1408"/>
                </a:cubicBezTo>
                <a:cubicBezTo>
                  <a:pt x="343" y="1408"/>
                  <a:pt x="343" y="1408"/>
                  <a:pt x="343" y="1418"/>
                </a:cubicBezTo>
                <a:cubicBezTo>
                  <a:pt x="345" y="1417"/>
                  <a:pt x="348" y="1416"/>
                  <a:pt x="351" y="1415"/>
                </a:cubicBezTo>
                <a:cubicBezTo>
                  <a:pt x="353" y="1414"/>
                  <a:pt x="356" y="1413"/>
                  <a:pt x="358" y="1411"/>
                </a:cubicBezTo>
                <a:cubicBezTo>
                  <a:pt x="358" y="1411"/>
                  <a:pt x="358" y="1411"/>
                  <a:pt x="358" y="1470"/>
                </a:cubicBezTo>
                <a:cubicBezTo>
                  <a:pt x="358" y="1470"/>
                  <a:pt x="358" y="1470"/>
                  <a:pt x="369" y="1470"/>
                </a:cubicBezTo>
                <a:cubicBezTo>
                  <a:pt x="369" y="1470"/>
                  <a:pt x="369" y="1470"/>
                  <a:pt x="369" y="1397"/>
                </a:cubicBezTo>
                <a:close/>
                <a:moveTo>
                  <a:pt x="416" y="1397"/>
                </a:moveTo>
                <a:cubicBezTo>
                  <a:pt x="416" y="1397"/>
                  <a:pt x="416" y="1397"/>
                  <a:pt x="416" y="1397"/>
                </a:cubicBezTo>
                <a:cubicBezTo>
                  <a:pt x="411" y="1397"/>
                  <a:pt x="411" y="1397"/>
                  <a:pt x="411" y="1397"/>
                </a:cubicBezTo>
                <a:cubicBezTo>
                  <a:pt x="409" y="1398"/>
                  <a:pt x="408" y="1400"/>
                  <a:pt x="406" y="1400"/>
                </a:cubicBezTo>
                <a:cubicBezTo>
                  <a:pt x="404" y="1402"/>
                  <a:pt x="402" y="1402"/>
                  <a:pt x="401" y="1403"/>
                </a:cubicBezTo>
                <a:cubicBezTo>
                  <a:pt x="399" y="1405"/>
                  <a:pt x="397" y="1405"/>
                  <a:pt x="395" y="1406"/>
                </a:cubicBezTo>
                <a:cubicBezTo>
                  <a:pt x="393" y="1407"/>
                  <a:pt x="392" y="1408"/>
                  <a:pt x="390" y="1408"/>
                </a:cubicBezTo>
                <a:cubicBezTo>
                  <a:pt x="390" y="1408"/>
                  <a:pt x="390" y="1408"/>
                  <a:pt x="390" y="1418"/>
                </a:cubicBezTo>
                <a:cubicBezTo>
                  <a:pt x="393" y="1417"/>
                  <a:pt x="395" y="1416"/>
                  <a:pt x="398" y="1415"/>
                </a:cubicBezTo>
                <a:cubicBezTo>
                  <a:pt x="401" y="1414"/>
                  <a:pt x="403" y="1413"/>
                  <a:pt x="405" y="1411"/>
                </a:cubicBezTo>
                <a:cubicBezTo>
                  <a:pt x="405" y="1411"/>
                  <a:pt x="405" y="1411"/>
                  <a:pt x="405" y="1470"/>
                </a:cubicBezTo>
                <a:cubicBezTo>
                  <a:pt x="405" y="1470"/>
                  <a:pt x="405" y="1470"/>
                  <a:pt x="416" y="1470"/>
                </a:cubicBezTo>
                <a:cubicBezTo>
                  <a:pt x="416" y="1470"/>
                  <a:pt x="416" y="1470"/>
                  <a:pt x="416" y="1397"/>
                </a:cubicBezTo>
                <a:close/>
                <a:moveTo>
                  <a:pt x="462" y="1397"/>
                </a:moveTo>
                <a:cubicBezTo>
                  <a:pt x="462" y="1397"/>
                  <a:pt x="462" y="1397"/>
                  <a:pt x="462" y="1397"/>
                </a:cubicBezTo>
                <a:cubicBezTo>
                  <a:pt x="458" y="1397"/>
                  <a:pt x="458" y="1397"/>
                  <a:pt x="458" y="1397"/>
                </a:cubicBezTo>
                <a:cubicBezTo>
                  <a:pt x="456" y="1398"/>
                  <a:pt x="454" y="1400"/>
                  <a:pt x="452" y="1400"/>
                </a:cubicBezTo>
                <a:cubicBezTo>
                  <a:pt x="451" y="1402"/>
                  <a:pt x="448" y="1402"/>
                  <a:pt x="447" y="1403"/>
                </a:cubicBezTo>
                <a:cubicBezTo>
                  <a:pt x="445" y="1404"/>
                  <a:pt x="443" y="1405"/>
                  <a:pt x="441" y="1405"/>
                </a:cubicBezTo>
                <a:cubicBezTo>
                  <a:pt x="440" y="1406"/>
                  <a:pt x="438" y="1407"/>
                  <a:pt x="436" y="1408"/>
                </a:cubicBezTo>
                <a:cubicBezTo>
                  <a:pt x="436" y="1408"/>
                  <a:pt x="436" y="1408"/>
                  <a:pt x="436" y="1418"/>
                </a:cubicBezTo>
                <a:cubicBezTo>
                  <a:pt x="439" y="1417"/>
                  <a:pt x="442" y="1416"/>
                  <a:pt x="444" y="1415"/>
                </a:cubicBezTo>
                <a:cubicBezTo>
                  <a:pt x="446" y="1414"/>
                  <a:pt x="449" y="1413"/>
                  <a:pt x="451" y="1411"/>
                </a:cubicBezTo>
                <a:cubicBezTo>
                  <a:pt x="451" y="1411"/>
                  <a:pt x="451" y="1411"/>
                  <a:pt x="451" y="1470"/>
                </a:cubicBezTo>
                <a:cubicBezTo>
                  <a:pt x="451" y="1470"/>
                  <a:pt x="451" y="1470"/>
                  <a:pt x="462" y="1470"/>
                </a:cubicBezTo>
                <a:cubicBezTo>
                  <a:pt x="462" y="1470"/>
                  <a:pt x="462" y="1470"/>
                  <a:pt x="462" y="1397"/>
                </a:cubicBezTo>
                <a:close/>
                <a:moveTo>
                  <a:pt x="28" y="1470"/>
                </a:moveTo>
                <a:cubicBezTo>
                  <a:pt x="20" y="1470"/>
                  <a:pt x="14" y="1467"/>
                  <a:pt x="10" y="1461"/>
                </a:cubicBezTo>
                <a:cubicBezTo>
                  <a:pt x="6" y="1455"/>
                  <a:pt x="4" y="1446"/>
                  <a:pt x="4" y="1434"/>
                </a:cubicBezTo>
                <a:cubicBezTo>
                  <a:pt x="4" y="1421"/>
                  <a:pt x="6" y="1411"/>
                  <a:pt x="10" y="1404"/>
                </a:cubicBezTo>
                <a:cubicBezTo>
                  <a:pt x="15" y="1398"/>
                  <a:pt x="21" y="1394"/>
                  <a:pt x="30" y="1394"/>
                </a:cubicBezTo>
                <a:cubicBezTo>
                  <a:pt x="46" y="1394"/>
                  <a:pt x="54" y="1407"/>
                  <a:pt x="54" y="1432"/>
                </a:cubicBezTo>
                <a:cubicBezTo>
                  <a:pt x="54" y="1445"/>
                  <a:pt x="52" y="1454"/>
                  <a:pt x="48" y="1461"/>
                </a:cubicBezTo>
                <a:cubicBezTo>
                  <a:pt x="42" y="1467"/>
                  <a:pt x="37" y="1470"/>
                  <a:pt x="28" y="1470"/>
                </a:cubicBezTo>
                <a:close/>
                <a:moveTo>
                  <a:pt x="29" y="1404"/>
                </a:moveTo>
                <a:cubicBezTo>
                  <a:pt x="20" y="1404"/>
                  <a:pt x="15" y="1414"/>
                  <a:pt x="15" y="1434"/>
                </a:cubicBezTo>
                <a:cubicBezTo>
                  <a:pt x="15" y="1452"/>
                  <a:pt x="20" y="1461"/>
                  <a:pt x="29" y="1461"/>
                </a:cubicBezTo>
                <a:cubicBezTo>
                  <a:pt x="37" y="1461"/>
                  <a:pt x="42" y="1452"/>
                  <a:pt x="42" y="1433"/>
                </a:cubicBezTo>
                <a:cubicBezTo>
                  <a:pt x="42" y="1413"/>
                  <a:pt x="37" y="1404"/>
                  <a:pt x="29" y="1404"/>
                </a:cubicBezTo>
                <a:close/>
                <a:moveTo>
                  <a:pt x="89" y="1397"/>
                </a:moveTo>
                <a:cubicBezTo>
                  <a:pt x="89" y="1397"/>
                  <a:pt x="89" y="1397"/>
                  <a:pt x="89" y="1397"/>
                </a:cubicBezTo>
                <a:cubicBezTo>
                  <a:pt x="84" y="1397"/>
                  <a:pt x="84" y="1397"/>
                  <a:pt x="84" y="1397"/>
                </a:cubicBezTo>
                <a:cubicBezTo>
                  <a:pt x="82" y="1398"/>
                  <a:pt x="80" y="1400"/>
                  <a:pt x="78" y="1400"/>
                </a:cubicBezTo>
                <a:cubicBezTo>
                  <a:pt x="77" y="1402"/>
                  <a:pt x="75" y="1402"/>
                  <a:pt x="73" y="1403"/>
                </a:cubicBezTo>
                <a:cubicBezTo>
                  <a:pt x="72" y="1405"/>
                  <a:pt x="70" y="1405"/>
                  <a:pt x="68" y="1406"/>
                </a:cubicBezTo>
                <a:cubicBezTo>
                  <a:pt x="66" y="1407"/>
                  <a:pt x="64" y="1408"/>
                  <a:pt x="62" y="1408"/>
                </a:cubicBezTo>
                <a:cubicBezTo>
                  <a:pt x="62" y="1408"/>
                  <a:pt x="62" y="1408"/>
                  <a:pt x="62" y="1418"/>
                </a:cubicBezTo>
                <a:cubicBezTo>
                  <a:pt x="65" y="1417"/>
                  <a:pt x="68" y="1416"/>
                  <a:pt x="71" y="1415"/>
                </a:cubicBezTo>
                <a:cubicBezTo>
                  <a:pt x="73" y="1414"/>
                  <a:pt x="75" y="1413"/>
                  <a:pt x="78" y="1411"/>
                </a:cubicBezTo>
                <a:cubicBezTo>
                  <a:pt x="78" y="1411"/>
                  <a:pt x="78" y="1411"/>
                  <a:pt x="78" y="1470"/>
                </a:cubicBezTo>
                <a:cubicBezTo>
                  <a:pt x="78" y="1470"/>
                  <a:pt x="78" y="1470"/>
                  <a:pt x="89" y="1470"/>
                </a:cubicBezTo>
                <a:cubicBezTo>
                  <a:pt x="89" y="1470"/>
                  <a:pt x="89" y="1470"/>
                  <a:pt x="89" y="1397"/>
                </a:cubicBezTo>
                <a:close/>
                <a:moveTo>
                  <a:pt x="136" y="1397"/>
                </a:moveTo>
                <a:cubicBezTo>
                  <a:pt x="136" y="1397"/>
                  <a:pt x="136" y="1397"/>
                  <a:pt x="136" y="1397"/>
                </a:cubicBezTo>
                <a:cubicBezTo>
                  <a:pt x="131" y="1397"/>
                  <a:pt x="131" y="1397"/>
                  <a:pt x="131" y="1397"/>
                </a:cubicBezTo>
                <a:cubicBezTo>
                  <a:pt x="129" y="1398"/>
                  <a:pt x="127" y="1400"/>
                  <a:pt x="125" y="1400"/>
                </a:cubicBezTo>
                <a:cubicBezTo>
                  <a:pt x="124" y="1402"/>
                  <a:pt x="121" y="1402"/>
                  <a:pt x="120" y="1403"/>
                </a:cubicBezTo>
                <a:cubicBezTo>
                  <a:pt x="118" y="1405"/>
                  <a:pt x="116" y="1405"/>
                  <a:pt x="115" y="1406"/>
                </a:cubicBezTo>
                <a:cubicBezTo>
                  <a:pt x="113" y="1407"/>
                  <a:pt x="111" y="1408"/>
                  <a:pt x="109" y="1408"/>
                </a:cubicBezTo>
                <a:cubicBezTo>
                  <a:pt x="109" y="1408"/>
                  <a:pt x="109" y="1408"/>
                  <a:pt x="109" y="1418"/>
                </a:cubicBezTo>
                <a:cubicBezTo>
                  <a:pt x="112" y="1417"/>
                  <a:pt x="115" y="1416"/>
                  <a:pt x="117" y="1415"/>
                </a:cubicBezTo>
                <a:cubicBezTo>
                  <a:pt x="120" y="1414"/>
                  <a:pt x="122" y="1413"/>
                  <a:pt x="124" y="1411"/>
                </a:cubicBezTo>
                <a:cubicBezTo>
                  <a:pt x="124" y="1411"/>
                  <a:pt x="124" y="1411"/>
                  <a:pt x="124" y="1470"/>
                </a:cubicBezTo>
                <a:cubicBezTo>
                  <a:pt x="124" y="1470"/>
                  <a:pt x="124" y="1470"/>
                  <a:pt x="136" y="1470"/>
                </a:cubicBezTo>
                <a:cubicBezTo>
                  <a:pt x="136" y="1470"/>
                  <a:pt x="136" y="1470"/>
                  <a:pt x="136" y="1397"/>
                </a:cubicBezTo>
                <a:close/>
                <a:moveTo>
                  <a:pt x="182" y="1397"/>
                </a:moveTo>
                <a:cubicBezTo>
                  <a:pt x="182" y="1397"/>
                  <a:pt x="182" y="1397"/>
                  <a:pt x="182" y="1397"/>
                </a:cubicBezTo>
                <a:cubicBezTo>
                  <a:pt x="177" y="1397"/>
                  <a:pt x="177" y="1397"/>
                  <a:pt x="177" y="1397"/>
                </a:cubicBezTo>
                <a:cubicBezTo>
                  <a:pt x="175" y="1398"/>
                  <a:pt x="174" y="1400"/>
                  <a:pt x="172" y="1400"/>
                </a:cubicBezTo>
                <a:cubicBezTo>
                  <a:pt x="170" y="1402"/>
                  <a:pt x="168" y="1402"/>
                  <a:pt x="167" y="1403"/>
                </a:cubicBezTo>
                <a:cubicBezTo>
                  <a:pt x="164" y="1404"/>
                  <a:pt x="163" y="1405"/>
                  <a:pt x="161" y="1405"/>
                </a:cubicBezTo>
                <a:cubicBezTo>
                  <a:pt x="159" y="1406"/>
                  <a:pt x="157" y="1407"/>
                  <a:pt x="156" y="1408"/>
                </a:cubicBezTo>
                <a:cubicBezTo>
                  <a:pt x="156" y="1408"/>
                  <a:pt x="156" y="1408"/>
                  <a:pt x="156" y="1418"/>
                </a:cubicBezTo>
                <a:cubicBezTo>
                  <a:pt x="159" y="1417"/>
                  <a:pt x="162" y="1416"/>
                  <a:pt x="164" y="1415"/>
                </a:cubicBezTo>
                <a:cubicBezTo>
                  <a:pt x="166" y="1414"/>
                  <a:pt x="169" y="1413"/>
                  <a:pt x="170" y="1411"/>
                </a:cubicBezTo>
                <a:cubicBezTo>
                  <a:pt x="170" y="1411"/>
                  <a:pt x="170" y="1411"/>
                  <a:pt x="170" y="1470"/>
                </a:cubicBezTo>
                <a:cubicBezTo>
                  <a:pt x="170" y="1470"/>
                  <a:pt x="170" y="1470"/>
                  <a:pt x="182" y="1470"/>
                </a:cubicBezTo>
                <a:cubicBezTo>
                  <a:pt x="182" y="1470"/>
                  <a:pt x="182" y="1470"/>
                  <a:pt x="182" y="1397"/>
                </a:cubicBezTo>
                <a:close/>
                <a:moveTo>
                  <a:pt x="41" y="1696"/>
                </a:moveTo>
                <a:cubicBezTo>
                  <a:pt x="41" y="1696"/>
                  <a:pt x="41" y="1696"/>
                  <a:pt x="41" y="1696"/>
                </a:cubicBezTo>
                <a:cubicBezTo>
                  <a:pt x="36" y="1696"/>
                  <a:pt x="36" y="1696"/>
                  <a:pt x="36" y="1696"/>
                </a:cubicBezTo>
                <a:cubicBezTo>
                  <a:pt x="34" y="1697"/>
                  <a:pt x="32" y="1699"/>
                  <a:pt x="30" y="1699"/>
                </a:cubicBezTo>
                <a:cubicBezTo>
                  <a:pt x="29" y="1701"/>
                  <a:pt x="26" y="1702"/>
                  <a:pt x="25" y="1702"/>
                </a:cubicBezTo>
                <a:cubicBezTo>
                  <a:pt x="23" y="1704"/>
                  <a:pt x="21" y="1704"/>
                  <a:pt x="20" y="1705"/>
                </a:cubicBezTo>
                <a:cubicBezTo>
                  <a:pt x="17" y="1706"/>
                  <a:pt x="16" y="1707"/>
                  <a:pt x="14" y="1707"/>
                </a:cubicBezTo>
                <a:cubicBezTo>
                  <a:pt x="14" y="1707"/>
                  <a:pt x="14" y="1707"/>
                  <a:pt x="14" y="1717"/>
                </a:cubicBezTo>
                <a:cubicBezTo>
                  <a:pt x="17" y="1716"/>
                  <a:pt x="20" y="1715"/>
                  <a:pt x="22" y="1714"/>
                </a:cubicBezTo>
                <a:cubicBezTo>
                  <a:pt x="25" y="1713"/>
                  <a:pt x="27" y="1712"/>
                  <a:pt x="29" y="1710"/>
                </a:cubicBezTo>
                <a:cubicBezTo>
                  <a:pt x="29" y="1710"/>
                  <a:pt x="29" y="1710"/>
                  <a:pt x="29" y="1769"/>
                </a:cubicBezTo>
                <a:cubicBezTo>
                  <a:pt x="29" y="1769"/>
                  <a:pt x="29" y="1769"/>
                  <a:pt x="41" y="1769"/>
                </a:cubicBezTo>
                <a:cubicBezTo>
                  <a:pt x="41" y="1769"/>
                  <a:pt x="41" y="1769"/>
                  <a:pt x="41" y="1696"/>
                </a:cubicBezTo>
                <a:close/>
                <a:moveTo>
                  <a:pt x="41" y="1592"/>
                </a:moveTo>
                <a:cubicBezTo>
                  <a:pt x="41" y="1592"/>
                  <a:pt x="41" y="1592"/>
                  <a:pt x="41" y="1592"/>
                </a:cubicBezTo>
                <a:cubicBezTo>
                  <a:pt x="37" y="1592"/>
                  <a:pt x="37" y="1592"/>
                  <a:pt x="37" y="1592"/>
                </a:cubicBezTo>
                <a:cubicBezTo>
                  <a:pt x="35" y="1593"/>
                  <a:pt x="33" y="1594"/>
                  <a:pt x="31" y="1595"/>
                </a:cubicBezTo>
                <a:cubicBezTo>
                  <a:pt x="30" y="1597"/>
                  <a:pt x="27" y="1597"/>
                  <a:pt x="26" y="1598"/>
                </a:cubicBezTo>
                <a:cubicBezTo>
                  <a:pt x="24" y="1599"/>
                  <a:pt x="22" y="1600"/>
                  <a:pt x="20" y="1600"/>
                </a:cubicBezTo>
                <a:cubicBezTo>
                  <a:pt x="19" y="1601"/>
                  <a:pt x="17" y="1602"/>
                  <a:pt x="15" y="1602"/>
                </a:cubicBezTo>
                <a:cubicBezTo>
                  <a:pt x="15" y="1602"/>
                  <a:pt x="15" y="1602"/>
                  <a:pt x="15" y="1613"/>
                </a:cubicBezTo>
                <a:cubicBezTo>
                  <a:pt x="18" y="1612"/>
                  <a:pt x="21" y="1610"/>
                  <a:pt x="23" y="1610"/>
                </a:cubicBezTo>
                <a:cubicBezTo>
                  <a:pt x="25" y="1609"/>
                  <a:pt x="28" y="1608"/>
                  <a:pt x="30" y="1606"/>
                </a:cubicBezTo>
                <a:cubicBezTo>
                  <a:pt x="30" y="1606"/>
                  <a:pt x="30" y="1606"/>
                  <a:pt x="30" y="1665"/>
                </a:cubicBezTo>
                <a:cubicBezTo>
                  <a:pt x="30" y="1665"/>
                  <a:pt x="30" y="1665"/>
                  <a:pt x="41" y="1665"/>
                </a:cubicBezTo>
                <a:cubicBezTo>
                  <a:pt x="41" y="1665"/>
                  <a:pt x="41" y="1665"/>
                  <a:pt x="41" y="1592"/>
                </a:cubicBezTo>
                <a:close/>
                <a:moveTo>
                  <a:pt x="985" y="1380"/>
                </a:moveTo>
                <a:cubicBezTo>
                  <a:pt x="978" y="1380"/>
                  <a:pt x="971" y="1377"/>
                  <a:pt x="967" y="1371"/>
                </a:cubicBezTo>
                <a:cubicBezTo>
                  <a:pt x="963" y="1364"/>
                  <a:pt x="961" y="1356"/>
                  <a:pt x="961" y="1343"/>
                </a:cubicBezTo>
                <a:cubicBezTo>
                  <a:pt x="961" y="1330"/>
                  <a:pt x="963" y="1320"/>
                  <a:pt x="967" y="1314"/>
                </a:cubicBezTo>
                <a:cubicBezTo>
                  <a:pt x="972" y="1307"/>
                  <a:pt x="978" y="1304"/>
                  <a:pt x="987" y="1304"/>
                </a:cubicBezTo>
                <a:cubicBezTo>
                  <a:pt x="1003" y="1304"/>
                  <a:pt x="1011" y="1316"/>
                  <a:pt x="1011" y="1342"/>
                </a:cubicBezTo>
                <a:cubicBezTo>
                  <a:pt x="1011" y="1354"/>
                  <a:pt x="1009" y="1364"/>
                  <a:pt x="1004" y="1370"/>
                </a:cubicBezTo>
                <a:cubicBezTo>
                  <a:pt x="1000" y="1377"/>
                  <a:pt x="993" y="1380"/>
                  <a:pt x="985" y="1380"/>
                </a:cubicBezTo>
                <a:close/>
                <a:moveTo>
                  <a:pt x="986" y="1313"/>
                </a:moveTo>
                <a:cubicBezTo>
                  <a:pt x="977" y="1313"/>
                  <a:pt x="973" y="1323"/>
                  <a:pt x="973" y="1343"/>
                </a:cubicBezTo>
                <a:cubicBezTo>
                  <a:pt x="973" y="1362"/>
                  <a:pt x="977" y="1370"/>
                  <a:pt x="986" y="1370"/>
                </a:cubicBezTo>
                <a:cubicBezTo>
                  <a:pt x="994" y="1370"/>
                  <a:pt x="999" y="1362"/>
                  <a:pt x="999" y="1342"/>
                </a:cubicBezTo>
                <a:cubicBezTo>
                  <a:pt x="999" y="1323"/>
                  <a:pt x="994" y="1313"/>
                  <a:pt x="986" y="1313"/>
                </a:cubicBezTo>
                <a:close/>
                <a:moveTo>
                  <a:pt x="1059" y="1306"/>
                </a:moveTo>
                <a:cubicBezTo>
                  <a:pt x="1059" y="1306"/>
                  <a:pt x="1059" y="1306"/>
                  <a:pt x="1059" y="1306"/>
                </a:cubicBezTo>
                <a:cubicBezTo>
                  <a:pt x="1054" y="1306"/>
                  <a:pt x="1054" y="1306"/>
                  <a:pt x="1054" y="1306"/>
                </a:cubicBezTo>
                <a:cubicBezTo>
                  <a:pt x="1051" y="1308"/>
                  <a:pt x="1050" y="1309"/>
                  <a:pt x="1048" y="1310"/>
                </a:cubicBezTo>
                <a:cubicBezTo>
                  <a:pt x="1046" y="1312"/>
                  <a:pt x="1044" y="1312"/>
                  <a:pt x="1043" y="1313"/>
                </a:cubicBezTo>
                <a:cubicBezTo>
                  <a:pt x="1041" y="1314"/>
                  <a:pt x="1039" y="1314"/>
                  <a:pt x="1038" y="1315"/>
                </a:cubicBezTo>
                <a:cubicBezTo>
                  <a:pt x="1035" y="1316"/>
                  <a:pt x="1034" y="1317"/>
                  <a:pt x="1032" y="1317"/>
                </a:cubicBezTo>
                <a:cubicBezTo>
                  <a:pt x="1032" y="1317"/>
                  <a:pt x="1032" y="1317"/>
                  <a:pt x="1032" y="1328"/>
                </a:cubicBezTo>
                <a:cubicBezTo>
                  <a:pt x="1035" y="1327"/>
                  <a:pt x="1038" y="1325"/>
                  <a:pt x="1040" y="1325"/>
                </a:cubicBezTo>
                <a:cubicBezTo>
                  <a:pt x="1043" y="1324"/>
                  <a:pt x="1045" y="1322"/>
                  <a:pt x="1047" y="1321"/>
                </a:cubicBezTo>
                <a:cubicBezTo>
                  <a:pt x="1047" y="1321"/>
                  <a:pt x="1047" y="1321"/>
                  <a:pt x="1047" y="1380"/>
                </a:cubicBezTo>
                <a:cubicBezTo>
                  <a:pt x="1047" y="1380"/>
                  <a:pt x="1047" y="1380"/>
                  <a:pt x="1059" y="1380"/>
                </a:cubicBezTo>
                <a:cubicBezTo>
                  <a:pt x="1059" y="1380"/>
                  <a:pt x="1059" y="1380"/>
                  <a:pt x="1059" y="1306"/>
                </a:cubicBezTo>
                <a:close/>
                <a:moveTo>
                  <a:pt x="1106" y="1306"/>
                </a:moveTo>
                <a:cubicBezTo>
                  <a:pt x="1106" y="1306"/>
                  <a:pt x="1106" y="1306"/>
                  <a:pt x="1106" y="1306"/>
                </a:cubicBezTo>
                <a:cubicBezTo>
                  <a:pt x="1101" y="1306"/>
                  <a:pt x="1101" y="1306"/>
                  <a:pt x="1101" y="1306"/>
                </a:cubicBezTo>
                <a:cubicBezTo>
                  <a:pt x="1099" y="1308"/>
                  <a:pt x="1098" y="1309"/>
                  <a:pt x="1095" y="1310"/>
                </a:cubicBezTo>
                <a:cubicBezTo>
                  <a:pt x="1094" y="1312"/>
                  <a:pt x="1092" y="1312"/>
                  <a:pt x="1090" y="1313"/>
                </a:cubicBezTo>
                <a:cubicBezTo>
                  <a:pt x="1089" y="1314"/>
                  <a:pt x="1087" y="1315"/>
                  <a:pt x="1085" y="1316"/>
                </a:cubicBezTo>
                <a:cubicBezTo>
                  <a:pt x="1083" y="1317"/>
                  <a:pt x="1082" y="1317"/>
                  <a:pt x="1079" y="1317"/>
                </a:cubicBezTo>
                <a:cubicBezTo>
                  <a:pt x="1079" y="1317"/>
                  <a:pt x="1079" y="1317"/>
                  <a:pt x="1079" y="1328"/>
                </a:cubicBezTo>
                <a:cubicBezTo>
                  <a:pt x="1082" y="1327"/>
                  <a:pt x="1085" y="1326"/>
                  <a:pt x="1087" y="1325"/>
                </a:cubicBezTo>
                <a:cubicBezTo>
                  <a:pt x="1090" y="1324"/>
                  <a:pt x="1092" y="1322"/>
                  <a:pt x="1095" y="1321"/>
                </a:cubicBezTo>
                <a:cubicBezTo>
                  <a:pt x="1095" y="1321"/>
                  <a:pt x="1095" y="1321"/>
                  <a:pt x="1095" y="1380"/>
                </a:cubicBezTo>
                <a:cubicBezTo>
                  <a:pt x="1095" y="1380"/>
                  <a:pt x="1095" y="1380"/>
                  <a:pt x="1106" y="1380"/>
                </a:cubicBezTo>
                <a:cubicBezTo>
                  <a:pt x="1106" y="1380"/>
                  <a:pt x="1106" y="1380"/>
                  <a:pt x="1106" y="1306"/>
                </a:cubicBezTo>
                <a:close/>
                <a:moveTo>
                  <a:pt x="1153" y="1306"/>
                </a:moveTo>
                <a:cubicBezTo>
                  <a:pt x="1153" y="1306"/>
                  <a:pt x="1153" y="1306"/>
                  <a:pt x="1153" y="1306"/>
                </a:cubicBezTo>
                <a:cubicBezTo>
                  <a:pt x="1148" y="1306"/>
                  <a:pt x="1148" y="1306"/>
                  <a:pt x="1148" y="1306"/>
                </a:cubicBezTo>
                <a:cubicBezTo>
                  <a:pt x="1146" y="1308"/>
                  <a:pt x="1145" y="1309"/>
                  <a:pt x="1143" y="1310"/>
                </a:cubicBezTo>
                <a:cubicBezTo>
                  <a:pt x="1141" y="1312"/>
                  <a:pt x="1139" y="1312"/>
                  <a:pt x="1137" y="1313"/>
                </a:cubicBezTo>
                <a:cubicBezTo>
                  <a:pt x="1135" y="1314"/>
                  <a:pt x="1134" y="1315"/>
                  <a:pt x="1132" y="1316"/>
                </a:cubicBezTo>
                <a:cubicBezTo>
                  <a:pt x="1130" y="1317"/>
                  <a:pt x="1128" y="1317"/>
                  <a:pt x="1126" y="1317"/>
                </a:cubicBezTo>
                <a:cubicBezTo>
                  <a:pt x="1126" y="1317"/>
                  <a:pt x="1126" y="1317"/>
                  <a:pt x="1126" y="1328"/>
                </a:cubicBezTo>
                <a:cubicBezTo>
                  <a:pt x="1129" y="1327"/>
                  <a:pt x="1132" y="1326"/>
                  <a:pt x="1134" y="1325"/>
                </a:cubicBezTo>
                <a:cubicBezTo>
                  <a:pt x="1137" y="1324"/>
                  <a:pt x="1140" y="1322"/>
                  <a:pt x="1141" y="1321"/>
                </a:cubicBezTo>
                <a:cubicBezTo>
                  <a:pt x="1141" y="1321"/>
                  <a:pt x="1141" y="1321"/>
                  <a:pt x="1141" y="1380"/>
                </a:cubicBezTo>
                <a:cubicBezTo>
                  <a:pt x="1141" y="1380"/>
                  <a:pt x="1141" y="1380"/>
                  <a:pt x="1153" y="1380"/>
                </a:cubicBezTo>
                <a:cubicBezTo>
                  <a:pt x="1153" y="1380"/>
                  <a:pt x="1153" y="1380"/>
                  <a:pt x="1153" y="1306"/>
                </a:cubicBezTo>
                <a:close/>
                <a:moveTo>
                  <a:pt x="1200" y="1306"/>
                </a:moveTo>
                <a:cubicBezTo>
                  <a:pt x="1200" y="1306"/>
                  <a:pt x="1200" y="1306"/>
                  <a:pt x="1200" y="1306"/>
                </a:cubicBezTo>
                <a:cubicBezTo>
                  <a:pt x="1195" y="1306"/>
                  <a:pt x="1195" y="1306"/>
                  <a:pt x="1195" y="1306"/>
                </a:cubicBezTo>
                <a:cubicBezTo>
                  <a:pt x="1193" y="1308"/>
                  <a:pt x="1191" y="1309"/>
                  <a:pt x="1189" y="1310"/>
                </a:cubicBezTo>
                <a:cubicBezTo>
                  <a:pt x="1188" y="1312"/>
                  <a:pt x="1186" y="1312"/>
                  <a:pt x="1184" y="1313"/>
                </a:cubicBezTo>
                <a:cubicBezTo>
                  <a:pt x="1183" y="1314"/>
                  <a:pt x="1180" y="1315"/>
                  <a:pt x="1179" y="1316"/>
                </a:cubicBezTo>
                <a:cubicBezTo>
                  <a:pt x="1177" y="1317"/>
                  <a:pt x="1175" y="1317"/>
                  <a:pt x="1173" y="1317"/>
                </a:cubicBezTo>
                <a:cubicBezTo>
                  <a:pt x="1173" y="1317"/>
                  <a:pt x="1173" y="1317"/>
                  <a:pt x="1173" y="1328"/>
                </a:cubicBezTo>
                <a:cubicBezTo>
                  <a:pt x="1176" y="1327"/>
                  <a:pt x="1179" y="1326"/>
                  <a:pt x="1181" y="1325"/>
                </a:cubicBezTo>
                <a:cubicBezTo>
                  <a:pt x="1184" y="1324"/>
                  <a:pt x="1186" y="1322"/>
                  <a:pt x="1189" y="1321"/>
                </a:cubicBezTo>
                <a:cubicBezTo>
                  <a:pt x="1189" y="1321"/>
                  <a:pt x="1189" y="1321"/>
                  <a:pt x="1189" y="1380"/>
                </a:cubicBezTo>
                <a:cubicBezTo>
                  <a:pt x="1189" y="1380"/>
                  <a:pt x="1189" y="1380"/>
                  <a:pt x="1200" y="1380"/>
                </a:cubicBezTo>
                <a:cubicBezTo>
                  <a:pt x="1200" y="1380"/>
                  <a:pt x="1200" y="1380"/>
                  <a:pt x="1200" y="1306"/>
                </a:cubicBezTo>
                <a:close/>
                <a:moveTo>
                  <a:pt x="1323" y="1306"/>
                </a:moveTo>
                <a:cubicBezTo>
                  <a:pt x="1323" y="1306"/>
                  <a:pt x="1323" y="1306"/>
                  <a:pt x="1323" y="1306"/>
                </a:cubicBezTo>
                <a:cubicBezTo>
                  <a:pt x="1318" y="1306"/>
                  <a:pt x="1318" y="1306"/>
                  <a:pt x="1318" y="1306"/>
                </a:cubicBezTo>
                <a:cubicBezTo>
                  <a:pt x="1316" y="1308"/>
                  <a:pt x="1314" y="1309"/>
                  <a:pt x="1312" y="1310"/>
                </a:cubicBezTo>
                <a:cubicBezTo>
                  <a:pt x="1311" y="1312"/>
                  <a:pt x="1309" y="1312"/>
                  <a:pt x="1307" y="1313"/>
                </a:cubicBezTo>
                <a:cubicBezTo>
                  <a:pt x="1306" y="1314"/>
                  <a:pt x="1304" y="1315"/>
                  <a:pt x="1302" y="1316"/>
                </a:cubicBezTo>
                <a:cubicBezTo>
                  <a:pt x="1300" y="1317"/>
                  <a:pt x="1299" y="1317"/>
                  <a:pt x="1296" y="1317"/>
                </a:cubicBezTo>
                <a:cubicBezTo>
                  <a:pt x="1296" y="1317"/>
                  <a:pt x="1296" y="1317"/>
                  <a:pt x="1296" y="1328"/>
                </a:cubicBezTo>
                <a:cubicBezTo>
                  <a:pt x="1299" y="1327"/>
                  <a:pt x="1302" y="1326"/>
                  <a:pt x="1305" y="1325"/>
                </a:cubicBezTo>
                <a:cubicBezTo>
                  <a:pt x="1307" y="1324"/>
                  <a:pt x="1309" y="1322"/>
                  <a:pt x="1312" y="1321"/>
                </a:cubicBezTo>
                <a:cubicBezTo>
                  <a:pt x="1312" y="1321"/>
                  <a:pt x="1312" y="1321"/>
                  <a:pt x="1312" y="1380"/>
                </a:cubicBezTo>
                <a:cubicBezTo>
                  <a:pt x="1312" y="1380"/>
                  <a:pt x="1312" y="1380"/>
                  <a:pt x="1323" y="1380"/>
                </a:cubicBezTo>
                <a:cubicBezTo>
                  <a:pt x="1323" y="1380"/>
                  <a:pt x="1323" y="1380"/>
                  <a:pt x="1323" y="1306"/>
                </a:cubicBezTo>
                <a:close/>
                <a:moveTo>
                  <a:pt x="1371" y="1306"/>
                </a:moveTo>
                <a:cubicBezTo>
                  <a:pt x="1371" y="1306"/>
                  <a:pt x="1371" y="1306"/>
                  <a:pt x="1371" y="1306"/>
                </a:cubicBezTo>
                <a:cubicBezTo>
                  <a:pt x="1366" y="1306"/>
                  <a:pt x="1366" y="1306"/>
                  <a:pt x="1366" y="1306"/>
                </a:cubicBezTo>
                <a:cubicBezTo>
                  <a:pt x="1363" y="1308"/>
                  <a:pt x="1362" y="1309"/>
                  <a:pt x="1360" y="1310"/>
                </a:cubicBezTo>
                <a:cubicBezTo>
                  <a:pt x="1358" y="1312"/>
                  <a:pt x="1356" y="1312"/>
                  <a:pt x="1355" y="1313"/>
                </a:cubicBezTo>
                <a:cubicBezTo>
                  <a:pt x="1353" y="1314"/>
                  <a:pt x="1351" y="1315"/>
                  <a:pt x="1350" y="1316"/>
                </a:cubicBezTo>
                <a:cubicBezTo>
                  <a:pt x="1347" y="1317"/>
                  <a:pt x="1346" y="1317"/>
                  <a:pt x="1344" y="1317"/>
                </a:cubicBezTo>
                <a:cubicBezTo>
                  <a:pt x="1344" y="1317"/>
                  <a:pt x="1344" y="1317"/>
                  <a:pt x="1344" y="1328"/>
                </a:cubicBezTo>
                <a:cubicBezTo>
                  <a:pt x="1347" y="1327"/>
                  <a:pt x="1350" y="1326"/>
                  <a:pt x="1352" y="1325"/>
                </a:cubicBezTo>
                <a:cubicBezTo>
                  <a:pt x="1355" y="1324"/>
                  <a:pt x="1357" y="1322"/>
                  <a:pt x="1359" y="1321"/>
                </a:cubicBezTo>
                <a:cubicBezTo>
                  <a:pt x="1359" y="1321"/>
                  <a:pt x="1359" y="1321"/>
                  <a:pt x="1359" y="1380"/>
                </a:cubicBezTo>
                <a:cubicBezTo>
                  <a:pt x="1359" y="1380"/>
                  <a:pt x="1359" y="1380"/>
                  <a:pt x="1371" y="1380"/>
                </a:cubicBezTo>
                <a:cubicBezTo>
                  <a:pt x="1371" y="1380"/>
                  <a:pt x="1371" y="1380"/>
                  <a:pt x="1371" y="1306"/>
                </a:cubicBezTo>
                <a:close/>
                <a:moveTo>
                  <a:pt x="1419" y="1306"/>
                </a:moveTo>
                <a:cubicBezTo>
                  <a:pt x="1419" y="1306"/>
                  <a:pt x="1419" y="1306"/>
                  <a:pt x="1419" y="1306"/>
                </a:cubicBezTo>
                <a:cubicBezTo>
                  <a:pt x="1414" y="1306"/>
                  <a:pt x="1414" y="1306"/>
                  <a:pt x="1414" y="1306"/>
                </a:cubicBezTo>
                <a:cubicBezTo>
                  <a:pt x="1412" y="1308"/>
                  <a:pt x="1410" y="1309"/>
                  <a:pt x="1408" y="1310"/>
                </a:cubicBezTo>
                <a:cubicBezTo>
                  <a:pt x="1406" y="1312"/>
                  <a:pt x="1405" y="1312"/>
                  <a:pt x="1402" y="1313"/>
                </a:cubicBezTo>
                <a:cubicBezTo>
                  <a:pt x="1401" y="1314"/>
                  <a:pt x="1399" y="1315"/>
                  <a:pt x="1397" y="1316"/>
                </a:cubicBezTo>
                <a:cubicBezTo>
                  <a:pt x="1395" y="1317"/>
                  <a:pt x="1394" y="1317"/>
                  <a:pt x="1391" y="1317"/>
                </a:cubicBezTo>
                <a:cubicBezTo>
                  <a:pt x="1391" y="1317"/>
                  <a:pt x="1391" y="1317"/>
                  <a:pt x="1391" y="1328"/>
                </a:cubicBezTo>
                <a:cubicBezTo>
                  <a:pt x="1394" y="1327"/>
                  <a:pt x="1397" y="1326"/>
                  <a:pt x="1400" y="1325"/>
                </a:cubicBezTo>
                <a:cubicBezTo>
                  <a:pt x="1402" y="1324"/>
                  <a:pt x="1405" y="1322"/>
                  <a:pt x="1407" y="1321"/>
                </a:cubicBezTo>
                <a:cubicBezTo>
                  <a:pt x="1407" y="1321"/>
                  <a:pt x="1407" y="1321"/>
                  <a:pt x="1407" y="1380"/>
                </a:cubicBezTo>
                <a:cubicBezTo>
                  <a:pt x="1407" y="1380"/>
                  <a:pt x="1407" y="1380"/>
                  <a:pt x="1419" y="1380"/>
                </a:cubicBezTo>
                <a:cubicBezTo>
                  <a:pt x="1419" y="1380"/>
                  <a:pt x="1419" y="1380"/>
                  <a:pt x="1419" y="1306"/>
                </a:cubicBezTo>
                <a:close/>
                <a:moveTo>
                  <a:pt x="1465" y="1306"/>
                </a:moveTo>
                <a:cubicBezTo>
                  <a:pt x="1465" y="1306"/>
                  <a:pt x="1465" y="1306"/>
                  <a:pt x="1465" y="1306"/>
                </a:cubicBezTo>
                <a:cubicBezTo>
                  <a:pt x="1461" y="1306"/>
                  <a:pt x="1461" y="1306"/>
                  <a:pt x="1461" y="1306"/>
                </a:cubicBezTo>
                <a:cubicBezTo>
                  <a:pt x="1459" y="1308"/>
                  <a:pt x="1457" y="1309"/>
                  <a:pt x="1455" y="1310"/>
                </a:cubicBezTo>
                <a:cubicBezTo>
                  <a:pt x="1454" y="1312"/>
                  <a:pt x="1451" y="1312"/>
                  <a:pt x="1450" y="1313"/>
                </a:cubicBezTo>
                <a:cubicBezTo>
                  <a:pt x="1448" y="1314"/>
                  <a:pt x="1446" y="1314"/>
                  <a:pt x="1444" y="1315"/>
                </a:cubicBezTo>
                <a:cubicBezTo>
                  <a:pt x="1443" y="1316"/>
                  <a:pt x="1440" y="1317"/>
                  <a:pt x="1439" y="1317"/>
                </a:cubicBezTo>
                <a:cubicBezTo>
                  <a:pt x="1439" y="1317"/>
                  <a:pt x="1439" y="1317"/>
                  <a:pt x="1439" y="1328"/>
                </a:cubicBezTo>
                <a:cubicBezTo>
                  <a:pt x="1442" y="1327"/>
                  <a:pt x="1445" y="1325"/>
                  <a:pt x="1447" y="1325"/>
                </a:cubicBezTo>
                <a:cubicBezTo>
                  <a:pt x="1449" y="1324"/>
                  <a:pt x="1452" y="1322"/>
                  <a:pt x="1454" y="1321"/>
                </a:cubicBezTo>
                <a:cubicBezTo>
                  <a:pt x="1454" y="1321"/>
                  <a:pt x="1454" y="1321"/>
                  <a:pt x="1454" y="1380"/>
                </a:cubicBezTo>
                <a:cubicBezTo>
                  <a:pt x="1454" y="1380"/>
                  <a:pt x="1454" y="1380"/>
                  <a:pt x="1465" y="1380"/>
                </a:cubicBezTo>
                <a:cubicBezTo>
                  <a:pt x="1465" y="1380"/>
                  <a:pt x="1465" y="1380"/>
                  <a:pt x="1465" y="1306"/>
                </a:cubicBezTo>
                <a:close/>
                <a:moveTo>
                  <a:pt x="1221" y="1339"/>
                </a:moveTo>
                <a:cubicBezTo>
                  <a:pt x="1221" y="1339"/>
                  <a:pt x="1221" y="1339"/>
                  <a:pt x="1221" y="1339"/>
                </a:cubicBezTo>
                <a:cubicBezTo>
                  <a:pt x="1220" y="1347"/>
                  <a:pt x="1220" y="1347"/>
                  <a:pt x="1220" y="1347"/>
                </a:cubicBezTo>
                <a:cubicBezTo>
                  <a:pt x="1227" y="1347"/>
                  <a:pt x="1228" y="1350"/>
                  <a:pt x="1228" y="1353"/>
                </a:cubicBezTo>
                <a:cubicBezTo>
                  <a:pt x="1228" y="1355"/>
                  <a:pt x="1227" y="1357"/>
                  <a:pt x="1227" y="1360"/>
                </a:cubicBezTo>
                <a:cubicBezTo>
                  <a:pt x="1227" y="1363"/>
                  <a:pt x="1227" y="1365"/>
                  <a:pt x="1227" y="1367"/>
                </a:cubicBezTo>
                <a:cubicBezTo>
                  <a:pt x="1227" y="1377"/>
                  <a:pt x="1233" y="1380"/>
                  <a:pt x="1241" y="1380"/>
                </a:cubicBezTo>
                <a:cubicBezTo>
                  <a:pt x="1241" y="1380"/>
                  <a:pt x="1241" y="1380"/>
                  <a:pt x="1245" y="1380"/>
                </a:cubicBezTo>
                <a:cubicBezTo>
                  <a:pt x="1245" y="1380"/>
                  <a:pt x="1245" y="1380"/>
                  <a:pt x="1245" y="1371"/>
                </a:cubicBezTo>
                <a:cubicBezTo>
                  <a:pt x="1245" y="1371"/>
                  <a:pt x="1245" y="1371"/>
                  <a:pt x="1243" y="1371"/>
                </a:cubicBezTo>
                <a:cubicBezTo>
                  <a:pt x="1240" y="1371"/>
                  <a:pt x="1239" y="1368"/>
                  <a:pt x="1239" y="1365"/>
                </a:cubicBezTo>
                <a:cubicBezTo>
                  <a:pt x="1239" y="1363"/>
                  <a:pt x="1239" y="1362"/>
                  <a:pt x="1239" y="1360"/>
                </a:cubicBezTo>
                <a:cubicBezTo>
                  <a:pt x="1239" y="1359"/>
                  <a:pt x="1239" y="1356"/>
                  <a:pt x="1239" y="1354"/>
                </a:cubicBezTo>
                <a:cubicBezTo>
                  <a:pt x="1239" y="1347"/>
                  <a:pt x="1236" y="1344"/>
                  <a:pt x="1231" y="1343"/>
                </a:cubicBezTo>
                <a:cubicBezTo>
                  <a:pt x="1231" y="1343"/>
                  <a:pt x="1231" y="1343"/>
                  <a:pt x="1231" y="1342"/>
                </a:cubicBezTo>
                <a:cubicBezTo>
                  <a:pt x="1236" y="1341"/>
                  <a:pt x="1239" y="1339"/>
                  <a:pt x="1239" y="1332"/>
                </a:cubicBezTo>
                <a:cubicBezTo>
                  <a:pt x="1239" y="1329"/>
                  <a:pt x="1239" y="1327"/>
                  <a:pt x="1239" y="1325"/>
                </a:cubicBezTo>
                <a:cubicBezTo>
                  <a:pt x="1239" y="1324"/>
                  <a:pt x="1239" y="1322"/>
                  <a:pt x="1239" y="1321"/>
                </a:cubicBezTo>
                <a:cubicBezTo>
                  <a:pt x="1239" y="1317"/>
                  <a:pt x="1240" y="1315"/>
                  <a:pt x="1243" y="1315"/>
                </a:cubicBezTo>
                <a:cubicBezTo>
                  <a:pt x="1243" y="1315"/>
                  <a:pt x="1243" y="1315"/>
                  <a:pt x="1245" y="1315"/>
                </a:cubicBezTo>
                <a:cubicBezTo>
                  <a:pt x="1245" y="1315"/>
                  <a:pt x="1245" y="1315"/>
                  <a:pt x="1245" y="1305"/>
                </a:cubicBezTo>
                <a:cubicBezTo>
                  <a:pt x="1245" y="1305"/>
                  <a:pt x="1245" y="1305"/>
                  <a:pt x="1241" y="1305"/>
                </a:cubicBezTo>
                <a:cubicBezTo>
                  <a:pt x="1232" y="1305"/>
                  <a:pt x="1227" y="1310"/>
                  <a:pt x="1227" y="1318"/>
                </a:cubicBezTo>
                <a:cubicBezTo>
                  <a:pt x="1227" y="1320"/>
                  <a:pt x="1227" y="1323"/>
                  <a:pt x="1227" y="1326"/>
                </a:cubicBezTo>
                <a:cubicBezTo>
                  <a:pt x="1227" y="1328"/>
                  <a:pt x="1228" y="1331"/>
                  <a:pt x="1228" y="1332"/>
                </a:cubicBezTo>
                <a:cubicBezTo>
                  <a:pt x="1228" y="1335"/>
                  <a:pt x="1227" y="1338"/>
                  <a:pt x="1221" y="1339"/>
                </a:cubicBezTo>
                <a:close/>
                <a:moveTo>
                  <a:pt x="1276" y="1347"/>
                </a:moveTo>
                <a:cubicBezTo>
                  <a:pt x="1276" y="1347"/>
                  <a:pt x="1276" y="1347"/>
                  <a:pt x="1276" y="1347"/>
                </a:cubicBezTo>
                <a:cubicBezTo>
                  <a:pt x="1276" y="1339"/>
                  <a:pt x="1276" y="1339"/>
                  <a:pt x="1276" y="1339"/>
                </a:cubicBezTo>
                <a:cubicBezTo>
                  <a:pt x="1269" y="1338"/>
                  <a:pt x="1269" y="1335"/>
                  <a:pt x="1269" y="1332"/>
                </a:cubicBezTo>
                <a:cubicBezTo>
                  <a:pt x="1269" y="1331"/>
                  <a:pt x="1269" y="1328"/>
                  <a:pt x="1269" y="1326"/>
                </a:cubicBezTo>
                <a:cubicBezTo>
                  <a:pt x="1270" y="1323"/>
                  <a:pt x="1270" y="1320"/>
                  <a:pt x="1270" y="1318"/>
                </a:cubicBezTo>
                <a:cubicBezTo>
                  <a:pt x="1270" y="1310"/>
                  <a:pt x="1265" y="1305"/>
                  <a:pt x="1255" y="1305"/>
                </a:cubicBezTo>
                <a:cubicBezTo>
                  <a:pt x="1255" y="1305"/>
                  <a:pt x="1255" y="1305"/>
                  <a:pt x="1252" y="1305"/>
                </a:cubicBezTo>
                <a:cubicBezTo>
                  <a:pt x="1252" y="1305"/>
                  <a:pt x="1252" y="1305"/>
                  <a:pt x="1252" y="1315"/>
                </a:cubicBezTo>
                <a:cubicBezTo>
                  <a:pt x="1252" y="1315"/>
                  <a:pt x="1252" y="1315"/>
                  <a:pt x="1253" y="1315"/>
                </a:cubicBezTo>
                <a:cubicBezTo>
                  <a:pt x="1257" y="1315"/>
                  <a:pt x="1258" y="1317"/>
                  <a:pt x="1258" y="1321"/>
                </a:cubicBezTo>
                <a:cubicBezTo>
                  <a:pt x="1258" y="1322"/>
                  <a:pt x="1258" y="1324"/>
                  <a:pt x="1258" y="1325"/>
                </a:cubicBezTo>
                <a:cubicBezTo>
                  <a:pt x="1258" y="1327"/>
                  <a:pt x="1258" y="1329"/>
                  <a:pt x="1258" y="1332"/>
                </a:cubicBezTo>
                <a:cubicBezTo>
                  <a:pt x="1258" y="1339"/>
                  <a:pt x="1260" y="1341"/>
                  <a:pt x="1266" y="1342"/>
                </a:cubicBezTo>
                <a:cubicBezTo>
                  <a:pt x="1266" y="1342"/>
                  <a:pt x="1266" y="1342"/>
                  <a:pt x="1266" y="1343"/>
                </a:cubicBezTo>
                <a:cubicBezTo>
                  <a:pt x="1260" y="1344"/>
                  <a:pt x="1258" y="1347"/>
                  <a:pt x="1258" y="1354"/>
                </a:cubicBezTo>
                <a:cubicBezTo>
                  <a:pt x="1258" y="1356"/>
                  <a:pt x="1258" y="1359"/>
                  <a:pt x="1258" y="1360"/>
                </a:cubicBezTo>
                <a:cubicBezTo>
                  <a:pt x="1258" y="1362"/>
                  <a:pt x="1258" y="1363"/>
                  <a:pt x="1258" y="1365"/>
                </a:cubicBezTo>
                <a:cubicBezTo>
                  <a:pt x="1258" y="1368"/>
                  <a:pt x="1257" y="1371"/>
                  <a:pt x="1253" y="1371"/>
                </a:cubicBezTo>
                <a:cubicBezTo>
                  <a:pt x="1253" y="1371"/>
                  <a:pt x="1253" y="1371"/>
                  <a:pt x="1252" y="1371"/>
                </a:cubicBezTo>
                <a:cubicBezTo>
                  <a:pt x="1252" y="1371"/>
                  <a:pt x="1252" y="1371"/>
                  <a:pt x="1252" y="1380"/>
                </a:cubicBezTo>
                <a:cubicBezTo>
                  <a:pt x="1252" y="1380"/>
                  <a:pt x="1252" y="1380"/>
                  <a:pt x="1255" y="1380"/>
                </a:cubicBezTo>
                <a:cubicBezTo>
                  <a:pt x="1264" y="1380"/>
                  <a:pt x="1270" y="1377"/>
                  <a:pt x="1270" y="1367"/>
                </a:cubicBezTo>
                <a:cubicBezTo>
                  <a:pt x="1270" y="1365"/>
                  <a:pt x="1270" y="1363"/>
                  <a:pt x="1269" y="1360"/>
                </a:cubicBezTo>
                <a:cubicBezTo>
                  <a:pt x="1269" y="1357"/>
                  <a:pt x="1269" y="1355"/>
                  <a:pt x="1269" y="1353"/>
                </a:cubicBezTo>
                <a:cubicBezTo>
                  <a:pt x="1269" y="1350"/>
                  <a:pt x="1269" y="1347"/>
                  <a:pt x="1276" y="1347"/>
                </a:cubicBezTo>
                <a:close/>
                <a:moveTo>
                  <a:pt x="1603" y="1339"/>
                </a:moveTo>
                <a:cubicBezTo>
                  <a:pt x="1603" y="1339"/>
                  <a:pt x="1603" y="1339"/>
                  <a:pt x="1603" y="1339"/>
                </a:cubicBezTo>
                <a:cubicBezTo>
                  <a:pt x="1603" y="1347"/>
                  <a:pt x="1603" y="1347"/>
                  <a:pt x="1603" y="1347"/>
                </a:cubicBezTo>
                <a:cubicBezTo>
                  <a:pt x="1609" y="1347"/>
                  <a:pt x="1610" y="1350"/>
                  <a:pt x="1610" y="1353"/>
                </a:cubicBezTo>
                <a:cubicBezTo>
                  <a:pt x="1610" y="1355"/>
                  <a:pt x="1610" y="1357"/>
                  <a:pt x="1610" y="1360"/>
                </a:cubicBezTo>
                <a:cubicBezTo>
                  <a:pt x="1609" y="1363"/>
                  <a:pt x="1609" y="1365"/>
                  <a:pt x="1609" y="1367"/>
                </a:cubicBezTo>
                <a:cubicBezTo>
                  <a:pt x="1609" y="1377"/>
                  <a:pt x="1615" y="1380"/>
                  <a:pt x="1623" y="1380"/>
                </a:cubicBezTo>
                <a:cubicBezTo>
                  <a:pt x="1623" y="1380"/>
                  <a:pt x="1623" y="1380"/>
                  <a:pt x="1627" y="1380"/>
                </a:cubicBezTo>
                <a:cubicBezTo>
                  <a:pt x="1627" y="1380"/>
                  <a:pt x="1627" y="1380"/>
                  <a:pt x="1627" y="1371"/>
                </a:cubicBezTo>
                <a:cubicBezTo>
                  <a:pt x="1627" y="1371"/>
                  <a:pt x="1627" y="1371"/>
                  <a:pt x="1626" y="1371"/>
                </a:cubicBezTo>
                <a:cubicBezTo>
                  <a:pt x="1622" y="1371"/>
                  <a:pt x="1621" y="1368"/>
                  <a:pt x="1621" y="1365"/>
                </a:cubicBezTo>
                <a:cubicBezTo>
                  <a:pt x="1621" y="1363"/>
                  <a:pt x="1621" y="1362"/>
                  <a:pt x="1621" y="1360"/>
                </a:cubicBezTo>
                <a:cubicBezTo>
                  <a:pt x="1621" y="1359"/>
                  <a:pt x="1622" y="1356"/>
                  <a:pt x="1622" y="1354"/>
                </a:cubicBezTo>
                <a:cubicBezTo>
                  <a:pt x="1622" y="1347"/>
                  <a:pt x="1619" y="1344"/>
                  <a:pt x="1613" y="1343"/>
                </a:cubicBezTo>
                <a:cubicBezTo>
                  <a:pt x="1613" y="1343"/>
                  <a:pt x="1613" y="1343"/>
                  <a:pt x="1613" y="1342"/>
                </a:cubicBezTo>
                <a:cubicBezTo>
                  <a:pt x="1619" y="1341"/>
                  <a:pt x="1622" y="1339"/>
                  <a:pt x="1622" y="1332"/>
                </a:cubicBezTo>
                <a:cubicBezTo>
                  <a:pt x="1622" y="1329"/>
                  <a:pt x="1621" y="1327"/>
                  <a:pt x="1621" y="1325"/>
                </a:cubicBezTo>
                <a:cubicBezTo>
                  <a:pt x="1621" y="1324"/>
                  <a:pt x="1621" y="1322"/>
                  <a:pt x="1621" y="1321"/>
                </a:cubicBezTo>
                <a:cubicBezTo>
                  <a:pt x="1621" y="1317"/>
                  <a:pt x="1622" y="1315"/>
                  <a:pt x="1626" y="1315"/>
                </a:cubicBezTo>
                <a:cubicBezTo>
                  <a:pt x="1626" y="1315"/>
                  <a:pt x="1626" y="1315"/>
                  <a:pt x="1627" y="1315"/>
                </a:cubicBezTo>
                <a:cubicBezTo>
                  <a:pt x="1627" y="1315"/>
                  <a:pt x="1627" y="1315"/>
                  <a:pt x="1627" y="1305"/>
                </a:cubicBezTo>
                <a:cubicBezTo>
                  <a:pt x="1627" y="1305"/>
                  <a:pt x="1627" y="1305"/>
                  <a:pt x="1623" y="1305"/>
                </a:cubicBezTo>
                <a:cubicBezTo>
                  <a:pt x="1614" y="1305"/>
                  <a:pt x="1609" y="1310"/>
                  <a:pt x="1609" y="1318"/>
                </a:cubicBezTo>
                <a:cubicBezTo>
                  <a:pt x="1609" y="1320"/>
                  <a:pt x="1609" y="1323"/>
                  <a:pt x="1609" y="1326"/>
                </a:cubicBezTo>
                <a:cubicBezTo>
                  <a:pt x="1610" y="1328"/>
                  <a:pt x="1610" y="1331"/>
                  <a:pt x="1610" y="1332"/>
                </a:cubicBezTo>
                <a:cubicBezTo>
                  <a:pt x="1610" y="1335"/>
                  <a:pt x="1609" y="1338"/>
                  <a:pt x="1603" y="1339"/>
                </a:cubicBezTo>
                <a:close/>
                <a:moveTo>
                  <a:pt x="1658" y="1347"/>
                </a:moveTo>
                <a:cubicBezTo>
                  <a:pt x="1658" y="1347"/>
                  <a:pt x="1658" y="1347"/>
                  <a:pt x="1658" y="1347"/>
                </a:cubicBezTo>
                <a:cubicBezTo>
                  <a:pt x="1658" y="1339"/>
                  <a:pt x="1658" y="1339"/>
                  <a:pt x="1658" y="1339"/>
                </a:cubicBezTo>
                <a:cubicBezTo>
                  <a:pt x="1651" y="1338"/>
                  <a:pt x="1651" y="1335"/>
                  <a:pt x="1651" y="1332"/>
                </a:cubicBezTo>
                <a:cubicBezTo>
                  <a:pt x="1651" y="1331"/>
                  <a:pt x="1651" y="1328"/>
                  <a:pt x="1651" y="1326"/>
                </a:cubicBezTo>
                <a:cubicBezTo>
                  <a:pt x="1652" y="1323"/>
                  <a:pt x="1652" y="1320"/>
                  <a:pt x="1652" y="1318"/>
                </a:cubicBezTo>
                <a:cubicBezTo>
                  <a:pt x="1652" y="1310"/>
                  <a:pt x="1647" y="1305"/>
                  <a:pt x="1637" y="1305"/>
                </a:cubicBezTo>
                <a:cubicBezTo>
                  <a:pt x="1637" y="1305"/>
                  <a:pt x="1637" y="1305"/>
                  <a:pt x="1634" y="1305"/>
                </a:cubicBezTo>
                <a:cubicBezTo>
                  <a:pt x="1634" y="1305"/>
                  <a:pt x="1634" y="1305"/>
                  <a:pt x="1634" y="1315"/>
                </a:cubicBezTo>
                <a:cubicBezTo>
                  <a:pt x="1634" y="1315"/>
                  <a:pt x="1634" y="1315"/>
                  <a:pt x="1635" y="1315"/>
                </a:cubicBezTo>
                <a:cubicBezTo>
                  <a:pt x="1639" y="1315"/>
                  <a:pt x="1640" y="1317"/>
                  <a:pt x="1640" y="1321"/>
                </a:cubicBezTo>
                <a:cubicBezTo>
                  <a:pt x="1640" y="1322"/>
                  <a:pt x="1640" y="1324"/>
                  <a:pt x="1640" y="1325"/>
                </a:cubicBezTo>
                <a:cubicBezTo>
                  <a:pt x="1640" y="1327"/>
                  <a:pt x="1640" y="1329"/>
                  <a:pt x="1640" y="1332"/>
                </a:cubicBezTo>
                <a:cubicBezTo>
                  <a:pt x="1640" y="1339"/>
                  <a:pt x="1642" y="1341"/>
                  <a:pt x="1648" y="1342"/>
                </a:cubicBezTo>
                <a:cubicBezTo>
                  <a:pt x="1648" y="1342"/>
                  <a:pt x="1648" y="1342"/>
                  <a:pt x="1648" y="1343"/>
                </a:cubicBezTo>
                <a:cubicBezTo>
                  <a:pt x="1642" y="1344"/>
                  <a:pt x="1640" y="1347"/>
                  <a:pt x="1640" y="1354"/>
                </a:cubicBezTo>
                <a:cubicBezTo>
                  <a:pt x="1640" y="1356"/>
                  <a:pt x="1640" y="1359"/>
                  <a:pt x="1640" y="1360"/>
                </a:cubicBezTo>
                <a:cubicBezTo>
                  <a:pt x="1640" y="1362"/>
                  <a:pt x="1640" y="1363"/>
                  <a:pt x="1640" y="1365"/>
                </a:cubicBezTo>
                <a:cubicBezTo>
                  <a:pt x="1640" y="1368"/>
                  <a:pt x="1639" y="1371"/>
                  <a:pt x="1635" y="1371"/>
                </a:cubicBezTo>
                <a:cubicBezTo>
                  <a:pt x="1635" y="1371"/>
                  <a:pt x="1635" y="1371"/>
                  <a:pt x="1634" y="1371"/>
                </a:cubicBezTo>
                <a:cubicBezTo>
                  <a:pt x="1634" y="1371"/>
                  <a:pt x="1634" y="1371"/>
                  <a:pt x="1634" y="1380"/>
                </a:cubicBezTo>
                <a:cubicBezTo>
                  <a:pt x="1634" y="1380"/>
                  <a:pt x="1634" y="1380"/>
                  <a:pt x="1637" y="1380"/>
                </a:cubicBezTo>
                <a:cubicBezTo>
                  <a:pt x="1646" y="1380"/>
                  <a:pt x="1652" y="1377"/>
                  <a:pt x="1652" y="1367"/>
                </a:cubicBezTo>
                <a:cubicBezTo>
                  <a:pt x="1652" y="1365"/>
                  <a:pt x="1652" y="1363"/>
                  <a:pt x="1651" y="1360"/>
                </a:cubicBezTo>
                <a:cubicBezTo>
                  <a:pt x="1651" y="1357"/>
                  <a:pt x="1651" y="1355"/>
                  <a:pt x="1651" y="1353"/>
                </a:cubicBezTo>
                <a:cubicBezTo>
                  <a:pt x="1651" y="1350"/>
                  <a:pt x="1651" y="1347"/>
                  <a:pt x="1658" y="1347"/>
                </a:cubicBezTo>
                <a:close/>
                <a:moveTo>
                  <a:pt x="1705" y="1306"/>
                </a:moveTo>
                <a:cubicBezTo>
                  <a:pt x="1705" y="1306"/>
                  <a:pt x="1705" y="1306"/>
                  <a:pt x="1705" y="1306"/>
                </a:cubicBezTo>
                <a:cubicBezTo>
                  <a:pt x="1700" y="1306"/>
                  <a:pt x="1700" y="1306"/>
                  <a:pt x="1700" y="1306"/>
                </a:cubicBezTo>
                <a:cubicBezTo>
                  <a:pt x="1698" y="1308"/>
                  <a:pt x="1697" y="1309"/>
                  <a:pt x="1694" y="1310"/>
                </a:cubicBezTo>
                <a:cubicBezTo>
                  <a:pt x="1693" y="1312"/>
                  <a:pt x="1691" y="1312"/>
                  <a:pt x="1689" y="1313"/>
                </a:cubicBezTo>
                <a:cubicBezTo>
                  <a:pt x="1687" y="1314"/>
                  <a:pt x="1686" y="1314"/>
                  <a:pt x="1684" y="1315"/>
                </a:cubicBezTo>
                <a:cubicBezTo>
                  <a:pt x="1682" y="1316"/>
                  <a:pt x="1681" y="1317"/>
                  <a:pt x="1678" y="1317"/>
                </a:cubicBezTo>
                <a:cubicBezTo>
                  <a:pt x="1678" y="1317"/>
                  <a:pt x="1678" y="1317"/>
                  <a:pt x="1678" y="1328"/>
                </a:cubicBezTo>
                <a:cubicBezTo>
                  <a:pt x="1681" y="1327"/>
                  <a:pt x="1684" y="1325"/>
                  <a:pt x="1686" y="1325"/>
                </a:cubicBezTo>
                <a:cubicBezTo>
                  <a:pt x="1689" y="1324"/>
                  <a:pt x="1691" y="1322"/>
                  <a:pt x="1694" y="1321"/>
                </a:cubicBezTo>
                <a:cubicBezTo>
                  <a:pt x="1694" y="1321"/>
                  <a:pt x="1694" y="1321"/>
                  <a:pt x="1694" y="1380"/>
                </a:cubicBezTo>
                <a:cubicBezTo>
                  <a:pt x="1694" y="1380"/>
                  <a:pt x="1694" y="1380"/>
                  <a:pt x="1705" y="1380"/>
                </a:cubicBezTo>
                <a:cubicBezTo>
                  <a:pt x="1705" y="1380"/>
                  <a:pt x="1705" y="1380"/>
                  <a:pt x="1705" y="1306"/>
                </a:cubicBezTo>
                <a:close/>
                <a:moveTo>
                  <a:pt x="1752" y="1306"/>
                </a:moveTo>
                <a:cubicBezTo>
                  <a:pt x="1752" y="1306"/>
                  <a:pt x="1752" y="1306"/>
                  <a:pt x="1752" y="1306"/>
                </a:cubicBezTo>
                <a:cubicBezTo>
                  <a:pt x="1747" y="1306"/>
                  <a:pt x="1747" y="1306"/>
                  <a:pt x="1747" y="1306"/>
                </a:cubicBezTo>
                <a:cubicBezTo>
                  <a:pt x="1745" y="1308"/>
                  <a:pt x="1744" y="1309"/>
                  <a:pt x="1742" y="1310"/>
                </a:cubicBezTo>
                <a:cubicBezTo>
                  <a:pt x="1740" y="1312"/>
                  <a:pt x="1738" y="1312"/>
                  <a:pt x="1737" y="1313"/>
                </a:cubicBezTo>
                <a:cubicBezTo>
                  <a:pt x="1735" y="1314"/>
                  <a:pt x="1733" y="1315"/>
                  <a:pt x="1732" y="1316"/>
                </a:cubicBezTo>
                <a:cubicBezTo>
                  <a:pt x="1730" y="1317"/>
                  <a:pt x="1728" y="1317"/>
                  <a:pt x="1726" y="1317"/>
                </a:cubicBezTo>
                <a:cubicBezTo>
                  <a:pt x="1726" y="1317"/>
                  <a:pt x="1726" y="1317"/>
                  <a:pt x="1726" y="1328"/>
                </a:cubicBezTo>
                <a:cubicBezTo>
                  <a:pt x="1729" y="1327"/>
                  <a:pt x="1732" y="1326"/>
                  <a:pt x="1734" y="1325"/>
                </a:cubicBezTo>
                <a:cubicBezTo>
                  <a:pt x="1737" y="1324"/>
                  <a:pt x="1739" y="1322"/>
                  <a:pt x="1741" y="1321"/>
                </a:cubicBezTo>
                <a:cubicBezTo>
                  <a:pt x="1741" y="1321"/>
                  <a:pt x="1741" y="1321"/>
                  <a:pt x="1741" y="1380"/>
                </a:cubicBezTo>
                <a:cubicBezTo>
                  <a:pt x="1741" y="1380"/>
                  <a:pt x="1741" y="1380"/>
                  <a:pt x="1752" y="1380"/>
                </a:cubicBezTo>
                <a:cubicBezTo>
                  <a:pt x="1752" y="1380"/>
                  <a:pt x="1752" y="1380"/>
                  <a:pt x="1752" y="1306"/>
                </a:cubicBezTo>
                <a:close/>
                <a:moveTo>
                  <a:pt x="1799" y="1306"/>
                </a:moveTo>
                <a:cubicBezTo>
                  <a:pt x="1799" y="1306"/>
                  <a:pt x="1799" y="1306"/>
                  <a:pt x="1799" y="1306"/>
                </a:cubicBezTo>
                <a:cubicBezTo>
                  <a:pt x="1795" y="1306"/>
                  <a:pt x="1795" y="1306"/>
                  <a:pt x="1795" y="1306"/>
                </a:cubicBezTo>
                <a:cubicBezTo>
                  <a:pt x="1792" y="1308"/>
                  <a:pt x="1791" y="1309"/>
                  <a:pt x="1789" y="1310"/>
                </a:cubicBezTo>
                <a:cubicBezTo>
                  <a:pt x="1787" y="1312"/>
                  <a:pt x="1785" y="1312"/>
                  <a:pt x="1784" y="1313"/>
                </a:cubicBezTo>
                <a:cubicBezTo>
                  <a:pt x="1782" y="1314"/>
                  <a:pt x="1780" y="1315"/>
                  <a:pt x="1778" y="1316"/>
                </a:cubicBezTo>
                <a:cubicBezTo>
                  <a:pt x="1777" y="1317"/>
                  <a:pt x="1774" y="1317"/>
                  <a:pt x="1773" y="1317"/>
                </a:cubicBezTo>
                <a:cubicBezTo>
                  <a:pt x="1773" y="1317"/>
                  <a:pt x="1773" y="1317"/>
                  <a:pt x="1773" y="1328"/>
                </a:cubicBezTo>
                <a:cubicBezTo>
                  <a:pt x="1776" y="1327"/>
                  <a:pt x="1779" y="1326"/>
                  <a:pt x="1781" y="1325"/>
                </a:cubicBezTo>
                <a:cubicBezTo>
                  <a:pt x="1783" y="1324"/>
                  <a:pt x="1786" y="1322"/>
                  <a:pt x="1787" y="1321"/>
                </a:cubicBezTo>
                <a:cubicBezTo>
                  <a:pt x="1787" y="1321"/>
                  <a:pt x="1787" y="1321"/>
                  <a:pt x="1787" y="1380"/>
                </a:cubicBezTo>
                <a:cubicBezTo>
                  <a:pt x="1787" y="1380"/>
                  <a:pt x="1787" y="1380"/>
                  <a:pt x="1799" y="1380"/>
                </a:cubicBezTo>
                <a:cubicBezTo>
                  <a:pt x="1799" y="1380"/>
                  <a:pt x="1799" y="1380"/>
                  <a:pt x="1799" y="1306"/>
                </a:cubicBezTo>
                <a:close/>
                <a:moveTo>
                  <a:pt x="1922" y="1306"/>
                </a:moveTo>
                <a:cubicBezTo>
                  <a:pt x="1922" y="1306"/>
                  <a:pt x="1922" y="1306"/>
                  <a:pt x="1922" y="1306"/>
                </a:cubicBezTo>
                <a:cubicBezTo>
                  <a:pt x="1917" y="1306"/>
                  <a:pt x="1917" y="1306"/>
                  <a:pt x="1917" y="1306"/>
                </a:cubicBezTo>
                <a:cubicBezTo>
                  <a:pt x="1915" y="1308"/>
                  <a:pt x="1914" y="1309"/>
                  <a:pt x="1911" y="1310"/>
                </a:cubicBezTo>
                <a:cubicBezTo>
                  <a:pt x="1910" y="1312"/>
                  <a:pt x="1908" y="1312"/>
                  <a:pt x="1906" y="1313"/>
                </a:cubicBezTo>
                <a:cubicBezTo>
                  <a:pt x="1905" y="1314"/>
                  <a:pt x="1903" y="1315"/>
                  <a:pt x="1901" y="1316"/>
                </a:cubicBezTo>
                <a:cubicBezTo>
                  <a:pt x="1899" y="1317"/>
                  <a:pt x="1898" y="1317"/>
                  <a:pt x="1895" y="1317"/>
                </a:cubicBezTo>
                <a:cubicBezTo>
                  <a:pt x="1895" y="1317"/>
                  <a:pt x="1895" y="1317"/>
                  <a:pt x="1895" y="1328"/>
                </a:cubicBezTo>
                <a:cubicBezTo>
                  <a:pt x="1898" y="1327"/>
                  <a:pt x="1901" y="1326"/>
                  <a:pt x="1904" y="1325"/>
                </a:cubicBezTo>
                <a:cubicBezTo>
                  <a:pt x="1906" y="1324"/>
                  <a:pt x="1908" y="1322"/>
                  <a:pt x="1911" y="1321"/>
                </a:cubicBezTo>
                <a:cubicBezTo>
                  <a:pt x="1911" y="1321"/>
                  <a:pt x="1911" y="1321"/>
                  <a:pt x="1911" y="1380"/>
                </a:cubicBezTo>
                <a:cubicBezTo>
                  <a:pt x="1911" y="1380"/>
                  <a:pt x="1911" y="1380"/>
                  <a:pt x="1922" y="1380"/>
                </a:cubicBezTo>
                <a:cubicBezTo>
                  <a:pt x="1922" y="1380"/>
                  <a:pt x="1922" y="1380"/>
                  <a:pt x="1922" y="1306"/>
                </a:cubicBezTo>
                <a:close/>
                <a:moveTo>
                  <a:pt x="1820" y="1339"/>
                </a:moveTo>
                <a:cubicBezTo>
                  <a:pt x="1820" y="1339"/>
                  <a:pt x="1820" y="1339"/>
                  <a:pt x="1820" y="1339"/>
                </a:cubicBezTo>
                <a:cubicBezTo>
                  <a:pt x="1820" y="1347"/>
                  <a:pt x="1820" y="1347"/>
                  <a:pt x="1820" y="1347"/>
                </a:cubicBezTo>
                <a:cubicBezTo>
                  <a:pt x="1826" y="1347"/>
                  <a:pt x="1827" y="1350"/>
                  <a:pt x="1827" y="1353"/>
                </a:cubicBezTo>
                <a:cubicBezTo>
                  <a:pt x="1827" y="1355"/>
                  <a:pt x="1826" y="1357"/>
                  <a:pt x="1826" y="1360"/>
                </a:cubicBezTo>
                <a:cubicBezTo>
                  <a:pt x="1826" y="1363"/>
                  <a:pt x="1826" y="1365"/>
                  <a:pt x="1826" y="1367"/>
                </a:cubicBezTo>
                <a:cubicBezTo>
                  <a:pt x="1826" y="1377"/>
                  <a:pt x="1832" y="1380"/>
                  <a:pt x="1840" y="1380"/>
                </a:cubicBezTo>
                <a:cubicBezTo>
                  <a:pt x="1840" y="1380"/>
                  <a:pt x="1840" y="1380"/>
                  <a:pt x="1844" y="1380"/>
                </a:cubicBezTo>
                <a:cubicBezTo>
                  <a:pt x="1844" y="1380"/>
                  <a:pt x="1844" y="1380"/>
                  <a:pt x="1844" y="1371"/>
                </a:cubicBezTo>
                <a:cubicBezTo>
                  <a:pt x="1844" y="1371"/>
                  <a:pt x="1844" y="1371"/>
                  <a:pt x="1843" y="1371"/>
                </a:cubicBezTo>
                <a:cubicBezTo>
                  <a:pt x="1839" y="1371"/>
                  <a:pt x="1838" y="1368"/>
                  <a:pt x="1838" y="1365"/>
                </a:cubicBezTo>
                <a:cubicBezTo>
                  <a:pt x="1838" y="1363"/>
                  <a:pt x="1838" y="1362"/>
                  <a:pt x="1838" y="1360"/>
                </a:cubicBezTo>
                <a:cubicBezTo>
                  <a:pt x="1838" y="1359"/>
                  <a:pt x="1838" y="1356"/>
                  <a:pt x="1838" y="1354"/>
                </a:cubicBezTo>
                <a:cubicBezTo>
                  <a:pt x="1838" y="1347"/>
                  <a:pt x="1835" y="1344"/>
                  <a:pt x="1830" y="1343"/>
                </a:cubicBezTo>
                <a:cubicBezTo>
                  <a:pt x="1830" y="1343"/>
                  <a:pt x="1830" y="1343"/>
                  <a:pt x="1830" y="1342"/>
                </a:cubicBezTo>
                <a:cubicBezTo>
                  <a:pt x="1835" y="1341"/>
                  <a:pt x="1838" y="1339"/>
                  <a:pt x="1838" y="1332"/>
                </a:cubicBezTo>
                <a:cubicBezTo>
                  <a:pt x="1838" y="1329"/>
                  <a:pt x="1838" y="1327"/>
                  <a:pt x="1838" y="1325"/>
                </a:cubicBezTo>
                <a:cubicBezTo>
                  <a:pt x="1838" y="1324"/>
                  <a:pt x="1838" y="1322"/>
                  <a:pt x="1838" y="1321"/>
                </a:cubicBezTo>
                <a:cubicBezTo>
                  <a:pt x="1838" y="1317"/>
                  <a:pt x="1839" y="1315"/>
                  <a:pt x="1843" y="1315"/>
                </a:cubicBezTo>
                <a:cubicBezTo>
                  <a:pt x="1843" y="1315"/>
                  <a:pt x="1843" y="1315"/>
                  <a:pt x="1844" y="1315"/>
                </a:cubicBezTo>
                <a:cubicBezTo>
                  <a:pt x="1844" y="1315"/>
                  <a:pt x="1844" y="1315"/>
                  <a:pt x="1844" y="1305"/>
                </a:cubicBezTo>
                <a:cubicBezTo>
                  <a:pt x="1844" y="1305"/>
                  <a:pt x="1844" y="1305"/>
                  <a:pt x="1840" y="1305"/>
                </a:cubicBezTo>
                <a:cubicBezTo>
                  <a:pt x="1831" y="1305"/>
                  <a:pt x="1826" y="1310"/>
                  <a:pt x="1826" y="1318"/>
                </a:cubicBezTo>
                <a:cubicBezTo>
                  <a:pt x="1826" y="1320"/>
                  <a:pt x="1826" y="1323"/>
                  <a:pt x="1826" y="1326"/>
                </a:cubicBezTo>
                <a:cubicBezTo>
                  <a:pt x="1826" y="1328"/>
                  <a:pt x="1827" y="1331"/>
                  <a:pt x="1827" y="1332"/>
                </a:cubicBezTo>
                <a:cubicBezTo>
                  <a:pt x="1827" y="1335"/>
                  <a:pt x="1826" y="1338"/>
                  <a:pt x="1820" y="1339"/>
                </a:cubicBezTo>
                <a:close/>
                <a:moveTo>
                  <a:pt x="1875" y="1347"/>
                </a:moveTo>
                <a:cubicBezTo>
                  <a:pt x="1875" y="1347"/>
                  <a:pt x="1875" y="1347"/>
                  <a:pt x="1875" y="1347"/>
                </a:cubicBezTo>
                <a:cubicBezTo>
                  <a:pt x="1875" y="1339"/>
                  <a:pt x="1875" y="1339"/>
                  <a:pt x="1875" y="1339"/>
                </a:cubicBezTo>
                <a:cubicBezTo>
                  <a:pt x="1868" y="1338"/>
                  <a:pt x="1868" y="1335"/>
                  <a:pt x="1868" y="1332"/>
                </a:cubicBezTo>
                <a:cubicBezTo>
                  <a:pt x="1868" y="1331"/>
                  <a:pt x="1868" y="1328"/>
                  <a:pt x="1868" y="1326"/>
                </a:cubicBezTo>
                <a:cubicBezTo>
                  <a:pt x="1869" y="1323"/>
                  <a:pt x="1869" y="1320"/>
                  <a:pt x="1869" y="1318"/>
                </a:cubicBezTo>
                <a:cubicBezTo>
                  <a:pt x="1869" y="1310"/>
                  <a:pt x="1864" y="1305"/>
                  <a:pt x="1854" y="1305"/>
                </a:cubicBezTo>
                <a:cubicBezTo>
                  <a:pt x="1854" y="1305"/>
                  <a:pt x="1854" y="1305"/>
                  <a:pt x="1851" y="1305"/>
                </a:cubicBezTo>
                <a:cubicBezTo>
                  <a:pt x="1851" y="1305"/>
                  <a:pt x="1851" y="1305"/>
                  <a:pt x="1851" y="1315"/>
                </a:cubicBezTo>
                <a:cubicBezTo>
                  <a:pt x="1851" y="1315"/>
                  <a:pt x="1851" y="1315"/>
                  <a:pt x="1852" y="1315"/>
                </a:cubicBezTo>
                <a:cubicBezTo>
                  <a:pt x="1856" y="1315"/>
                  <a:pt x="1857" y="1317"/>
                  <a:pt x="1857" y="1321"/>
                </a:cubicBezTo>
                <a:cubicBezTo>
                  <a:pt x="1857" y="1322"/>
                  <a:pt x="1857" y="1324"/>
                  <a:pt x="1857" y="1325"/>
                </a:cubicBezTo>
                <a:cubicBezTo>
                  <a:pt x="1857" y="1327"/>
                  <a:pt x="1857" y="1329"/>
                  <a:pt x="1857" y="1332"/>
                </a:cubicBezTo>
                <a:cubicBezTo>
                  <a:pt x="1857" y="1339"/>
                  <a:pt x="1859" y="1341"/>
                  <a:pt x="1865" y="1342"/>
                </a:cubicBezTo>
                <a:cubicBezTo>
                  <a:pt x="1865" y="1342"/>
                  <a:pt x="1865" y="1342"/>
                  <a:pt x="1865" y="1343"/>
                </a:cubicBezTo>
                <a:cubicBezTo>
                  <a:pt x="1859" y="1344"/>
                  <a:pt x="1857" y="1347"/>
                  <a:pt x="1857" y="1354"/>
                </a:cubicBezTo>
                <a:cubicBezTo>
                  <a:pt x="1857" y="1356"/>
                  <a:pt x="1857" y="1359"/>
                  <a:pt x="1857" y="1360"/>
                </a:cubicBezTo>
                <a:cubicBezTo>
                  <a:pt x="1857" y="1362"/>
                  <a:pt x="1857" y="1363"/>
                  <a:pt x="1857" y="1365"/>
                </a:cubicBezTo>
                <a:cubicBezTo>
                  <a:pt x="1857" y="1368"/>
                  <a:pt x="1856" y="1371"/>
                  <a:pt x="1852" y="1371"/>
                </a:cubicBezTo>
                <a:cubicBezTo>
                  <a:pt x="1852" y="1371"/>
                  <a:pt x="1852" y="1371"/>
                  <a:pt x="1851" y="1371"/>
                </a:cubicBezTo>
                <a:cubicBezTo>
                  <a:pt x="1851" y="1371"/>
                  <a:pt x="1851" y="1371"/>
                  <a:pt x="1851" y="1380"/>
                </a:cubicBezTo>
                <a:cubicBezTo>
                  <a:pt x="1851" y="1380"/>
                  <a:pt x="1851" y="1380"/>
                  <a:pt x="1854" y="1380"/>
                </a:cubicBezTo>
                <a:cubicBezTo>
                  <a:pt x="1863" y="1380"/>
                  <a:pt x="1869" y="1377"/>
                  <a:pt x="1869" y="1367"/>
                </a:cubicBezTo>
                <a:cubicBezTo>
                  <a:pt x="1869" y="1365"/>
                  <a:pt x="1869" y="1363"/>
                  <a:pt x="1868" y="1360"/>
                </a:cubicBezTo>
                <a:cubicBezTo>
                  <a:pt x="1868" y="1357"/>
                  <a:pt x="1868" y="1355"/>
                  <a:pt x="1868" y="1353"/>
                </a:cubicBezTo>
                <a:cubicBezTo>
                  <a:pt x="1868" y="1350"/>
                  <a:pt x="1868" y="1347"/>
                  <a:pt x="1875" y="1347"/>
                </a:cubicBezTo>
                <a:close/>
                <a:moveTo>
                  <a:pt x="1016" y="1258"/>
                </a:moveTo>
                <a:cubicBezTo>
                  <a:pt x="1016" y="1259"/>
                  <a:pt x="1017" y="1261"/>
                  <a:pt x="1017" y="1262"/>
                </a:cubicBezTo>
                <a:cubicBezTo>
                  <a:pt x="1018" y="1264"/>
                  <a:pt x="1018" y="1266"/>
                  <a:pt x="1019" y="1267"/>
                </a:cubicBezTo>
                <a:cubicBezTo>
                  <a:pt x="1019" y="1269"/>
                  <a:pt x="1019" y="1270"/>
                  <a:pt x="1019" y="1272"/>
                </a:cubicBezTo>
                <a:cubicBezTo>
                  <a:pt x="1020" y="1275"/>
                  <a:pt x="1019" y="1277"/>
                  <a:pt x="1015" y="1277"/>
                </a:cubicBezTo>
                <a:cubicBezTo>
                  <a:pt x="1013" y="1277"/>
                  <a:pt x="1010" y="1276"/>
                  <a:pt x="1007" y="1276"/>
                </a:cubicBezTo>
                <a:cubicBezTo>
                  <a:pt x="1007" y="1276"/>
                  <a:pt x="1006" y="1276"/>
                  <a:pt x="1006" y="1277"/>
                </a:cubicBezTo>
                <a:cubicBezTo>
                  <a:pt x="1004" y="1278"/>
                  <a:pt x="1002" y="1280"/>
                  <a:pt x="1001" y="1281"/>
                </a:cubicBezTo>
                <a:cubicBezTo>
                  <a:pt x="999" y="1283"/>
                  <a:pt x="996" y="1284"/>
                  <a:pt x="994" y="1282"/>
                </a:cubicBezTo>
                <a:cubicBezTo>
                  <a:pt x="992" y="1280"/>
                  <a:pt x="991" y="1277"/>
                  <a:pt x="989" y="1274"/>
                </a:cubicBezTo>
                <a:cubicBezTo>
                  <a:pt x="988" y="1273"/>
                  <a:pt x="989" y="1271"/>
                  <a:pt x="991" y="1270"/>
                </a:cubicBezTo>
                <a:cubicBezTo>
                  <a:pt x="988" y="1270"/>
                  <a:pt x="987" y="1270"/>
                  <a:pt x="985" y="1270"/>
                </a:cubicBezTo>
                <a:cubicBezTo>
                  <a:pt x="984" y="1272"/>
                  <a:pt x="983" y="1274"/>
                  <a:pt x="982" y="1276"/>
                </a:cubicBezTo>
                <a:cubicBezTo>
                  <a:pt x="982" y="1276"/>
                  <a:pt x="982" y="1277"/>
                  <a:pt x="982" y="1278"/>
                </a:cubicBezTo>
                <a:cubicBezTo>
                  <a:pt x="982" y="1281"/>
                  <a:pt x="981" y="1282"/>
                  <a:pt x="978" y="1282"/>
                </a:cubicBezTo>
                <a:cubicBezTo>
                  <a:pt x="974" y="1282"/>
                  <a:pt x="972" y="1281"/>
                  <a:pt x="969" y="1280"/>
                </a:cubicBezTo>
                <a:cubicBezTo>
                  <a:pt x="967" y="1279"/>
                  <a:pt x="966" y="1278"/>
                  <a:pt x="967" y="1276"/>
                </a:cubicBezTo>
                <a:cubicBezTo>
                  <a:pt x="967" y="1275"/>
                  <a:pt x="967" y="1274"/>
                  <a:pt x="967" y="1274"/>
                </a:cubicBezTo>
                <a:cubicBezTo>
                  <a:pt x="965" y="1273"/>
                  <a:pt x="963" y="1272"/>
                  <a:pt x="961" y="1270"/>
                </a:cubicBezTo>
                <a:cubicBezTo>
                  <a:pt x="959" y="1270"/>
                  <a:pt x="958" y="1268"/>
                  <a:pt x="958" y="1266"/>
                </a:cubicBezTo>
                <a:cubicBezTo>
                  <a:pt x="957" y="1264"/>
                  <a:pt x="957" y="1263"/>
                  <a:pt x="959" y="1261"/>
                </a:cubicBezTo>
                <a:cubicBezTo>
                  <a:pt x="962" y="1259"/>
                  <a:pt x="963" y="1256"/>
                  <a:pt x="962" y="1252"/>
                </a:cubicBezTo>
                <a:cubicBezTo>
                  <a:pt x="962" y="1250"/>
                  <a:pt x="962" y="1247"/>
                  <a:pt x="962" y="1246"/>
                </a:cubicBezTo>
                <a:cubicBezTo>
                  <a:pt x="961" y="1245"/>
                  <a:pt x="959" y="1245"/>
                  <a:pt x="958" y="1244"/>
                </a:cubicBezTo>
                <a:cubicBezTo>
                  <a:pt x="957" y="1242"/>
                  <a:pt x="956" y="1240"/>
                  <a:pt x="956" y="1238"/>
                </a:cubicBezTo>
                <a:cubicBezTo>
                  <a:pt x="956" y="1235"/>
                  <a:pt x="959" y="1232"/>
                  <a:pt x="962" y="1232"/>
                </a:cubicBezTo>
                <a:cubicBezTo>
                  <a:pt x="962" y="1232"/>
                  <a:pt x="962" y="1233"/>
                  <a:pt x="963" y="1234"/>
                </a:cubicBezTo>
                <a:cubicBezTo>
                  <a:pt x="963" y="1235"/>
                  <a:pt x="963" y="1236"/>
                  <a:pt x="963" y="1237"/>
                </a:cubicBezTo>
                <a:cubicBezTo>
                  <a:pt x="962" y="1237"/>
                  <a:pt x="962" y="1237"/>
                  <a:pt x="961" y="1237"/>
                </a:cubicBezTo>
                <a:cubicBezTo>
                  <a:pt x="961" y="1238"/>
                  <a:pt x="961" y="1239"/>
                  <a:pt x="960" y="1241"/>
                </a:cubicBezTo>
                <a:cubicBezTo>
                  <a:pt x="961" y="1241"/>
                  <a:pt x="962" y="1241"/>
                  <a:pt x="962" y="1240"/>
                </a:cubicBezTo>
                <a:cubicBezTo>
                  <a:pt x="963" y="1239"/>
                  <a:pt x="964" y="1238"/>
                  <a:pt x="965" y="1237"/>
                </a:cubicBezTo>
                <a:cubicBezTo>
                  <a:pt x="969" y="1230"/>
                  <a:pt x="975" y="1226"/>
                  <a:pt x="983" y="1225"/>
                </a:cubicBezTo>
                <a:cubicBezTo>
                  <a:pt x="986" y="1224"/>
                  <a:pt x="989" y="1223"/>
                  <a:pt x="992" y="1221"/>
                </a:cubicBezTo>
                <a:cubicBezTo>
                  <a:pt x="992" y="1220"/>
                  <a:pt x="993" y="1220"/>
                  <a:pt x="993" y="1220"/>
                </a:cubicBezTo>
                <a:cubicBezTo>
                  <a:pt x="996" y="1219"/>
                  <a:pt x="997" y="1217"/>
                  <a:pt x="999" y="1215"/>
                </a:cubicBezTo>
                <a:cubicBezTo>
                  <a:pt x="1007" y="1207"/>
                  <a:pt x="1019" y="1207"/>
                  <a:pt x="1026" y="1214"/>
                </a:cubicBezTo>
                <a:cubicBezTo>
                  <a:pt x="1029" y="1216"/>
                  <a:pt x="1032" y="1218"/>
                  <a:pt x="1034" y="1220"/>
                </a:cubicBezTo>
                <a:cubicBezTo>
                  <a:pt x="1036" y="1221"/>
                  <a:pt x="1037" y="1223"/>
                  <a:pt x="1038" y="1224"/>
                </a:cubicBezTo>
                <a:cubicBezTo>
                  <a:pt x="1039" y="1226"/>
                  <a:pt x="1039" y="1226"/>
                  <a:pt x="1041" y="1225"/>
                </a:cubicBezTo>
                <a:cubicBezTo>
                  <a:pt x="1041" y="1224"/>
                  <a:pt x="1042" y="1224"/>
                  <a:pt x="1043" y="1223"/>
                </a:cubicBezTo>
                <a:cubicBezTo>
                  <a:pt x="1045" y="1220"/>
                  <a:pt x="1048" y="1220"/>
                  <a:pt x="1049" y="1223"/>
                </a:cubicBezTo>
                <a:cubicBezTo>
                  <a:pt x="1051" y="1226"/>
                  <a:pt x="1051" y="1229"/>
                  <a:pt x="1052" y="1232"/>
                </a:cubicBezTo>
                <a:cubicBezTo>
                  <a:pt x="1052" y="1237"/>
                  <a:pt x="1052" y="1241"/>
                  <a:pt x="1051" y="1245"/>
                </a:cubicBezTo>
                <a:cubicBezTo>
                  <a:pt x="1048" y="1252"/>
                  <a:pt x="1043" y="1255"/>
                  <a:pt x="1037" y="1255"/>
                </a:cubicBezTo>
                <a:cubicBezTo>
                  <a:pt x="1036" y="1255"/>
                  <a:pt x="1036" y="1255"/>
                  <a:pt x="1035" y="1255"/>
                </a:cubicBezTo>
                <a:cubicBezTo>
                  <a:pt x="1032" y="1255"/>
                  <a:pt x="1031" y="1255"/>
                  <a:pt x="1030" y="1258"/>
                </a:cubicBezTo>
                <a:cubicBezTo>
                  <a:pt x="1029" y="1262"/>
                  <a:pt x="1023" y="1264"/>
                  <a:pt x="1020" y="1261"/>
                </a:cubicBezTo>
                <a:cubicBezTo>
                  <a:pt x="1019" y="1259"/>
                  <a:pt x="1018" y="1259"/>
                  <a:pt x="1017" y="1257"/>
                </a:cubicBezTo>
                <a:cubicBezTo>
                  <a:pt x="1016" y="1258"/>
                  <a:pt x="1016" y="1258"/>
                  <a:pt x="1016" y="1258"/>
                </a:cubicBezTo>
                <a:close/>
                <a:moveTo>
                  <a:pt x="1010" y="1253"/>
                </a:moveTo>
                <a:cubicBezTo>
                  <a:pt x="1014" y="1255"/>
                  <a:pt x="1017" y="1256"/>
                  <a:pt x="1020" y="1259"/>
                </a:cubicBezTo>
                <a:cubicBezTo>
                  <a:pt x="1022" y="1261"/>
                  <a:pt x="1024" y="1261"/>
                  <a:pt x="1026" y="1261"/>
                </a:cubicBezTo>
                <a:cubicBezTo>
                  <a:pt x="1028" y="1260"/>
                  <a:pt x="1030" y="1258"/>
                  <a:pt x="1030" y="1255"/>
                </a:cubicBezTo>
                <a:cubicBezTo>
                  <a:pt x="1030" y="1255"/>
                  <a:pt x="1029" y="1255"/>
                  <a:pt x="1029" y="1255"/>
                </a:cubicBezTo>
                <a:cubicBezTo>
                  <a:pt x="1028" y="1257"/>
                  <a:pt x="1027" y="1258"/>
                  <a:pt x="1026" y="1259"/>
                </a:cubicBezTo>
                <a:cubicBezTo>
                  <a:pt x="1025" y="1260"/>
                  <a:pt x="1024" y="1260"/>
                  <a:pt x="1023" y="1259"/>
                </a:cubicBezTo>
                <a:cubicBezTo>
                  <a:pt x="1023" y="1259"/>
                  <a:pt x="1022" y="1258"/>
                  <a:pt x="1022" y="1257"/>
                </a:cubicBezTo>
                <a:cubicBezTo>
                  <a:pt x="1022" y="1255"/>
                  <a:pt x="1023" y="1253"/>
                  <a:pt x="1023" y="1251"/>
                </a:cubicBezTo>
                <a:cubicBezTo>
                  <a:pt x="1026" y="1252"/>
                  <a:pt x="1029" y="1253"/>
                  <a:pt x="1033" y="1253"/>
                </a:cubicBezTo>
                <a:cubicBezTo>
                  <a:pt x="1040" y="1255"/>
                  <a:pt x="1046" y="1253"/>
                  <a:pt x="1049" y="1244"/>
                </a:cubicBezTo>
                <a:cubicBezTo>
                  <a:pt x="1051" y="1240"/>
                  <a:pt x="1051" y="1235"/>
                  <a:pt x="1050" y="1230"/>
                </a:cubicBezTo>
                <a:cubicBezTo>
                  <a:pt x="1049" y="1228"/>
                  <a:pt x="1049" y="1226"/>
                  <a:pt x="1048" y="1224"/>
                </a:cubicBezTo>
                <a:cubicBezTo>
                  <a:pt x="1047" y="1223"/>
                  <a:pt x="1046" y="1222"/>
                  <a:pt x="1045" y="1224"/>
                </a:cubicBezTo>
                <a:cubicBezTo>
                  <a:pt x="1043" y="1225"/>
                  <a:pt x="1041" y="1227"/>
                  <a:pt x="1039" y="1228"/>
                </a:cubicBezTo>
                <a:cubicBezTo>
                  <a:pt x="1039" y="1228"/>
                  <a:pt x="1038" y="1229"/>
                  <a:pt x="1038" y="1230"/>
                </a:cubicBezTo>
                <a:cubicBezTo>
                  <a:pt x="1039" y="1233"/>
                  <a:pt x="1038" y="1236"/>
                  <a:pt x="1037" y="1240"/>
                </a:cubicBezTo>
                <a:cubicBezTo>
                  <a:pt x="1037" y="1238"/>
                  <a:pt x="1038" y="1236"/>
                  <a:pt x="1038" y="1234"/>
                </a:cubicBezTo>
                <a:cubicBezTo>
                  <a:pt x="1038" y="1233"/>
                  <a:pt x="1037" y="1233"/>
                  <a:pt x="1037" y="1232"/>
                </a:cubicBezTo>
                <a:cubicBezTo>
                  <a:pt x="1036" y="1233"/>
                  <a:pt x="1036" y="1233"/>
                  <a:pt x="1036" y="1233"/>
                </a:cubicBezTo>
                <a:cubicBezTo>
                  <a:pt x="1035" y="1234"/>
                  <a:pt x="1034" y="1236"/>
                  <a:pt x="1033" y="1237"/>
                </a:cubicBezTo>
                <a:cubicBezTo>
                  <a:pt x="1033" y="1237"/>
                  <a:pt x="1033" y="1237"/>
                  <a:pt x="1033" y="1237"/>
                </a:cubicBezTo>
                <a:cubicBezTo>
                  <a:pt x="1033" y="1236"/>
                  <a:pt x="1034" y="1234"/>
                  <a:pt x="1034" y="1232"/>
                </a:cubicBezTo>
                <a:cubicBezTo>
                  <a:pt x="1033" y="1232"/>
                  <a:pt x="1032" y="1233"/>
                  <a:pt x="1032" y="1234"/>
                </a:cubicBezTo>
                <a:cubicBezTo>
                  <a:pt x="1031" y="1234"/>
                  <a:pt x="1031" y="1235"/>
                  <a:pt x="1030" y="1236"/>
                </a:cubicBezTo>
                <a:cubicBezTo>
                  <a:pt x="1031" y="1232"/>
                  <a:pt x="1031" y="1232"/>
                  <a:pt x="1037" y="1231"/>
                </a:cubicBezTo>
                <a:cubicBezTo>
                  <a:pt x="1037" y="1230"/>
                  <a:pt x="1036" y="1230"/>
                  <a:pt x="1036" y="1230"/>
                </a:cubicBezTo>
                <a:cubicBezTo>
                  <a:pt x="1033" y="1230"/>
                  <a:pt x="1032" y="1229"/>
                  <a:pt x="1032" y="1226"/>
                </a:cubicBezTo>
                <a:cubicBezTo>
                  <a:pt x="1034" y="1226"/>
                  <a:pt x="1035" y="1226"/>
                  <a:pt x="1037" y="1225"/>
                </a:cubicBezTo>
                <a:cubicBezTo>
                  <a:pt x="1035" y="1223"/>
                  <a:pt x="1034" y="1220"/>
                  <a:pt x="1030" y="1220"/>
                </a:cubicBezTo>
                <a:cubicBezTo>
                  <a:pt x="1030" y="1220"/>
                  <a:pt x="1030" y="1219"/>
                  <a:pt x="1030" y="1219"/>
                </a:cubicBezTo>
                <a:cubicBezTo>
                  <a:pt x="1027" y="1217"/>
                  <a:pt x="1025" y="1215"/>
                  <a:pt x="1022" y="1213"/>
                </a:cubicBezTo>
                <a:cubicBezTo>
                  <a:pt x="1020" y="1211"/>
                  <a:pt x="1017" y="1211"/>
                  <a:pt x="1015" y="1211"/>
                </a:cubicBezTo>
                <a:cubicBezTo>
                  <a:pt x="1012" y="1211"/>
                  <a:pt x="1008" y="1212"/>
                  <a:pt x="1005" y="1213"/>
                </a:cubicBezTo>
                <a:cubicBezTo>
                  <a:pt x="1002" y="1214"/>
                  <a:pt x="1000" y="1216"/>
                  <a:pt x="998" y="1219"/>
                </a:cubicBezTo>
                <a:cubicBezTo>
                  <a:pt x="1000" y="1219"/>
                  <a:pt x="1001" y="1219"/>
                  <a:pt x="1002" y="1219"/>
                </a:cubicBezTo>
                <a:cubicBezTo>
                  <a:pt x="1002" y="1219"/>
                  <a:pt x="1001" y="1220"/>
                  <a:pt x="1000" y="1220"/>
                </a:cubicBezTo>
                <a:cubicBezTo>
                  <a:pt x="998" y="1221"/>
                  <a:pt x="995" y="1220"/>
                  <a:pt x="993" y="1222"/>
                </a:cubicBezTo>
                <a:cubicBezTo>
                  <a:pt x="989" y="1226"/>
                  <a:pt x="985" y="1230"/>
                  <a:pt x="982" y="1234"/>
                </a:cubicBezTo>
                <a:cubicBezTo>
                  <a:pt x="980" y="1236"/>
                  <a:pt x="980" y="1238"/>
                  <a:pt x="978" y="1241"/>
                </a:cubicBezTo>
                <a:cubicBezTo>
                  <a:pt x="978" y="1241"/>
                  <a:pt x="978" y="1242"/>
                  <a:pt x="979" y="1242"/>
                </a:cubicBezTo>
                <a:cubicBezTo>
                  <a:pt x="980" y="1244"/>
                  <a:pt x="981" y="1246"/>
                  <a:pt x="983" y="1248"/>
                </a:cubicBezTo>
                <a:cubicBezTo>
                  <a:pt x="984" y="1247"/>
                  <a:pt x="985" y="1245"/>
                  <a:pt x="986" y="1244"/>
                </a:cubicBezTo>
                <a:cubicBezTo>
                  <a:pt x="986" y="1245"/>
                  <a:pt x="985" y="1246"/>
                  <a:pt x="985" y="1248"/>
                </a:cubicBezTo>
                <a:cubicBezTo>
                  <a:pt x="984" y="1249"/>
                  <a:pt x="983" y="1250"/>
                  <a:pt x="983" y="1252"/>
                </a:cubicBezTo>
                <a:cubicBezTo>
                  <a:pt x="982" y="1253"/>
                  <a:pt x="983" y="1254"/>
                  <a:pt x="983" y="1255"/>
                </a:cubicBezTo>
                <a:cubicBezTo>
                  <a:pt x="985" y="1258"/>
                  <a:pt x="989" y="1258"/>
                  <a:pt x="993" y="1256"/>
                </a:cubicBezTo>
                <a:cubicBezTo>
                  <a:pt x="995" y="1255"/>
                  <a:pt x="998" y="1253"/>
                  <a:pt x="1000" y="1253"/>
                </a:cubicBezTo>
                <a:cubicBezTo>
                  <a:pt x="1002" y="1252"/>
                  <a:pt x="1003" y="1251"/>
                  <a:pt x="1003" y="1250"/>
                </a:cubicBezTo>
                <a:cubicBezTo>
                  <a:pt x="1003" y="1247"/>
                  <a:pt x="1003" y="1243"/>
                  <a:pt x="1003" y="1240"/>
                </a:cubicBezTo>
                <a:cubicBezTo>
                  <a:pt x="1003" y="1237"/>
                  <a:pt x="1003" y="1234"/>
                  <a:pt x="1003" y="1231"/>
                </a:cubicBezTo>
                <a:cubicBezTo>
                  <a:pt x="1004" y="1234"/>
                  <a:pt x="1004" y="1236"/>
                  <a:pt x="1005" y="1239"/>
                </a:cubicBezTo>
                <a:cubicBezTo>
                  <a:pt x="1006" y="1244"/>
                  <a:pt x="1006" y="1248"/>
                  <a:pt x="1004" y="1252"/>
                </a:cubicBezTo>
                <a:cubicBezTo>
                  <a:pt x="1004" y="1253"/>
                  <a:pt x="1003" y="1254"/>
                  <a:pt x="1003" y="1254"/>
                </a:cubicBezTo>
                <a:cubicBezTo>
                  <a:pt x="999" y="1254"/>
                  <a:pt x="996" y="1256"/>
                  <a:pt x="993" y="1258"/>
                </a:cubicBezTo>
                <a:cubicBezTo>
                  <a:pt x="988" y="1261"/>
                  <a:pt x="984" y="1259"/>
                  <a:pt x="981" y="1255"/>
                </a:cubicBezTo>
                <a:cubicBezTo>
                  <a:pt x="980" y="1255"/>
                  <a:pt x="980" y="1253"/>
                  <a:pt x="981" y="1253"/>
                </a:cubicBezTo>
                <a:cubicBezTo>
                  <a:pt x="982" y="1251"/>
                  <a:pt x="981" y="1249"/>
                  <a:pt x="979" y="1247"/>
                </a:cubicBezTo>
                <a:cubicBezTo>
                  <a:pt x="978" y="1245"/>
                  <a:pt x="976" y="1242"/>
                  <a:pt x="977" y="1240"/>
                </a:cubicBezTo>
                <a:cubicBezTo>
                  <a:pt x="978" y="1238"/>
                  <a:pt x="979" y="1236"/>
                  <a:pt x="980" y="1234"/>
                </a:cubicBezTo>
                <a:cubicBezTo>
                  <a:pt x="982" y="1232"/>
                  <a:pt x="984" y="1229"/>
                  <a:pt x="986" y="1226"/>
                </a:cubicBezTo>
                <a:cubicBezTo>
                  <a:pt x="985" y="1226"/>
                  <a:pt x="985" y="1226"/>
                  <a:pt x="985" y="1226"/>
                </a:cubicBezTo>
                <a:cubicBezTo>
                  <a:pt x="980" y="1228"/>
                  <a:pt x="975" y="1229"/>
                  <a:pt x="971" y="1232"/>
                </a:cubicBezTo>
                <a:cubicBezTo>
                  <a:pt x="967" y="1237"/>
                  <a:pt x="964" y="1242"/>
                  <a:pt x="963" y="1249"/>
                </a:cubicBezTo>
                <a:cubicBezTo>
                  <a:pt x="963" y="1255"/>
                  <a:pt x="965" y="1261"/>
                  <a:pt x="969" y="1267"/>
                </a:cubicBezTo>
                <a:cubicBezTo>
                  <a:pt x="969" y="1268"/>
                  <a:pt x="970" y="1270"/>
                  <a:pt x="970" y="1271"/>
                </a:cubicBezTo>
                <a:cubicBezTo>
                  <a:pt x="970" y="1272"/>
                  <a:pt x="969" y="1274"/>
                  <a:pt x="969" y="1275"/>
                </a:cubicBezTo>
                <a:cubicBezTo>
                  <a:pt x="968" y="1277"/>
                  <a:pt x="969" y="1278"/>
                  <a:pt x="970" y="1278"/>
                </a:cubicBezTo>
                <a:cubicBezTo>
                  <a:pt x="973" y="1279"/>
                  <a:pt x="976" y="1280"/>
                  <a:pt x="978" y="1280"/>
                </a:cubicBezTo>
                <a:cubicBezTo>
                  <a:pt x="979" y="1280"/>
                  <a:pt x="980" y="1279"/>
                  <a:pt x="980" y="1279"/>
                </a:cubicBezTo>
                <a:cubicBezTo>
                  <a:pt x="980" y="1278"/>
                  <a:pt x="980" y="1276"/>
                  <a:pt x="981" y="1275"/>
                </a:cubicBezTo>
                <a:cubicBezTo>
                  <a:pt x="983" y="1273"/>
                  <a:pt x="983" y="1270"/>
                  <a:pt x="983" y="1267"/>
                </a:cubicBezTo>
                <a:cubicBezTo>
                  <a:pt x="983" y="1267"/>
                  <a:pt x="983" y="1266"/>
                  <a:pt x="983" y="1266"/>
                </a:cubicBezTo>
                <a:cubicBezTo>
                  <a:pt x="983" y="1266"/>
                  <a:pt x="983" y="1266"/>
                  <a:pt x="983" y="1265"/>
                </a:cubicBezTo>
                <a:cubicBezTo>
                  <a:pt x="984" y="1268"/>
                  <a:pt x="985" y="1268"/>
                  <a:pt x="987" y="1268"/>
                </a:cubicBezTo>
                <a:cubicBezTo>
                  <a:pt x="988" y="1268"/>
                  <a:pt x="989" y="1268"/>
                  <a:pt x="990" y="1268"/>
                </a:cubicBezTo>
                <a:cubicBezTo>
                  <a:pt x="992" y="1268"/>
                  <a:pt x="995" y="1269"/>
                  <a:pt x="996" y="1264"/>
                </a:cubicBezTo>
                <a:cubicBezTo>
                  <a:pt x="996" y="1267"/>
                  <a:pt x="996" y="1268"/>
                  <a:pt x="996" y="1269"/>
                </a:cubicBezTo>
                <a:cubicBezTo>
                  <a:pt x="995" y="1270"/>
                  <a:pt x="993" y="1271"/>
                  <a:pt x="992" y="1271"/>
                </a:cubicBezTo>
                <a:cubicBezTo>
                  <a:pt x="991" y="1272"/>
                  <a:pt x="990" y="1274"/>
                  <a:pt x="991" y="1274"/>
                </a:cubicBezTo>
                <a:cubicBezTo>
                  <a:pt x="992" y="1277"/>
                  <a:pt x="993" y="1279"/>
                  <a:pt x="995" y="1281"/>
                </a:cubicBezTo>
                <a:cubicBezTo>
                  <a:pt x="997" y="1282"/>
                  <a:pt x="998" y="1282"/>
                  <a:pt x="1000" y="1280"/>
                </a:cubicBezTo>
                <a:cubicBezTo>
                  <a:pt x="1000" y="1279"/>
                  <a:pt x="1001" y="1278"/>
                  <a:pt x="1002" y="1278"/>
                </a:cubicBezTo>
                <a:cubicBezTo>
                  <a:pt x="1004" y="1276"/>
                  <a:pt x="1005" y="1275"/>
                  <a:pt x="1007" y="1274"/>
                </a:cubicBezTo>
                <a:cubicBezTo>
                  <a:pt x="1011" y="1270"/>
                  <a:pt x="1013" y="1264"/>
                  <a:pt x="1015" y="1258"/>
                </a:cubicBezTo>
                <a:cubicBezTo>
                  <a:pt x="1015" y="1257"/>
                  <a:pt x="1014" y="1257"/>
                  <a:pt x="1013" y="1256"/>
                </a:cubicBezTo>
                <a:cubicBezTo>
                  <a:pt x="1013" y="1255"/>
                  <a:pt x="1012" y="1254"/>
                  <a:pt x="1010" y="1253"/>
                </a:cubicBezTo>
                <a:close/>
                <a:moveTo>
                  <a:pt x="963" y="1260"/>
                </a:moveTo>
                <a:cubicBezTo>
                  <a:pt x="962" y="1261"/>
                  <a:pt x="961" y="1261"/>
                  <a:pt x="959" y="1263"/>
                </a:cubicBezTo>
                <a:cubicBezTo>
                  <a:pt x="959" y="1263"/>
                  <a:pt x="959" y="1264"/>
                  <a:pt x="959" y="1264"/>
                </a:cubicBezTo>
                <a:cubicBezTo>
                  <a:pt x="959" y="1267"/>
                  <a:pt x="963" y="1272"/>
                  <a:pt x="966" y="1271"/>
                </a:cubicBezTo>
                <a:cubicBezTo>
                  <a:pt x="968" y="1271"/>
                  <a:pt x="969" y="1270"/>
                  <a:pt x="968" y="1268"/>
                </a:cubicBezTo>
                <a:cubicBezTo>
                  <a:pt x="966" y="1265"/>
                  <a:pt x="965" y="1263"/>
                  <a:pt x="963" y="1260"/>
                </a:cubicBezTo>
                <a:close/>
                <a:moveTo>
                  <a:pt x="1016" y="1262"/>
                </a:moveTo>
                <a:cubicBezTo>
                  <a:pt x="1013" y="1266"/>
                  <a:pt x="1011" y="1271"/>
                  <a:pt x="1009" y="1275"/>
                </a:cubicBezTo>
                <a:cubicBezTo>
                  <a:pt x="1012" y="1275"/>
                  <a:pt x="1014" y="1276"/>
                  <a:pt x="1017" y="1275"/>
                </a:cubicBezTo>
                <a:cubicBezTo>
                  <a:pt x="1017" y="1275"/>
                  <a:pt x="1017" y="1274"/>
                  <a:pt x="1017" y="1274"/>
                </a:cubicBezTo>
                <a:cubicBezTo>
                  <a:pt x="1017" y="1271"/>
                  <a:pt x="1017" y="1268"/>
                  <a:pt x="1017" y="1266"/>
                </a:cubicBezTo>
                <a:cubicBezTo>
                  <a:pt x="1017" y="1264"/>
                  <a:pt x="1016" y="1263"/>
                  <a:pt x="1016" y="1262"/>
                </a:cubicBezTo>
                <a:close/>
                <a:moveTo>
                  <a:pt x="963" y="1242"/>
                </a:moveTo>
                <a:cubicBezTo>
                  <a:pt x="962" y="1242"/>
                  <a:pt x="961" y="1242"/>
                  <a:pt x="961" y="1242"/>
                </a:cubicBezTo>
                <a:cubicBezTo>
                  <a:pt x="960" y="1242"/>
                  <a:pt x="959" y="1242"/>
                  <a:pt x="959" y="1242"/>
                </a:cubicBezTo>
                <a:cubicBezTo>
                  <a:pt x="959" y="1242"/>
                  <a:pt x="959" y="1241"/>
                  <a:pt x="959" y="1240"/>
                </a:cubicBezTo>
                <a:cubicBezTo>
                  <a:pt x="959" y="1238"/>
                  <a:pt x="960" y="1236"/>
                  <a:pt x="961" y="1234"/>
                </a:cubicBezTo>
                <a:cubicBezTo>
                  <a:pt x="960" y="1234"/>
                  <a:pt x="960" y="1234"/>
                  <a:pt x="960" y="1234"/>
                </a:cubicBezTo>
                <a:cubicBezTo>
                  <a:pt x="959" y="1235"/>
                  <a:pt x="958" y="1236"/>
                  <a:pt x="957" y="1237"/>
                </a:cubicBezTo>
                <a:cubicBezTo>
                  <a:pt x="956" y="1238"/>
                  <a:pt x="958" y="1243"/>
                  <a:pt x="959" y="1244"/>
                </a:cubicBezTo>
                <a:cubicBezTo>
                  <a:pt x="961" y="1245"/>
                  <a:pt x="963" y="1244"/>
                  <a:pt x="963" y="1242"/>
                </a:cubicBezTo>
                <a:close/>
                <a:moveTo>
                  <a:pt x="963" y="1259"/>
                </a:moveTo>
                <a:cubicBezTo>
                  <a:pt x="962" y="1260"/>
                  <a:pt x="961" y="1261"/>
                  <a:pt x="960" y="1262"/>
                </a:cubicBezTo>
                <a:cubicBezTo>
                  <a:pt x="959" y="1263"/>
                  <a:pt x="959" y="1263"/>
                  <a:pt x="959" y="1264"/>
                </a:cubicBezTo>
                <a:cubicBezTo>
                  <a:pt x="959" y="1267"/>
                  <a:pt x="963" y="1271"/>
                  <a:pt x="966" y="1271"/>
                </a:cubicBezTo>
                <a:cubicBezTo>
                  <a:pt x="968" y="1271"/>
                  <a:pt x="968" y="1270"/>
                  <a:pt x="968" y="1268"/>
                </a:cubicBezTo>
                <a:cubicBezTo>
                  <a:pt x="966" y="1265"/>
                  <a:pt x="965" y="1262"/>
                  <a:pt x="963" y="1259"/>
                </a:cubicBezTo>
                <a:close/>
                <a:moveTo>
                  <a:pt x="1016" y="1261"/>
                </a:moveTo>
                <a:cubicBezTo>
                  <a:pt x="1014" y="1266"/>
                  <a:pt x="1011" y="1270"/>
                  <a:pt x="1009" y="1275"/>
                </a:cubicBezTo>
                <a:cubicBezTo>
                  <a:pt x="1012" y="1275"/>
                  <a:pt x="1014" y="1275"/>
                  <a:pt x="1017" y="1275"/>
                </a:cubicBezTo>
                <a:cubicBezTo>
                  <a:pt x="1017" y="1275"/>
                  <a:pt x="1017" y="1274"/>
                  <a:pt x="1017" y="1273"/>
                </a:cubicBezTo>
                <a:cubicBezTo>
                  <a:pt x="1017" y="1270"/>
                  <a:pt x="1017" y="1268"/>
                  <a:pt x="1017" y="1266"/>
                </a:cubicBezTo>
                <a:cubicBezTo>
                  <a:pt x="1017" y="1264"/>
                  <a:pt x="1016" y="1263"/>
                  <a:pt x="1016" y="1261"/>
                </a:cubicBezTo>
                <a:close/>
                <a:moveTo>
                  <a:pt x="963" y="1241"/>
                </a:moveTo>
                <a:cubicBezTo>
                  <a:pt x="962" y="1242"/>
                  <a:pt x="962" y="1242"/>
                  <a:pt x="961" y="1242"/>
                </a:cubicBezTo>
                <a:cubicBezTo>
                  <a:pt x="960" y="1242"/>
                  <a:pt x="960" y="1242"/>
                  <a:pt x="960" y="1242"/>
                </a:cubicBezTo>
                <a:cubicBezTo>
                  <a:pt x="959" y="1241"/>
                  <a:pt x="959" y="1241"/>
                  <a:pt x="959" y="1240"/>
                </a:cubicBezTo>
                <a:cubicBezTo>
                  <a:pt x="960" y="1238"/>
                  <a:pt x="960" y="1236"/>
                  <a:pt x="961" y="1234"/>
                </a:cubicBezTo>
                <a:cubicBezTo>
                  <a:pt x="960" y="1234"/>
                  <a:pt x="960" y="1234"/>
                  <a:pt x="960" y="1234"/>
                </a:cubicBezTo>
                <a:cubicBezTo>
                  <a:pt x="959" y="1235"/>
                  <a:pt x="958" y="1236"/>
                  <a:pt x="957" y="1237"/>
                </a:cubicBezTo>
                <a:cubicBezTo>
                  <a:pt x="956" y="1238"/>
                  <a:pt x="958" y="1243"/>
                  <a:pt x="960" y="1244"/>
                </a:cubicBezTo>
                <a:cubicBezTo>
                  <a:pt x="961" y="1245"/>
                  <a:pt x="963" y="1243"/>
                  <a:pt x="963" y="1241"/>
                </a:cubicBezTo>
                <a:close/>
                <a:moveTo>
                  <a:pt x="1016" y="1233"/>
                </a:moveTo>
                <a:cubicBezTo>
                  <a:pt x="1019" y="1229"/>
                  <a:pt x="1019" y="1229"/>
                  <a:pt x="1022" y="1228"/>
                </a:cubicBezTo>
                <a:cubicBezTo>
                  <a:pt x="1022" y="1230"/>
                  <a:pt x="1024" y="1231"/>
                  <a:pt x="1025" y="1231"/>
                </a:cubicBezTo>
                <a:cubicBezTo>
                  <a:pt x="1023" y="1233"/>
                  <a:pt x="1021" y="1234"/>
                  <a:pt x="1019" y="1235"/>
                </a:cubicBezTo>
                <a:cubicBezTo>
                  <a:pt x="1018" y="1235"/>
                  <a:pt x="1018" y="1234"/>
                  <a:pt x="1017" y="1233"/>
                </a:cubicBezTo>
                <a:cubicBezTo>
                  <a:pt x="1017" y="1233"/>
                  <a:pt x="1016" y="1233"/>
                  <a:pt x="1016" y="1233"/>
                </a:cubicBezTo>
                <a:close/>
                <a:moveTo>
                  <a:pt x="1021" y="1233"/>
                </a:moveTo>
                <a:cubicBezTo>
                  <a:pt x="1021" y="1232"/>
                  <a:pt x="1020" y="1232"/>
                  <a:pt x="1019" y="1232"/>
                </a:cubicBezTo>
                <a:cubicBezTo>
                  <a:pt x="1019" y="1232"/>
                  <a:pt x="1018" y="1233"/>
                  <a:pt x="1018" y="1233"/>
                </a:cubicBezTo>
                <a:cubicBezTo>
                  <a:pt x="1018" y="1233"/>
                  <a:pt x="1019" y="1234"/>
                  <a:pt x="1019" y="1234"/>
                </a:cubicBezTo>
                <a:cubicBezTo>
                  <a:pt x="1020" y="1234"/>
                  <a:pt x="1020" y="1233"/>
                  <a:pt x="1021" y="1233"/>
                </a:cubicBezTo>
                <a:close/>
                <a:moveTo>
                  <a:pt x="1003" y="1223"/>
                </a:moveTo>
                <a:cubicBezTo>
                  <a:pt x="996" y="1222"/>
                  <a:pt x="993" y="1225"/>
                  <a:pt x="992" y="1233"/>
                </a:cubicBezTo>
                <a:cubicBezTo>
                  <a:pt x="993" y="1231"/>
                  <a:pt x="994" y="1228"/>
                  <a:pt x="996" y="1226"/>
                </a:cubicBezTo>
                <a:cubicBezTo>
                  <a:pt x="996" y="1226"/>
                  <a:pt x="996" y="1226"/>
                  <a:pt x="996" y="1226"/>
                </a:cubicBezTo>
                <a:cubicBezTo>
                  <a:pt x="996" y="1227"/>
                  <a:pt x="996" y="1228"/>
                  <a:pt x="996" y="1229"/>
                </a:cubicBezTo>
                <a:cubicBezTo>
                  <a:pt x="997" y="1226"/>
                  <a:pt x="999" y="1224"/>
                  <a:pt x="1003" y="1223"/>
                </a:cubicBezTo>
                <a:close/>
                <a:moveTo>
                  <a:pt x="1046" y="1225"/>
                </a:moveTo>
                <a:cubicBezTo>
                  <a:pt x="1044" y="1226"/>
                  <a:pt x="1042" y="1228"/>
                  <a:pt x="1040" y="1229"/>
                </a:cubicBezTo>
                <a:cubicBezTo>
                  <a:pt x="1043" y="1229"/>
                  <a:pt x="1045" y="1228"/>
                  <a:pt x="1046" y="1225"/>
                </a:cubicBezTo>
                <a:close/>
                <a:moveTo>
                  <a:pt x="1013" y="1227"/>
                </a:moveTo>
                <a:cubicBezTo>
                  <a:pt x="1014" y="1226"/>
                  <a:pt x="1015" y="1224"/>
                  <a:pt x="1016" y="1223"/>
                </a:cubicBezTo>
                <a:cubicBezTo>
                  <a:pt x="1013" y="1224"/>
                  <a:pt x="1012" y="1225"/>
                  <a:pt x="1013" y="1227"/>
                </a:cubicBezTo>
                <a:close/>
                <a:moveTo>
                  <a:pt x="1023" y="1248"/>
                </a:moveTo>
                <a:cubicBezTo>
                  <a:pt x="1021" y="1248"/>
                  <a:pt x="1020" y="1249"/>
                  <a:pt x="1020" y="1250"/>
                </a:cubicBezTo>
                <a:cubicBezTo>
                  <a:pt x="1020" y="1249"/>
                  <a:pt x="1022" y="1249"/>
                  <a:pt x="1023" y="1248"/>
                </a:cubicBezTo>
                <a:close/>
                <a:moveTo>
                  <a:pt x="1021" y="1233"/>
                </a:moveTo>
                <a:cubicBezTo>
                  <a:pt x="1021" y="1232"/>
                  <a:pt x="1020" y="1232"/>
                  <a:pt x="1019" y="1232"/>
                </a:cubicBezTo>
                <a:cubicBezTo>
                  <a:pt x="1019" y="1232"/>
                  <a:pt x="1018" y="1233"/>
                  <a:pt x="1018" y="1233"/>
                </a:cubicBezTo>
                <a:cubicBezTo>
                  <a:pt x="1018" y="1233"/>
                  <a:pt x="1019" y="1234"/>
                  <a:pt x="1019" y="1234"/>
                </a:cubicBezTo>
                <a:cubicBezTo>
                  <a:pt x="1020" y="1234"/>
                  <a:pt x="1020" y="1233"/>
                  <a:pt x="1021" y="1233"/>
                </a:cubicBezTo>
                <a:close/>
                <a:moveTo>
                  <a:pt x="1546" y="1354"/>
                </a:moveTo>
                <a:cubicBezTo>
                  <a:pt x="1546" y="1355"/>
                  <a:pt x="1547" y="1357"/>
                  <a:pt x="1547" y="1358"/>
                </a:cubicBezTo>
                <a:cubicBezTo>
                  <a:pt x="1548" y="1360"/>
                  <a:pt x="1548" y="1362"/>
                  <a:pt x="1549" y="1363"/>
                </a:cubicBezTo>
                <a:cubicBezTo>
                  <a:pt x="1549" y="1365"/>
                  <a:pt x="1549" y="1366"/>
                  <a:pt x="1549" y="1368"/>
                </a:cubicBezTo>
                <a:cubicBezTo>
                  <a:pt x="1550" y="1371"/>
                  <a:pt x="1549" y="1373"/>
                  <a:pt x="1545" y="1373"/>
                </a:cubicBezTo>
                <a:cubicBezTo>
                  <a:pt x="1543" y="1373"/>
                  <a:pt x="1540" y="1372"/>
                  <a:pt x="1537" y="1372"/>
                </a:cubicBezTo>
                <a:cubicBezTo>
                  <a:pt x="1537" y="1372"/>
                  <a:pt x="1536" y="1372"/>
                  <a:pt x="1536" y="1373"/>
                </a:cubicBezTo>
                <a:cubicBezTo>
                  <a:pt x="1534" y="1374"/>
                  <a:pt x="1532" y="1376"/>
                  <a:pt x="1531" y="1377"/>
                </a:cubicBezTo>
                <a:cubicBezTo>
                  <a:pt x="1529" y="1379"/>
                  <a:pt x="1526" y="1380"/>
                  <a:pt x="1524" y="1378"/>
                </a:cubicBezTo>
                <a:cubicBezTo>
                  <a:pt x="1522" y="1376"/>
                  <a:pt x="1521" y="1373"/>
                  <a:pt x="1519" y="1370"/>
                </a:cubicBezTo>
                <a:cubicBezTo>
                  <a:pt x="1518" y="1369"/>
                  <a:pt x="1519" y="1367"/>
                  <a:pt x="1521" y="1366"/>
                </a:cubicBezTo>
                <a:cubicBezTo>
                  <a:pt x="1518" y="1366"/>
                  <a:pt x="1517" y="1366"/>
                  <a:pt x="1515" y="1366"/>
                </a:cubicBezTo>
                <a:cubicBezTo>
                  <a:pt x="1514" y="1368"/>
                  <a:pt x="1513" y="1370"/>
                  <a:pt x="1512" y="1372"/>
                </a:cubicBezTo>
                <a:cubicBezTo>
                  <a:pt x="1512" y="1372"/>
                  <a:pt x="1512" y="1373"/>
                  <a:pt x="1512" y="1374"/>
                </a:cubicBezTo>
                <a:cubicBezTo>
                  <a:pt x="1512" y="1377"/>
                  <a:pt x="1511" y="1378"/>
                  <a:pt x="1508" y="1378"/>
                </a:cubicBezTo>
                <a:cubicBezTo>
                  <a:pt x="1504" y="1378"/>
                  <a:pt x="1502" y="1377"/>
                  <a:pt x="1498" y="1376"/>
                </a:cubicBezTo>
                <a:cubicBezTo>
                  <a:pt x="1496" y="1375"/>
                  <a:pt x="1496" y="1374"/>
                  <a:pt x="1496" y="1372"/>
                </a:cubicBezTo>
                <a:cubicBezTo>
                  <a:pt x="1497" y="1371"/>
                  <a:pt x="1497" y="1370"/>
                  <a:pt x="1497" y="1370"/>
                </a:cubicBezTo>
                <a:cubicBezTo>
                  <a:pt x="1495" y="1369"/>
                  <a:pt x="1493" y="1368"/>
                  <a:pt x="1491" y="1366"/>
                </a:cubicBezTo>
                <a:cubicBezTo>
                  <a:pt x="1489" y="1366"/>
                  <a:pt x="1488" y="1364"/>
                  <a:pt x="1487" y="1362"/>
                </a:cubicBezTo>
                <a:cubicBezTo>
                  <a:pt x="1487" y="1360"/>
                  <a:pt x="1487" y="1359"/>
                  <a:pt x="1489" y="1357"/>
                </a:cubicBezTo>
                <a:cubicBezTo>
                  <a:pt x="1492" y="1355"/>
                  <a:pt x="1493" y="1352"/>
                  <a:pt x="1492" y="1348"/>
                </a:cubicBezTo>
                <a:cubicBezTo>
                  <a:pt x="1492" y="1346"/>
                  <a:pt x="1492" y="1343"/>
                  <a:pt x="1492" y="1342"/>
                </a:cubicBezTo>
                <a:cubicBezTo>
                  <a:pt x="1491" y="1341"/>
                  <a:pt x="1489" y="1341"/>
                  <a:pt x="1488" y="1340"/>
                </a:cubicBezTo>
                <a:cubicBezTo>
                  <a:pt x="1487" y="1338"/>
                  <a:pt x="1486" y="1336"/>
                  <a:pt x="1486" y="1334"/>
                </a:cubicBezTo>
                <a:cubicBezTo>
                  <a:pt x="1485" y="1331"/>
                  <a:pt x="1489" y="1328"/>
                  <a:pt x="1492" y="1328"/>
                </a:cubicBezTo>
                <a:cubicBezTo>
                  <a:pt x="1492" y="1328"/>
                  <a:pt x="1492" y="1329"/>
                  <a:pt x="1493" y="1330"/>
                </a:cubicBezTo>
                <a:cubicBezTo>
                  <a:pt x="1493" y="1331"/>
                  <a:pt x="1493" y="1332"/>
                  <a:pt x="1493" y="1333"/>
                </a:cubicBezTo>
                <a:cubicBezTo>
                  <a:pt x="1492" y="1333"/>
                  <a:pt x="1492" y="1333"/>
                  <a:pt x="1491" y="1333"/>
                </a:cubicBezTo>
                <a:cubicBezTo>
                  <a:pt x="1491" y="1334"/>
                  <a:pt x="1491" y="1335"/>
                  <a:pt x="1490" y="1337"/>
                </a:cubicBezTo>
                <a:cubicBezTo>
                  <a:pt x="1491" y="1337"/>
                  <a:pt x="1492" y="1337"/>
                  <a:pt x="1492" y="1336"/>
                </a:cubicBezTo>
                <a:cubicBezTo>
                  <a:pt x="1493" y="1335"/>
                  <a:pt x="1494" y="1334"/>
                  <a:pt x="1495" y="1333"/>
                </a:cubicBezTo>
                <a:cubicBezTo>
                  <a:pt x="1499" y="1326"/>
                  <a:pt x="1505" y="1322"/>
                  <a:pt x="1513" y="1321"/>
                </a:cubicBezTo>
                <a:cubicBezTo>
                  <a:pt x="1516" y="1320"/>
                  <a:pt x="1519" y="1319"/>
                  <a:pt x="1522" y="1317"/>
                </a:cubicBezTo>
                <a:cubicBezTo>
                  <a:pt x="1522" y="1316"/>
                  <a:pt x="1523" y="1316"/>
                  <a:pt x="1523" y="1316"/>
                </a:cubicBezTo>
                <a:cubicBezTo>
                  <a:pt x="1526" y="1315"/>
                  <a:pt x="1527" y="1313"/>
                  <a:pt x="1529" y="1311"/>
                </a:cubicBezTo>
                <a:cubicBezTo>
                  <a:pt x="1537" y="1303"/>
                  <a:pt x="1549" y="1303"/>
                  <a:pt x="1556" y="1310"/>
                </a:cubicBezTo>
                <a:cubicBezTo>
                  <a:pt x="1559" y="1312"/>
                  <a:pt x="1562" y="1314"/>
                  <a:pt x="1564" y="1316"/>
                </a:cubicBezTo>
                <a:cubicBezTo>
                  <a:pt x="1565" y="1317"/>
                  <a:pt x="1567" y="1319"/>
                  <a:pt x="1568" y="1320"/>
                </a:cubicBezTo>
                <a:cubicBezTo>
                  <a:pt x="1569" y="1322"/>
                  <a:pt x="1569" y="1322"/>
                  <a:pt x="1571" y="1321"/>
                </a:cubicBezTo>
                <a:cubicBezTo>
                  <a:pt x="1571" y="1320"/>
                  <a:pt x="1572" y="1320"/>
                  <a:pt x="1573" y="1319"/>
                </a:cubicBezTo>
                <a:cubicBezTo>
                  <a:pt x="1575" y="1316"/>
                  <a:pt x="1578" y="1316"/>
                  <a:pt x="1579" y="1319"/>
                </a:cubicBezTo>
                <a:cubicBezTo>
                  <a:pt x="1580" y="1322"/>
                  <a:pt x="1581" y="1325"/>
                  <a:pt x="1582" y="1328"/>
                </a:cubicBezTo>
                <a:cubicBezTo>
                  <a:pt x="1582" y="1333"/>
                  <a:pt x="1582" y="1337"/>
                  <a:pt x="1580" y="1341"/>
                </a:cubicBezTo>
                <a:cubicBezTo>
                  <a:pt x="1578" y="1348"/>
                  <a:pt x="1573" y="1351"/>
                  <a:pt x="1567" y="1351"/>
                </a:cubicBezTo>
                <a:cubicBezTo>
                  <a:pt x="1566" y="1351"/>
                  <a:pt x="1565" y="1351"/>
                  <a:pt x="1565" y="1351"/>
                </a:cubicBezTo>
                <a:cubicBezTo>
                  <a:pt x="1562" y="1351"/>
                  <a:pt x="1561" y="1351"/>
                  <a:pt x="1560" y="1354"/>
                </a:cubicBezTo>
                <a:cubicBezTo>
                  <a:pt x="1559" y="1358"/>
                  <a:pt x="1553" y="1360"/>
                  <a:pt x="1550" y="1357"/>
                </a:cubicBezTo>
                <a:cubicBezTo>
                  <a:pt x="1549" y="1355"/>
                  <a:pt x="1548" y="1355"/>
                  <a:pt x="1547" y="1353"/>
                </a:cubicBezTo>
                <a:cubicBezTo>
                  <a:pt x="1546" y="1354"/>
                  <a:pt x="1546" y="1354"/>
                  <a:pt x="1546" y="1354"/>
                </a:cubicBezTo>
                <a:close/>
                <a:moveTo>
                  <a:pt x="1540" y="1349"/>
                </a:moveTo>
                <a:cubicBezTo>
                  <a:pt x="1544" y="1351"/>
                  <a:pt x="1547" y="1352"/>
                  <a:pt x="1550" y="1355"/>
                </a:cubicBezTo>
                <a:cubicBezTo>
                  <a:pt x="1552" y="1357"/>
                  <a:pt x="1554" y="1357"/>
                  <a:pt x="1556" y="1357"/>
                </a:cubicBezTo>
                <a:cubicBezTo>
                  <a:pt x="1558" y="1356"/>
                  <a:pt x="1560" y="1354"/>
                  <a:pt x="1560" y="1351"/>
                </a:cubicBezTo>
                <a:cubicBezTo>
                  <a:pt x="1560" y="1351"/>
                  <a:pt x="1559" y="1351"/>
                  <a:pt x="1559" y="1351"/>
                </a:cubicBezTo>
                <a:cubicBezTo>
                  <a:pt x="1558" y="1353"/>
                  <a:pt x="1557" y="1354"/>
                  <a:pt x="1556" y="1355"/>
                </a:cubicBezTo>
                <a:cubicBezTo>
                  <a:pt x="1555" y="1356"/>
                  <a:pt x="1554" y="1356"/>
                  <a:pt x="1553" y="1355"/>
                </a:cubicBezTo>
                <a:cubicBezTo>
                  <a:pt x="1552" y="1355"/>
                  <a:pt x="1552" y="1354"/>
                  <a:pt x="1552" y="1353"/>
                </a:cubicBezTo>
                <a:cubicBezTo>
                  <a:pt x="1552" y="1351"/>
                  <a:pt x="1552" y="1349"/>
                  <a:pt x="1553" y="1347"/>
                </a:cubicBezTo>
                <a:cubicBezTo>
                  <a:pt x="1556" y="1348"/>
                  <a:pt x="1559" y="1349"/>
                  <a:pt x="1563" y="1349"/>
                </a:cubicBezTo>
                <a:cubicBezTo>
                  <a:pt x="1570" y="1351"/>
                  <a:pt x="1576" y="1349"/>
                  <a:pt x="1579" y="1340"/>
                </a:cubicBezTo>
                <a:cubicBezTo>
                  <a:pt x="1581" y="1336"/>
                  <a:pt x="1580" y="1331"/>
                  <a:pt x="1580" y="1326"/>
                </a:cubicBezTo>
                <a:cubicBezTo>
                  <a:pt x="1579" y="1324"/>
                  <a:pt x="1578" y="1322"/>
                  <a:pt x="1578" y="1320"/>
                </a:cubicBezTo>
                <a:cubicBezTo>
                  <a:pt x="1577" y="1319"/>
                  <a:pt x="1576" y="1318"/>
                  <a:pt x="1575" y="1320"/>
                </a:cubicBezTo>
                <a:cubicBezTo>
                  <a:pt x="1573" y="1321"/>
                  <a:pt x="1571" y="1323"/>
                  <a:pt x="1569" y="1324"/>
                </a:cubicBezTo>
                <a:cubicBezTo>
                  <a:pt x="1569" y="1324"/>
                  <a:pt x="1568" y="1325"/>
                  <a:pt x="1568" y="1326"/>
                </a:cubicBezTo>
                <a:cubicBezTo>
                  <a:pt x="1569" y="1329"/>
                  <a:pt x="1568" y="1332"/>
                  <a:pt x="1567" y="1336"/>
                </a:cubicBezTo>
                <a:cubicBezTo>
                  <a:pt x="1567" y="1334"/>
                  <a:pt x="1567" y="1332"/>
                  <a:pt x="1567" y="1330"/>
                </a:cubicBezTo>
                <a:cubicBezTo>
                  <a:pt x="1567" y="1329"/>
                  <a:pt x="1567" y="1329"/>
                  <a:pt x="1567" y="1328"/>
                </a:cubicBezTo>
                <a:cubicBezTo>
                  <a:pt x="1566" y="1329"/>
                  <a:pt x="1565" y="1329"/>
                  <a:pt x="1565" y="1329"/>
                </a:cubicBezTo>
                <a:cubicBezTo>
                  <a:pt x="1565" y="1330"/>
                  <a:pt x="1564" y="1332"/>
                  <a:pt x="1563" y="1333"/>
                </a:cubicBezTo>
                <a:cubicBezTo>
                  <a:pt x="1563" y="1333"/>
                  <a:pt x="1563" y="1333"/>
                  <a:pt x="1563" y="1333"/>
                </a:cubicBezTo>
                <a:cubicBezTo>
                  <a:pt x="1563" y="1332"/>
                  <a:pt x="1563" y="1330"/>
                  <a:pt x="1564" y="1328"/>
                </a:cubicBezTo>
                <a:cubicBezTo>
                  <a:pt x="1563" y="1328"/>
                  <a:pt x="1562" y="1329"/>
                  <a:pt x="1562" y="1330"/>
                </a:cubicBezTo>
                <a:cubicBezTo>
                  <a:pt x="1561" y="1330"/>
                  <a:pt x="1561" y="1331"/>
                  <a:pt x="1560" y="1332"/>
                </a:cubicBezTo>
                <a:cubicBezTo>
                  <a:pt x="1561" y="1328"/>
                  <a:pt x="1561" y="1328"/>
                  <a:pt x="1567" y="1327"/>
                </a:cubicBezTo>
                <a:cubicBezTo>
                  <a:pt x="1567" y="1326"/>
                  <a:pt x="1566" y="1326"/>
                  <a:pt x="1566" y="1326"/>
                </a:cubicBezTo>
                <a:cubicBezTo>
                  <a:pt x="1563" y="1326"/>
                  <a:pt x="1562" y="1325"/>
                  <a:pt x="1562" y="1322"/>
                </a:cubicBezTo>
                <a:cubicBezTo>
                  <a:pt x="1563" y="1322"/>
                  <a:pt x="1565" y="1322"/>
                  <a:pt x="1567" y="1321"/>
                </a:cubicBezTo>
                <a:cubicBezTo>
                  <a:pt x="1565" y="1319"/>
                  <a:pt x="1563" y="1316"/>
                  <a:pt x="1560" y="1316"/>
                </a:cubicBezTo>
                <a:cubicBezTo>
                  <a:pt x="1560" y="1316"/>
                  <a:pt x="1560" y="1315"/>
                  <a:pt x="1560" y="1315"/>
                </a:cubicBezTo>
                <a:cubicBezTo>
                  <a:pt x="1557" y="1313"/>
                  <a:pt x="1555" y="1311"/>
                  <a:pt x="1552" y="1309"/>
                </a:cubicBezTo>
                <a:cubicBezTo>
                  <a:pt x="1550" y="1307"/>
                  <a:pt x="1547" y="1307"/>
                  <a:pt x="1545" y="1307"/>
                </a:cubicBezTo>
                <a:cubicBezTo>
                  <a:pt x="1541" y="1307"/>
                  <a:pt x="1538" y="1308"/>
                  <a:pt x="1535" y="1309"/>
                </a:cubicBezTo>
                <a:cubicBezTo>
                  <a:pt x="1532" y="1310"/>
                  <a:pt x="1530" y="1312"/>
                  <a:pt x="1528" y="1315"/>
                </a:cubicBezTo>
                <a:cubicBezTo>
                  <a:pt x="1530" y="1315"/>
                  <a:pt x="1531" y="1315"/>
                  <a:pt x="1532" y="1315"/>
                </a:cubicBezTo>
                <a:cubicBezTo>
                  <a:pt x="1532" y="1315"/>
                  <a:pt x="1531" y="1316"/>
                  <a:pt x="1530" y="1316"/>
                </a:cubicBezTo>
                <a:cubicBezTo>
                  <a:pt x="1528" y="1317"/>
                  <a:pt x="1525" y="1316"/>
                  <a:pt x="1523" y="1318"/>
                </a:cubicBezTo>
                <a:cubicBezTo>
                  <a:pt x="1519" y="1322"/>
                  <a:pt x="1515" y="1326"/>
                  <a:pt x="1512" y="1330"/>
                </a:cubicBezTo>
                <a:cubicBezTo>
                  <a:pt x="1510" y="1332"/>
                  <a:pt x="1509" y="1334"/>
                  <a:pt x="1508" y="1337"/>
                </a:cubicBezTo>
                <a:cubicBezTo>
                  <a:pt x="1508" y="1337"/>
                  <a:pt x="1508" y="1338"/>
                  <a:pt x="1509" y="1338"/>
                </a:cubicBezTo>
                <a:cubicBezTo>
                  <a:pt x="1510" y="1340"/>
                  <a:pt x="1511" y="1342"/>
                  <a:pt x="1513" y="1344"/>
                </a:cubicBezTo>
                <a:cubicBezTo>
                  <a:pt x="1514" y="1343"/>
                  <a:pt x="1515" y="1341"/>
                  <a:pt x="1516" y="1340"/>
                </a:cubicBezTo>
                <a:cubicBezTo>
                  <a:pt x="1516" y="1341"/>
                  <a:pt x="1515" y="1342"/>
                  <a:pt x="1515" y="1344"/>
                </a:cubicBezTo>
                <a:cubicBezTo>
                  <a:pt x="1514" y="1345"/>
                  <a:pt x="1513" y="1346"/>
                  <a:pt x="1513" y="1348"/>
                </a:cubicBezTo>
                <a:cubicBezTo>
                  <a:pt x="1512" y="1349"/>
                  <a:pt x="1513" y="1350"/>
                  <a:pt x="1513" y="1351"/>
                </a:cubicBezTo>
                <a:cubicBezTo>
                  <a:pt x="1515" y="1354"/>
                  <a:pt x="1519" y="1354"/>
                  <a:pt x="1523" y="1352"/>
                </a:cubicBezTo>
                <a:cubicBezTo>
                  <a:pt x="1525" y="1351"/>
                  <a:pt x="1528" y="1349"/>
                  <a:pt x="1530" y="1349"/>
                </a:cubicBezTo>
                <a:cubicBezTo>
                  <a:pt x="1532" y="1348"/>
                  <a:pt x="1533" y="1347"/>
                  <a:pt x="1533" y="1346"/>
                </a:cubicBezTo>
                <a:cubicBezTo>
                  <a:pt x="1533" y="1343"/>
                  <a:pt x="1533" y="1339"/>
                  <a:pt x="1533" y="1336"/>
                </a:cubicBezTo>
                <a:cubicBezTo>
                  <a:pt x="1533" y="1333"/>
                  <a:pt x="1533" y="1330"/>
                  <a:pt x="1533" y="1327"/>
                </a:cubicBezTo>
                <a:cubicBezTo>
                  <a:pt x="1534" y="1330"/>
                  <a:pt x="1534" y="1332"/>
                  <a:pt x="1535" y="1335"/>
                </a:cubicBezTo>
                <a:cubicBezTo>
                  <a:pt x="1536" y="1340"/>
                  <a:pt x="1536" y="1344"/>
                  <a:pt x="1534" y="1348"/>
                </a:cubicBezTo>
                <a:cubicBezTo>
                  <a:pt x="1534" y="1349"/>
                  <a:pt x="1533" y="1350"/>
                  <a:pt x="1533" y="1350"/>
                </a:cubicBezTo>
                <a:cubicBezTo>
                  <a:pt x="1529" y="1350"/>
                  <a:pt x="1526" y="1352"/>
                  <a:pt x="1523" y="1354"/>
                </a:cubicBezTo>
                <a:cubicBezTo>
                  <a:pt x="1518" y="1357"/>
                  <a:pt x="1514" y="1355"/>
                  <a:pt x="1511" y="1351"/>
                </a:cubicBezTo>
                <a:cubicBezTo>
                  <a:pt x="1510" y="1351"/>
                  <a:pt x="1510" y="1349"/>
                  <a:pt x="1511" y="1349"/>
                </a:cubicBezTo>
                <a:cubicBezTo>
                  <a:pt x="1512" y="1347"/>
                  <a:pt x="1511" y="1345"/>
                  <a:pt x="1509" y="1343"/>
                </a:cubicBezTo>
                <a:cubicBezTo>
                  <a:pt x="1508" y="1341"/>
                  <a:pt x="1506" y="1338"/>
                  <a:pt x="1507" y="1336"/>
                </a:cubicBezTo>
                <a:cubicBezTo>
                  <a:pt x="1508" y="1334"/>
                  <a:pt x="1509" y="1332"/>
                  <a:pt x="1510" y="1330"/>
                </a:cubicBezTo>
                <a:cubicBezTo>
                  <a:pt x="1511" y="1328"/>
                  <a:pt x="1514" y="1325"/>
                  <a:pt x="1516" y="1322"/>
                </a:cubicBezTo>
                <a:cubicBezTo>
                  <a:pt x="1515" y="1322"/>
                  <a:pt x="1515" y="1322"/>
                  <a:pt x="1515" y="1322"/>
                </a:cubicBezTo>
                <a:cubicBezTo>
                  <a:pt x="1509" y="1324"/>
                  <a:pt x="1505" y="1325"/>
                  <a:pt x="1501" y="1328"/>
                </a:cubicBezTo>
                <a:cubicBezTo>
                  <a:pt x="1496" y="1333"/>
                  <a:pt x="1494" y="1338"/>
                  <a:pt x="1493" y="1345"/>
                </a:cubicBezTo>
                <a:cubicBezTo>
                  <a:pt x="1493" y="1351"/>
                  <a:pt x="1495" y="1357"/>
                  <a:pt x="1499" y="1363"/>
                </a:cubicBezTo>
                <a:cubicBezTo>
                  <a:pt x="1499" y="1364"/>
                  <a:pt x="1500" y="1366"/>
                  <a:pt x="1500" y="1367"/>
                </a:cubicBezTo>
                <a:cubicBezTo>
                  <a:pt x="1500" y="1368"/>
                  <a:pt x="1499" y="1370"/>
                  <a:pt x="1498" y="1371"/>
                </a:cubicBezTo>
                <a:cubicBezTo>
                  <a:pt x="1498" y="1373"/>
                  <a:pt x="1498" y="1374"/>
                  <a:pt x="1500" y="1374"/>
                </a:cubicBezTo>
                <a:cubicBezTo>
                  <a:pt x="1503" y="1375"/>
                  <a:pt x="1506" y="1376"/>
                  <a:pt x="1508" y="1376"/>
                </a:cubicBezTo>
                <a:cubicBezTo>
                  <a:pt x="1509" y="1376"/>
                  <a:pt x="1510" y="1375"/>
                  <a:pt x="1510" y="1375"/>
                </a:cubicBezTo>
                <a:cubicBezTo>
                  <a:pt x="1510" y="1374"/>
                  <a:pt x="1510" y="1372"/>
                  <a:pt x="1511" y="1371"/>
                </a:cubicBezTo>
                <a:cubicBezTo>
                  <a:pt x="1513" y="1369"/>
                  <a:pt x="1513" y="1366"/>
                  <a:pt x="1513" y="1363"/>
                </a:cubicBezTo>
                <a:cubicBezTo>
                  <a:pt x="1513" y="1363"/>
                  <a:pt x="1513" y="1362"/>
                  <a:pt x="1513" y="1362"/>
                </a:cubicBezTo>
                <a:cubicBezTo>
                  <a:pt x="1513" y="1362"/>
                  <a:pt x="1513" y="1362"/>
                  <a:pt x="1513" y="1361"/>
                </a:cubicBezTo>
                <a:cubicBezTo>
                  <a:pt x="1513" y="1364"/>
                  <a:pt x="1515" y="1364"/>
                  <a:pt x="1517" y="1364"/>
                </a:cubicBezTo>
                <a:cubicBezTo>
                  <a:pt x="1518" y="1364"/>
                  <a:pt x="1519" y="1364"/>
                  <a:pt x="1520" y="1364"/>
                </a:cubicBezTo>
                <a:cubicBezTo>
                  <a:pt x="1522" y="1364"/>
                  <a:pt x="1525" y="1365"/>
                  <a:pt x="1526" y="1360"/>
                </a:cubicBezTo>
                <a:cubicBezTo>
                  <a:pt x="1526" y="1363"/>
                  <a:pt x="1526" y="1364"/>
                  <a:pt x="1526" y="1365"/>
                </a:cubicBezTo>
                <a:cubicBezTo>
                  <a:pt x="1524" y="1366"/>
                  <a:pt x="1523" y="1367"/>
                  <a:pt x="1522" y="1367"/>
                </a:cubicBezTo>
                <a:cubicBezTo>
                  <a:pt x="1521" y="1368"/>
                  <a:pt x="1520" y="1370"/>
                  <a:pt x="1521" y="1370"/>
                </a:cubicBezTo>
                <a:cubicBezTo>
                  <a:pt x="1522" y="1373"/>
                  <a:pt x="1523" y="1375"/>
                  <a:pt x="1525" y="1377"/>
                </a:cubicBezTo>
                <a:cubicBezTo>
                  <a:pt x="1526" y="1378"/>
                  <a:pt x="1528" y="1378"/>
                  <a:pt x="1530" y="1376"/>
                </a:cubicBezTo>
                <a:cubicBezTo>
                  <a:pt x="1530" y="1375"/>
                  <a:pt x="1531" y="1374"/>
                  <a:pt x="1532" y="1374"/>
                </a:cubicBezTo>
                <a:cubicBezTo>
                  <a:pt x="1534" y="1372"/>
                  <a:pt x="1535" y="1371"/>
                  <a:pt x="1537" y="1370"/>
                </a:cubicBezTo>
                <a:cubicBezTo>
                  <a:pt x="1541" y="1366"/>
                  <a:pt x="1543" y="1360"/>
                  <a:pt x="1545" y="1354"/>
                </a:cubicBezTo>
                <a:cubicBezTo>
                  <a:pt x="1545" y="1353"/>
                  <a:pt x="1544" y="1353"/>
                  <a:pt x="1543" y="1352"/>
                </a:cubicBezTo>
                <a:cubicBezTo>
                  <a:pt x="1543" y="1351"/>
                  <a:pt x="1541" y="1350"/>
                  <a:pt x="1540" y="1349"/>
                </a:cubicBezTo>
                <a:close/>
                <a:moveTo>
                  <a:pt x="1493" y="1356"/>
                </a:moveTo>
                <a:cubicBezTo>
                  <a:pt x="1492" y="1357"/>
                  <a:pt x="1491" y="1357"/>
                  <a:pt x="1489" y="1359"/>
                </a:cubicBezTo>
                <a:cubicBezTo>
                  <a:pt x="1489" y="1359"/>
                  <a:pt x="1489" y="1360"/>
                  <a:pt x="1489" y="1360"/>
                </a:cubicBezTo>
                <a:cubicBezTo>
                  <a:pt x="1489" y="1363"/>
                  <a:pt x="1493" y="1368"/>
                  <a:pt x="1496" y="1367"/>
                </a:cubicBezTo>
                <a:cubicBezTo>
                  <a:pt x="1498" y="1367"/>
                  <a:pt x="1498" y="1366"/>
                  <a:pt x="1498" y="1364"/>
                </a:cubicBezTo>
                <a:cubicBezTo>
                  <a:pt x="1496" y="1361"/>
                  <a:pt x="1495" y="1359"/>
                  <a:pt x="1493" y="1356"/>
                </a:cubicBezTo>
                <a:close/>
                <a:moveTo>
                  <a:pt x="1546" y="1358"/>
                </a:moveTo>
                <a:cubicBezTo>
                  <a:pt x="1543" y="1362"/>
                  <a:pt x="1541" y="1367"/>
                  <a:pt x="1539" y="1371"/>
                </a:cubicBezTo>
                <a:cubicBezTo>
                  <a:pt x="1541" y="1371"/>
                  <a:pt x="1544" y="1372"/>
                  <a:pt x="1547" y="1371"/>
                </a:cubicBezTo>
                <a:cubicBezTo>
                  <a:pt x="1547" y="1371"/>
                  <a:pt x="1547" y="1370"/>
                  <a:pt x="1547" y="1370"/>
                </a:cubicBezTo>
                <a:cubicBezTo>
                  <a:pt x="1547" y="1367"/>
                  <a:pt x="1547" y="1364"/>
                  <a:pt x="1547" y="1362"/>
                </a:cubicBezTo>
                <a:cubicBezTo>
                  <a:pt x="1547" y="1360"/>
                  <a:pt x="1546" y="1359"/>
                  <a:pt x="1546" y="1358"/>
                </a:cubicBezTo>
                <a:close/>
                <a:moveTo>
                  <a:pt x="1493" y="1338"/>
                </a:moveTo>
                <a:cubicBezTo>
                  <a:pt x="1492" y="1338"/>
                  <a:pt x="1491" y="1338"/>
                  <a:pt x="1491" y="1338"/>
                </a:cubicBezTo>
                <a:cubicBezTo>
                  <a:pt x="1490" y="1338"/>
                  <a:pt x="1489" y="1338"/>
                  <a:pt x="1489" y="1338"/>
                </a:cubicBezTo>
                <a:cubicBezTo>
                  <a:pt x="1489" y="1338"/>
                  <a:pt x="1489" y="1337"/>
                  <a:pt x="1489" y="1336"/>
                </a:cubicBezTo>
                <a:cubicBezTo>
                  <a:pt x="1489" y="1334"/>
                  <a:pt x="1490" y="1332"/>
                  <a:pt x="1491" y="1330"/>
                </a:cubicBezTo>
                <a:cubicBezTo>
                  <a:pt x="1490" y="1330"/>
                  <a:pt x="1490" y="1330"/>
                  <a:pt x="1490" y="1330"/>
                </a:cubicBezTo>
                <a:cubicBezTo>
                  <a:pt x="1489" y="1331"/>
                  <a:pt x="1488" y="1332"/>
                  <a:pt x="1487" y="1333"/>
                </a:cubicBezTo>
                <a:cubicBezTo>
                  <a:pt x="1486" y="1334"/>
                  <a:pt x="1488" y="1339"/>
                  <a:pt x="1489" y="1340"/>
                </a:cubicBezTo>
                <a:cubicBezTo>
                  <a:pt x="1491" y="1341"/>
                  <a:pt x="1493" y="1340"/>
                  <a:pt x="1493" y="1338"/>
                </a:cubicBezTo>
                <a:close/>
                <a:moveTo>
                  <a:pt x="1493" y="1355"/>
                </a:moveTo>
                <a:cubicBezTo>
                  <a:pt x="1492" y="1356"/>
                  <a:pt x="1491" y="1357"/>
                  <a:pt x="1490" y="1358"/>
                </a:cubicBezTo>
                <a:cubicBezTo>
                  <a:pt x="1489" y="1359"/>
                  <a:pt x="1489" y="1359"/>
                  <a:pt x="1489" y="1360"/>
                </a:cubicBezTo>
                <a:cubicBezTo>
                  <a:pt x="1489" y="1363"/>
                  <a:pt x="1493" y="1367"/>
                  <a:pt x="1496" y="1367"/>
                </a:cubicBezTo>
                <a:cubicBezTo>
                  <a:pt x="1498" y="1367"/>
                  <a:pt x="1498" y="1366"/>
                  <a:pt x="1498" y="1364"/>
                </a:cubicBezTo>
                <a:cubicBezTo>
                  <a:pt x="1496" y="1361"/>
                  <a:pt x="1495" y="1358"/>
                  <a:pt x="1493" y="1355"/>
                </a:cubicBezTo>
                <a:close/>
                <a:moveTo>
                  <a:pt x="1546" y="1357"/>
                </a:moveTo>
                <a:cubicBezTo>
                  <a:pt x="1543" y="1362"/>
                  <a:pt x="1541" y="1366"/>
                  <a:pt x="1539" y="1371"/>
                </a:cubicBezTo>
                <a:cubicBezTo>
                  <a:pt x="1541" y="1371"/>
                  <a:pt x="1544" y="1371"/>
                  <a:pt x="1547" y="1371"/>
                </a:cubicBezTo>
                <a:cubicBezTo>
                  <a:pt x="1547" y="1371"/>
                  <a:pt x="1547" y="1370"/>
                  <a:pt x="1547" y="1369"/>
                </a:cubicBezTo>
                <a:cubicBezTo>
                  <a:pt x="1547" y="1366"/>
                  <a:pt x="1547" y="1364"/>
                  <a:pt x="1547" y="1362"/>
                </a:cubicBezTo>
                <a:cubicBezTo>
                  <a:pt x="1547" y="1360"/>
                  <a:pt x="1546" y="1359"/>
                  <a:pt x="1546" y="1357"/>
                </a:cubicBezTo>
                <a:close/>
                <a:moveTo>
                  <a:pt x="1493" y="1337"/>
                </a:moveTo>
                <a:cubicBezTo>
                  <a:pt x="1492" y="1338"/>
                  <a:pt x="1492" y="1338"/>
                  <a:pt x="1491" y="1338"/>
                </a:cubicBezTo>
                <a:cubicBezTo>
                  <a:pt x="1490" y="1338"/>
                  <a:pt x="1490" y="1338"/>
                  <a:pt x="1490" y="1338"/>
                </a:cubicBezTo>
                <a:cubicBezTo>
                  <a:pt x="1489" y="1337"/>
                  <a:pt x="1489" y="1337"/>
                  <a:pt x="1489" y="1336"/>
                </a:cubicBezTo>
                <a:cubicBezTo>
                  <a:pt x="1490" y="1334"/>
                  <a:pt x="1490" y="1332"/>
                  <a:pt x="1491" y="1330"/>
                </a:cubicBezTo>
                <a:cubicBezTo>
                  <a:pt x="1490" y="1330"/>
                  <a:pt x="1490" y="1330"/>
                  <a:pt x="1490" y="1330"/>
                </a:cubicBezTo>
                <a:cubicBezTo>
                  <a:pt x="1489" y="1331"/>
                  <a:pt x="1488" y="1332"/>
                  <a:pt x="1487" y="1333"/>
                </a:cubicBezTo>
                <a:cubicBezTo>
                  <a:pt x="1486" y="1334"/>
                  <a:pt x="1488" y="1339"/>
                  <a:pt x="1490" y="1340"/>
                </a:cubicBezTo>
                <a:cubicBezTo>
                  <a:pt x="1491" y="1341"/>
                  <a:pt x="1493" y="1339"/>
                  <a:pt x="1493" y="1337"/>
                </a:cubicBezTo>
                <a:close/>
                <a:moveTo>
                  <a:pt x="1545" y="1329"/>
                </a:moveTo>
                <a:cubicBezTo>
                  <a:pt x="1549" y="1325"/>
                  <a:pt x="1549" y="1325"/>
                  <a:pt x="1552" y="1324"/>
                </a:cubicBezTo>
                <a:cubicBezTo>
                  <a:pt x="1552" y="1326"/>
                  <a:pt x="1554" y="1327"/>
                  <a:pt x="1555" y="1327"/>
                </a:cubicBezTo>
                <a:cubicBezTo>
                  <a:pt x="1553" y="1329"/>
                  <a:pt x="1551" y="1330"/>
                  <a:pt x="1549" y="1331"/>
                </a:cubicBezTo>
                <a:cubicBezTo>
                  <a:pt x="1548" y="1331"/>
                  <a:pt x="1548" y="1330"/>
                  <a:pt x="1547" y="1329"/>
                </a:cubicBezTo>
                <a:cubicBezTo>
                  <a:pt x="1547" y="1329"/>
                  <a:pt x="1546" y="1329"/>
                  <a:pt x="1545" y="1329"/>
                </a:cubicBezTo>
                <a:close/>
                <a:moveTo>
                  <a:pt x="1551" y="1329"/>
                </a:moveTo>
                <a:cubicBezTo>
                  <a:pt x="1550" y="1328"/>
                  <a:pt x="1550" y="1328"/>
                  <a:pt x="1549" y="1328"/>
                </a:cubicBezTo>
                <a:cubicBezTo>
                  <a:pt x="1549" y="1328"/>
                  <a:pt x="1548" y="1329"/>
                  <a:pt x="1548" y="1329"/>
                </a:cubicBezTo>
                <a:cubicBezTo>
                  <a:pt x="1548" y="1329"/>
                  <a:pt x="1549" y="1330"/>
                  <a:pt x="1549" y="1330"/>
                </a:cubicBezTo>
                <a:cubicBezTo>
                  <a:pt x="1550" y="1330"/>
                  <a:pt x="1550" y="1329"/>
                  <a:pt x="1551" y="1329"/>
                </a:cubicBezTo>
                <a:close/>
                <a:moveTo>
                  <a:pt x="1532" y="1319"/>
                </a:moveTo>
                <a:cubicBezTo>
                  <a:pt x="1526" y="1318"/>
                  <a:pt x="1523" y="1321"/>
                  <a:pt x="1522" y="1329"/>
                </a:cubicBezTo>
                <a:cubicBezTo>
                  <a:pt x="1523" y="1327"/>
                  <a:pt x="1524" y="1324"/>
                  <a:pt x="1525" y="1322"/>
                </a:cubicBezTo>
                <a:cubicBezTo>
                  <a:pt x="1526" y="1322"/>
                  <a:pt x="1526" y="1322"/>
                  <a:pt x="1526" y="1322"/>
                </a:cubicBezTo>
                <a:cubicBezTo>
                  <a:pt x="1526" y="1323"/>
                  <a:pt x="1526" y="1324"/>
                  <a:pt x="1526" y="1325"/>
                </a:cubicBezTo>
                <a:cubicBezTo>
                  <a:pt x="1527" y="1322"/>
                  <a:pt x="1529" y="1320"/>
                  <a:pt x="1532" y="1319"/>
                </a:cubicBezTo>
                <a:close/>
                <a:moveTo>
                  <a:pt x="1576" y="1321"/>
                </a:moveTo>
                <a:cubicBezTo>
                  <a:pt x="1574" y="1322"/>
                  <a:pt x="1572" y="1324"/>
                  <a:pt x="1570" y="1325"/>
                </a:cubicBezTo>
                <a:cubicBezTo>
                  <a:pt x="1572" y="1325"/>
                  <a:pt x="1575" y="1324"/>
                  <a:pt x="1576" y="1321"/>
                </a:cubicBezTo>
                <a:close/>
                <a:moveTo>
                  <a:pt x="1542" y="1323"/>
                </a:moveTo>
                <a:cubicBezTo>
                  <a:pt x="1544" y="1322"/>
                  <a:pt x="1545" y="1320"/>
                  <a:pt x="1546" y="1319"/>
                </a:cubicBezTo>
                <a:cubicBezTo>
                  <a:pt x="1543" y="1320"/>
                  <a:pt x="1542" y="1321"/>
                  <a:pt x="1542" y="1323"/>
                </a:cubicBezTo>
                <a:close/>
                <a:moveTo>
                  <a:pt x="1553" y="1344"/>
                </a:moveTo>
                <a:cubicBezTo>
                  <a:pt x="1551" y="1344"/>
                  <a:pt x="1550" y="1345"/>
                  <a:pt x="1550" y="1346"/>
                </a:cubicBezTo>
                <a:cubicBezTo>
                  <a:pt x="1550" y="1345"/>
                  <a:pt x="1552" y="1345"/>
                  <a:pt x="1553" y="1344"/>
                </a:cubicBezTo>
                <a:close/>
                <a:moveTo>
                  <a:pt x="1551" y="1329"/>
                </a:moveTo>
                <a:cubicBezTo>
                  <a:pt x="1550" y="1328"/>
                  <a:pt x="1550" y="1328"/>
                  <a:pt x="1549" y="1328"/>
                </a:cubicBezTo>
                <a:cubicBezTo>
                  <a:pt x="1549" y="1328"/>
                  <a:pt x="1548" y="1329"/>
                  <a:pt x="1548" y="1329"/>
                </a:cubicBezTo>
                <a:cubicBezTo>
                  <a:pt x="1548" y="1329"/>
                  <a:pt x="1549" y="1330"/>
                  <a:pt x="1549" y="1330"/>
                </a:cubicBezTo>
                <a:cubicBezTo>
                  <a:pt x="1550" y="1330"/>
                  <a:pt x="1550" y="1329"/>
                  <a:pt x="1551" y="1329"/>
                </a:cubicBezTo>
                <a:close/>
                <a:moveTo>
                  <a:pt x="1099" y="1210"/>
                </a:moveTo>
                <a:cubicBezTo>
                  <a:pt x="1099" y="1210"/>
                  <a:pt x="1099" y="1210"/>
                  <a:pt x="1099" y="1210"/>
                </a:cubicBezTo>
                <a:cubicBezTo>
                  <a:pt x="1094" y="1210"/>
                  <a:pt x="1094" y="1210"/>
                  <a:pt x="1094" y="1210"/>
                </a:cubicBezTo>
                <a:cubicBezTo>
                  <a:pt x="1092" y="1212"/>
                  <a:pt x="1090" y="1213"/>
                  <a:pt x="1088" y="1214"/>
                </a:cubicBezTo>
                <a:cubicBezTo>
                  <a:pt x="1087" y="1216"/>
                  <a:pt x="1085" y="1216"/>
                  <a:pt x="1083" y="1217"/>
                </a:cubicBezTo>
                <a:cubicBezTo>
                  <a:pt x="1082" y="1218"/>
                  <a:pt x="1079" y="1219"/>
                  <a:pt x="1078" y="1220"/>
                </a:cubicBezTo>
                <a:cubicBezTo>
                  <a:pt x="1076" y="1221"/>
                  <a:pt x="1074" y="1221"/>
                  <a:pt x="1072" y="1221"/>
                </a:cubicBezTo>
                <a:cubicBezTo>
                  <a:pt x="1072" y="1221"/>
                  <a:pt x="1072" y="1221"/>
                  <a:pt x="1072" y="1232"/>
                </a:cubicBezTo>
                <a:cubicBezTo>
                  <a:pt x="1075" y="1231"/>
                  <a:pt x="1078" y="1230"/>
                  <a:pt x="1080" y="1229"/>
                </a:cubicBezTo>
                <a:cubicBezTo>
                  <a:pt x="1083" y="1228"/>
                  <a:pt x="1085" y="1226"/>
                  <a:pt x="1087" y="1225"/>
                </a:cubicBezTo>
                <a:cubicBezTo>
                  <a:pt x="1087" y="1225"/>
                  <a:pt x="1087" y="1225"/>
                  <a:pt x="1087" y="1284"/>
                </a:cubicBezTo>
                <a:cubicBezTo>
                  <a:pt x="1087" y="1284"/>
                  <a:pt x="1087" y="1284"/>
                  <a:pt x="1099" y="1284"/>
                </a:cubicBezTo>
                <a:cubicBezTo>
                  <a:pt x="1099" y="1284"/>
                  <a:pt x="1099" y="1284"/>
                  <a:pt x="1099" y="1210"/>
                </a:cubicBezTo>
                <a:close/>
                <a:moveTo>
                  <a:pt x="1146" y="1210"/>
                </a:moveTo>
                <a:cubicBezTo>
                  <a:pt x="1146" y="1210"/>
                  <a:pt x="1146" y="1210"/>
                  <a:pt x="1146" y="1210"/>
                </a:cubicBezTo>
                <a:cubicBezTo>
                  <a:pt x="1141" y="1210"/>
                  <a:pt x="1141" y="1210"/>
                  <a:pt x="1141" y="1210"/>
                </a:cubicBezTo>
                <a:cubicBezTo>
                  <a:pt x="1140" y="1212"/>
                  <a:pt x="1137" y="1213"/>
                  <a:pt x="1136" y="1214"/>
                </a:cubicBezTo>
                <a:cubicBezTo>
                  <a:pt x="1134" y="1216"/>
                  <a:pt x="1132" y="1216"/>
                  <a:pt x="1130" y="1217"/>
                </a:cubicBezTo>
                <a:cubicBezTo>
                  <a:pt x="1129" y="1218"/>
                  <a:pt x="1126" y="1219"/>
                  <a:pt x="1125" y="1220"/>
                </a:cubicBezTo>
                <a:cubicBezTo>
                  <a:pt x="1123" y="1221"/>
                  <a:pt x="1121" y="1221"/>
                  <a:pt x="1119" y="1221"/>
                </a:cubicBezTo>
                <a:cubicBezTo>
                  <a:pt x="1119" y="1221"/>
                  <a:pt x="1119" y="1221"/>
                  <a:pt x="1119" y="1232"/>
                </a:cubicBezTo>
                <a:cubicBezTo>
                  <a:pt x="1122" y="1231"/>
                  <a:pt x="1125" y="1230"/>
                  <a:pt x="1128" y="1229"/>
                </a:cubicBezTo>
                <a:cubicBezTo>
                  <a:pt x="1130" y="1228"/>
                  <a:pt x="1132" y="1226"/>
                  <a:pt x="1134" y="1225"/>
                </a:cubicBezTo>
                <a:cubicBezTo>
                  <a:pt x="1134" y="1225"/>
                  <a:pt x="1134" y="1225"/>
                  <a:pt x="1134" y="1284"/>
                </a:cubicBezTo>
                <a:cubicBezTo>
                  <a:pt x="1134" y="1284"/>
                  <a:pt x="1134" y="1284"/>
                  <a:pt x="1146" y="1284"/>
                </a:cubicBezTo>
                <a:cubicBezTo>
                  <a:pt x="1146" y="1284"/>
                  <a:pt x="1146" y="1284"/>
                  <a:pt x="1146" y="1210"/>
                </a:cubicBezTo>
                <a:close/>
                <a:moveTo>
                  <a:pt x="1192" y="1210"/>
                </a:moveTo>
                <a:cubicBezTo>
                  <a:pt x="1192" y="1210"/>
                  <a:pt x="1192" y="1210"/>
                  <a:pt x="1192" y="1210"/>
                </a:cubicBezTo>
                <a:cubicBezTo>
                  <a:pt x="1188" y="1210"/>
                  <a:pt x="1188" y="1210"/>
                  <a:pt x="1188" y="1210"/>
                </a:cubicBezTo>
                <a:cubicBezTo>
                  <a:pt x="1186" y="1212"/>
                  <a:pt x="1184" y="1213"/>
                  <a:pt x="1182" y="1214"/>
                </a:cubicBezTo>
                <a:cubicBezTo>
                  <a:pt x="1181" y="1216"/>
                  <a:pt x="1178" y="1216"/>
                  <a:pt x="1177" y="1217"/>
                </a:cubicBezTo>
                <a:cubicBezTo>
                  <a:pt x="1175" y="1218"/>
                  <a:pt x="1173" y="1218"/>
                  <a:pt x="1171" y="1219"/>
                </a:cubicBezTo>
                <a:cubicBezTo>
                  <a:pt x="1170" y="1220"/>
                  <a:pt x="1168" y="1221"/>
                  <a:pt x="1166" y="1221"/>
                </a:cubicBezTo>
                <a:cubicBezTo>
                  <a:pt x="1166" y="1221"/>
                  <a:pt x="1166" y="1221"/>
                  <a:pt x="1166" y="1232"/>
                </a:cubicBezTo>
                <a:cubicBezTo>
                  <a:pt x="1169" y="1231"/>
                  <a:pt x="1172" y="1229"/>
                  <a:pt x="1174" y="1229"/>
                </a:cubicBezTo>
                <a:cubicBezTo>
                  <a:pt x="1176" y="1228"/>
                  <a:pt x="1179" y="1226"/>
                  <a:pt x="1181" y="1225"/>
                </a:cubicBezTo>
                <a:cubicBezTo>
                  <a:pt x="1181" y="1225"/>
                  <a:pt x="1181" y="1225"/>
                  <a:pt x="1181" y="1284"/>
                </a:cubicBezTo>
                <a:cubicBezTo>
                  <a:pt x="1181" y="1284"/>
                  <a:pt x="1181" y="1284"/>
                  <a:pt x="1192" y="1284"/>
                </a:cubicBezTo>
                <a:cubicBezTo>
                  <a:pt x="1192" y="1284"/>
                  <a:pt x="1192" y="1284"/>
                  <a:pt x="1192" y="1210"/>
                </a:cubicBezTo>
                <a:close/>
                <a:moveTo>
                  <a:pt x="1329" y="1243"/>
                </a:moveTo>
                <a:cubicBezTo>
                  <a:pt x="1329" y="1243"/>
                  <a:pt x="1329" y="1243"/>
                  <a:pt x="1329" y="1243"/>
                </a:cubicBezTo>
                <a:cubicBezTo>
                  <a:pt x="1328" y="1251"/>
                  <a:pt x="1328" y="1251"/>
                  <a:pt x="1328" y="1251"/>
                </a:cubicBezTo>
                <a:cubicBezTo>
                  <a:pt x="1335" y="1251"/>
                  <a:pt x="1336" y="1254"/>
                  <a:pt x="1336" y="1257"/>
                </a:cubicBezTo>
                <a:cubicBezTo>
                  <a:pt x="1336" y="1259"/>
                  <a:pt x="1335" y="1261"/>
                  <a:pt x="1335" y="1264"/>
                </a:cubicBezTo>
                <a:cubicBezTo>
                  <a:pt x="1335" y="1267"/>
                  <a:pt x="1334" y="1269"/>
                  <a:pt x="1334" y="1271"/>
                </a:cubicBezTo>
                <a:cubicBezTo>
                  <a:pt x="1334" y="1281"/>
                  <a:pt x="1340" y="1284"/>
                  <a:pt x="1349" y="1284"/>
                </a:cubicBezTo>
                <a:cubicBezTo>
                  <a:pt x="1349" y="1284"/>
                  <a:pt x="1349" y="1284"/>
                  <a:pt x="1352" y="1284"/>
                </a:cubicBezTo>
                <a:cubicBezTo>
                  <a:pt x="1352" y="1284"/>
                  <a:pt x="1352" y="1284"/>
                  <a:pt x="1352" y="1275"/>
                </a:cubicBezTo>
                <a:cubicBezTo>
                  <a:pt x="1352" y="1275"/>
                  <a:pt x="1352" y="1275"/>
                  <a:pt x="1351" y="1275"/>
                </a:cubicBezTo>
                <a:cubicBezTo>
                  <a:pt x="1347" y="1275"/>
                  <a:pt x="1346" y="1272"/>
                  <a:pt x="1346" y="1269"/>
                </a:cubicBezTo>
                <a:cubicBezTo>
                  <a:pt x="1346" y="1267"/>
                  <a:pt x="1346" y="1266"/>
                  <a:pt x="1347" y="1264"/>
                </a:cubicBezTo>
                <a:cubicBezTo>
                  <a:pt x="1347" y="1263"/>
                  <a:pt x="1347" y="1260"/>
                  <a:pt x="1347" y="1258"/>
                </a:cubicBezTo>
                <a:cubicBezTo>
                  <a:pt x="1347" y="1251"/>
                  <a:pt x="1344" y="1248"/>
                  <a:pt x="1338" y="1247"/>
                </a:cubicBezTo>
                <a:cubicBezTo>
                  <a:pt x="1338" y="1247"/>
                  <a:pt x="1338" y="1247"/>
                  <a:pt x="1338" y="1246"/>
                </a:cubicBezTo>
                <a:cubicBezTo>
                  <a:pt x="1344" y="1245"/>
                  <a:pt x="1347" y="1243"/>
                  <a:pt x="1347" y="1236"/>
                </a:cubicBezTo>
                <a:cubicBezTo>
                  <a:pt x="1347" y="1233"/>
                  <a:pt x="1347" y="1231"/>
                  <a:pt x="1347" y="1229"/>
                </a:cubicBezTo>
                <a:cubicBezTo>
                  <a:pt x="1346" y="1228"/>
                  <a:pt x="1346" y="1226"/>
                  <a:pt x="1346" y="1225"/>
                </a:cubicBezTo>
                <a:cubicBezTo>
                  <a:pt x="1346" y="1221"/>
                  <a:pt x="1347" y="1219"/>
                  <a:pt x="1351" y="1219"/>
                </a:cubicBezTo>
                <a:cubicBezTo>
                  <a:pt x="1351" y="1219"/>
                  <a:pt x="1351" y="1219"/>
                  <a:pt x="1352" y="1219"/>
                </a:cubicBezTo>
                <a:cubicBezTo>
                  <a:pt x="1352" y="1219"/>
                  <a:pt x="1352" y="1219"/>
                  <a:pt x="1352" y="1209"/>
                </a:cubicBezTo>
                <a:cubicBezTo>
                  <a:pt x="1352" y="1209"/>
                  <a:pt x="1352" y="1209"/>
                  <a:pt x="1349" y="1209"/>
                </a:cubicBezTo>
                <a:cubicBezTo>
                  <a:pt x="1340" y="1209"/>
                  <a:pt x="1334" y="1214"/>
                  <a:pt x="1334" y="1222"/>
                </a:cubicBezTo>
                <a:cubicBezTo>
                  <a:pt x="1334" y="1224"/>
                  <a:pt x="1335" y="1227"/>
                  <a:pt x="1335" y="1230"/>
                </a:cubicBezTo>
                <a:cubicBezTo>
                  <a:pt x="1335" y="1232"/>
                  <a:pt x="1336" y="1235"/>
                  <a:pt x="1336" y="1236"/>
                </a:cubicBezTo>
                <a:cubicBezTo>
                  <a:pt x="1336" y="1239"/>
                  <a:pt x="1335" y="1242"/>
                  <a:pt x="1329" y="1243"/>
                </a:cubicBezTo>
                <a:close/>
                <a:moveTo>
                  <a:pt x="1384" y="1251"/>
                </a:moveTo>
                <a:cubicBezTo>
                  <a:pt x="1384" y="1251"/>
                  <a:pt x="1384" y="1251"/>
                  <a:pt x="1384" y="1251"/>
                </a:cubicBezTo>
                <a:cubicBezTo>
                  <a:pt x="1384" y="1243"/>
                  <a:pt x="1384" y="1243"/>
                  <a:pt x="1384" y="1243"/>
                </a:cubicBezTo>
                <a:cubicBezTo>
                  <a:pt x="1377" y="1242"/>
                  <a:pt x="1377" y="1239"/>
                  <a:pt x="1377" y="1236"/>
                </a:cubicBezTo>
                <a:cubicBezTo>
                  <a:pt x="1377" y="1235"/>
                  <a:pt x="1377" y="1232"/>
                  <a:pt x="1377" y="1230"/>
                </a:cubicBezTo>
                <a:cubicBezTo>
                  <a:pt x="1378" y="1227"/>
                  <a:pt x="1378" y="1224"/>
                  <a:pt x="1378" y="1222"/>
                </a:cubicBezTo>
                <a:cubicBezTo>
                  <a:pt x="1378" y="1214"/>
                  <a:pt x="1372" y="1209"/>
                  <a:pt x="1363" y="1209"/>
                </a:cubicBezTo>
                <a:cubicBezTo>
                  <a:pt x="1363" y="1209"/>
                  <a:pt x="1363" y="1209"/>
                  <a:pt x="1359" y="1209"/>
                </a:cubicBezTo>
                <a:cubicBezTo>
                  <a:pt x="1359" y="1209"/>
                  <a:pt x="1359" y="1209"/>
                  <a:pt x="1359" y="1219"/>
                </a:cubicBezTo>
                <a:cubicBezTo>
                  <a:pt x="1359" y="1219"/>
                  <a:pt x="1359" y="1219"/>
                  <a:pt x="1361" y="1219"/>
                </a:cubicBezTo>
                <a:cubicBezTo>
                  <a:pt x="1364" y="1219"/>
                  <a:pt x="1366" y="1221"/>
                  <a:pt x="1366" y="1225"/>
                </a:cubicBezTo>
                <a:cubicBezTo>
                  <a:pt x="1366" y="1226"/>
                  <a:pt x="1366" y="1228"/>
                  <a:pt x="1366" y="1229"/>
                </a:cubicBezTo>
                <a:cubicBezTo>
                  <a:pt x="1365" y="1231"/>
                  <a:pt x="1365" y="1233"/>
                  <a:pt x="1365" y="1236"/>
                </a:cubicBezTo>
                <a:cubicBezTo>
                  <a:pt x="1365" y="1243"/>
                  <a:pt x="1368" y="1245"/>
                  <a:pt x="1374" y="1246"/>
                </a:cubicBezTo>
                <a:cubicBezTo>
                  <a:pt x="1374" y="1246"/>
                  <a:pt x="1374" y="1246"/>
                  <a:pt x="1374" y="1247"/>
                </a:cubicBezTo>
                <a:cubicBezTo>
                  <a:pt x="1368" y="1248"/>
                  <a:pt x="1365" y="1251"/>
                  <a:pt x="1365" y="1258"/>
                </a:cubicBezTo>
                <a:cubicBezTo>
                  <a:pt x="1365" y="1260"/>
                  <a:pt x="1365" y="1263"/>
                  <a:pt x="1366" y="1264"/>
                </a:cubicBezTo>
                <a:cubicBezTo>
                  <a:pt x="1366" y="1266"/>
                  <a:pt x="1366" y="1267"/>
                  <a:pt x="1366" y="1269"/>
                </a:cubicBezTo>
                <a:cubicBezTo>
                  <a:pt x="1366" y="1272"/>
                  <a:pt x="1365" y="1275"/>
                  <a:pt x="1361" y="1275"/>
                </a:cubicBezTo>
                <a:cubicBezTo>
                  <a:pt x="1361" y="1275"/>
                  <a:pt x="1361" y="1275"/>
                  <a:pt x="1359" y="1275"/>
                </a:cubicBezTo>
                <a:cubicBezTo>
                  <a:pt x="1359" y="1275"/>
                  <a:pt x="1359" y="1275"/>
                  <a:pt x="1359" y="1284"/>
                </a:cubicBezTo>
                <a:cubicBezTo>
                  <a:pt x="1359" y="1284"/>
                  <a:pt x="1359" y="1284"/>
                  <a:pt x="1363" y="1284"/>
                </a:cubicBezTo>
                <a:cubicBezTo>
                  <a:pt x="1372" y="1284"/>
                  <a:pt x="1378" y="1281"/>
                  <a:pt x="1378" y="1271"/>
                </a:cubicBezTo>
                <a:cubicBezTo>
                  <a:pt x="1378" y="1269"/>
                  <a:pt x="1378" y="1267"/>
                  <a:pt x="1377" y="1264"/>
                </a:cubicBezTo>
                <a:cubicBezTo>
                  <a:pt x="1377" y="1261"/>
                  <a:pt x="1377" y="1259"/>
                  <a:pt x="1377" y="1257"/>
                </a:cubicBezTo>
                <a:cubicBezTo>
                  <a:pt x="1377" y="1254"/>
                  <a:pt x="1377" y="1251"/>
                  <a:pt x="1384" y="1251"/>
                </a:cubicBezTo>
                <a:close/>
                <a:moveTo>
                  <a:pt x="1430" y="1210"/>
                </a:moveTo>
                <a:cubicBezTo>
                  <a:pt x="1430" y="1210"/>
                  <a:pt x="1430" y="1210"/>
                  <a:pt x="1430" y="1210"/>
                </a:cubicBezTo>
                <a:cubicBezTo>
                  <a:pt x="1425" y="1210"/>
                  <a:pt x="1425" y="1210"/>
                  <a:pt x="1425" y="1210"/>
                </a:cubicBezTo>
                <a:cubicBezTo>
                  <a:pt x="1423" y="1212"/>
                  <a:pt x="1422" y="1213"/>
                  <a:pt x="1419" y="1214"/>
                </a:cubicBezTo>
                <a:cubicBezTo>
                  <a:pt x="1418" y="1216"/>
                  <a:pt x="1416" y="1216"/>
                  <a:pt x="1414" y="1217"/>
                </a:cubicBezTo>
                <a:cubicBezTo>
                  <a:pt x="1412" y="1218"/>
                  <a:pt x="1411" y="1218"/>
                  <a:pt x="1409" y="1219"/>
                </a:cubicBezTo>
                <a:cubicBezTo>
                  <a:pt x="1407" y="1220"/>
                  <a:pt x="1406" y="1221"/>
                  <a:pt x="1403" y="1221"/>
                </a:cubicBezTo>
                <a:cubicBezTo>
                  <a:pt x="1403" y="1221"/>
                  <a:pt x="1403" y="1221"/>
                  <a:pt x="1403" y="1232"/>
                </a:cubicBezTo>
                <a:cubicBezTo>
                  <a:pt x="1406" y="1231"/>
                  <a:pt x="1409" y="1229"/>
                  <a:pt x="1411" y="1229"/>
                </a:cubicBezTo>
                <a:cubicBezTo>
                  <a:pt x="1414" y="1228"/>
                  <a:pt x="1416" y="1226"/>
                  <a:pt x="1419" y="1225"/>
                </a:cubicBezTo>
                <a:cubicBezTo>
                  <a:pt x="1419" y="1225"/>
                  <a:pt x="1419" y="1225"/>
                  <a:pt x="1419" y="1284"/>
                </a:cubicBezTo>
                <a:cubicBezTo>
                  <a:pt x="1419" y="1284"/>
                  <a:pt x="1419" y="1284"/>
                  <a:pt x="1430" y="1284"/>
                </a:cubicBezTo>
                <a:cubicBezTo>
                  <a:pt x="1430" y="1284"/>
                  <a:pt x="1430" y="1284"/>
                  <a:pt x="1430" y="1210"/>
                </a:cubicBezTo>
                <a:close/>
                <a:moveTo>
                  <a:pt x="1477" y="1210"/>
                </a:moveTo>
                <a:cubicBezTo>
                  <a:pt x="1477" y="1210"/>
                  <a:pt x="1477" y="1210"/>
                  <a:pt x="1477" y="1210"/>
                </a:cubicBezTo>
                <a:cubicBezTo>
                  <a:pt x="1472" y="1210"/>
                  <a:pt x="1472" y="1210"/>
                  <a:pt x="1472" y="1210"/>
                </a:cubicBezTo>
                <a:cubicBezTo>
                  <a:pt x="1470" y="1212"/>
                  <a:pt x="1468" y="1213"/>
                  <a:pt x="1466" y="1214"/>
                </a:cubicBezTo>
                <a:cubicBezTo>
                  <a:pt x="1465" y="1216"/>
                  <a:pt x="1463" y="1216"/>
                  <a:pt x="1461" y="1217"/>
                </a:cubicBezTo>
                <a:cubicBezTo>
                  <a:pt x="1460" y="1218"/>
                  <a:pt x="1458" y="1219"/>
                  <a:pt x="1456" y="1220"/>
                </a:cubicBezTo>
                <a:cubicBezTo>
                  <a:pt x="1454" y="1221"/>
                  <a:pt x="1453" y="1221"/>
                  <a:pt x="1450" y="1221"/>
                </a:cubicBezTo>
                <a:cubicBezTo>
                  <a:pt x="1450" y="1221"/>
                  <a:pt x="1450" y="1221"/>
                  <a:pt x="1450" y="1232"/>
                </a:cubicBezTo>
                <a:cubicBezTo>
                  <a:pt x="1453" y="1231"/>
                  <a:pt x="1456" y="1230"/>
                  <a:pt x="1458" y="1229"/>
                </a:cubicBezTo>
                <a:cubicBezTo>
                  <a:pt x="1461" y="1228"/>
                  <a:pt x="1463" y="1226"/>
                  <a:pt x="1465" y="1225"/>
                </a:cubicBezTo>
                <a:cubicBezTo>
                  <a:pt x="1465" y="1225"/>
                  <a:pt x="1465" y="1225"/>
                  <a:pt x="1465" y="1284"/>
                </a:cubicBezTo>
                <a:cubicBezTo>
                  <a:pt x="1465" y="1284"/>
                  <a:pt x="1465" y="1284"/>
                  <a:pt x="1477" y="1284"/>
                </a:cubicBezTo>
                <a:cubicBezTo>
                  <a:pt x="1477" y="1284"/>
                  <a:pt x="1477" y="1284"/>
                  <a:pt x="1477" y="1210"/>
                </a:cubicBezTo>
                <a:close/>
                <a:moveTo>
                  <a:pt x="1522" y="1210"/>
                </a:moveTo>
                <a:cubicBezTo>
                  <a:pt x="1522" y="1210"/>
                  <a:pt x="1522" y="1210"/>
                  <a:pt x="1522" y="1210"/>
                </a:cubicBezTo>
                <a:cubicBezTo>
                  <a:pt x="1518" y="1210"/>
                  <a:pt x="1518" y="1210"/>
                  <a:pt x="1518" y="1210"/>
                </a:cubicBezTo>
                <a:cubicBezTo>
                  <a:pt x="1516" y="1212"/>
                  <a:pt x="1514" y="1213"/>
                  <a:pt x="1512" y="1214"/>
                </a:cubicBezTo>
                <a:cubicBezTo>
                  <a:pt x="1511" y="1216"/>
                  <a:pt x="1509" y="1216"/>
                  <a:pt x="1507" y="1217"/>
                </a:cubicBezTo>
                <a:cubicBezTo>
                  <a:pt x="1505" y="1218"/>
                  <a:pt x="1504" y="1219"/>
                  <a:pt x="1502" y="1220"/>
                </a:cubicBezTo>
                <a:cubicBezTo>
                  <a:pt x="1500" y="1221"/>
                  <a:pt x="1498" y="1221"/>
                  <a:pt x="1496" y="1221"/>
                </a:cubicBezTo>
                <a:cubicBezTo>
                  <a:pt x="1496" y="1221"/>
                  <a:pt x="1496" y="1221"/>
                  <a:pt x="1496" y="1232"/>
                </a:cubicBezTo>
                <a:cubicBezTo>
                  <a:pt x="1499" y="1231"/>
                  <a:pt x="1502" y="1230"/>
                  <a:pt x="1504" y="1229"/>
                </a:cubicBezTo>
                <a:cubicBezTo>
                  <a:pt x="1507" y="1228"/>
                  <a:pt x="1509" y="1226"/>
                  <a:pt x="1511" y="1225"/>
                </a:cubicBezTo>
                <a:cubicBezTo>
                  <a:pt x="1511" y="1225"/>
                  <a:pt x="1511" y="1225"/>
                  <a:pt x="1511" y="1284"/>
                </a:cubicBezTo>
                <a:cubicBezTo>
                  <a:pt x="1511" y="1284"/>
                  <a:pt x="1511" y="1284"/>
                  <a:pt x="1522" y="1284"/>
                </a:cubicBezTo>
                <a:cubicBezTo>
                  <a:pt x="1522" y="1284"/>
                  <a:pt x="1522" y="1284"/>
                  <a:pt x="1522" y="1210"/>
                </a:cubicBezTo>
                <a:close/>
                <a:moveTo>
                  <a:pt x="1272" y="1258"/>
                </a:moveTo>
                <a:cubicBezTo>
                  <a:pt x="1273" y="1259"/>
                  <a:pt x="1273" y="1261"/>
                  <a:pt x="1274" y="1262"/>
                </a:cubicBezTo>
                <a:cubicBezTo>
                  <a:pt x="1274" y="1264"/>
                  <a:pt x="1275" y="1266"/>
                  <a:pt x="1275" y="1267"/>
                </a:cubicBezTo>
                <a:cubicBezTo>
                  <a:pt x="1275" y="1269"/>
                  <a:pt x="1275" y="1270"/>
                  <a:pt x="1275" y="1272"/>
                </a:cubicBezTo>
                <a:cubicBezTo>
                  <a:pt x="1276" y="1275"/>
                  <a:pt x="1275" y="1277"/>
                  <a:pt x="1272" y="1277"/>
                </a:cubicBezTo>
                <a:cubicBezTo>
                  <a:pt x="1269" y="1277"/>
                  <a:pt x="1266" y="1276"/>
                  <a:pt x="1263" y="1276"/>
                </a:cubicBezTo>
                <a:cubicBezTo>
                  <a:pt x="1263" y="1276"/>
                  <a:pt x="1262" y="1276"/>
                  <a:pt x="1262" y="1277"/>
                </a:cubicBezTo>
                <a:cubicBezTo>
                  <a:pt x="1260" y="1278"/>
                  <a:pt x="1259" y="1280"/>
                  <a:pt x="1258" y="1281"/>
                </a:cubicBezTo>
                <a:cubicBezTo>
                  <a:pt x="1256" y="1283"/>
                  <a:pt x="1252" y="1284"/>
                  <a:pt x="1250" y="1282"/>
                </a:cubicBezTo>
                <a:cubicBezTo>
                  <a:pt x="1248" y="1280"/>
                  <a:pt x="1247" y="1277"/>
                  <a:pt x="1245" y="1274"/>
                </a:cubicBezTo>
                <a:cubicBezTo>
                  <a:pt x="1245" y="1273"/>
                  <a:pt x="1245" y="1271"/>
                  <a:pt x="1247" y="1270"/>
                </a:cubicBezTo>
                <a:cubicBezTo>
                  <a:pt x="1245" y="1270"/>
                  <a:pt x="1243" y="1270"/>
                  <a:pt x="1241" y="1270"/>
                </a:cubicBezTo>
                <a:cubicBezTo>
                  <a:pt x="1241" y="1272"/>
                  <a:pt x="1239" y="1274"/>
                  <a:pt x="1239" y="1276"/>
                </a:cubicBezTo>
                <a:cubicBezTo>
                  <a:pt x="1239" y="1276"/>
                  <a:pt x="1238" y="1277"/>
                  <a:pt x="1238" y="1278"/>
                </a:cubicBezTo>
                <a:cubicBezTo>
                  <a:pt x="1238" y="1281"/>
                  <a:pt x="1237" y="1282"/>
                  <a:pt x="1234" y="1282"/>
                </a:cubicBezTo>
                <a:cubicBezTo>
                  <a:pt x="1231" y="1282"/>
                  <a:pt x="1228" y="1281"/>
                  <a:pt x="1225" y="1280"/>
                </a:cubicBezTo>
                <a:cubicBezTo>
                  <a:pt x="1223" y="1279"/>
                  <a:pt x="1222" y="1278"/>
                  <a:pt x="1223" y="1276"/>
                </a:cubicBezTo>
                <a:cubicBezTo>
                  <a:pt x="1223" y="1275"/>
                  <a:pt x="1223" y="1274"/>
                  <a:pt x="1224" y="1274"/>
                </a:cubicBezTo>
                <a:cubicBezTo>
                  <a:pt x="1221" y="1273"/>
                  <a:pt x="1219" y="1272"/>
                  <a:pt x="1217" y="1270"/>
                </a:cubicBezTo>
                <a:cubicBezTo>
                  <a:pt x="1216" y="1270"/>
                  <a:pt x="1215" y="1268"/>
                  <a:pt x="1214" y="1266"/>
                </a:cubicBezTo>
                <a:cubicBezTo>
                  <a:pt x="1213" y="1264"/>
                  <a:pt x="1213" y="1263"/>
                  <a:pt x="1215" y="1261"/>
                </a:cubicBezTo>
                <a:cubicBezTo>
                  <a:pt x="1218" y="1259"/>
                  <a:pt x="1219" y="1256"/>
                  <a:pt x="1218" y="1252"/>
                </a:cubicBezTo>
                <a:cubicBezTo>
                  <a:pt x="1218" y="1250"/>
                  <a:pt x="1218" y="1247"/>
                  <a:pt x="1218" y="1246"/>
                </a:cubicBezTo>
                <a:cubicBezTo>
                  <a:pt x="1217" y="1245"/>
                  <a:pt x="1215" y="1245"/>
                  <a:pt x="1214" y="1244"/>
                </a:cubicBezTo>
                <a:cubicBezTo>
                  <a:pt x="1213" y="1242"/>
                  <a:pt x="1212" y="1240"/>
                  <a:pt x="1212" y="1238"/>
                </a:cubicBezTo>
                <a:cubicBezTo>
                  <a:pt x="1212" y="1235"/>
                  <a:pt x="1215" y="1232"/>
                  <a:pt x="1218" y="1232"/>
                </a:cubicBezTo>
                <a:cubicBezTo>
                  <a:pt x="1219" y="1232"/>
                  <a:pt x="1219" y="1233"/>
                  <a:pt x="1219" y="1234"/>
                </a:cubicBezTo>
                <a:cubicBezTo>
                  <a:pt x="1219" y="1235"/>
                  <a:pt x="1219" y="1236"/>
                  <a:pt x="1219" y="1237"/>
                </a:cubicBezTo>
                <a:cubicBezTo>
                  <a:pt x="1219" y="1237"/>
                  <a:pt x="1218" y="1237"/>
                  <a:pt x="1218" y="1237"/>
                </a:cubicBezTo>
                <a:cubicBezTo>
                  <a:pt x="1217" y="1238"/>
                  <a:pt x="1217" y="1239"/>
                  <a:pt x="1216" y="1241"/>
                </a:cubicBezTo>
                <a:cubicBezTo>
                  <a:pt x="1217" y="1241"/>
                  <a:pt x="1218" y="1241"/>
                  <a:pt x="1219" y="1240"/>
                </a:cubicBezTo>
                <a:cubicBezTo>
                  <a:pt x="1220" y="1239"/>
                  <a:pt x="1221" y="1238"/>
                  <a:pt x="1221" y="1237"/>
                </a:cubicBezTo>
                <a:cubicBezTo>
                  <a:pt x="1226" y="1230"/>
                  <a:pt x="1232" y="1226"/>
                  <a:pt x="1239" y="1225"/>
                </a:cubicBezTo>
                <a:cubicBezTo>
                  <a:pt x="1243" y="1224"/>
                  <a:pt x="1246" y="1223"/>
                  <a:pt x="1248" y="1221"/>
                </a:cubicBezTo>
                <a:cubicBezTo>
                  <a:pt x="1248" y="1220"/>
                  <a:pt x="1249" y="1220"/>
                  <a:pt x="1249" y="1220"/>
                </a:cubicBezTo>
                <a:cubicBezTo>
                  <a:pt x="1252" y="1219"/>
                  <a:pt x="1254" y="1217"/>
                  <a:pt x="1256" y="1215"/>
                </a:cubicBezTo>
                <a:cubicBezTo>
                  <a:pt x="1263" y="1207"/>
                  <a:pt x="1275" y="1207"/>
                  <a:pt x="1283" y="1214"/>
                </a:cubicBezTo>
                <a:cubicBezTo>
                  <a:pt x="1285" y="1216"/>
                  <a:pt x="1288" y="1218"/>
                  <a:pt x="1290" y="1220"/>
                </a:cubicBezTo>
                <a:cubicBezTo>
                  <a:pt x="1292" y="1221"/>
                  <a:pt x="1293" y="1223"/>
                  <a:pt x="1294" y="1224"/>
                </a:cubicBezTo>
                <a:cubicBezTo>
                  <a:pt x="1295" y="1226"/>
                  <a:pt x="1296" y="1226"/>
                  <a:pt x="1297" y="1225"/>
                </a:cubicBezTo>
                <a:cubicBezTo>
                  <a:pt x="1298" y="1224"/>
                  <a:pt x="1299" y="1224"/>
                  <a:pt x="1299" y="1223"/>
                </a:cubicBezTo>
                <a:cubicBezTo>
                  <a:pt x="1301" y="1220"/>
                  <a:pt x="1304" y="1220"/>
                  <a:pt x="1306" y="1223"/>
                </a:cubicBezTo>
                <a:cubicBezTo>
                  <a:pt x="1307" y="1226"/>
                  <a:pt x="1308" y="1229"/>
                  <a:pt x="1308" y="1232"/>
                </a:cubicBezTo>
                <a:cubicBezTo>
                  <a:pt x="1309" y="1237"/>
                  <a:pt x="1308" y="1241"/>
                  <a:pt x="1307" y="1245"/>
                </a:cubicBezTo>
                <a:cubicBezTo>
                  <a:pt x="1304" y="1252"/>
                  <a:pt x="1300" y="1255"/>
                  <a:pt x="1293" y="1255"/>
                </a:cubicBezTo>
                <a:cubicBezTo>
                  <a:pt x="1292" y="1255"/>
                  <a:pt x="1292" y="1255"/>
                  <a:pt x="1291" y="1255"/>
                </a:cubicBezTo>
                <a:cubicBezTo>
                  <a:pt x="1289" y="1255"/>
                  <a:pt x="1288" y="1255"/>
                  <a:pt x="1287" y="1258"/>
                </a:cubicBezTo>
                <a:cubicBezTo>
                  <a:pt x="1285" y="1262"/>
                  <a:pt x="1280" y="1264"/>
                  <a:pt x="1276" y="1261"/>
                </a:cubicBezTo>
                <a:cubicBezTo>
                  <a:pt x="1275" y="1259"/>
                  <a:pt x="1274" y="1259"/>
                  <a:pt x="1273" y="1257"/>
                </a:cubicBezTo>
                <a:cubicBezTo>
                  <a:pt x="1273" y="1258"/>
                  <a:pt x="1273" y="1258"/>
                  <a:pt x="1272" y="1258"/>
                </a:cubicBezTo>
                <a:close/>
                <a:moveTo>
                  <a:pt x="1267" y="1253"/>
                </a:moveTo>
                <a:cubicBezTo>
                  <a:pt x="1270" y="1255"/>
                  <a:pt x="1274" y="1256"/>
                  <a:pt x="1276" y="1259"/>
                </a:cubicBezTo>
                <a:cubicBezTo>
                  <a:pt x="1278" y="1261"/>
                  <a:pt x="1280" y="1261"/>
                  <a:pt x="1282" y="1261"/>
                </a:cubicBezTo>
                <a:cubicBezTo>
                  <a:pt x="1285" y="1260"/>
                  <a:pt x="1286" y="1258"/>
                  <a:pt x="1286" y="1255"/>
                </a:cubicBezTo>
                <a:cubicBezTo>
                  <a:pt x="1286" y="1255"/>
                  <a:pt x="1285" y="1255"/>
                  <a:pt x="1285" y="1255"/>
                </a:cubicBezTo>
                <a:cubicBezTo>
                  <a:pt x="1285" y="1257"/>
                  <a:pt x="1284" y="1258"/>
                  <a:pt x="1283" y="1259"/>
                </a:cubicBezTo>
                <a:cubicBezTo>
                  <a:pt x="1282" y="1260"/>
                  <a:pt x="1280" y="1260"/>
                  <a:pt x="1280" y="1259"/>
                </a:cubicBezTo>
                <a:cubicBezTo>
                  <a:pt x="1279" y="1259"/>
                  <a:pt x="1278" y="1258"/>
                  <a:pt x="1278" y="1257"/>
                </a:cubicBezTo>
                <a:cubicBezTo>
                  <a:pt x="1278" y="1255"/>
                  <a:pt x="1279" y="1253"/>
                  <a:pt x="1279" y="1251"/>
                </a:cubicBezTo>
                <a:cubicBezTo>
                  <a:pt x="1282" y="1252"/>
                  <a:pt x="1286" y="1253"/>
                  <a:pt x="1289" y="1253"/>
                </a:cubicBezTo>
                <a:cubicBezTo>
                  <a:pt x="1297" y="1255"/>
                  <a:pt x="1303" y="1253"/>
                  <a:pt x="1306" y="1244"/>
                </a:cubicBezTo>
                <a:cubicBezTo>
                  <a:pt x="1307" y="1240"/>
                  <a:pt x="1307" y="1235"/>
                  <a:pt x="1306" y="1230"/>
                </a:cubicBezTo>
                <a:cubicBezTo>
                  <a:pt x="1306" y="1228"/>
                  <a:pt x="1305" y="1226"/>
                  <a:pt x="1304" y="1224"/>
                </a:cubicBezTo>
                <a:cubicBezTo>
                  <a:pt x="1303" y="1223"/>
                  <a:pt x="1302" y="1222"/>
                  <a:pt x="1301" y="1224"/>
                </a:cubicBezTo>
                <a:cubicBezTo>
                  <a:pt x="1299" y="1225"/>
                  <a:pt x="1298" y="1227"/>
                  <a:pt x="1296" y="1228"/>
                </a:cubicBezTo>
                <a:cubicBezTo>
                  <a:pt x="1295" y="1228"/>
                  <a:pt x="1294" y="1229"/>
                  <a:pt x="1295" y="1230"/>
                </a:cubicBezTo>
                <a:cubicBezTo>
                  <a:pt x="1295" y="1233"/>
                  <a:pt x="1295" y="1236"/>
                  <a:pt x="1293" y="1240"/>
                </a:cubicBezTo>
                <a:cubicBezTo>
                  <a:pt x="1293" y="1238"/>
                  <a:pt x="1294" y="1236"/>
                  <a:pt x="1294" y="1234"/>
                </a:cubicBezTo>
                <a:cubicBezTo>
                  <a:pt x="1294" y="1233"/>
                  <a:pt x="1293" y="1233"/>
                  <a:pt x="1293" y="1232"/>
                </a:cubicBezTo>
                <a:cubicBezTo>
                  <a:pt x="1293" y="1233"/>
                  <a:pt x="1292" y="1233"/>
                  <a:pt x="1292" y="1233"/>
                </a:cubicBezTo>
                <a:cubicBezTo>
                  <a:pt x="1291" y="1234"/>
                  <a:pt x="1290" y="1236"/>
                  <a:pt x="1290" y="1237"/>
                </a:cubicBezTo>
                <a:cubicBezTo>
                  <a:pt x="1289" y="1237"/>
                  <a:pt x="1289" y="1237"/>
                  <a:pt x="1289" y="1237"/>
                </a:cubicBezTo>
                <a:cubicBezTo>
                  <a:pt x="1290" y="1236"/>
                  <a:pt x="1290" y="1234"/>
                  <a:pt x="1290" y="1232"/>
                </a:cubicBezTo>
                <a:cubicBezTo>
                  <a:pt x="1289" y="1232"/>
                  <a:pt x="1289" y="1233"/>
                  <a:pt x="1288" y="1234"/>
                </a:cubicBezTo>
                <a:cubicBezTo>
                  <a:pt x="1288" y="1234"/>
                  <a:pt x="1287" y="1235"/>
                  <a:pt x="1287" y="1236"/>
                </a:cubicBezTo>
                <a:cubicBezTo>
                  <a:pt x="1287" y="1232"/>
                  <a:pt x="1288" y="1232"/>
                  <a:pt x="1293" y="1231"/>
                </a:cubicBezTo>
                <a:cubicBezTo>
                  <a:pt x="1293" y="1230"/>
                  <a:pt x="1292" y="1230"/>
                  <a:pt x="1292" y="1230"/>
                </a:cubicBezTo>
                <a:cubicBezTo>
                  <a:pt x="1290" y="1230"/>
                  <a:pt x="1289" y="1229"/>
                  <a:pt x="1288" y="1226"/>
                </a:cubicBezTo>
                <a:cubicBezTo>
                  <a:pt x="1290" y="1226"/>
                  <a:pt x="1291" y="1226"/>
                  <a:pt x="1293" y="1225"/>
                </a:cubicBezTo>
                <a:cubicBezTo>
                  <a:pt x="1291" y="1223"/>
                  <a:pt x="1290" y="1220"/>
                  <a:pt x="1287" y="1220"/>
                </a:cubicBezTo>
                <a:cubicBezTo>
                  <a:pt x="1286" y="1220"/>
                  <a:pt x="1286" y="1219"/>
                  <a:pt x="1286" y="1219"/>
                </a:cubicBezTo>
                <a:cubicBezTo>
                  <a:pt x="1284" y="1217"/>
                  <a:pt x="1281" y="1215"/>
                  <a:pt x="1278" y="1213"/>
                </a:cubicBezTo>
                <a:cubicBezTo>
                  <a:pt x="1276" y="1211"/>
                  <a:pt x="1273" y="1211"/>
                  <a:pt x="1271" y="1211"/>
                </a:cubicBezTo>
                <a:cubicBezTo>
                  <a:pt x="1268" y="1211"/>
                  <a:pt x="1265" y="1212"/>
                  <a:pt x="1262" y="1213"/>
                </a:cubicBezTo>
                <a:cubicBezTo>
                  <a:pt x="1259" y="1214"/>
                  <a:pt x="1256" y="1216"/>
                  <a:pt x="1254" y="1219"/>
                </a:cubicBezTo>
                <a:cubicBezTo>
                  <a:pt x="1256" y="1219"/>
                  <a:pt x="1257" y="1219"/>
                  <a:pt x="1258" y="1219"/>
                </a:cubicBezTo>
                <a:cubicBezTo>
                  <a:pt x="1258" y="1219"/>
                  <a:pt x="1257" y="1220"/>
                  <a:pt x="1256" y="1220"/>
                </a:cubicBezTo>
                <a:cubicBezTo>
                  <a:pt x="1254" y="1221"/>
                  <a:pt x="1251" y="1220"/>
                  <a:pt x="1249" y="1222"/>
                </a:cubicBezTo>
                <a:cubicBezTo>
                  <a:pt x="1246" y="1226"/>
                  <a:pt x="1242" y="1230"/>
                  <a:pt x="1238" y="1234"/>
                </a:cubicBezTo>
                <a:cubicBezTo>
                  <a:pt x="1237" y="1236"/>
                  <a:pt x="1236" y="1238"/>
                  <a:pt x="1235" y="1241"/>
                </a:cubicBezTo>
                <a:cubicBezTo>
                  <a:pt x="1235" y="1241"/>
                  <a:pt x="1235" y="1242"/>
                  <a:pt x="1235" y="1242"/>
                </a:cubicBezTo>
                <a:cubicBezTo>
                  <a:pt x="1236" y="1244"/>
                  <a:pt x="1237" y="1246"/>
                  <a:pt x="1239" y="1248"/>
                </a:cubicBezTo>
                <a:cubicBezTo>
                  <a:pt x="1240" y="1247"/>
                  <a:pt x="1241" y="1245"/>
                  <a:pt x="1243" y="1244"/>
                </a:cubicBezTo>
                <a:cubicBezTo>
                  <a:pt x="1242" y="1245"/>
                  <a:pt x="1242" y="1246"/>
                  <a:pt x="1241" y="1248"/>
                </a:cubicBezTo>
                <a:cubicBezTo>
                  <a:pt x="1240" y="1249"/>
                  <a:pt x="1239" y="1250"/>
                  <a:pt x="1239" y="1252"/>
                </a:cubicBezTo>
                <a:cubicBezTo>
                  <a:pt x="1239" y="1253"/>
                  <a:pt x="1239" y="1254"/>
                  <a:pt x="1239" y="1255"/>
                </a:cubicBezTo>
                <a:cubicBezTo>
                  <a:pt x="1242" y="1258"/>
                  <a:pt x="1245" y="1258"/>
                  <a:pt x="1249" y="1256"/>
                </a:cubicBezTo>
                <a:cubicBezTo>
                  <a:pt x="1251" y="1255"/>
                  <a:pt x="1254" y="1253"/>
                  <a:pt x="1257" y="1253"/>
                </a:cubicBezTo>
                <a:cubicBezTo>
                  <a:pt x="1258" y="1252"/>
                  <a:pt x="1260" y="1251"/>
                  <a:pt x="1260" y="1250"/>
                </a:cubicBezTo>
                <a:cubicBezTo>
                  <a:pt x="1260" y="1247"/>
                  <a:pt x="1260" y="1243"/>
                  <a:pt x="1260" y="1240"/>
                </a:cubicBezTo>
                <a:cubicBezTo>
                  <a:pt x="1260" y="1237"/>
                  <a:pt x="1260" y="1234"/>
                  <a:pt x="1260" y="1231"/>
                </a:cubicBezTo>
                <a:cubicBezTo>
                  <a:pt x="1260" y="1234"/>
                  <a:pt x="1261" y="1236"/>
                  <a:pt x="1261" y="1239"/>
                </a:cubicBezTo>
                <a:cubicBezTo>
                  <a:pt x="1262" y="1244"/>
                  <a:pt x="1262" y="1248"/>
                  <a:pt x="1261" y="1252"/>
                </a:cubicBezTo>
                <a:cubicBezTo>
                  <a:pt x="1260" y="1253"/>
                  <a:pt x="1260" y="1254"/>
                  <a:pt x="1259" y="1254"/>
                </a:cubicBezTo>
                <a:cubicBezTo>
                  <a:pt x="1256" y="1254"/>
                  <a:pt x="1252" y="1256"/>
                  <a:pt x="1249" y="1258"/>
                </a:cubicBezTo>
                <a:cubicBezTo>
                  <a:pt x="1244" y="1261"/>
                  <a:pt x="1241" y="1259"/>
                  <a:pt x="1237" y="1255"/>
                </a:cubicBezTo>
                <a:cubicBezTo>
                  <a:pt x="1237" y="1255"/>
                  <a:pt x="1237" y="1253"/>
                  <a:pt x="1237" y="1253"/>
                </a:cubicBezTo>
                <a:cubicBezTo>
                  <a:pt x="1238" y="1251"/>
                  <a:pt x="1237" y="1249"/>
                  <a:pt x="1236" y="1247"/>
                </a:cubicBezTo>
                <a:cubicBezTo>
                  <a:pt x="1234" y="1245"/>
                  <a:pt x="1232" y="1242"/>
                  <a:pt x="1234" y="1240"/>
                </a:cubicBezTo>
                <a:cubicBezTo>
                  <a:pt x="1234" y="1238"/>
                  <a:pt x="1235" y="1236"/>
                  <a:pt x="1236" y="1234"/>
                </a:cubicBezTo>
                <a:cubicBezTo>
                  <a:pt x="1238" y="1232"/>
                  <a:pt x="1240" y="1229"/>
                  <a:pt x="1242" y="1226"/>
                </a:cubicBezTo>
                <a:cubicBezTo>
                  <a:pt x="1242" y="1226"/>
                  <a:pt x="1241" y="1226"/>
                  <a:pt x="1241" y="1226"/>
                </a:cubicBezTo>
                <a:cubicBezTo>
                  <a:pt x="1236" y="1228"/>
                  <a:pt x="1232" y="1229"/>
                  <a:pt x="1228" y="1232"/>
                </a:cubicBezTo>
                <a:cubicBezTo>
                  <a:pt x="1223" y="1237"/>
                  <a:pt x="1220" y="1242"/>
                  <a:pt x="1220" y="1249"/>
                </a:cubicBezTo>
                <a:cubicBezTo>
                  <a:pt x="1219" y="1255"/>
                  <a:pt x="1222" y="1261"/>
                  <a:pt x="1225" y="1267"/>
                </a:cubicBezTo>
                <a:cubicBezTo>
                  <a:pt x="1226" y="1268"/>
                  <a:pt x="1226" y="1270"/>
                  <a:pt x="1226" y="1271"/>
                </a:cubicBezTo>
                <a:cubicBezTo>
                  <a:pt x="1226" y="1272"/>
                  <a:pt x="1226" y="1274"/>
                  <a:pt x="1225" y="1275"/>
                </a:cubicBezTo>
                <a:cubicBezTo>
                  <a:pt x="1224" y="1277"/>
                  <a:pt x="1225" y="1278"/>
                  <a:pt x="1226" y="1278"/>
                </a:cubicBezTo>
                <a:cubicBezTo>
                  <a:pt x="1229" y="1279"/>
                  <a:pt x="1232" y="1280"/>
                  <a:pt x="1235" y="1280"/>
                </a:cubicBezTo>
                <a:cubicBezTo>
                  <a:pt x="1236" y="1280"/>
                  <a:pt x="1236" y="1279"/>
                  <a:pt x="1236" y="1279"/>
                </a:cubicBezTo>
                <a:cubicBezTo>
                  <a:pt x="1237" y="1278"/>
                  <a:pt x="1237" y="1276"/>
                  <a:pt x="1237" y="1275"/>
                </a:cubicBezTo>
                <a:cubicBezTo>
                  <a:pt x="1239" y="1273"/>
                  <a:pt x="1239" y="1270"/>
                  <a:pt x="1239" y="1267"/>
                </a:cubicBezTo>
                <a:cubicBezTo>
                  <a:pt x="1239" y="1267"/>
                  <a:pt x="1239" y="1266"/>
                  <a:pt x="1239" y="1266"/>
                </a:cubicBezTo>
                <a:cubicBezTo>
                  <a:pt x="1239" y="1266"/>
                  <a:pt x="1239" y="1266"/>
                  <a:pt x="1239" y="1265"/>
                </a:cubicBezTo>
                <a:cubicBezTo>
                  <a:pt x="1240" y="1268"/>
                  <a:pt x="1241" y="1268"/>
                  <a:pt x="1243" y="1268"/>
                </a:cubicBezTo>
                <a:cubicBezTo>
                  <a:pt x="1244" y="1268"/>
                  <a:pt x="1245" y="1268"/>
                  <a:pt x="1246" y="1268"/>
                </a:cubicBezTo>
                <a:cubicBezTo>
                  <a:pt x="1249" y="1268"/>
                  <a:pt x="1252" y="1269"/>
                  <a:pt x="1252" y="1264"/>
                </a:cubicBezTo>
                <a:cubicBezTo>
                  <a:pt x="1252" y="1267"/>
                  <a:pt x="1252" y="1268"/>
                  <a:pt x="1252" y="1269"/>
                </a:cubicBezTo>
                <a:cubicBezTo>
                  <a:pt x="1251" y="1270"/>
                  <a:pt x="1250" y="1271"/>
                  <a:pt x="1249" y="1271"/>
                </a:cubicBezTo>
                <a:cubicBezTo>
                  <a:pt x="1247" y="1272"/>
                  <a:pt x="1247" y="1274"/>
                  <a:pt x="1247" y="1274"/>
                </a:cubicBezTo>
                <a:cubicBezTo>
                  <a:pt x="1249" y="1277"/>
                  <a:pt x="1250" y="1279"/>
                  <a:pt x="1251" y="1281"/>
                </a:cubicBezTo>
                <a:cubicBezTo>
                  <a:pt x="1253" y="1282"/>
                  <a:pt x="1255" y="1282"/>
                  <a:pt x="1256" y="1280"/>
                </a:cubicBezTo>
                <a:cubicBezTo>
                  <a:pt x="1257" y="1279"/>
                  <a:pt x="1258" y="1278"/>
                  <a:pt x="1258" y="1278"/>
                </a:cubicBezTo>
                <a:cubicBezTo>
                  <a:pt x="1260" y="1276"/>
                  <a:pt x="1262" y="1275"/>
                  <a:pt x="1263" y="1274"/>
                </a:cubicBezTo>
                <a:cubicBezTo>
                  <a:pt x="1267" y="1270"/>
                  <a:pt x="1269" y="1264"/>
                  <a:pt x="1271" y="1258"/>
                </a:cubicBezTo>
                <a:cubicBezTo>
                  <a:pt x="1271" y="1257"/>
                  <a:pt x="1270" y="1257"/>
                  <a:pt x="1270" y="1256"/>
                </a:cubicBezTo>
                <a:cubicBezTo>
                  <a:pt x="1269" y="1255"/>
                  <a:pt x="1268" y="1254"/>
                  <a:pt x="1267" y="1253"/>
                </a:cubicBezTo>
                <a:close/>
                <a:moveTo>
                  <a:pt x="1219" y="1260"/>
                </a:moveTo>
                <a:cubicBezTo>
                  <a:pt x="1219" y="1261"/>
                  <a:pt x="1217" y="1261"/>
                  <a:pt x="1216" y="1263"/>
                </a:cubicBezTo>
                <a:cubicBezTo>
                  <a:pt x="1215" y="1263"/>
                  <a:pt x="1215" y="1264"/>
                  <a:pt x="1215" y="1264"/>
                </a:cubicBezTo>
                <a:cubicBezTo>
                  <a:pt x="1215" y="1267"/>
                  <a:pt x="1219" y="1272"/>
                  <a:pt x="1222" y="1271"/>
                </a:cubicBezTo>
                <a:cubicBezTo>
                  <a:pt x="1224" y="1271"/>
                  <a:pt x="1225" y="1270"/>
                  <a:pt x="1224" y="1268"/>
                </a:cubicBezTo>
                <a:cubicBezTo>
                  <a:pt x="1222" y="1265"/>
                  <a:pt x="1221" y="1263"/>
                  <a:pt x="1219" y="1260"/>
                </a:cubicBezTo>
                <a:close/>
                <a:moveTo>
                  <a:pt x="1272" y="1262"/>
                </a:moveTo>
                <a:cubicBezTo>
                  <a:pt x="1270" y="1266"/>
                  <a:pt x="1267" y="1271"/>
                  <a:pt x="1265" y="1275"/>
                </a:cubicBezTo>
                <a:cubicBezTo>
                  <a:pt x="1268" y="1275"/>
                  <a:pt x="1270" y="1276"/>
                  <a:pt x="1273" y="1275"/>
                </a:cubicBezTo>
                <a:cubicBezTo>
                  <a:pt x="1273" y="1275"/>
                  <a:pt x="1274" y="1274"/>
                  <a:pt x="1274" y="1274"/>
                </a:cubicBezTo>
                <a:cubicBezTo>
                  <a:pt x="1274" y="1271"/>
                  <a:pt x="1274" y="1268"/>
                  <a:pt x="1273" y="1266"/>
                </a:cubicBezTo>
                <a:cubicBezTo>
                  <a:pt x="1273" y="1264"/>
                  <a:pt x="1273" y="1263"/>
                  <a:pt x="1272" y="1262"/>
                </a:cubicBezTo>
                <a:close/>
                <a:moveTo>
                  <a:pt x="1219" y="1242"/>
                </a:moveTo>
                <a:cubicBezTo>
                  <a:pt x="1219" y="1242"/>
                  <a:pt x="1218" y="1242"/>
                  <a:pt x="1217" y="1242"/>
                </a:cubicBezTo>
                <a:cubicBezTo>
                  <a:pt x="1217" y="1242"/>
                  <a:pt x="1216" y="1242"/>
                  <a:pt x="1216" y="1242"/>
                </a:cubicBezTo>
                <a:cubicBezTo>
                  <a:pt x="1215" y="1242"/>
                  <a:pt x="1215" y="1241"/>
                  <a:pt x="1215" y="1240"/>
                </a:cubicBezTo>
                <a:cubicBezTo>
                  <a:pt x="1216" y="1238"/>
                  <a:pt x="1216" y="1236"/>
                  <a:pt x="1217" y="1234"/>
                </a:cubicBezTo>
                <a:cubicBezTo>
                  <a:pt x="1217" y="1234"/>
                  <a:pt x="1217" y="1234"/>
                  <a:pt x="1216" y="1234"/>
                </a:cubicBezTo>
                <a:cubicBezTo>
                  <a:pt x="1215" y="1235"/>
                  <a:pt x="1214" y="1236"/>
                  <a:pt x="1213" y="1237"/>
                </a:cubicBezTo>
                <a:cubicBezTo>
                  <a:pt x="1213" y="1238"/>
                  <a:pt x="1214" y="1243"/>
                  <a:pt x="1216" y="1244"/>
                </a:cubicBezTo>
                <a:cubicBezTo>
                  <a:pt x="1217" y="1245"/>
                  <a:pt x="1219" y="1244"/>
                  <a:pt x="1219" y="1242"/>
                </a:cubicBezTo>
                <a:close/>
                <a:moveTo>
                  <a:pt x="1219" y="1259"/>
                </a:moveTo>
                <a:cubicBezTo>
                  <a:pt x="1219" y="1260"/>
                  <a:pt x="1217" y="1261"/>
                  <a:pt x="1216" y="1262"/>
                </a:cubicBezTo>
                <a:cubicBezTo>
                  <a:pt x="1216" y="1263"/>
                  <a:pt x="1215" y="1263"/>
                  <a:pt x="1215" y="1264"/>
                </a:cubicBezTo>
                <a:cubicBezTo>
                  <a:pt x="1215" y="1267"/>
                  <a:pt x="1219" y="1271"/>
                  <a:pt x="1223" y="1271"/>
                </a:cubicBezTo>
                <a:cubicBezTo>
                  <a:pt x="1224" y="1271"/>
                  <a:pt x="1225" y="1270"/>
                  <a:pt x="1224" y="1268"/>
                </a:cubicBezTo>
                <a:cubicBezTo>
                  <a:pt x="1223" y="1265"/>
                  <a:pt x="1221" y="1262"/>
                  <a:pt x="1219" y="1259"/>
                </a:cubicBezTo>
                <a:close/>
                <a:moveTo>
                  <a:pt x="1272" y="1261"/>
                </a:moveTo>
                <a:cubicBezTo>
                  <a:pt x="1270" y="1266"/>
                  <a:pt x="1267" y="1270"/>
                  <a:pt x="1265" y="1275"/>
                </a:cubicBezTo>
                <a:cubicBezTo>
                  <a:pt x="1268" y="1275"/>
                  <a:pt x="1270" y="1275"/>
                  <a:pt x="1273" y="1275"/>
                </a:cubicBezTo>
                <a:cubicBezTo>
                  <a:pt x="1273" y="1275"/>
                  <a:pt x="1274" y="1274"/>
                  <a:pt x="1274" y="1273"/>
                </a:cubicBezTo>
                <a:cubicBezTo>
                  <a:pt x="1274" y="1270"/>
                  <a:pt x="1274" y="1268"/>
                  <a:pt x="1273" y="1266"/>
                </a:cubicBezTo>
                <a:cubicBezTo>
                  <a:pt x="1273" y="1264"/>
                  <a:pt x="1273" y="1263"/>
                  <a:pt x="1272" y="1261"/>
                </a:cubicBezTo>
                <a:close/>
                <a:moveTo>
                  <a:pt x="1220" y="1241"/>
                </a:moveTo>
                <a:cubicBezTo>
                  <a:pt x="1219" y="1242"/>
                  <a:pt x="1218" y="1242"/>
                  <a:pt x="1218" y="1242"/>
                </a:cubicBezTo>
                <a:cubicBezTo>
                  <a:pt x="1217" y="1242"/>
                  <a:pt x="1216" y="1242"/>
                  <a:pt x="1216" y="1242"/>
                </a:cubicBezTo>
                <a:cubicBezTo>
                  <a:pt x="1216" y="1241"/>
                  <a:pt x="1215" y="1241"/>
                  <a:pt x="1215" y="1240"/>
                </a:cubicBezTo>
                <a:cubicBezTo>
                  <a:pt x="1216" y="1238"/>
                  <a:pt x="1216" y="1236"/>
                  <a:pt x="1217" y="1234"/>
                </a:cubicBezTo>
                <a:cubicBezTo>
                  <a:pt x="1217" y="1234"/>
                  <a:pt x="1217" y="1234"/>
                  <a:pt x="1216" y="1234"/>
                </a:cubicBezTo>
                <a:cubicBezTo>
                  <a:pt x="1216" y="1235"/>
                  <a:pt x="1214" y="1236"/>
                  <a:pt x="1214" y="1237"/>
                </a:cubicBezTo>
                <a:cubicBezTo>
                  <a:pt x="1213" y="1238"/>
                  <a:pt x="1214" y="1243"/>
                  <a:pt x="1216" y="1244"/>
                </a:cubicBezTo>
                <a:cubicBezTo>
                  <a:pt x="1218" y="1245"/>
                  <a:pt x="1220" y="1243"/>
                  <a:pt x="1220" y="1241"/>
                </a:cubicBezTo>
                <a:close/>
                <a:moveTo>
                  <a:pt x="1271" y="1233"/>
                </a:moveTo>
                <a:cubicBezTo>
                  <a:pt x="1275" y="1229"/>
                  <a:pt x="1275" y="1229"/>
                  <a:pt x="1279" y="1228"/>
                </a:cubicBezTo>
                <a:cubicBezTo>
                  <a:pt x="1279" y="1230"/>
                  <a:pt x="1280" y="1231"/>
                  <a:pt x="1281" y="1231"/>
                </a:cubicBezTo>
                <a:cubicBezTo>
                  <a:pt x="1279" y="1233"/>
                  <a:pt x="1277" y="1234"/>
                  <a:pt x="1275" y="1235"/>
                </a:cubicBezTo>
                <a:cubicBezTo>
                  <a:pt x="1274" y="1235"/>
                  <a:pt x="1274" y="1234"/>
                  <a:pt x="1273" y="1233"/>
                </a:cubicBezTo>
                <a:cubicBezTo>
                  <a:pt x="1273" y="1233"/>
                  <a:pt x="1272" y="1233"/>
                  <a:pt x="1271" y="1233"/>
                </a:cubicBezTo>
                <a:close/>
                <a:moveTo>
                  <a:pt x="1277" y="1233"/>
                </a:moveTo>
                <a:cubicBezTo>
                  <a:pt x="1277" y="1232"/>
                  <a:pt x="1276" y="1232"/>
                  <a:pt x="1275" y="1232"/>
                </a:cubicBezTo>
                <a:cubicBezTo>
                  <a:pt x="1275" y="1232"/>
                  <a:pt x="1274" y="1233"/>
                  <a:pt x="1274" y="1233"/>
                </a:cubicBezTo>
                <a:cubicBezTo>
                  <a:pt x="1274" y="1233"/>
                  <a:pt x="1275" y="1234"/>
                  <a:pt x="1275" y="1234"/>
                </a:cubicBezTo>
                <a:cubicBezTo>
                  <a:pt x="1276" y="1234"/>
                  <a:pt x="1276" y="1233"/>
                  <a:pt x="1277" y="1233"/>
                </a:cubicBezTo>
                <a:close/>
                <a:moveTo>
                  <a:pt x="1259" y="1223"/>
                </a:moveTo>
                <a:cubicBezTo>
                  <a:pt x="1252" y="1222"/>
                  <a:pt x="1249" y="1225"/>
                  <a:pt x="1248" y="1233"/>
                </a:cubicBezTo>
                <a:cubicBezTo>
                  <a:pt x="1249" y="1231"/>
                  <a:pt x="1250" y="1228"/>
                  <a:pt x="1252" y="1226"/>
                </a:cubicBezTo>
                <a:cubicBezTo>
                  <a:pt x="1252" y="1226"/>
                  <a:pt x="1252" y="1226"/>
                  <a:pt x="1252" y="1226"/>
                </a:cubicBezTo>
                <a:cubicBezTo>
                  <a:pt x="1252" y="1227"/>
                  <a:pt x="1252" y="1228"/>
                  <a:pt x="1252" y="1229"/>
                </a:cubicBezTo>
                <a:cubicBezTo>
                  <a:pt x="1254" y="1226"/>
                  <a:pt x="1255" y="1224"/>
                  <a:pt x="1259" y="1223"/>
                </a:cubicBezTo>
                <a:close/>
                <a:moveTo>
                  <a:pt x="1302" y="1225"/>
                </a:moveTo>
                <a:cubicBezTo>
                  <a:pt x="1300" y="1226"/>
                  <a:pt x="1298" y="1228"/>
                  <a:pt x="1297" y="1229"/>
                </a:cubicBezTo>
                <a:cubicBezTo>
                  <a:pt x="1299" y="1229"/>
                  <a:pt x="1301" y="1228"/>
                  <a:pt x="1302" y="1225"/>
                </a:cubicBezTo>
                <a:close/>
                <a:moveTo>
                  <a:pt x="1269" y="1227"/>
                </a:moveTo>
                <a:cubicBezTo>
                  <a:pt x="1270" y="1226"/>
                  <a:pt x="1271" y="1224"/>
                  <a:pt x="1272" y="1223"/>
                </a:cubicBezTo>
                <a:cubicBezTo>
                  <a:pt x="1269" y="1224"/>
                  <a:pt x="1268" y="1225"/>
                  <a:pt x="1269" y="1227"/>
                </a:cubicBezTo>
                <a:close/>
                <a:moveTo>
                  <a:pt x="1279" y="1248"/>
                </a:moveTo>
                <a:cubicBezTo>
                  <a:pt x="1277" y="1248"/>
                  <a:pt x="1276" y="1249"/>
                  <a:pt x="1276" y="1250"/>
                </a:cubicBezTo>
                <a:cubicBezTo>
                  <a:pt x="1277" y="1249"/>
                  <a:pt x="1278" y="1249"/>
                  <a:pt x="1279" y="1248"/>
                </a:cubicBezTo>
                <a:close/>
                <a:moveTo>
                  <a:pt x="1278" y="1233"/>
                </a:moveTo>
                <a:cubicBezTo>
                  <a:pt x="1277" y="1232"/>
                  <a:pt x="1276" y="1232"/>
                  <a:pt x="1276" y="1232"/>
                </a:cubicBezTo>
                <a:cubicBezTo>
                  <a:pt x="1275" y="1232"/>
                  <a:pt x="1274" y="1233"/>
                  <a:pt x="1274" y="1233"/>
                </a:cubicBezTo>
                <a:cubicBezTo>
                  <a:pt x="1274" y="1233"/>
                  <a:pt x="1275" y="1234"/>
                  <a:pt x="1275" y="1234"/>
                </a:cubicBezTo>
                <a:cubicBezTo>
                  <a:pt x="1276" y="1234"/>
                  <a:pt x="1276" y="1233"/>
                  <a:pt x="1278" y="1233"/>
                </a:cubicBezTo>
                <a:close/>
                <a:moveTo>
                  <a:pt x="1568" y="1210"/>
                </a:moveTo>
                <a:cubicBezTo>
                  <a:pt x="1568" y="1210"/>
                  <a:pt x="1568" y="1210"/>
                  <a:pt x="1568" y="1210"/>
                </a:cubicBezTo>
                <a:cubicBezTo>
                  <a:pt x="1564" y="1210"/>
                  <a:pt x="1564" y="1210"/>
                  <a:pt x="1564" y="1210"/>
                </a:cubicBezTo>
                <a:cubicBezTo>
                  <a:pt x="1562" y="1212"/>
                  <a:pt x="1561" y="1213"/>
                  <a:pt x="1558" y="1214"/>
                </a:cubicBezTo>
                <a:cubicBezTo>
                  <a:pt x="1557" y="1216"/>
                  <a:pt x="1555" y="1216"/>
                  <a:pt x="1553" y="1217"/>
                </a:cubicBezTo>
                <a:cubicBezTo>
                  <a:pt x="1551" y="1218"/>
                  <a:pt x="1550" y="1219"/>
                  <a:pt x="1548" y="1220"/>
                </a:cubicBezTo>
                <a:cubicBezTo>
                  <a:pt x="1546" y="1221"/>
                  <a:pt x="1544" y="1221"/>
                  <a:pt x="1543" y="1221"/>
                </a:cubicBezTo>
                <a:cubicBezTo>
                  <a:pt x="1543" y="1221"/>
                  <a:pt x="1543" y="1221"/>
                  <a:pt x="1543" y="1232"/>
                </a:cubicBezTo>
                <a:cubicBezTo>
                  <a:pt x="1545" y="1231"/>
                  <a:pt x="1548" y="1230"/>
                  <a:pt x="1550" y="1229"/>
                </a:cubicBezTo>
                <a:cubicBezTo>
                  <a:pt x="1553" y="1228"/>
                  <a:pt x="1556" y="1226"/>
                  <a:pt x="1557" y="1225"/>
                </a:cubicBezTo>
                <a:cubicBezTo>
                  <a:pt x="1557" y="1225"/>
                  <a:pt x="1557" y="1225"/>
                  <a:pt x="1557" y="1284"/>
                </a:cubicBezTo>
                <a:cubicBezTo>
                  <a:pt x="1557" y="1284"/>
                  <a:pt x="1557" y="1284"/>
                  <a:pt x="1568" y="1284"/>
                </a:cubicBezTo>
                <a:cubicBezTo>
                  <a:pt x="1568" y="1284"/>
                  <a:pt x="1568" y="1284"/>
                  <a:pt x="1568" y="1210"/>
                </a:cubicBezTo>
                <a:close/>
                <a:moveTo>
                  <a:pt x="1690" y="1210"/>
                </a:moveTo>
                <a:cubicBezTo>
                  <a:pt x="1690" y="1210"/>
                  <a:pt x="1690" y="1210"/>
                  <a:pt x="1690" y="1210"/>
                </a:cubicBezTo>
                <a:cubicBezTo>
                  <a:pt x="1685" y="1210"/>
                  <a:pt x="1685" y="1210"/>
                  <a:pt x="1685" y="1210"/>
                </a:cubicBezTo>
                <a:cubicBezTo>
                  <a:pt x="1683" y="1212"/>
                  <a:pt x="1682" y="1213"/>
                  <a:pt x="1679" y="1214"/>
                </a:cubicBezTo>
                <a:cubicBezTo>
                  <a:pt x="1678" y="1216"/>
                  <a:pt x="1676" y="1216"/>
                  <a:pt x="1674" y="1217"/>
                </a:cubicBezTo>
                <a:cubicBezTo>
                  <a:pt x="1673" y="1218"/>
                  <a:pt x="1670" y="1219"/>
                  <a:pt x="1669" y="1220"/>
                </a:cubicBezTo>
                <a:cubicBezTo>
                  <a:pt x="1667" y="1221"/>
                  <a:pt x="1665" y="1221"/>
                  <a:pt x="1663" y="1221"/>
                </a:cubicBezTo>
                <a:cubicBezTo>
                  <a:pt x="1663" y="1221"/>
                  <a:pt x="1663" y="1221"/>
                  <a:pt x="1663" y="1232"/>
                </a:cubicBezTo>
                <a:cubicBezTo>
                  <a:pt x="1666" y="1231"/>
                  <a:pt x="1669" y="1230"/>
                  <a:pt x="1672" y="1229"/>
                </a:cubicBezTo>
                <a:cubicBezTo>
                  <a:pt x="1674" y="1228"/>
                  <a:pt x="1676" y="1226"/>
                  <a:pt x="1679" y="1225"/>
                </a:cubicBezTo>
                <a:cubicBezTo>
                  <a:pt x="1679" y="1225"/>
                  <a:pt x="1679" y="1225"/>
                  <a:pt x="1679" y="1284"/>
                </a:cubicBezTo>
                <a:cubicBezTo>
                  <a:pt x="1679" y="1284"/>
                  <a:pt x="1679" y="1284"/>
                  <a:pt x="1690" y="1284"/>
                </a:cubicBezTo>
                <a:cubicBezTo>
                  <a:pt x="1690" y="1284"/>
                  <a:pt x="1690" y="1284"/>
                  <a:pt x="1690" y="1210"/>
                </a:cubicBezTo>
                <a:close/>
                <a:moveTo>
                  <a:pt x="1737" y="1210"/>
                </a:moveTo>
                <a:cubicBezTo>
                  <a:pt x="1737" y="1210"/>
                  <a:pt x="1737" y="1210"/>
                  <a:pt x="1737" y="1210"/>
                </a:cubicBezTo>
                <a:cubicBezTo>
                  <a:pt x="1732" y="1210"/>
                  <a:pt x="1732" y="1210"/>
                  <a:pt x="1732" y="1210"/>
                </a:cubicBezTo>
                <a:cubicBezTo>
                  <a:pt x="1730" y="1212"/>
                  <a:pt x="1728" y="1213"/>
                  <a:pt x="1726" y="1214"/>
                </a:cubicBezTo>
                <a:cubicBezTo>
                  <a:pt x="1725" y="1216"/>
                  <a:pt x="1722" y="1216"/>
                  <a:pt x="1721" y="1217"/>
                </a:cubicBezTo>
                <a:cubicBezTo>
                  <a:pt x="1720" y="1218"/>
                  <a:pt x="1717" y="1219"/>
                  <a:pt x="1716" y="1220"/>
                </a:cubicBezTo>
                <a:cubicBezTo>
                  <a:pt x="1714" y="1221"/>
                  <a:pt x="1712" y="1221"/>
                  <a:pt x="1710" y="1221"/>
                </a:cubicBezTo>
                <a:cubicBezTo>
                  <a:pt x="1710" y="1221"/>
                  <a:pt x="1710" y="1221"/>
                  <a:pt x="1710" y="1232"/>
                </a:cubicBezTo>
                <a:cubicBezTo>
                  <a:pt x="1713" y="1231"/>
                  <a:pt x="1716" y="1230"/>
                  <a:pt x="1718" y="1229"/>
                </a:cubicBezTo>
                <a:cubicBezTo>
                  <a:pt x="1721" y="1228"/>
                  <a:pt x="1723" y="1226"/>
                  <a:pt x="1725" y="1225"/>
                </a:cubicBezTo>
                <a:cubicBezTo>
                  <a:pt x="1725" y="1225"/>
                  <a:pt x="1725" y="1225"/>
                  <a:pt x="1725" y="1284"/>
                </a:cubicBezTo>
                <a:cubicBezTo>
                  <a:pt x="1725" y="1284"/>
                  <a:pt x="1725" y="1284"/>
                  <a:pt x="1737" y="1284"/>
                </a:cubicBezTo>
                <a:cubicBezTo>
                  <a:pt x="1737" y="1284"/>
                  <a:pt x="1737" y="1284"/>
                  <a:pt x="1737" y="1210"/>
                </a:cubicBezTo>
                <a:close/>
                <a:moveTo>
                  <a:pt x="1783" y="1210"/>
                </a:moveTo>
                <a:cubicBezTo>
                  <a:pt x="1783" y="1210"/>
                  <a:pt x="1783" y="1210"/>
                  <a:pt x="1783" y="1210"/>
                </a:cubicBezTo>
                <a:cubicBezTo>
                  <a:pt x="1779" y="1210"/>
                  <a:pt x="1779" y="1210"/>
                  <a:pt x="1779" y="1210"/>
                </a:cubicBezTo>
                <a:cubicBezTo>
                  <a:pt x="1777" y="1212"/>
                  <a:pt x="1775" y="1213"/>
                  <a:pt x="1773" y="1214"/>
                </a:cubicBezTo>
                <a:cubicBezTo>
                  <a:pt x="1772" y="1216"/>
                  <a:pt x="1769" y="1216"/>
                  <a:pt x="1768" y="1217"/>
                </a:cubicBezTo>
                <a:cubicBezTo>
                  <a:pt x="1766" y="1218"/>
                  <a:pt x="1764" y="1218"/>
                  <a:pt x="1762" y="1219"/>
                </a:cubicBezTo>
                <a:cubicBezTo>
                  <a:pt x="1761" y="1220"/>
                  <a:pt x="1759" y="1221"/>
                  <a:pt x="1757" y="1221"/>
                </a:cubicBezTo>
                <a:cubicBezTo>
                  <a:pt x="1757" y="1221"/>
                  <a:pt x="1757" y="1221"/>
                  <a:pt x="1757" y="1232"/>
                </a:cubicBezTo>
                <a:cubicBezTo>
                  <a:pt x="1760" y="1231"/>
                  <a:pt x="1763" y="1229"/>
                  <a:pt x="1765" y="1229"/>
                </a:cubicBezTo>
                <a:cubicBezTo>
                  <a:pt x="1767" y="1228"/>
                  <a:pt x="1770" y="1226"/>
                  <a:pt x="1772" y="1225"/>
                </a:cubicBezTo>
                <a:cubicBezTo>
                  <a:pt x="1772" y="1225"/>
                  <a:pt x="1772" y="1225"/>
                  <a:pt x="1772" y="1284"/>
                </a:cubicBezTo>
                <a:cubicBezTo>
                  <a:pt x="1772" y="1284"/>
                  <a:pt x="1772" y="1284"/>
                  <a:pt x="1783" y="1284"/>
                </a:cubicBezTo>
                <a:cubicBezTo>
                  <a:pt x="1783" y="1284"/>
                  <a:pt x="1783" y="1284"/>
                  <a:pt x="1783" y="1210"/>
                </a:cubicBezTo>
                <a:close/>
                <a:moveTo>
                  <a:pt x="1589" y="1243"/>
                </a:moveTo>
                <a:cubicBezTo>
                  <a:pt x="1589" y="1243"/>
                  <a:pt x="1589" y="1243"/>
                  <a:pt x="1589" y="1243"/>
                </a:cubicBezTo>
                <a:cubicBezTo>
                  <a:pt x="1588" y="1251"/>
                  <a:pt x="1588" y="1251"/>
                  <a:pt x="1588" y="1251"/>
                </a:cubicBezTo>
                <a:cubicBezTo>
                  <a:pt x="1595" y="1251"/>
                  <a:pt x="1595" y="1254"/>
                  <a:pt x="1595" y="1257"/>
                </a:cubicBezTo>
                <a:cubicBezTo>
                  <a:pt x="1595" y="1259"/>
                  <a:pt x="1595" y="1261"/>
                  <a:pt x="1595" y="1264"/>
                </a:cubicBezTo>
                <a:cubicBezTo>
                  <a:pt x="1595" y="1267"/>
                  <a:pt x="1594" y="1269"/>
                  <a:pt x="1594" y="1271"/>
                </a:cubicBezTo>
                <a:cubicBezTo>
                  <a:pt x="1594" y="1281"/>
                  <a:pt x="1600" y="1284"/>
                  <a:pt x="1609" y="1284"/>
                </a:cubicBezTo>
                <a:cubicBezTo>
                  <a:pt x="1609" y="1284"/>
                  <a:pt x="1609" y="1284"/>
                  <a:pt x="1613" y="1284"/>
                </a:cubicBezTo>
                <a:cubicBezTo>
                  <a:pt x="1613" y="1284"/>
                  <a:pt x="1613" y="1284"/>
                  <a:pt x="1613" y="1275"/>
                </a:cubicBezTo>
                <a:cubicBezTo>
                  <a:pt x="1613" y="1275"/>
                  <a:pt x="1613" y="1275"/>
                  <a:pt x="1611" y="1275"/>
                </a:cubicBezTo>
                <a:cubicBezTo>
                  <a:pt x="1607" y="1275"/>
                  <a:pt x="1606" y="1272"/>
                  <a:pt x="1606" y="1269"/>
                </a:cubicBezTo>
                <a:cubicBezTo>
                  <a:pt x="1606" y="1267"/>
                  <a:pt x="1606" y="1266"/>
                  <a:pt x="1607" y="1264"/>
                </a:cubicBezTo>
                <a:cubicBezTo>
                  <a:pt x="1607" y="1263"/>
                  <a:pt x="1607" y="1260"/>
                  <a:pt x="1607" y="1258"/>
                </a:cubicBezTo>
                <a:cubicBezTo>
                  <a:pt x="1607" y="1251"/>
                  <a:pt x="1604" y="1248"/>
                  <a:pt x="1598" y="1247"/>
                </a:cubicBezTo>
                <a:cubicBezTo>
                  <a:pt x="1598" y="1247"/>
                  <a:pt x="1598" y="1247"/>
                  <a:pt x="1598" y="1246"/>
                </a:cubicBezTo>
                <a:cubicBezTo>
                  <a:pt x="1604" y="1245"/>
                  <a:pt x="1607" y="1243"/>
                  <a:pt x="1607" y="1236"/>
                </a:cubicBezTo>
                <a:cubicBezTo>
                  <a:pt x="1607" y="1233"/>
                  <a:pt x="1607" y="1231"/>
                  <a:pt x="1607" y="1229"/>
                </a:cubicBezTo>
                <a:cubicBezTo>
                  <a:pt x="1606" y="1228"/>
                  <a:pt x="1606" y="1226"/>
                  <a:pt x="1606" y="1225"/>
                </a:cubicBezTo>
                <a:cubicBezTo>
                  <a:pt x="1606" y="1221"/>
                  <a:pt x="1607" y="1219"/>
                  <a:pt x="1611" y="1219"/>
                </a:cubicBezTo>
                <a:cubicBezTo>
                  <a:pt x="1611" y="1219"/>
                  <a:pt x="1611" y="1219"/>
                  <a:pt x="1613" y="1219"/>
                </a:cubicBezTo>
                <a:cubicBezTo>
                  <a:pt x="1613" y="1219"/>
                  <a:pt x="1613" y="1219"/>
                  <a:pt x="1613" y="1209"/>
                </a:cubicBezTo>
                <a:cubicBezTo>
                  <a:pt x="1613" y="1209"/>
                  <a:pt x="1613" y="1209"/>
                  <a:pt x="1609" y="1209"/>
                </a:cubicBezTo>
                <a:cubicBezTo>
                  <a:pt x="1600" y="1209"/>
                  <a:pt x="1594" y="1214"/>
                  <a:pt x="1594" y="1222"/>
                </a:cubicBezTo>
                <a:cubicBezTo>
                  <a:pt x="1594" y="1224"/>
                  <a:pt x="1595" y="1227"/>
                  <a:pt x="1595" y="1230"/>
                </a:cubicBezTo>
                <a:cubicBezTo>
                  <a:pt x="1595" y="1232"/>
                  <a:pt x="1595" y="1235"/>
                  <a:pt x="1595" y="1236"/>
                </a:cubicBezTo>
                <a:cubicBezTo>
                  <a:pt x="1595" y="1239"/>
                  <a:pt x="1595" y="1242"/>
                  <a:pt x="1589" y="1243"/>
                </a:cubicBezTo>
                <a:close/>
                <a:moveTo>
                  <a:pt x="1643" y="1251"/>
                </a:moveTo>
                <a:cubicBezTo>
                  <a:pt x="1643" y="1251"/>
                  <a:pt x="1643" y="1251"/>
                  <a:pt x="1643" y="1251"/>
                </a:cubicBezTo>
                <a:cubicBezTo>
                  <a:pt x="1643" y="1243"/>
                  <a:pt x="1643" y="1243"/>
                  <a:pt x="1643" y="1243"/>
                </a:cubicBezTo>
                <a:cubicBezTo>
                  <a:pt x="1637" y="1242"/>
                  <a:pt x="1637" y="1239"/>
                  <a:pt x="1637" y="1236"/>
                </a:cubicBezTo>
                <a:cubicBezTo>
                  <a:pt x="1637" y="1235"/>
                  <a:pt x="1637" y="1232"/>
                  <a:pt x="1637" y="1230"/>
                </a:cubicBezTo>
                <a:cubicBezTo>
                  <a:pt x="1637" y="1227"/>
                  <a:pt x="1637" y="1224"/>
                  <a:pt x="1637" y="1222"/>
                </a:cubicBezTo>
                <a:cubicBezTo>
                  <a:pt x="1637" y="1214"/>
                  <a:pt x="1632" y="1209"/>
                  <a:pt x="1623" y="1209"/>
                </a:cubicBezTo>
                <a:cubicBezTo>
                  <a:pt x="1623" y="1209"/>
                  <a:pt x="1623" y="1209"/>
                  <a:pt x="1619" y="1209"/>
                </a:cubicBezTo>
                <a:cubicBezTo>
                  <a:pt x="1619" y="1209"/>
                  <a:pt x="1619" y="1209"/>
                  <a:pt x="1619" y="1219"/>
                </a:cubicBezTo>
                <a:cubicBezTo>
                  <a:pt x="1619" y="1219"/>
                  <a:pt x="1619" y="1219"/>
                  <a:pt x="1621" y="1219"/>
                </a:cubicBezTo>
                <a:cubicBezTo>
                  <a:pt x="1625" y="1219"/>
                  <a:pt x="1626" y="1221"/>
                  <a:pt x="1626" y="1225"/>
                </a:cubicBezTo>
                <a:cubicBezTo>
                  <a:pt x="1626" y="1226"/>
                  <a:pt x="1626" y="1228"/>
                  <a:pt x="1626" y="1229"/>
                </a:cubicBezTo>
                <a:cubicBezTo>
                  <a:pt x="1625" y="1231"/>
                  <a:pt x="1625" y="1233"/>
                  <a:pt x="1625" y="1236"/>
                </a:cubicBezTo>
                <a:cubicBezTo>
                  <a:pt x="1625" y="1243"/>
                  <a:pt x="1628" y="1245"/>
                  <a:pt x="1634" y="1246"/>
                </a:cubicBezTo>
                <a:cubicBezTo>
                  <a:pt x="1634" y="1246"/>
                  <a:pt x="1634" y="1246"/>
                  <a:pt x="1634" y="1247"/>
                </a:cubicBezTo>
                <a:cubicBezTo>
                  <a:pt x="1628" y="1248"/>
                  <a:pt x="1625" y="1251"/>
                  <a:pt x="1625" y="1258"/>
                </a:cubicBezTo>
                <a:cubicBezTo>
                  <a:pt x="1625" y="1260"/>
                  <a:pt x="1625" y="1263"/>
                  <a:pt x="1626" y="1264"/>
                </a:cubicBezTo>
                <a:cubicBezTo>
                  <a:pt x="1626" y="1266"/>
                  <a:pt x="1626" y="1267"/>
                  <a:pt x="1626" y="1269"/>
                </a:cubicBezTo>
                <a:cubicBezTo>
                  <a:pt x="1626" y="1272"/>
                  <a:pt x="1625" y="1275"/>
                  <a:pt x="1621" y="1275"/>
                </a:cubicBezTo>
                <a:cubicBezTo>
                  <a:pt x="1621" y="1275"/>
                  <a:pt x="1621" y="1275"/>
                  <a:pt x="1619" y="1275"/>
                </a:cubicBezTo>
                <a:cubicBezTo>
                  <a:pt x="1619" y="1275"/>
                  <a:pt x="1619" y="1275"/>
                  <a:pt x="1619" y="1284"/>
                </a:cubicBezTo>
                <a:cubicBezTo>
                  <a:pt x="1619" y="1284"/>
                  <a:pt x="1619" y="1284"/>
                  <a:pt x="1623" y="1284"/>
                </a:cubicBezTo>
                <a:cubicBezTo>
                  <a:pt x="1632" y="1284"/>
                  <a:pt x="1637" y="1281"/>
                  <a:pt x="1637" y="1271"/>
                </a:cubicBezTo>
                <a:cubicBezTo>
                  <a:pt x="1637" y="1269"/>
                  <a:pt x="1637" y="1267"/>
                  <a:pt x="1637" y="1264"/>
                </a:cubicBezTo>
                <a:cubicBezTo>
                  <a:pt x="1637" y="1261"/>
                  <a:pt x="1637" y="1259"/>
                  <a:pt x="1637" y="1257"/>
                </a:cubicBezTo>
                <a:cubicBezTo>
                  <a:pt x="1637" y="1254"/>
                  <a:pt x="1637" y="1251"/>
                  <a:pt x="1643" y="1251"/>
                </a:cubicBezTo>
                <a:close/>
                <a:moveTo>
                  <a:pt x="1827" y="1284"/>
                </a:moveTo>
                <a:cubicBezTo>
                  <a:pt x="1820" y="1284"/>
                  <a:pt x="1813" y="1281"/>
                  <a:pt x="1809" y="1275"/>
                </a:cubicBezTo>
                <a:cubicBezTo>
                  <a:pt x="1805" y="1268"/>
                  <a:pt x="1803" y="1260"/>
                  <a:pt x="1803" y="1247"/>
                </a:cubicBezTo>
                <a:cubicBezTo>
                  <a:pt x="1803" y="1234"/>
                  <a:pt x="1805" y="1224"/>
                  <a:pt x="1809" y="1218"/>
                </a:cubicBezTo>
                <a:cubicBezTo>
                  <a:pt x="1814" y="1211"/>
                  <a:pt x="1820" y="1208"/>
                  <a:pt x="1829" y="1208"/>
                </a:cubicBezTo>
                <a:cubicBezTo>
                  <a:pt x="1846" y="1208"/>
                  <a:pt x="1854" y="1220"/>
                  <a:pt x="1854" y="1246"/>
                </a:cubicBezTo>
                <a:cubicBezTo>
                  <a:pt x="1854" y="1258"/>
                  <a:pt x="1851" y="1268"/>
                  <a:pt x="1846" y="1274"/>
                </a:cubicBezTo>
                <a:cubicBezTo>
                  <a:pt x="1842" y="1281"/>
                  <a:pt x="1835" y="1284"/>
                  <a:pt x="1827" y="1284"/>
                </a:cubicBezTo>
                <a:close/>
                <a:moveTo>
                  <a:pt x="1829" y="1217"/>
                </a:moveTo>
                <a:cubicBezTo>
                  <a:pt x="1819" y="1217"/>
                  <a:pt x="1815" y="1227"/>
                  <a:pt x="1815" y="1247"/>
                </a:cubicBezTo>
                <a:cubicBezTo>
                  <a:pt x="1815" y="1266"/>
                  <a:pt x="1819" y="1274"/>
                  <a:pt x="1828" y="1274"/>
                </a:cubicBezTo>
                <a:cubicBezTo>
                  <a:pt x="1837" y="1274"/>
                  <a:pt x="1841" y="1266"/>
                  <a:pt x="1841" y="1246"/>
                </a:cubicBezTo>
                <a:cubicBezTo>
                  <a:pt x="1841" y="1227"/>
                  <a:pt x="1837" y="1217"/>
                  <a:pt x="1829" y="1217"/>
                </a:cubicBezTo>
                <a:close/>
                <a:moveTo>
                  <a:pt x="1897" y="1284"/>
                </a:moveTo>
                <a:cubicBezTo>
                  <a:pt x="1890" y="1284"/>
                  <a:pt x="1884" y="1281"/>
                  <a:pt x="1880" y="1275"/>
                </a:cubicBezTo>
                <a:cubicBezTo>
                  <a:pt x="1875" y="1268"/>
                  <a:pt x="1873" y="1260"/>
                  <a:pt x="1873" y="1247"/>
                </a:cubicBezTo>
                <a:cubicBezTo>
                  <a:pt x="1873" y="1234"/>
                  <a:pt x="1875" y="1224"/>
                  <a:pt x="1880" y="1218"/>
                </a:cubicBezTo>
                <a:cubicBezTo>
                  <a:pt x="1884" y="1211"/>
                  <a:pt x="1891" y="1208"/>
                  <a:pt x="1900" y="1208"/>
                </a:cubicBezTo>
                <a:cubicBezTo>
                  <a:pt x="1916" y="1208"/>
                  <a:pt x="1924" y="1220"/>
                  <a:pt x="1924" y="1246"/>
                </a:cubicBezTo>
                <a:cubicBezTo>
                  <a:pt x="1924" y="1258"/>
                  <a:pt x="1922" y="1268"/>
                  <a:pt x="1917" y="1274"/>
                </a:cubicBezTo>
                <a:cubicBezTo>
                  <a:pt x="1912" y="1281"/>
                  <a:pt x="1906" y="1284"/>
                  <a:pt x="1897" y="1284"/>
                </a:cubicBezTo>
                <a:close/>
                <a:moveTo>
                  <a:pt x="1899" y="1217"/>
                </a:moveTo>
                <a:cubicBezTo>
                  <a:pt x="1890" y="1217"/>
                  <a:pt x="1885" y="1227"/>
                  <a:pt x="1885" y="1247"/>
                </a:cubicBezTo>
                <a:cubicBezTo>
                  <a:pt x="1885" y="1266"/>
                  <a:pt x="1889" y="1274"/>
                  <a:pt x="1898" y="1274"/>
                </a:cubicBezTo>
                <a:cubicBezTo>
                  <a:pt x="1907" y="1274"/>
                  <a:pt x="1911" y="1266"/>
                  <a:pt x="1911" y="1246"/>
                </a:cubicBezTo>
                <a:cubicBezTo>
                  <a:pt x="1911" y="1227"/>
                  <a:pt x="1907" y="1217"/>
                  <a:pt x="1899" y="1217"/>
                </a:cubicBezTo>
                <a:close/>
                <a:moveTo>
                  <a:pt x="43" y="1306"/>
                </a:moveTo>
                <a:cubicBezTo>
                  <a:pt x="43" y="1306"/>
                  <a:pt x="43" y="1306"/>
                  <a:pt x="43" y="1306"/>
                </a:cubicBezTo>
                <a:cubicBezTo>
                  <a:pt x="37" y="1306"/>
                  <a:pt x="37" y="1306"/>
                  <a:pt x="37" y="1306"/>
                </a:cubicBezTo>
                <a:cubicBezTo>
                  <a:pt x="35" y="1308"/>
                  <a:pt x="34" y="1309"/>
                  <a:pt x="32" y="1310"/>
                </a:cubicBezTo>
                <a:cubicBezTo>
                  <a:pt x="30" y="1312"/>
                  <a:pt x="29" y="1312"/>
                  <a:pt x="27" y="1313"/>
                </a:cubicBezTo>
                <a:cubicBezTo>
                  <a:pt x="25" y="1314"/>
                  <a:pt x="23" y="1315"/>
                  <a:pt x="22" y="1316"/>
                </a:cubicBezTo>
                <a:cubicBezTo>
                  <a:pt x="19" y="1317"/>
                  <a:pt x="18" y="1317"/>
                  <a:pt x="16" y="1317"/>
                </a:cubicBezTo>
                <a:cubicBezTo>
                  <a:pt x="16" y="1317"/>
                  <a:pt x="16" y="1317"/>
                  <a:pt x="16" y="1328"/>
                </a:cubicBezTo>
                <a:cubicBezTo>
                  <a:pt x="19" y="1327"/>
                  <a:pt x="22" y="1326"/>
                  <a:pt x="24" y="1325"/>
                </a:cubicBezTo>
                <a:cubicBezTo>
                  <a:pt x="27" y="1324"/>
                  <a:pt x="29" y="1322"/>
                  <a:pt x="31" y="1321"/>
                </a:cubicBezTo>
                <a:cubicBezTo>
                  <a:pt x="31" y="1321"/>
                  <a:pt x="31" y="1321"/>
                  <a:pt x="31" y="1380"/>
                </a:cubicBezTo>
                <a:cubicBezTo>
                  <a:pt x="31" y="1380"/>
                  <a:pt x="31" y="1380"/>
                  <a:pt x="43" y="1380"/>
                </a:cubicBezTo>
                <a:cubicBezTo>
                  <a:pt x="43" y="1380"/>
                  <a:pt x="43" y="1380"/>
                  <a:pt x="43" y="1306"/>
                </a:cubicBezTo>
                <a:close/>
                <a:moveTo>
                  <a:pt x="91" y="1306"/>
                </a:moveTo>
                <a:cubicBezTo>
                  <a:pt x="91" y="1306"/>
                  <a:pt x="91" y="1306"/>
                  <a:pt x="91" y="1306"/>
                </a:cubicBezTo>
                <a:cubicBezTo>
                  <a:pt x="85" y="1306"/>
                  <a:pt x="85" y="1306"/>
                  <a:pt x="85" y="1306"/>
                </a:cubicBezTo>
                <a:cubicBezTo>
                  <a:pt x="83" y="1308"/>
                  <a:pt x="82" y="1309"/>
                  <a:pt x="79" y="1310"/>
                </a:cubicBezTo>
                <a:cubicBezTo>
                  <a:pt x="78" y="1312"/>
                  <a:pt x="76" y="1312"/>
                  <a:pt x="74" y="1313"/>
                </a:cubicBezTo>
                <a:cubicBezTo>
                  <a:pt x="73" y="1314"/>
                  <a:pt x="71" y="1315"/>
                  <a:pt x="69" y="1316"/>
                </a:cubicBezTo>
                <a:cubicBezTo>
                  <a:pt x="67" y="1317"/>
                  <a:pt x="65" y="1317"/>
                  <a:pt x="63" y="1317"/>
                </a:cubicBezTo>
                <a:cubicBezTo>
                  <a:pt x="63" y="1317"/>
                  <a:pt x="63" y="1317"/>
                  <a:pt x="63" y="1328"/>
                </a:cubicBezTo>
                <a:cubicBezTo>
                  <a:pt x="66" y="1327"/>
                  <a:pt x="69" y="1326"/>
                  <a:pt x="71" y="1325"/>
                </a:cubicBezTo>
                <a:cubicBezTo>
                  <a:pt x="74" y="1324"/>
                  <a:pt x="77" y="1322"/>
                  <a:pt x="79" y="1321"/>
                </a:cubicBezTo>
                <a:cubicBezTo>
                  <a:pt x="79" y="1321"/>
                  <a:pt x="79" y="1321"/>
                  <a:pt x="79" y="1380"/>
                </a:cubicBezTo>
                <a:cubicBezTo>
                  <a:pt x="79" y="1380"/>
                  <a:pt x="79" y="1380"/>
                  <a:pt x="91" y="1380"/>
                </a:cubicBezTo>
                <a:cubicBezTo>
                  <a:pt x="91" y="1380"/>
                  <a:pt x="91" y="1380"/>
                  <a:pt x="91" y="1306"/>
                </a:cubicBezTo>
                <a:close/>
                <a:moveTo>
                  <a:pt x="137" y="1306"/>
                </a:moveTo>
                <a:cubicBezTo>
                  <a:pt x="137" y="1306"/>
                  <a:pt x="137" y="1306"/>
                  <a:pt x="137" y="1306"/>
                </a:cubicBezTo>
                <a:cubicBezTo>
                  <a:pt x="133" y="1306"/>
                  <a:pt x="133" y="1306"/>
                  <a:pt x="133" y="1306"/>
                </a:cubicBezTo>
                <a:cubicBezTo>
                  <a:pt x="131" y="1308"/>
                  <a:pt x="129" y="1309"/>
                  <a:pt x="127" y="1310"/>
                </a:cubicBezTo>
                <a:cubicBezTo>
                  <a:pt x="125" y="1312"/>
                  <a:pt x="123" y="1312"/>
                  <a:pt x="122" y="1313"/>
                </a:cubicBezTo>
                <a:cubicBezTo>
                  <a:pt x="120" y="1314"/>
                  <a:pt x="118" y="1314"/>
                  <a:pt x="116" y="1315"/>
                </a:cubicBezTo>
                <a:cubicBezTo>
                  <a:pt x="114" y="1316"/>
                  <a:pt x="112" y="1317"/>
                  <a:pt x="111" y="1317"/>
                </a:cubicBezTo>
                <a:cubicBezTo>
                  <a:pt x="111" y="1317"/>
                  <a:pt x="111" y="1317"/>
                  <a:pt x="111" y="1328"/>
                </a:cubicBezTo>
                <a:cubicBezTo>
                  <a:pt x="114" y="1327"/>
                  <a:pt x="117" y="1325"/>
                  <a:pt x="119" y="1325"/>
                </a:cubicBezTo>
                <a:cubicBezTo>
                  <a:pt x="121" y="1324"/>
                  <a:pt x="124" y="1322"/>
                  <a:pt x="125" y="1321"/>
                </a:cubicBezTo>
                <a:cubicBezTo>
                  <a:pt x="125" y="1321"/>
                  <a:pt x="125" y="1321"/>
                  <a:pt x="125" y="1380"/>
                </a:cubicBezTo>
                <a:cubicBezTo>
                  <a:pt x="125" y="1380"/>
                  <a:pt x="125" y="1380"/>
                  <a:pt x="137" y="1380"/>
                </a:cubicBezTo>
                <a:cubicBezTo>
                  <a:pt x="137" y="1380"/>
                  <a:pt x="137" y="1380"/>
                  <a:pt x="137" y="1306"/>
                </a:cubicBezTo>
                <a:close/>
                <a:moveTo>
                  <a:pt x="182" y="1380"/>
                </a:moveTo>
                <a:cubicBezTo>
                  <a:pt x="174" y="1380"/>
                  <a:pt x="168" y="1377"/>
                  <a:pt x="163" y="1371"/>
                </a:cubicBezTo>
                <a:cubicBezTo>
                  <a:pt x="160" y="1364"/>
                  <a:pt x="157" y="1356"/>
                  <a:pt x="157" y="1343"/>
                </a:cubicBezTo>
                <a:cubicBezTo>
                  <a:pt x="157" y="1330"/>
                  <a:pt x="160" y="1320"/>
                  <a:pt x="164" y="1314"/>
                </a:cubicBezTo>
                <a:cubicBezTo>
                  <a:pt x="168" y="1307"/>
                  <a:pt x="175" y="1304"/>
                  <a:pt x="184" y="1304"/>
                </a:cubicBezTo>
                <a:cubicBezTo>
                  <a:pt x="200" y="1304"/>
                  <a:pt x="208" y="1316"/>
                  <a:pt x="208" y="1342"/>
                </a:cubicBezTo>
                <a:cubicBezTo>
                  <a:pt x="208" y="1354"/>
                  <a:pt x="206" y="1364"/>
                  <a:pt x="201" y="1370"/>
                </a:cubicBezTo>
                <a:cubicBezTo>
                  <a:pt x="196" y="1377"/>
                  <a:pt x="190" y="1380"/>
                  <a:pt x="182" y="1380"/>
                </a:cubicBezTo>
                <a:close/>
                <a:moveTo>
                  <a:pt x="183" y="1313"/>
                </a:moveTo>
                <a:cubicBezTo>
                  <a:pt x="174" y="1313"/>
                  <a:pt x="169" y="1323"/>
                  <a:pt x="169" y="1343"/>
                </a:cubicBezTo>
                <a:cubicBezTo>
                  <a:pt x="169" y="1362"/>
                  <a:pt x="174" y="1370"/>
                  <a:pt x="182" y="1370"/>
                </a:cubicBezTo>
                <a:cubicBezTo>
                  <a:pt x="191" y="1370"/>
                  <a:pt x="196" y="1362"/>
                  <a:pt x="196" y="1342"/>
                </a:cubicBezTo>
                <a:cubicBezTo>
                  <a:pt x="196" y="1323"/>
                  <a:pt x="191" y="1313"/>
                  <a:pt x="183" y="1313"/>
                </a:cubicBezTo>
                <a:close/>
                <a:moveTo>
                  <a:pt x="253" y="1380"/>
                </a:moveTo>
                <a:cubicBezTo>
                  <a:pt x="245" y="1380"/>
                  <a:pt x="239" y="1377"/>
                  <a:pt x="235" y="1371"/>
                </a:cubicBezTo>
                <a:cubicBezTo>
                  <a:pt x="231" y="1364"/>
                  <a:pt x="228" y="1356"/>
                  <a:pt x="228" y="1343"/>
                </a:cubicBezTo>
                <a:cubicBezTo>
                  <a:pt x="228" y="1330"/>
                  <a:pt x="231" y="1320"/>
                  <a:pt x="235" y="1314"/>
                </a:cubicBezTo>
                <a:cubicBezTo>
                  <a:pt x="239" y="1307"/>
                  <a:pt x="246" y="1304"/>
                  <a:pt x="255" y="1304"/>
                </a:cubicBezTo>
                <a:cubicBezTo>
                  <a:pt x="271" y="1304"/>
                  <a:pt x="279" y="1316"/>
                  <a:pt x="279" y="1342"/>
                </a:cubicBezTo>
                <a:cubicBezTo>
                  <a:pt x="279" y="1354"/>
                  <a:pt x="277" y="1364"/>
                  <a:pt x="273" y="1370"/>
                </a:cubicBezTo>
                <a:cubicBezTo>
                  <a:pt x="267" y="1377"/>
                  <a:pt x="262" y="1380"/>
                  <a:pt x="253" y="1380"/>
                </a:cubicBezTo>
                <a:close/>
                <a:moveTo>
                  <a:pt x="254" y="1313"/>
                </a:moveTo>
                <a:cubicBezTo>
                  <a:pt x="245" y="1313"/>
                  <a:pt x="240" y="1323"/>
                  <a:pt x="240" y="1343"/>
                </a:cubicBezTo>
                <a:cubicBezTo>
                  <a:pt x="240" y="1362"/>
                  <a:pt x="245" y="1370"/>
                  <a:pt x="253" y="1370"/>
                </a:cubicBezTo>
                <a:cubicBezTo>
                  <a:pt x="262" y="1370"/>
                  <a:pt x="267" y="1362"/>
                  <a:pt x="267" y="1342"/>
                </a:cubicBezTo>
                <a:cubicBezTo>
                  <a:pt x="267" y="1323"/>
                  <a:pt x="262" y="1313"/>
                  <a:pt x="254" y="1313"/>
                </a:cubicBezTo>
                <a:close/>
                <a:moveTo>
                  <a:pt x="466" y="1380"/>
                </a:moveTo>
                <a:cubicBezTo>
                  <a:pt x="458" y="1380"/>
                  <a:pt x="452" y="1377"/>
                  <a:pt x="448" y="1370"/>
                </a:cubicBezTo>
                <a:cubicBezTo>
                  <a:pt x="444" y="1364"/>
                  <a:pt x="441" y="1355"/>
                  <a:pt x="441" y="1343"/>
                </a:cubicBezTo>
                <a:cubicBezTo>
                  <a:pt x="441" y="1330"/>
                  <a:pt x="444" y="1320"/>
                  <a:pt x="448" y="1313"/>
                </a:cubicBezTo>
                <a:cubicBezTo>
                  <a:pt x="452" y="1306"/>
                  <a:pt x="459" y="1304"/>
                  <a:pt x="468" y="1304"/>
                </a:cubicBezTo>
                <a:cubicBezTo>
                  <a:pt x="484" y="1304"/>
                  <a:pt x="492" y="1316"/>
                  <a:pt x="492" y="1341"/>
                </a:cubicBezTo>
                <a:cubicBezTo>
                  <a:pt x="492" y="1354"/>
                  <a:pt x="490" y="1364"/>
                  <a:pt x="485" y="1370"/>
                </a:cubicBezTo>
                <a:cubicBezTo>
                  <a:pt x="480" y="1377"/>
                  <a:pt x="474" y="1380"/>
                  <a:pt x="466" y="1380"/>
                </a:cubicBezTo>
                <a:close/>
                <a:moveTo>
                  <a:pt x="467" y="1313"/>
                </a:moveTo>
                <a:cubicBezTo>
                  <a:pt x="458" y="1313"/>
                  <a:pt x="454" y="1323"/>
                  <a:pt x="454" y="1342"/>
                </a:cubicBezTo>
                <a:cubicBezTo>
                  <a:pt x="454" y="1361"/>
                  <a:pt x="458" y="1370"/>
                  <a:pt x="467" y="1370"/>
                </a:cubicBezTo>
                <a:cubicBezTo>
                  <a:pt x="475" y="1370"/>
                  <a:pt x="479" y="1361"/>
                  <a:pt x="479" y="1342"/>
                </a:cubicBezTo>
                <a:cubicBezTo>
                  <a:pt x="479" y="1323"/>
                  <a:pt x="476" y="1313"/>
                  <a:pt x="467" y="1313"/>
                </a:cubicBezTo>
                <a:close/>
                <a:moveTo>
                  <a:pt x="584" y="1380"/>
                </a:moveTo>
                <a:cubicBezTo>
                  <a:pt x="576" y="1380"/>
                  <a:pt x="570" y="1377"/>
                  <a:pt x="566" y="1370"/>
                </a:cubicBezTo>
                <a:cubicBezTo>
                  <a:pt x="562" y="1364"/>
                  <a:pt x="560" y="1355"/>
                  <a:pt x="560" y="1343"/>
                </a:cubicBezTo>
                <a:cubicBezTo>
                  <a:pt x="560" y="1330"/>
                  <a:pt x="562" y="1320"/>
                  <a:pt x="566" y="1313"/>
                </a:cubicBezTo>
                <a:cubicBezTo>
                  <a:pt x="570" y="1306"/>
                  <a:pt x="577" y="1304"/>
                  <a:pt x="586" y="1304"/>
                </a:cubicBezTo>
                <a:cubicBezTo>
                  <a:pt x="602" y="1304"/>
                  <a:pt x="610" y="1316"/>
                  <a:pt x="610" y="1341"/>
                </a:cubicBezTo>
                <a:cubicBezTo>
                  <a:pt x="610" y="1354"/>
                  <a:pt x="608" y="1364"/>
                  <a:pt x="603" y="1370"/>
                </a:cubicBezTo>
                <a:cubicBezTo>
                  <a:pt x="598" y="1377"/>
                  <a:pt x="592" y="1380"/>
                  <a:pt x="584" y="1380"/>
                </a:cubicBezTo>
                <a:close/>
                <a:moveTo>
                  <a:pt x="585" y="1313"/>
                </a:moveTo>
                <a:cubicBezTo>
                  <a:pt x="576" y="1313"/>
                  <a:pt x="572" y="1323"/>
                  <a:pt x="572" y="1342"/>
                </a:cubicBezTo>
                <a:cubicBezTo>
                  <a:pt x="572" y="1361"/>
                  <a:pt x="576" y="1370"/>
                  <a:pt x="585" y="1370"/>
                </a:cubicBezTo>
                <a:cubicBezTo>
                  <a:pt x="593" y="1370"/>
                  <a:pt x="598" y="1361"/>
                  <a:pt x="598" y="1342"/>
                </a:cubicBezTo>
                <a:cubicBezTo>
                  <a:pt x="598" y="1323"/>
                  <a:pt x="594" y="1313"/>
                  <a:pt x="585" y="1313"/>
                </a:cubicBezTo>
                <a:close/>
                <a:moveTo>
                  <a:pt x="539" y="1306"/>
                </a:moveTo>
                <a:cubicBezTo>
                  <a:pt x="539" y="1306"/>
                  <a:pt x="539" y="1306"/>
                  <a:pt x="539" y="1306"/>
                </a:cubicBezTo>
                <a:cubicBezTo>
                  <a:pt x="534" y="1306"/>
                  <a:pt x="534" y="1306"/>
                  <a:pt x="534" y="1306"/>
                </a:cubicBezTo>
                <a:cubicBezTo>
                  <a:pt x="532" y="1308"/>
                  <a:pt x="530" y="1309"/>
                  <a:pt x="528" y="1310"/>
                </a:cubicBezTo>
                <a:cubicBezTo>
                  <a:pt x="527" y="1312"/>
                  <a:pt x="525" y="1312"/>
                  <a:pt x="523" y="1313"/>
                </a:cubicBezTo>
                <a:cubicBezTo>
                  <a:pt x="522" y="1314"/>
                  <a:pt x="520" y="1314"/>
                  <a:pt x="518" y="1315"/>
                </a:cubicBezTo>
                <a:cubicBezTo>
                  <a:pt x="516" y="1316"/>
                  <a:pt x="515" y="1317"/>
                  <a:pt x="512" y="1317"/>
                </a:cubicBezTo>
                <a:cubicBezTo>
                  <a:pt x="512" y="1317"/>
                  <a:pt x="512" y="1317"/>
                  <a:pt x="512" y="1328"/>
                </a:cubicBezTo>
                <a:cubicBezTo>
                  <a:pt x="515" y="1327"/>
                  <a:pt x="518" y="1325"/>
                  <a:pt x="520" y="1325"/>
                </a:cubicBezTo>
                <a:cubicBezTo>
                  <a:pt x="523" y="1324"/>
                  <a:pt x="525" y="1322"/>
                  <a:pt x="527" y="1321"/>
                </a:cubicBezTo>
                <a:cubicBezTo>
                  <a:pt x="527" y="1321"/>
                  <a:pt x="527" y="1321"/>
                  <a:pt x="527" y="1380"/>
                </a:cubicBezTo>
                <a:cubicBezTo>
                  <a:pt x="527" y="1380"/>
                  <a:pt x="527" y="1380"/>
                  <a:pt x="539" y="1380"/>
                </a:cubicBezTo>
                <a:cubicBezTo>
                  <a:pt x="539" y="1380"/>
                  <a:pt x="539" y="1380"/>
                  <a:pt x="539" y="1306"/>
                </a:cubicBezTo>
                <a:close/>
                <a:moveTo>
                  <a:pt x="655" y="1380"/>
                </a:moveTo>
                <a:cubicBezTo>
                  <a:pt x="647" y="1380"/>
                  <a:pt x="641" y="1377"/>
                  <a:pt x="637" y="1371"/>
                </a:cubicBezTo>
                <a:cubicBezTo>
                  <a:pt x="633" y="1364"/>
                  <a:pt x="631" y="1356"/>
                  <a:pt x="631" y="1343"/>
                </a:cubicBezTo>
                <a:cubicBezTo>
                  <a:pt x="631" y="1330"/>
                  <a:pt x="633" y="1320"/>
                  <a:pt x="637" y="1314"/>
                </a:cubicBezTo>
                <a:cubicBezTo>
                  <a:pt x="642" y="1307"/>
                  <a:pt x="648" y="1304"/>
                  <a:pt x="657" y="1304"/>
                </a:cubicBezTo>
                <a:cubicBezTo>
                  <a:pt x="673" y="1304"/>
                  <a:pt x="681" y="1316"/>
                  <a:pt x="681" y="1342"/>
                </a:cubicBezTo>
                <a:cubicBezTo>
                  <a:pt x="681" y="1354"/>
                  <a:pt x="679" y="1364"/>
                  <a:pt x="674" y="1370"/>
                </a:cubicBezTo>
                <a:cubicBezTo>
                  <a:pt x="669" y="1377"/>
                  <a:pt x="663" y="1380"/>
                  <a:pt x="655" y="1380"/>
                </a:cubicBezTo>
                <a:close/>
                <a:moveTo>
                  <a:pt x="656" y="1313"/>
                </a:moveTo>
                <a:cubicBezTo>
                  <a:pt x="647" y="1313"/>
                  <a:pt x="642" y="1323"/>
                  <a:pt x="642" y="1343"/>
                </a:cubicBezTo>
                <a:cubicBezTo>
                  <a:pt x="642" y="1362"/>
                  <a:pt x="647" y="1370"/>
                  <a:pt x="655" y="1370"/>
                </a:cubicBezTo>
                <a:cubicBezTo>
                  <a:pt x="664" y="1370"/>
                  <a:pt x="669" y="1362"/>
                  <a:pt x="669" y="1342"/>
                </a:cubicBezTo>
                <a:cubicBezTo>
                  <a:pt x="669" y="1323"/>
                  <a:pt x="664" y="1313"/>
                  <a:pt x="656" y="1313"/>
                </a:cubicBezTo>
                <a:close/>
                <a:moveTo>
                  <a:pt x="702" y="1339"/>
                </a:moveTo>
                <a:cubicBezTo>
                  <a:pt x="702" y="1339"/>
                  <a:pt x="702" y="1339"/>
                  <a:pt x="702" y="1339"/>
                </a:cubicBezTo>
                <a:cubicBezTo>
                  <a:pt x="702" y="1347"/>
                  <a:pt x="702" y="1347"/>
                  <a:pt x="702" y="1347"/>
                </a:cubicBezTo>
                <a:cubicBezTo>
                  <a:pt x="708" y="1347"/>
                  <a:pt x="709" y="1350"/>
                  <a:pt x="709" y="1353"/>
                </a:cubicBezTo>
                <a:cubicBezTo>
                  <a:pt x="709" y="1355"/>
                  <a:pt x="708" y="1357"/>
                  <a:pt x="708" y="1360"/>
                </a:cubicBezTo>
                <a:cubicBezTo>
                  <a:pt x="708" y="1363"/>
                  <a:pt x="708" y="1365"/>
                  <a:pt x="708" y="1367"/>
                </a:cubicBezTo>
                <a:cubicBezTo>
                  <a:pt x="708" y="1377"/>
                  <a:pt x="713" y="1380"/>
                  <a:pt x="722" y="1380"/>
                </a:cubicBezTo>
                <a:cubicBezTo>
                  <a:pt x="722" y="1380"/>
                  <a:pt x="722" y="1380"/>
                  <a:pt x="726" y="1380"/>
                </a:cubicBezTo>
                <a:cubicBezTo>
                  <a:pt x="726" y="1380"/>
                  <a:pt x="726" y="1380"/>
                  <a:pt x="726" y="1371"/>
                </a:cubicBezTo>
                <a:cubicBezTo>
                  <a:pt x="726" y="1371"/>
                  <a:pt x="726" y="1371"/>
                  <a:pt x="724" y="1371"/>
                </a:cubicBezTo>
                <a:cubicBezTo>
                  <a:pt x="720" y="1371"/>
                  <a:pt x="719" y="1368"/>
                  <a:pt x="719" y="1365"/>
                </a:cubicBezTo>
                <a:cubicBezTo>
                  <a:pt x="719" y="1363"/>
                  <a:pt x="719" y="1362"/>
                  <a:pt x="720" y="1360"/>
                </a:cubicBezTo>
                <a:cubicBezTo>
                  <a:pt x="720" y="1359"/>
                  <a:pt x="720" y="1356"/>
                  <a:pt x="720" y="1354"/>
                </a:cubicBezTo>
                <a:cubicBezTo>
                  <a:pt x="720" y="1347"/>
                  <a:pt x="717" y="1344"/>
                  <a:pt x="712" y="1343"/>
                </a:cubicBezTo>
                <a:cubicBezTo>
                  <a:pt x="712" y="1343"/>
                  <a:pt x="712" y="1343"/>
                  <a:pt x="712" y="1342"/>
                </a:cubicBezTo>
                <a:cubicBezTo>
                  <a:pt x="717" y="1341"/>
                  <a:pt x="720" y="1339"/>
                  <a:pt x="720" y="1332"/>
                </a:cubicBezTo>
                <a:cubicBezTo>
                  <a:pt x="720" y="1329"/>
                  <a:pt x="720" y="1327"/>
                  <a:pt x="720" y="1325"/>
                </a:cubicBezTo>
                <a:cubicBezTo>
                  <a:pt x="719" y="1324"/>
                  <a:pt x="719" y="1322"/>
                  <a:pt x="719" y="1321"/>
                </a:cubicBezTo>
                <a:cubicBezTo>
                  <a:pt x="719" y="1317"/>
                  <a:pt x="720" y="1315"/>
                  <a:pt x="724" y="1315"/>
                </a:cubicBezTo>
                <a:cubicBezTo>
                  <a:pt x="724" y="1315"/>
                  <a:pt x="724" y="1315"/>
                  <a:pt x="726" y="1315"/>
                </a:cubicBezTo>
                <a:cubicBezTo>
                  <a:pt x="726" y="1315"/>
                  <a:pt x="726" y="1315"/>
                  <a:pt x="726" y="1305"/>
                </a:cubicBezTo>
                <a:cubicBezTo>
                  <a:pt x="726" y="1305"/>
                  <a:pt x="726" y="1305"/>
                  <a:pt x="722" y="1305"/>
                </a:cubicBezTo>
                <a:cubicBezTo>
                  <a:pt x="713" y="1305"/>
                  <a:pt x="708" y="1310"/>
                  <a:pt x="708" y="1318"/>
                </a:cubicBezTo>
                <a:cubicBezTo>
                  <a:pt x="708" y="1320"/>
                  <a:pt x="708" y="1323"/>
                  <a:pt x="708" y="1326"/>
                </a:cubicBezTo>
                <a:cubicBezTo>
                  <a:pt x="708" y="1328"/>
                  <a:pt x="709" y="1331"/>
                  <a:pt x="709" y="1332"/>
                </a:cubicBezTo>
                <a:cubicBezTo>
                  <a:pt x="709" y="1335"/>
                  <a:pt x="708" y="1338"/>
                  <a:pt x="702" y="1339"/>
                </a:cubicBezTo>
                <a:close/>
                <a:moveTo>
                  <a:pt x="756" y="1347"/>
                </a:moveTo>
                <a:cubicBezTo>
                  <a:pt x="756" y="1347"/>
                  <a:pt x="756" y="1347"/>
                  <a:pt x="756" y="1347"/>
                </a:cubicBezTo>
                <a:cubicBezTo>
                  <a:pt x="756" y="1339"/>
                  <a:pt x="756" y="1339"/>
                  <a:pt x="756" y="1339"/>
                </a:cubicBezTo>
                <a:cubicBezTo>
                  <a:pt x="750" y="1338"/>
                  <a:pt x="750" y="1335"/>
                  <a:pt x="750" y="1332"/>
                </a:cubicBezTo>
                <a:cubicBezTo>
                  <a:pt x="750" y="1331"/>
                  <a:pt x="750" y="1328"/>
                  <a:pt x="750" y="1326"/>
                </a:cubicBezTo>
                <a:cubicBezTo>
                  <a:pt x="750" y="1323"/>
                  <a:pt x="750" y="1320"/>
                  <a:pt x="750" y="1318"/>
                </a:cubicBezTo>
                <a:cubicBezTo>
                  <a:pt x="750" y="1310"/>
                  <a:pt x="745" y="1305"/>
                  <a:pt x="736" y="1305"/>
                </a:cubicBezTo>
                <a:cubicBezTo>
                  <a:pt x="736" y="1305"/>
                  <a:pt x="736" y="1305"/>
                  <a:pt x="732" y="1305"/>
                </a:cubicBezTo>
                <a:cubicBezTo>
                  <a:pt x="732" y="1305"/>
                  <a:pt x="732" y="1305"/>
                  <a:pt x="732" y="1315"/>
                </a:cubicBezTo>
                <a:cubicBezTo>
                  <a:pt x="732" y="1315"/>
                  <a:pt x="732" y="1315"/>
                  <a:pt x="734" y="1315"/>
                </a:cubicBezTo>
                <a:cubicBezTo>
                  <a:pt x="738" y="1315"/>
                  <a:pt x="739" y="1317"/>
                  <a:pt x="739" y="1321"/>
                </a:cubicBezTo>
                <a:cubicBezTo>
                  <a:pt x="739" y="1322"/>
                  <a:pt x="739" y="1324"/>
                  <a:pt x="739" y="1325"/>
                </a:cubicBezTo>
                <a:cubicBezTo>
                  <a:pt x="738" y="1327"/>
                  <a:pt x="738" y="1329"/>
                  <a:pt x="738" y="1332"/>
                </a:cubicBezTo>
                <a:cubicBezTo>
                  <a:pt x="738" y="1339"/>
                  <a:pt x="741" y="1341"/>
                  <a:pt x="747" y="1342"/>
                </a:cubicBezTo>
                <a:cubicBezTo>
                  <a:pt x="747" y="1342"/>
                  <a:pt x="747" y="1342"/>
                  <a:pt x="747" y="1343"/>
                </a:cubicBezTo>
                <a:cubicBezTo>
                  <a:pt x="741" y="1344"/>
                  <a:pt x="738" y="1347"/>
                  <a:pt x="738" y="1354"/>
                </a:cubicBezTo>
                <a:cubicBezTo>
                  <a:pt x="738" y="1356"/>
                  <a:pt x="738" y="1359"/>
                  <a:pt x="739" y="1360"/>
                </a:cubicBezTo>
                <a:cubicBezTo>
                  <a:pt x="739" y="1362"/>
                  <a:pt x="739" y="1363"/>
                  <a:pt x="739" y="1365"/>
                </a:cubicBezTo>
                <a:cubicBezTo>
                  <a:pt x="739" y="1368"/>
                  <a:pt x="738" y="1371"/>
                  <a:pt x="734" y="1371"/>
                </a:cubicBezTo>
                <a:cubicBezTo>
                  <a:pt x="734" y="1371"/>
                  <a:pt x="734" y="1371"/>
                  <a:pt x="732" y="1371"/>
                </a:cubicBezTo>
                <a:cubicBezTo>
                  <a:pt x="732" y="1371"/>
                  <a:pt x="732" y="1371"/>
                  <a:pt x="732" y="1380"/>
                </a:cubicBezTo>
                <a:cubicBezTo>
                  <a:pt x="732" y="1380"/>
                  <a:pt x="732" y="1380"/>
                  <a:pt x="736" y="1380"/>
                </a:cubicBezTo>
                <a:cubicBezTo>
                  <a:pt x="745" y="1380"/>
                  <a:pt x="750" y="1377"/>
                  <a:pt x="750" y="1367"/>
                </a:cubicBezTo>
                <a:cubicBezTo>
                  <a:pt x="750" y="1365"/>
                  <a:pt x="750" y="1363"/>
                  <a:pt x="750" y="1360"/>
                </a:cubicBezTo>
                <a:cubicBezTo>
                  <a:pt x="750" y="1357"/>
                  <a:pt x="750" y="1355"/>
                  <a:pt x="750" y="1353"/>
                </a:cubicBezTo>
                <a:cubicBezTo>
                  <a:pt x="750" y="1350"/>
                  <a:pt x="750" y="1347"/>
                  <a:pt x="756" y="1347"/>
                </a:cubicBezTo>
                <a:close/>
                <a:moveTo>
                  <a:pt x="877" y="1380"/>
                </a:moveTo>
                <a:cubicBezTo>
                  <a:pt x="870" y="1380"/>
                  <a:pt x="863" y="1377"/>
                  <a:pt x="859" y="1371"/>
                </a:cubicBezTo>
                <a:cubicBezTo>
                  <a:pt x="855" y="1364"/>
                  <a:pt x="853" y="1356"/>
                  <a:pt x="853" y="1343"/>
                </a:cubicBezTo>
                <a:cubicBezTo>
                  <a:pt x="853" y="1330"/>
                  <a:pt x="855" y="1320"/>
                  <a:pt x="859" y="1314"/>
                </a:cubicBezTo>
                <a:cubicBezTo>
                  <a:pt x="864" y="1307"/>
                  <a:pt x="870" y="1304"/>
                  <a:pt x="879" y="1304"/>
                </a:cubicBezTo>
                <a:cubicBezTo>
                  <a:pt x="895" y="1304"/>
                  <a:pt x="903" y="1316"/>
                  <a:pt x="903" y="1342"/>
                </a:cubicBezTo>
                <a:cubicBezTo>
                  <a:pt x="903" y="1354"/>
                  <a:pt x="901" y="1364"/>
                  <a:pt x="896" y="1370"/>
                </a:cubicBezTo>
                <a:cubicBezTo>
                  <a:pt x="892" y="1377"/>
                  <a:pt x="885" y="1380"/>
                  <a:pt x="877" y="1380"/>
                </a:cubicBezTo>
                <a:close/>
                <a:moveTo>
                  <a:pt x="878" y="1313"/>
                </a:moveTo>
                <a:cubicBezTo>
                  <a:pt x="869" y="1313"/>
                  <a:pt x="865" y="1323"/>
                  <a:pt x="865" y="1343"/>
                </a:cubicBezTo>
                <a:cubicBezTo>
                  <a:pt x="865" y="1362"/>
                  <a:pt x="869" y="1370"/>
                  <a:pt x="878" y="1370"/>
                </a:cubicBezTo>
                <a:cubicBezTo>
                  <a:pt x="886" y="1370"/>
                  <a:pt x="891" y="1362"/>
                  <a:pt x="891" y="1342"/>
                </a:cubicBezTo>
                <a:cubicBezTo>
                  <a:pt x="891" y="1323"/>
                  <a:pt x="886" y="1313"/>
                  <a:pt x="878" y="1313"/>
                </a:cubicBezTo>
                <a:close/>
                <a:moveTo>
                  <a:pt x="951" y="1306"/>
                </a:moveTo>
                <a:cubicBezTo>
                  <a:pt x="951" y="1306"/>
                  <a:pt x="951" y="1306"/>
                  <a:pt x="951" y="1306"/>
                </a:cubicBezTo>
                <a:cubicBezTo>
                  <a:pt x="946" y="1306"/>
                  <a:pt x="946" y="1306"/>
                  <a:pt x="946" y="1306"/>
                </a:cubicBezTo>
                <a:cubicBezTo>
                  <a:pt x="943" y="1308"/>
                  <a:pt x="942" y="1309"/>
                  <a:pt x="940" y="1310"/>
                </a:cubicBezTo>
                <a:cubicBezTo>
                  <a:pt x="938" y="1312"/>
                  <a:pt x="936" y="1312"/>
                  <a:pt x="935" y="1313"/>
                </a:cubicBezTo>
                <a:cubicBezTo>
                  <a:pt x="933" y="1314"/>
                  <a:pt x="931" y="1314"/>
                  <a:pt x="930" y="1315"/>
                </a:cubicBezTo>
                <a:cubicBezTo>
                  <a:pt x="927" y="1316"/>
                  <a:pt x="926" y="1317"/>
                  <a:pt x="924" y="1317"/>
                </a:cubicBezTo>
                <a:cubicBezTo>
                  <a:pt x="924" y="1317"/>
                  <a:pt x="924" y="1317"/>
                  <a:pt x="924" y="1328"/>
                </a:cubicBezTo>
                <a:cubicBezTo>
                  <a:pt x="927" y="1327"/>
                  <a:pt x="930" y="1325"/>
                  <a:pt x="932" y="1325"/>
                </a:cubicBezTo>
                <a:cubicBezTo>
                  <a:pt x="935" y="1324"/>
                  <a:pt x="937" y="1322"/>
                  <a:pt x="939" y="1321"/>
                </a:cubicBezTo>
                <a:cubicBezTo>
                  <a:pt x="939" y="1321"/>
                  <a:pt x="939" y="1321"/>
                  <a:pt x="939" y="1380"/>
                </a:cubicBezTo>
                <a:cubicBezTo>
                  <a:pt x="939" y="1380"/>
                  <a:pt x="939" y="1380"/>
                  <a:pt x="951" y="1380"/>
                </a:cubicBezTo>
                <a:cubicBezTo>
                  <a:pt x="951" y="1380"/>
                  <a:pt x="951" y="1380"/>
                  <a:pt x="951" y="1306"/>
                </a:cubicBezTo>
                <a:close/>
                <a:moveTo>
                  <a:pt x="783" y="1380"/>
                </a:moveTo>
                <a:cubicBezTo>
                  <a:pt x="786" y="1361"/>
                  <a:pt x="786" y="1361"/>
                  <a:pt x="786" y="1361"/>
                </a:cubicBezTo>
                <a:cubicBezTo>
                  <a:pt x="777" y="1361"/>
                  <a:pt x="777" y="1361"/>
                  <a:pt x="777" y="1361"/>
                </a:cubicBezTo>
                <a:cubicBezTo>
                  <a:pt x="777" y="1349"/>
                  <a:pt x="777" y="1349"/>
                  <a:pt x="777" y="1349"/>
                </a:cubicBezTo>
                <a:cubicBezTo>
                  <a:pt x="788" y="1349"/>
                  <a:pt x="788" y="1349"/>
                  <a:pt x="788" y="1349"/>
                </a:cubicBezTo>
                <a:cubicBezTo>
                  <a:pt x="789" y="1338"/>
                  <a:pt x="789" y="1338"/>
                  <a:pt x="789" y="1338"/>
                </a:cubicBezTo>
                <a:cubicBezTo>
                  <a:pt x="780" y="1338"/>
                  <a:pt x="780" y="1338"/>
                  <a:pt x="780" y="1338"/>
                </a:cubicBezTo>
                <a:cubicBezTo>
                  <a:pt x="780" y="1326"/>
                  <a:pt x="780" y="1326"/>
                  <a:pt x="780" y="1326"/>
                </a:cubicBezTo>
                <a:cubicBezTo>
                  <a:pt x="791" y="1326"/>
                  <a:pt x="791" y="1326"/>
                  <a:pt x="791" y="1326"/>
                </a:cubicBezTo>
                <a:cubicBezTo>
                  <a:pt x="794" y="1307"/>
                  <a:pt x="794" y="1307"/>
                  <a:pt x="794" y="1307"/>
                </a:cubicBezTo>
                <a:cubicBezTo>
                  <a:pt x="805" y="1307"/>
                  <a:pt x="805" y="1307"/>
                  <a:pt x="805" y="1307"/>
                </a:cubicBezTo>
                <a:cubicBezTo>
                  <a:pt x="802" y="1326"/>
                  <a:pt x="802" y="1326"/>
                  <a:pt x="802" y="1326"/>
                </a:cubicBezTo>
                <a:cubicBezTo>
                  <a:pt x="812" y="1326"/>
                  <a:pt x="812" y="1326"/>
                  <a:pt x="812" y="1326"/>
                </a:cubicBezTo>
                <a:cubicBezTo>
                  <a:pt x="815" y="1307"/>
                  <a:pt x="815" y="1307"/>
                  <a:pt x="815" y="1307"/>
                </a:cubicBezTo>
                <a:cubicBezTo>
                  <a:pt x="826" y="1307"/>
                  <a:pt x="826" y="1307"/>
                  <a:pt x="826" y="1307"/>
                </a:cubicBezTo>
                <a:cubicBezTo>
                  <a:pt x="823" y="1326"/>
                  <a:pt x="823" y="1326"/>
                  <a:pt x="823" y="1326"/>
                </a:cubicBezTo>
                <a:cubicBezTo>
                  <a:pt x="832" y="1326"/>
                  <a:pt x="832" y="1326"/>
                  <a:pt x="832" y="1326"/>
                </a:cubicBezTo>
                <a:cubicBezTo>
                  <a:pt x="832" y="1338"/>
                  <a:pt x="832" y="1338"/>
                  <a:pt x="832" y="1338"/>
                </a:cubicBezTo>
                <a:cubicBezTo>
                  <a:pt x="821" y="1338"/>
                  <a:pt x="821" y="1338"/>
                  <a:pt x="821" y="1338"/>
                </a:cubicBezTo>
                <a:cubicBezTo>
                  <a:pt x="820" y="1349"/>
                  <a:pt x="820" y="1349"/>
                  <a:pt x="820" y="1349"/>
                </a:cubicBezTo>
                <a:cubicBezTo>
                  <a:pt x="829" y="1349"/>
                  <a:pt x="829" y="1349"/>
                  <a:pt x="829" y="1349"/>
                </a:cubicBezTo>
                <a:cubicBezTo>
                  <a:pt x="829" y="1361"/>
                  <a:pt x="829" y="1361"/>
                  <a:pt x="829" y="1361"/>
                </a:cubicBezTo>
                <a:cubicBezTo>
                  <a:pt x="818" y="1361"/>
                  <a:pt x="818" y="1361"/>
                  <a:pt x="818" y="1361"/>
                </a:cubicBezTo>
                <a:cubicBezTo>
                  <a:pt x="815" y="1380"/>
                  <a:pt x="815" y="1380"/>
                  <a:pt x="815" y="1380"/>
                </a:cubicBezTo>
                <a:cubicBezTo>
                  <a:pt x="804" y="1380"/>
                  <a:pt x="804" y="1380"/>
                  <a:pt x="804" y="1380"/>
                </a:cubicBezTo>
                <a:cubicBezTo>
                  <a:pt x="807" y="1361"/>
                  <a:pt x="807" y="1361"/>
                  <a:pt x="807" y="1361"/>
                </a:cubicBezTo>
                <a:cubicBezTo>
                  <a:pt x="797" y="1361"/>
                  <a:pt x="797" y="1361"/>
                  <a:pt x="797" y="1361"/>
                </a:cubicBezTo>
                <a:cubicBezTo>
                  <a:pt x="794" y="1380"/>
                  <a:pt x="794" y="1380"/>
                  <a:pt x="794" y="1380"/>
                </a:cubicBezTo>
                <a:cubicBezTo>
                  <a:pt x="783" y="1380"/>
                  <a:pt x="783" y="1380"/>
                  <a:pt x="783" y="1380"/>
                </a:cubicBezTo>
                <a:cubicBezTo>
                  <a:pt x="783" y="1380"/>
                  <a:pt x="783" y="1380"/>
                  <a:pt x="783" y="1380"/>
                </a:cubicBezTo>
                <a:close/>
                <a:moveTo>
                  <a:pt x="809" y="1349"/>
                </a:moveTo>
                <a:cubicBezTo>
                  <a:pt x="810" y="1338"/>
                  <a:pt x="810" y="1338"/>
                  <a:pt x="810" y="1338"/>
                </a:cubicBezTo>
                <a:cubicBezTo>
                  <a:pt x="800" y="1338"/>
                  <a:pt x="800" y="1338"/>
                  <a:pt x="800" y="1338"/>
                </a:cubicBezTo>
                <a:cubicBezTo>
                  <a:pt x="799" y="1349"/>
                  <a:pt x="799" y="1349"/>
                  <a:pt x="799" y="1349"/>
                </a:cubicBezTo>
                <a:cubicBezTo>
                  <a:pt x="809" y="1349"/>
                  <a:pt x="809" y="1349"/>
                  <a:pt x="809" y="1349"/>
                </a:cubicBezTo>
                <a:cubicBezTo>
                  <a:pt x="809" y="1349"/>
                  <a:pt x="809" y="1349"/>
                  <a:pt x="809" y="1349"/>
                </a:cubicBezTo>
                <a:close/>
                <a:moveTo>
                  <a:pt x="327" y="1306"/>
                </a:moveTo>
                <a:cubicBezTo>
                  <a:pt x="327" y="1306"/>
                  <a:pt x="327" y="1306"/>
                  <a:pt x="327" y="1306"/>
                </a:cubicBezTo>
                <a:cubicBezTo>
                  <a:pt x="322" y="1306"/>
                  <a:pt x="322" y="1306"/>
                  <a:pt x="322" y="1306"/>
                </a:cubicBezTo>
                <a:cubicBezTo>
                  <a:pt x="319" y="1308"/>
                  <a:pt x="318" y="1309"/>
                  <a:pt x="316" y="1310"/>
                </a:cubicBezTo>
                <a:cubicBezTo>
                  <a:pt x="314" y="1312"/>
                  <a:pt x="313" y="1312"/>
                  <a:pt x="310" y="1313"/>
                </a:cubicBezTo>
                <a:cubicBezTo>
                  <a:pt x="309" y="1314"/>
                  <a:pt x="307" y="1315"/>
                  <a:pt x="305" y="1316"/>
                </a:cubicBezTo>
                <a:cubicBezTo>
                  <a:pt x="303" y="1317"/>
                  <a:pt x="302" y="1317"/>
                  <a:pt x="299" y="1317"/>
                </a:cubicBezTo>
                <a:cubicBezTo>
                  <a:pt x="299" y="1317"/>
                  <a:pt x="299" y="1317"/>
                  <a:pt x="299" y="1328"/>
                </a:cubicBezTo>
                <a:cubicBezTo>
                  <a:pt x="302" y="1327"/>
                  <a:pt x="305" y="1326"/>
                  <a:pt x="308" y="1325"/>
                </a:cubicBezTo>
                <a:cubicBezTo>
                  <a:pt x="310" y="1324"/>
                  <a:pt x="313" y="1322"/>
                  <a:pt x="315" y="1321"/>
                </a:cubicBezTo>
                <a:cubicBezTo>
                  <a:pt x="315" y="1321"/>
                  <a:pt x="315" y="1321"/>
                  <a:pt x="315" y="1380"/>
                </a:cubicBezTo>
                <a:cubicBezTo>
                  <a:pt x="315" y="1380"/>
                  <a:pt x="315" y="1380"/>
                  <a:pt x="327" y="1380"/>
                </a:cubicBezTo>
                <a:cubicBezTo>
                  <a:pt x="327" y="1380"/>
                  <a:pt x="327" y="1380"/>
                  <a:pt x="327" y="1306"/>
                </a:cubicBezTo>
                <a:close/>
                <a:moveTo>
                  <a:pt x="374" y="1306"/>
                </a:moveTo>
                <a:cubicBezTo>
                  <a:pt x="374" y="1306"/>
                  <a:pt x="374" y="1306"/>
                  <a:pt x="374" y="1306"/>
                </a:cubicBezTo>
                <a:cubicBezTo>
                  <a:pt x="369" y="1306"/>
                  <a:pt x="369" y="1306"/>
                  <a:pt x="369" y="1306"/>
                </a:cubicBezTo>
                <a:cubicBezTo>
                  <a:pt x="367" y="1308"/>
                  <a:pt x="365" y="1309"/>
                  <a:pt x="363" y="1310"/>
                </a:cubicBezTo>
                <a:cubicBezTo>
                  <a:pt x="362" y="1312"/>
                  <a:pt x="359" y="1312"/>
                  <a:pt x="358" y="1313"/>
                </a:cubicBezTo>
                <a:cubicBezTo>
                  <a:pt x="357" y="1314"/>
                  <a:pt x="354" y="1315"/>
                  <a:pt x="353" y="1316"/>
                </a:cubicBezTo>
                <a:cubicBezTo>
                  <a:pt x="351" y="1317"/>
                  <a:pt x="349" y="1317"/>
                  <a:pt x="347" y="1317"/>
                </a:cubicBezTo>
                <a:cubicBezTo>
                  <a:pt x="347" y="1317"/>
                  <a:pt x="347" y="1317"/>
                  <a:pt x="347" y="1328"/>
                </a:cubicBezTo>
                <a:cubicBezTo>
                  <a:pt x="350" y="1327"/>
                  <a:pt x="353" y="1326"/>
                  <a:pt x="355" y="1325"/>
                </a:cubicBezTo>
                <a:cubicBezTo>
                  <a:pt x="358" y="1324"/>
                  <a:pt x="360" y="1322"/>
                  <a:pt x="362" y="1321"/>
                </a:cubicBezTo>
                <a:cubicBezTo>
                  <a:pt x="362" y="1321"/>
                  <a:pt x="362" y="1321"/>
                  <a:pt x="362" y="1380"/>
                </a:cubicBezTo>
                <a:cubicBezTo>
                  <a:pt x="362" y="1380"/>
                  <a:pt x="362" y="1380"/>
                  <a:pt x="374" y="1380"/>
                </a:cubicBezTo>
                <a:cubicBezTo>
                  <a:pt x="374" y="1380"/>
                  <a:pt x="374" y="1380"/>
                  <a:pt x="374" y="1306"/>
                </a:cubicBezTo>
                <a:close/>
                <a:moveTo>
                  <a:pt x="421" y="1306"/>
                </a:moveTo>
                <a:cubicBezTo>
                  <a:pt x="421" y="1306"/>
                  <a:pt x="421" y="1306"/>
                  <a:pt x="421" y="1306"/>
                </a:cubicBezTo>
                <a:cubicBezTo>
                  <a:pt x="416" y="1306"/>
                  <a:pt x="416" y="1306"/>
                  <a:pt x="416" y="1306"/>
                </a:cubicBezTo>
                <a:cubicBezTo>
                  <a:pt x="414" y="1308"/>
                  <a:pt x="413" y="1309"/>
                  <a:pt x="411" y="1310"/>
                </a:cubicBezTo>
                <a:cubicBezTo>
                  <a:pt x="409" y="1312"/>
                  <a:pt x="407" y="1312"/>
                  <a:pt x="406" y="1313"/>
                </a:cubicBezTo>
                <a:cubicBezTo>
                  <a:pt x="404" y="1314"/>
                  <a:pt x="402" y="1314"/>
                  <a:pt x="400" y="1315"/>
                </a:cubicBezTo>
                <a:cubicBezTo>
                  <a:pt x="398" y="1316"/>
                  <a:pt x="396" y="1317"/>
                  <a:pt x="395" y="1317"/>
                </a:cubicBezTo>
                <a:cubicBezTo>
                  <a:pt x="395" y="1317"/>
                  <a:pt x="395" y="1317"/>
                  <a:pt x="395" y="1328"/>
                </a:cubicBezTo>
                <a:cubicBezTo>
                  <a:pt x="398" y="1327"/>
                  <a:pt x="401" y="1325"/>
                  <a:pt x="403" y="1325"/>
                </a:cubicBezTo>
                <a:cubicBezTo>
                  <a:pt x="405" y="1324"/>
                  <a:pt x="408" y="1322"/>
                  <a:pt x="409" y="1321"/>
                </a:cubicBezTo>
                <a:cubicBezTo>
                  <a:pt x="409" y="1321"/>
                  <a:pt x="409" y="1321"/>
                  <a:pt x="409" y="1380"/>
                </a:cubicBezTo>
                <a:cubicBezTo>
                  <a:pt x="409" y="1380"/>
                  <a:pt x="409" y="1380"/>
                  <a:pt x="421" y="1380"/>
                </a:cubicBezTo>
                <a:cubicBezTo>
                  <a:pt x="421" y="1380"/>
                  <a:pt x="421" y="1380"/>
                  <a:pt x="421" y="1306"/>
                </a:cubicBezTo>
                <a:close/>
                <a:moveTo>
                  <a:pt x="628" y="1210"/>
                </a:moveTo>
                <a:cubicBezTo>
                  <a:pt x="628" y="1210"/>
                  <a:pt x="628" y="1210"/>
                  <a:pt x="628" y="1210"/>
                </a:cubicBezTo>
                <a:cubicBezTo>
                  <a:pt x="623" y="1210"/>
                  <a:pt x="623" y="1210"/>
                  <a:pt x="623" y="1210"/>
                </a:cubicBezTo>
                <a:cubicBezTo>
                  <a:pt x="621" y="1212"/>
                  <a:pt x="619" y="1213"/>
                  <a:pt x="617" y="1214"/>
                </a:cubicBezTo>
                <a:cubicBezTo>
                  <a:pt x="616" y="1216"/>
                  <a:pt x="613" y="1216"/>
                  <a:pt x="612" y="1217"/>
                </a:cubicBezTo>
                <a:cubicBezTo>
                  <a:pt x="610" y="1218"/>
                  <a:pt x="608" y="1218"/>
                  <a:pt x="607" y="1219"/>
                </a:cubicBezTo>
                <a:cubicBezTo>
                  <a:pt x="605" y="1220"/>
                  <a:pt x="603" y="1221"/>
                  <a:pt x="601" y="1221"/>
                </a:cubicBezTo>
                <a:cubicBezTo>
                  <a:pt x="601" y="1221"/>
                  <a:pt x="601" y="1221"/>
                  <a:pt x="601" y="1232"/>
                </a:cubicBezTo>
                <a:cubicBezTo>
                  <a:pt x="604" y="1231"/>
                  <a:pt x="607" y="1229"/>
                  <a:pt x="609" y="1229"/>
                </a:cubicBezTo>
                <a:cubicBezTo>
                  <a:pt x="612" y="1228"/>
                  <a:pt x="614" y="1226"/>
                  <a:pt x="616" y="1225"/>
                </a:cubicBezTo>
                <a:cubicBezTo>
                  <a:pt x="616" y="1225"/>
                  <a:pt x="616" y="1225"/>
                  <a:pt x="616" y="1284"/>
                </a:cubicBezTo>
                <a:cubicBezTo>
                  <a:pt x="616" y="1284"/>
                  <a:pt x="616" y="1284"/>
                  <a:pt x="628" y="1284"/>
                </a:cubicBezTo>
                <a:cubicBezTo>
                  <a:pt x="628" y="1284"/>
                  <a:pt x="628" y="1284"/>
                  <a:pt x="628" y="1210"/>
                </a:cubicBezTo>
                <a:close/>
                <a:moveTo>
                  <a:pt x="674" y="1210"/>
                </a:moveTo>
                <a:cubicBezTo>
                  <a:pt x="674" y="1210"/>
                  <a:pt x="674" y="1210"/>
                  <a:pt x="674" y="1210"/>
                </a:cubicBezTo>
                <a:cubicBezTo>
                  <a:pt x="669" y="1210"/>
                  <a:pt x="669" y="1210"/>
                  <a:pt x="669" y="1210"/>
                </a:cubicBezTo>
                <a:cubicBezTo>
                  <a:pt x="667" y="1212"/>
                  <a:pt x="666" y="1213"/>
                  <a:pt x="664" y="1214"/>
                </a:cubicBezTo>
                <a:cubicBezTo>
                  <a:pt x="662" y="1216"/>
                  <a:pt x="660" y="1216"/>
                  <a:pt x="659" y="1217"/>
                </a:cubicBezTo>
                <a:cubicBezTo>
                  <a:pt x="657" y="1218"/>
                  <a:pt x="655" y="1219"/>
                  <a:pt x="654" y="1220"/>
                </a:cubicBezTo>
                <a:cubicBezTo>
                  <a:pt x="651" y="1221"/>
                  <a:pt x="650" y="1221"/>
                  <a:pt x="648" y="1221"/>
                </a:cubicBezTo>
                <a:cubicBezTo>
                  <a:pt x="648" y="1221"/>
                  <a:pt x="648" y="1221"/>
                  <a:pt x="648" y="1232"/>
                </a:cubicBezTo>
                <a:cubicBezTo>
                  <a:pt x="651" y="1231"/>
                  <a:pt x="654" y="1230"/>
                  <a:pt x="656" y="1229"/>
                </a:cubicBezTo>
                <a:cubicBezTo>
                  <a:pt x="659" y="1228"/>
                  <a:pt x="661" y="1226"/>
                  <a:pt x="663" y="1225"/>
                </a:cubicBezTo>
                <a:cubicBezTo>
                  <a:pt x="663" y="1225"/>
                  <a:pt x="663" y="1225"/>
                  <a:pt x="663" y="1284"/>
                </a:cubicBezTo>
                <a:cubicBezTo>
                  <a:pt x="663" y="1284"/>
                  <a:pt x="663" y="1284"/>
                  <a:pt x="674" y="1284"/>
                </a:cubicBezTo>
                <a:cubicBezTo>
                  <a:pt x="674" y="1284"/>
                  <a:pt x="674" y="1284"/>
                  <a:pt x="674" y="1210"/>
                </a:cubicBezTo>
                <a:close/>
                <a:moveTo>
                  <a:pt x="720" y="1210"/>
                </a:moveTo>
                <a:cubicBezTo>
                  <a:pt x="720" y="1210"/>
                  <a:pt x="720" y="1210"/>
                  <a:pt x="720" y="1210"/>
                </a:cubicBezTo>
                <a:cubicBezTo>
                  <a:pt x="716" y="1210"/>
                  <a:pt x="716" y="1210"/>
                  <a:pt x="716" y="1210"/>
                </a:cubicBezTo>
                <a:cubicBezTo>
                  <a:pt x="714" y="1212"/>
                  <a:pt x="712" y="1213"/>
                  <a:pt x="710" y="1214"/>
                </a:cubicBezTo>
                <a:cubicBezTo>
                  <a:pt x="709" y="1216"/>
                  <a:pt x="707" y="1216"/>
                  <a:pt x="705" y="1217"/>
                </a:cubicBezTo>
                <a:cubicBezTo>
                  <a:pt x="703" y="1218"/>
                  <a:pt x="702" y="1219"/>
                  <a:pt x="699" y="1220"/>
                </a:cubicBezTo>
                <a:cubicBezTo>
                  <a:pt x="698" y="1221"/>
                  <a:pt x="696" y="1221"/>
                  <a:pt x="694" y="1221"/>
                </a:cubicBezTo>
                <a:cubicBezTo>
                  <a:pt x="694" y="1221"/>
                  <a:pt x="694" y="1221"/>
                  <a:pt x="694" y="1232"/>
                </a:cubicBezTo>
                <a:cubicBezTo>
                  <a:pt x="697" y="1231"/>
                  <a:pt x="700" y="1230"/>
                  <a:pt x="702" y="1229"/>
                </a:cubicBezTo>
                <a:cubicBezTo>
                  <a:pt x="704" y="1228"/>
                  <a:pt x="707" y="1226"/>
                  <a:pt x="709" y="1225"/>
                </a:cubicBezTo>
                <a:cubicBezTo>
                  <a:pt x="709" y="1225"/>
                  <a:pt x="709" y="1225"/>
                  <a:pt x="709" y="1284"/>
                </a:cubicBezTo>
                <a:cubicBezTo>
                  <a:pt x="709" y="1284"/>
                  <a:pt x="709" y="1284"/>
                  <a:pt x="720" y="1284"/>
                </a:cubicBezTo>
                <a:cubicBezTo>
                  <a:pt x="720" y="1284"/>
                  <a:pt x="720" y="1284"/>
                  <a:pt x="720" y="1210"/>
                </a:cubicBezTo>
                <a:close/>
                <a:moveTo>
                  <a:pt x="767" y="1210"/>
                </a:moveTo>
                <a:cubicBezTo>
                  <a:pt x="767" y="1210"/>
                  <a:pt x="767" y="1210"/>
                  <a:pt x="767" y="1210"/>
                </a:cubicBezTo>
                <a:cubicBezTo>
                  <a:pt x="762" y="1210"/>
                  <a:pt x="762" y="1210"/>
                  <a:pt x="762" y="1210"/>
                </a:cubicBezTo>
                <a:cubicBezTo>
                  <a:pt x="760" y="1212"/>
                  <a:pt x="758" y="1213"/>
                  <a:pt x="756" y="1214"/>
                </a:cubicBezTo>
                <a:cubicBezTo>
                  <a:pt x="755" y="1216"/>
                  <a:pt x="753" y="1216"/>
                  <a:pt x="751" y="1217"/>
                </a:cubicBezTo>
                <a:cubicBezTo>
                  <a:pt x="750" y="1218"/>
                  <a:pt x="747" y="1219"/>
                  <a:pt x="746" y="1220"/>
                </a:cubicBezTo>
                <a:cubicBezTo>
                  <a:pt x="744" y="1221"/>
                  <a:pt x="742" y="1221"/>
                  <a:pt x="740" y="1221"/>
                </a:cubicBezTo>
                <a:cubicBezTo>
                  <a:pt x="740" y="1221"/>
                  <a:pt x="740" y="1221"/>
                  <a:pt x="740" y="1232"/>
                </a:cubicBezTo>
                <a:cubicBezTo>
                  <a:pt x="743" y="1231"/>
                  <a:pt x="746" y="1230"/>
                  <a:pt x="748" y="1229"/>
                </a:cubicBezTo>
                <a:cubicBezTo>
                  <a:pt x="751" y="1228"/>
                  <a:pt x="753" y="1226"/>
                  <a:pt x="756" y="1225"/>
                </a:cubicBezTo>
                <a:cubicBezTo>
                  <a:pt x="756" y="1225"/>
                  <a:pt x="756" y="1225"/>
                  <a:pt x="756" y="1284"/>
                </a:cubicBezTo>
                <a:cubicBezTo>
                  <a:pt x="756" y="1284"/>
                  <a:pt x="756" y="1284"/>
                  <a:pt x="767" y="1284"/>
                </a:cubicBezTo>
                <a:cubicBezTo>
                  <a:pt x="767" y="1284"/>
                  <a:pt x="767" y="1284"/>
                  <a:pt x="767" y="1210"/>
                </a:cubicBezTo>
                <a:close/>
                <a:moveTo>
                  <a:pt x="889" y="1210"/>
                </a:moveTo>
                <a:cubicBezTo>
                  <a:pt x="889" y="1210"/>
                  <a:pt x="889" y="1210"/>
                  <a:pt x="889" y="1210"/>
                </a:cubicBezTo>
                <a:cubicBezTo>
                  <a:pt x="884" y="1210"/>
                  <a:pt x="884" y="1210"/>
                  <a:pt x="884" y="1210"/>
                </a:cubicBezTo>
                <a:cubicBezTo>
                  <a:pt x="882" y="1212"/>
                  <a:pt x="880" y="1213"/>
                  <a:pt x="878" y="1214"/>
                </a:cubicBezTo>
                <a:cubicBezTo>
                  <a:pt x="876" y="1216"/>
                  <a:pt x="875" y="1216"/>
                  <a:pt x="873" y="1217"/>
                </a:cubicBezTo>
                <a:cubicBezTo>
                  <a:pt x="871" y="1218"/>
                  <a:pt x="869" y="1219"/>
                  <a:pt x="868" y="1220"/>
                </a:cubicBezTo>
                <a:cubicBezTo>
                  <a:pt x="866" y="1221"/>
                  <a:pt x="864" y="1221"/>
                  <a:pt x="862" y="1221"/>
                </a:cubicBezTo>
                <a:cubicBezTo>
                  <a:pt x="862" y="1221"/>
                  <a:pt x="862" y="1221"/>
                  <a:pt x="862" y="1232"/>
                </a:cubicBezTo>
                <a:cubicBezTo>
                  <a:pt x="865" y="1231"/>
                  <a:pt x="868" y="1230"/>
                  <a:pt x="871" y="1229"/>
                </a:cubicBezTo>
                <a:cubicBezTo>
                  <a:pt x="873" y="1228"/>
                  <a:pt x="875" y="1226"/>
                  <a:pt x="877" y="1225"/>
                </a:cubicBezTo>
                <a:cubicBezTo>
                  <a:pt x="877" y="1225"/>
                  <a:pt x="877" y="1225"/>
                  <a:pt x="877" y="1284"/>
                </a:cubicBezTo>
                <a:cubicBezTo>
                  <a:pt x="877" y="1284"/>
                  <a:pt x="877" y="1284"/>
                  <a:pt x="889" y="1284"/>
                </a:cubicBezTo>
                <a:cubicBezTo>
                  <a:pt x="889" y="1284"/>
                  <a:pt x="889" y="1284"/>
                  <a:pt x="889" y="1210"/>
                </a:cubicBezTo>
                <a:close/>
                <a:moveTo>
                  <a:pt x="936" y="1210"/>
                </a:moveTo>
                <a:cubicBezTo>
                  <a:pt x="936" y="1210"/>
                  <a:pt x="936" y="1210"/>
                  <a:pt x="936" y="1210"/>
                </a:cubicBezTo>
                <a:cubicBezTo>
                  <a:pt x="931" y="1210"/>
                  <a:pt x="931" y="1210"/>
                  <a:pt x="931" y="1210"/>
                </a:cubicBezTo>
                <a:cubicBezTo>
                  <a:pt x="929" y="1212"/>
                  <a:pt x="927" y="1213"/>
                  <a:pt x="925" y="1214"/>
                </a:cubicBezTo>
                <a:cubicBezTo>
                  <a:pt x="924" y="1216"/>
                  <a:pt x="921" y="1216"/>
                  <a:pt x="920" y="1217"/>
                </a:cubicBezTo>
                <a:cubicBezTo>
                  <a:pt x="918" y="1218"/>
                  <a:pt x="916" y="1219"/>
                  <a:pt x="915" y="1220"/>
                </a:cubicBezTo>
                <a:cubicBezTo>
                  <a:pt x="913" y="1221"/>
                  <a:pt x="911" y="1221"/>
                  <a:pt x="909" y="1221"/>
                </a:cubicBezTo>
                <a:cubicBezTo>
                  <a:pt x="909" y="1221"/>
                  <a:pt x="909" y="1221"/>
                  <a:pt x="909" y="1232"/>
                </a:cubicBezTo>
                <a:cubicBezTo>
                  <a:pt x="912" y="1231"/>
                  <a:pt x="915" y="1230"/>
                  <a:pt x="917" y="1229"/>
                </a:cubicBezTo>
                <a:cubicBezTo>
                  <a:pt x="920" y="1228"/>
                  <a:pt x="922" y="1226"/>
                  <a:pt x="924" y="1225"/>
                </a:cubicBezTo>
                <a:cubicBezTo>
                  <a:pt x="924" y="1225"/>
                  <a:pt x="924" y="1225"/>
                  <a:pt x="924" y="1284"/>
                </a:cubicBezTo>
                <a:cubicBezTo>
                  <a:pt x="924" y="1284"/>
                  <a:pt x="924" y="1284"/>
                  <a:pt x="936" y="1284"/>
                </a:cubicBezTo>
                <a:cubicBezTo>
                  <a:pt x="936" y="1284"/>
                  <a:pt x="936" y="1284"/>
                  <a:pt x="936" y="1210"/>
                </a:cubicBezTo>
                <a:close/>
                <a:moveTo>
                  <a:pt x="787" y="1243"/>
                </a:moveTo>
                <a:cubicBezTo>
                  <a:pt x="787" y="1243"/>
                  <a:pt x="787" y="1243"/>
                  <a:pt x="787" y="1243"/>
                </a:cubicBezTo>
                <a:cubicBezTo>
                  <a:pt x="787" y="1251"/>
                  <a:pt x="787" y="1251"/>
                  <a:pt x="787" y="1251"/>
                </a:cubicBezTo>
                <a:cubicBezTo>
                  <a:pt x="793" y="1251"/>
                  <a:pt x="794" y="1254"/>
                  <a:pt x="794" y="1257"/>
                </a:cubicBezTo>
                <a:cubicBezTo>
                  <a:pt x="794" y="1259"/>
                  <a:pt x="794" y="1261"/>
                  <a:pt x="794" y="1264"/>
                </a:cubicBezTo>
                <a:cubicBezTo>
                  <a:pt x="793" y="1267"/>
                  <a:pt x="793" y="1269"/>
                  <a:pt x="793" y="1271"/>
                </a:cubicBezTo>
                <a:cubicBezTo>
                  <a:pt x="793" y="1281"/>
                  <a:pt x="799" y="1284"/>
                  <a:pt x="807" y="1284"/>
                </a:cubicBezTo>
                <a:cubicBezTo>
                  <a:pt x="807" y="1284"/>
                  <a:pt x="807" y="1284"/>
                  <a:pt x="811" y="1284"/>
                </a:cubicBezTo>
                <a:cubicBezTo>
                  <a:pt x="811" y="1284"/>
                  <a:pt x="811" y="1284"/>
                  <a:pt x="811" y="1275"/>
                </a:cubicBezTo>
                <a:cubicBezTo>
                  <a:pt x="811" y="1275"/>
                  <a:pt x="811" y="1275"/>
                  <a:pt x="810" y="1275"/>
                </a:cubicBezTo>
                <a:cubicBezTo>
                  <a:pt x="806" y="1275"/>
                  <a:pt x="805" y="1272"/>
                  <a:pt x="805" y="1269"/>
                </a:cubicBezTo>
                <a:cubicBezTo>
                  <a:pt x="805" y="1267"/>
                  <a:pt x="805" y="1266"/>
                  <a:pt x="805" y="1264"/>
                </a:cubicBezTo>
                <a:cubicBezTo>
                  <a:pt x="805" y="1263"/>
                  <a:pt x="806" y="1260"/>
                  <a:pt x="806" y="1258"/>
                </a:cubicBezTo>
                <a:cubicBezTo>
                  <a:pt x="806" y="1251"/>
                  <a:pt x="803" y="1248"/>
                  <a:pt x="797" y="1247"/>
                </a:cubicBezTo>
                <a:cubicBezTo>
                  <a:pt x="797" y="1247"/>
                  <a:pt x="797" y="1247"/>
                  <a:pt x="797" y="1246"/>
                </a:cubicBezTo>
                <a:cubicBezTo>
                  <a:pt x="803" y="1245"/>
                  <a:pt x="806" y="1243"/>
                  <a:pt x="806" y="1236"/>
                </a:cubicBezTo>
                <a:cubicBezTo>
                  <a:pt x="806" y="1233"/>
                  <a:pt x="805" y="1231"/>
                  <a:pt x="805" y="1229"/>
                </a:cubicBezTo>
                <a:cubicBezTo>
                  <a:pt x="805" y="1228"/>
                  <a:pt x="805" y="1226"/>
                  <a:pt x="805" y="1225"/>
                </a:cubicBezTo>
                <a:cubicBezTo>
                  <a:pt x="805" y="1221"/>
                  <a:pt x="806" y="1219"/>
                  <a:pt x="810" y="1219"/>
                </a:cubicBezTo>
                <a:cubicBezTo>
                  <a:pt x="810" y="1219"/>
                  <a:pt x="810" y="1219"/>
                  <a:pt x="811" y="1219"/>
                </a:cubicBezTo>
                <a:cubicBezTo>
                  <a:pt x="811" y="1219"/>
                  <a:pt x="811" y="1219"/>
                  <a:pt x="811" y="1209"/>
                </a:cubicBezTo>
                <a:cubicBezTo>
                  <a:pt x="811" y="1209"/>
                  <a:pt x="811" y="1209"/>
                  <a:pt x="807" y="1209"/>
                </a:cubicBezTo>
                <a:cubicBezTo>
                  <a:pt x="798" y="1209"/>
                  <a:pt x="793" y="1214"/>
                  <a:pt x="793" y="1222"/>
                </a:cubicBezTo>
                <a:cubicBezTo>
                  <a:pt x="793" y="1224"/>
                  <a:pt x="793" y="1227"/>
                  <a:pt x="793" y="1230"/>
                </a:cubicBezTo>
                <a:cubicBezTo>
                  <a:pt x="794" y="1232"/>
                  <a:pt x="794" y="1235"/>
                  <a:pt x="794" y="1236"/>
                </a:cubicBezTo>
                <a:cubicBezTo>
                  <a:pt x="794" y="1239"/>
                  <a:pt x="793" y="1242"/>
                  <a:pt x="787" y="1243"/>
                </a:cubicBezTo>
                <a:close/>
                <a:moveTo>
                  <a:pt x="842" y="1251"/>
                </a:moveTo>
                <a:cubicBezTo>
                  <a:pt x="842" y="1251"/>
                  <a:pt x="842" y="1251"/>
                  <a:pt x="842" y="1251"/>
                </a:cubicBezTo>
                <a:cubicBezTo>
                  <a:pt x="842" y="1243"/>
                  <a:pt x="842" y="1243"/>
                  <a:pt x="842" y="1243"/>
                </a:cubicBezTo>
                <a:cubicBezTo>
                  <a:pt x="836" y="1242"/>
                  <a:pt x="835" y="1239"/>
                  <a:pt x="835" y="1236"/>
                </a:cubicBezTo>
                <a:cubicBezTo>
                  <a:pt x="835" y="1235"/>
                  <a:pt x="835" y="1232"/>
                  <a:pt x="836" y="1230"/>
                </a:cubicBezTo>
                <a:cubicBezTo>
                  <a:pt x="836" y="1227"/>
                  <a:pt x="836" y="1224"/>
                  <a:pt x="836" y="1222"/>
                </a:cubicBezTo>
                <a:cubicBezTo>
                  <a:pt x="836" y="1214"/>
                  <a:pt x="831" y="1209"/>
                  <a:pt x="822" y="1209"/>
                </a:cubicBezTo>
                <a:cubicBezTo>
                  <a:pt x="822" y="1209"/>
                  <a:pt x="822" y="1209"/>
                  <a:pt x="818" y="1209"/>
                </a:cubicBezTo>
                <a:cubicBezTo>
                  <a:pt x="818" y="1209"/>
                  <a:pt x="818" y="1209"/>
                  <a:pt x="818" y="1219"/>
                </a:cubicBezTo>
                <a:cubicBezTo>
                  <a:pt x="818" y="1219"/>
                  <a:pt x="818" y="1219"/>
                  <a:pt x="819" y="1219"/>
                </a:cubicBezTo>
                <a:cubicBezTo>
                  <a:pt x="823" y="1219"/>
                  <a:pt x="825" y="1221"/>
                  <a:pt x="825" y="1225"/>
                </a:cubicBezTo>
                <a:cubicBezTo>
                  <a:pt x="825" y="1226"/>
                  <a:pt x="824" y="1228"/>
                  <a:pt x="824" y="1229"/>
                </a:cubicBezTo>
                <a:cubicBezTo>
                  <a:pt x="824" y="1231"/>
                  <a:pt x="824" y="1233"/>
                  <a:pt x="824" y="1236"/>
                </a:cubicBezTo>
                <a:cubicBezTo>
                  <a:pt x="824" y="1243"/>
                  <a:pt x="826" y="1245"/>
                  <a:pt x="832" y="1246"/>
                </a:cubicBezTo>
                <a:cubicBezTo>
                  <a:pt x="832" y="1246"/>
                  <a:pt x="832" y="1246"/>
                  <a:pt x="832" y="1247"/>
                </a:cubicBezTo>
                <a:cubicBezTo>
                  <a:pt x="826" y="1248"/>
                  <a:pt x="824" y="1251"/>
                  <a:pt x="824" y="1258"/>
                </a:cubicBezTo>
                <a:cubicBezTo>
                  <a:pt x="824" y="1260"/>
                  <a:pt x="824" y="1263"/>
                  <a:pt x="824" y="1264"/>
                </a:cubicBezTo>
                <a:cubicBezTo>
                  <a:pt x="824" y="1266"/>
                  <a:pt x="825" y="1267"/>
                  <a:pt x="825" y="1269"/>
                </a:cubicBezTo>
                <a:cubicBezTo>
                  <a:pt x="825" y="1272"/>
                  <a:pt x="823" y="1275"/>
                  <a:pt x="819" y="1275"/>
                </a:cubicBezTo>
                <a:cubicBezTo>
                  <a:pt x="819" y="1275"/>
                  <a:pt x="819" y="1275"/>
                  <a:pt x="818" y="1275"/>
                </a:cubicBezTo>
                <a:cubicBezTo>
                  <a:pt x="818" y="1275"/>
                  <a:pt x="818" y="1275"/>
                  <a:pt x="818" y="1284"/>
                </a:cubicBezTo>
                <a:cubicBezTo>
                  <a:pt x="818" y="1284"/>
                  <a:pt x="818" y="1284"/>
                  <a:pt x="822" y="1284"/>
                </a:cubicBezTo>
                <a:cubicBezTo>
                  <a:pt x="831" y="1284"/>
                  <a:pt x="836" y="1281"/>
                  <a:pt x="836" y="1271"/>
                </a:cubicBezTo>
                <a:cubicBezTo>
                  <a:pt x="836" y="1269"/>
                  <a:pt x="836" y="1267"/>
                  <a:pt x="836" y="1264"/>
                </a:cubicBezTo>
                <a:cubicBezTo>
                  <a:pt x="835" y="1261"/>
                  <a:pt x="835" y="1259"/>
                  <a:pt x="835" y="1257"/>
                </a:cubicBezTo>
                <a:cubicBezTo>
                  <a:pt x="835" y="1254"/>
                  <a:pt x="836" y="1251"/>
                  <a:pt x="842" y="1251"/>
                </a:cubicBezTo>
                <a:close/>
                <a:moveTo>
                  <a:pt x="228" y="1284"/>
                </a:moveTo>
                <a:cubicBezTo>
                  <a:pt x="221" y="1284"/>
                  <a:pt x="214" y="1281"/>
                  <a:pt x="210" y="1275"/>
                </a:cubicBezTo>
                <a:cubicBezTo>
                  <a:pt x="206" y="1268"/>
                  <a:pt x="204" y="1260"/>
                  <a:pt x="204" y="1247"/>
                </a:cubicBezTo>
                <a:cubicBezTo>
                  <a:pt x="204" y="1234"/>
                  <a:pt x="206" y="1224"/>
                  <a:pt x="210" y="1218"/>
                </a:cubicBezTo>
                <a:cubicBezTo>
                  <a:pt x="215" y="1211"/>
                  <a:pt x="221" y="1208"/>
                  <a:pt x="230" y="1208"/>
                </a:cubicBezTo>
                <a:cubicBezTo>
                  <a:pt x="246" y="1208"/>
                  <a:pt x="254" y="1220"/>
                  <a:pt x="254" y="1246"/>
                </a:cubicBezTo>
                <a:cubicBezTo>
                  <a:pt x="254" y="1258"/>
                  <a:pt x="252" y="1268"/>
                  <a:pt x="247" y="1274"/>
                </a:cubicBezTo>
                <a:cubicBezTo>
                  <a:pt x="243" y="1281"/>
                  <a:pt x="236" y="1284"/>
                  <a:pt x="228" y="1284"/>
                </a:cubicBezTo>
                <a:close/>
                <a:moveTo>
                  <a:pt x="229" y="1217"/>
                </a:moveTo>
                <a:cubicBezTo>
                  <a:pt x="220" y="1217"/>
                  <a:pt x="216" y="1227"/>
                  <a:pt x="216" y="1247"/>
                </a:cubicBezTo>
                <a:cubicBezTo>
                  <a:pt x="216" y="1266"/>
                  <a:pt x="220" y="1274"/>
                  <a:pt x="229" y="1274"/>
                </a:cubicBezTo>
                <a:cubicBezTo>
                  <a:pt x="237" y="1274"/>
                  <a:pt x="242" y="1266"/>
                  <a:pt x="242" y="1246"/>
                </a:cubicBezTo>
                <a:cubicBezTo>
                  <a:pt x="242" y="1227"/>
                  <a:pt x="237" y="1217"/>
                  <a:pt x="229" y="1217"/>
                </a:cubicBezTo>
                <a:close/>
                <a:moveTo>
                  <a:pt x="298" y="1284"/>
                </a:moveTo>
                <a:cubicBezTo>
                  <a:pt x="291" y="1284"/>
                  <a:pt x="284" y="1281"/>
                  <a:pt x="281" y="1275"/>
                </a:cubicBezTo>
                <a:cubicBezTo>
                  <a:pt x="276" y="1268"/>
                  <a:pt x="274" y="1260"/>
                  <a:pt x="274" y="1247"/>
                </a:cubicBezTo>
                <a:cubicBezTo>
                  <a:pt x="274" y="1234"/>
                  <a:pt x="276" y="1224"/>
                  <a:pt x="281" y="1218"/>
                </a:cubicBezTo>
                <a:cubicBezTo>
                  <a:pt x="285" y="1211"/>
                  <a:pt x="292" y="1208"/>
                  <a:pt x="300" y="1208"/>
                </a:cubicBezTo>
                <a:cubicBezTo>
                  <a:pt x="317" y="1208"/>
                  <a:pt x="325" y="1220"/>
                  <a:pt x="325" y="1246"/>
                </a:cubicBezTo>
                <a:cubicBezTo>
                  <a:pt x="325" y="1258"/>
                  <a:pt x="323" y="1268"/>
                  <a:pt x="318" y="1274"/>
                </a:cubicBezTo>
                <a:cubicBezTo>
                  <a:pt x="313" y="1281"/>
                  <a:pt x="307" y="1284"/>
                  <a:pt x="298" y="1284"/>
                </a:cubicBezTo>
                <a:close/>
                <a:moveTo>
                  <a:pt x="300" y="1217"/>
                </a:moveTo>
                <a:cubicBezTo>
                  <a:pt x="291" y="1217"/>
                  <a:pt x="286" y="1227"/>
                  <a:pt x="286" y="1247"/>
                </a:cubicBezTo>
                <a:cubicBezTo>
                  <a:pt x="286" y="1266"/>
                  <a:pt x="290" y="1274"/>
                  <a:pt x="299" y="1274"/>
                </a:cubicBezTo>
                <a:cubicBezTo>
                  <a:pt x="308" y="1274"/>
                  <a:pt x="312" y="1266"/>
                  <a:pt x="312" y="1246"/>
                </a:cubicBezTo>
                <a:cubicBezTo>
                  <a:pt x="312" y="1227"/>
                  <a:pt x="308" y="1217"/>
                  <a:pt x="300" y="1217"/>
                </a:cubicBezTo>
                <a:close/>
                <a:moveTo>
                  <a:pt x="508" y="1284"/>
                </a:moveTo>
                <a:cubicBezTo>
                  <a:pt x="501" y="1284"/>
                  <a:pt x="495" y="1281"/>
                  <a:pt x="491" y="1274"/>
                </a:cubicBezTo>
                <a:cubicBezTo>
                  <a:pt x="486" y="1268"/>
                  <a:pt x="484" y="1259"/>
                  <a:pt x="484" y="1247"/>
                </a:cubicBezTo>
                <a:cubicBezTo>
                  <a:pt x="484" y="1234"/>
                  <a:pt x="486" y="1224"/>
                  <a:pt x="491" y="1217"/>
                </a:cubicBezTo>
                <a:cubicBezTo>
                  <a:pt x="495" y="1210"/>
                  <a:pt x="502" y="1208"/>
                  <a:pt x="510" y="1208"/>
                </a:cubicBezTo>
                <a:cubicBezTo>
                  <a:pt x="527" y="1208"/>
                  <a:pt x="535" y="1220"/>
                  <a:pt x="535" y="1245"/>
                </a:cubicBezTo>
                <a:cubicBezTo>
                  <a:pt x="535" y="1258"/>
                  <a:pt x="532" y="1268"/>
                  <a:pt x="528" y="1274"/>
                </a:cubicBezTo>
                <a:cubicBezTo>
                  <a:pt x="523" y="1281"/>
                  <a:pt x="517" y="1284"/>
                  <a:pt x="508" y="1284"/>
                </a:cubicBezTo>
                <a:close/>
                <a:moveTo>
                  <a:pt x="510" y="1217"/>
                </a:moveTo>
                <a:cubicBezTo>
                  <a:pt x="501" y="1217"/>
                  <a:pt x="497" y="1227"/>
                  <a:pt x="497" y="1246"/>
                </a:cubicBezTo>
                <a:cubicBezTo>
                  <a:pt x="497" y="1265"/>
                  <a:pt x="501" y="1274"/>
                  <a:pt x="510" y="1274"/>
                </a:cubicBezTo>
                <a:cubicBezTo>
                  <a:pt x="518" y="1274"/>
                  <a:pt x="522" y="1265"/>
                  <a:pt x="522" y="1246"/>
                </a:cubicBezTo>
                <a:cubicBezTo>
                  <a:pt x="522" y="1227"/>
                  <a:pt x="519" y="1217"/>
                  <a:pt x="510" y="1217"/>
                </a:cubicBezTo>
                <a:close/>
                <a:moveTo>
                  <a:pt x="581" y="1210"/>
                </a:moveTo>
                <a:cubicBezTo>
                  <a:pt x="581" y="1210"/>
                  <a:pt x="581" y="1210"/>
                  <a:pt x="581" y="1210"/>
                </a:cubicBezTo>
                <a:cubicBezTo>
                  <a:pt x="576" y="1210"/>
                  <a:pt x="576" y="1210"/>
                  <a:pt x="576" y="1210"/>
                </a:cubicBezTo>
                <a:cubicBezTo>
                  <a:pt x="574" y="1212"/>
                  <a:pt x="573" y="1213"/>
                  <a:pt x="570" y="1214"/>
                </a:cubicBezTo>
                <a:cubicBezTo>
                  <a:pt x="569" y="1216"/>
                  <a:pt x="567" y="1216"/>
                  <a:pt x="565" y="1217"/>
                </a:cubicBezTo>
                <a:cubicBezTo>
                  <a:pt x="564" y="1218"/>
                  <a:pt x="562" y="1218"/>
                  <a:pt x="560" y="1219"/>
                </a:cubicBezTo>
                <a:cubicBezTo>
                  <a:pt x="558" y="1220"/>
                  <a:pt x="557" y="1221"/>
                  <a:pt x="555" y="1221"/>
                </a:cubicBezTo>
                <a:cubicBezTo>
                  <a:pt x="555" y="1221"/>
                  <a:pt x="555" y="1221"/>
                  <a:pt x="555" y="1232"/>
                </a:cubicBezTo>
                <a:cubicBezTo>
                  <a:pt x="558" y="1231"/>
                  <a:pt x="560" y="1229"/>
                  <a:pt x="563" y="1229"/>
                </a:cubicBezTo>
                <a:cubicBezTo>
                  <a:pt x="565" y="1228"/>
                  <a:pt x="568" y="1226"/>
                  <a:pt x="570" y="1225"/>
                </a:cubicBezTo>
                <a:cubicBezTo>
                  <a:pt x="570" y="1225"/>
                  <a:pt x="570" y="1225"/>
                  <a:pt x="570" y="1284"/>
                </a:cubicBezTo>
                <a:cubicBezTo>
                  <a:pt x="570" y="1284"/>
                  <a:pt x="570" y="1284"/>
                  <a:pt x="581" y="1284"/>
                </a:cubicBezTo>
                <a:cubicBezTo>
                  <a:pt x="581" y="1284"/>
                  <a:pt x="581" y="1284"/>
                  <a:pt x="581" y="1210"/>
                </a:cubicBezTo>
                <a:close/>
                <a:moveTo>
                  <a:pt x="371" y="1210"/>
                </a:moveTo>
                <a:cubicBezTo>
                  <a:pt x="371" y="1210"/>
                  <a:pt x="371" y="1210"/>
                  <a:pt x="371" y="1210"/>
                </a:cubicBezTo>
                <a:cubicBezTo>
                  <a:pt x="366" y="1210"/>
                  <a:pt x="366" y="1210"/>
                  <a:pt x="366" y="1210"/>
                </a:cubicBezTo>
                <a:cubicBezTo>
                  <a:pt x="364" y="1212"/>
                  <a:pt x="363" y="1213"/>
                  <a:pt x="360" y="1214"/>
                </a:cubicBezTo>
                <a:cubicBezTo>
                  <a:pt x="359" y="1216"/>
                  <a:pt x="358" y="1216"/>
                  <a:pt x="355" y="1217"/>
                </a:cubicBezTo>
                <a:cubicBezTo>
                  <a:pt x="354" y="1218"/>
                  <a:pt x="352" y="1219"/>
                  <a:pt x="350" y="1220"/>
                </a:cubicBezTo>
                <a:cubicBezTo>
                  <a:pt x="348" y="1221"/>
                  <a:pt x="347" y="1221"/>
                  <a:pt x="344" y="1221"/>
                </a:cubicBezTo>
                <a:cubicBezTo>
                  <a:pt x="344" y="1221"/>
                  <a:pt x="344" y="1221"/>
                  <a:pt x="344" y="1232"/>
                </a:cubicBezTo>
                <a:cubicBezTo>
                  <a:pt x="347" y="1231"/>
                  <a:pt x="350" y="1230"/>
                  <a:pt x="353" y="1229"/>
                </a:cubicBezTo>
                <a:cubicBezTo>
                  <a:pt x="355" y="1228"/>
                  <a:pt x="358" y="1226"/>
                  <a:pt x="360" y="1225"/>
                </a:cubicBezTo>
                <a:cubicBezTo>
                  <a:pt x="360" y="1225"/>
                  <a:pt x="360" y="1225"/>
                  <a:pt x="360" y="1284"/>
                </a:cubicBezTo>
                <a:cubicBezTo>
                  <a:pt x="360" y="1284"/>
                  <a:pt x="360" y="1284"/>
                  <a:pt x="371" y="1284"/>
                </a:cubicBezTo>
                <a:cubicBezTo>
                  <a:pt x="371" y="1284"/>
                  <a:pt x="371" y="1284"/>
                  <a:pt x="371" y="1210"/>
                </a:cubicBezTo>
                <a:close/>
                <a:moveTo>
                  <a:pt x="418" y="1210"/>
                </a:moveTo>
                <a:cubicBezTo>
                  <a:pt x="418" y="1210"/>
                  <a:pt x="418" y="1210"/>
                  <a:pt x="418" y="1210"/>
                </a:cubicBezTo>
                <a:cubicBezTo>
                  <a:pt x="413" y="1210"/>
                  <a:pt x="413" y="1210"/>
                  <a:pt x="413" y="1210"/>
                </a:cubicBezTo>
                <a:cubicBezTo>
                  <a:pt x="411" y="1212"/>
                  <a:pt x="410" y="1213"/>
                  <a:pt x="408" y="1214"/>
                </a:cubicBezTo>
                <a:cubicBezTo>
                  <a:pt x="406" y="1216"/>
                  <a:pt x="404" y="1216"/>
                  <a:pt x="402" y="1217"/>
                </a:cubicBezTo>
                <a:cubicBezTo>
                  <a:pt x="401" y="1218"/>
                  <a:pt x="399" y="1219"/>
                  <a:pt x="397" y="1220"/>
                </a:cubicBezTo>
                <a:cubicBezTo>
                  <a:pt x="395" y="1221"/>
                  <a:pt x="394" y="1221"/>
                  <a:pt x="392" y="1221"/>
                </a:cubicBezTo>
                <a:cubicBezTo>
                  <a:pt x="392" y="1221"/>
                  <a:pt x="392" y="1221"/>
                  <a:pt x="392" y="1232"/>
                </a:cubicBezTo>
                <a:cubicBezTo>
                  <a:pt x="394" y="1231"/>
                  <a:pt x="397" y="1230"/>
                  <a:pt x="400" y="1229"/>
                </a:cubicBezTo>
                <a:cubicBezTo>
                  <a:pt x="402" y="1228"/>
                  <a:pt x="405" y="1226"/>
                  <a:pt x="407" y="1225"/>
                </a:cubicBezTo>
                <a:cubicBezTo>
                  <a:pt x="407" y="1225"/>
                  <a:pt x="407" y="1225"/>
                  <a:pt x="407" y="1284"/>
                </a:cubicBezTo>
                <a:cubicBezTo>
                  <a:pt x="407" y="1284"/>
                  <a:pt x="407" y="1284"/>
                  <a:pt x="418" y="1284"/>
                </a:cubicBezTo>
                <a:cubicBezTo>
                  <a:pt x="418" y="1284"/>
                  <a:pt x="418" y="1284"/>
                  <a:pt x="418" y="1210"/>
                </a:cubicBezTo>
                <a:close/>
                <a:moveTo>
                  <a:pt x="464" y="1210"/>
                </a:moveTo>
                <a:cubicBezTo>
                  <a:pt x="464" y="1210"/>
                  <a:pt x="464" y="1210"/>
                  <a:pt x="464" y="1210"/>
                </a:cubicBezTo>
                <a:cubicBezTo>
                  <a:pt x="460" y="1210"/>
                  <a:pt x="460" y="1210"/>
                  <a:pt x="460" y="1210"/>
                </a:cubicBezTo>
                <a:cubicBezTo>
                  <a:pt x="458" y="1212"/>
                  <a:pt x="456" y="1213"/>
                  <a:pt x="454" y="1214"/>
                </a:cubicBezTo>
                <a:cubicBezTo>
                  <a:pt x="453" y="1216"/>
                  <a:pt x="451" y="1216"/>
                  <a:pt x="449" y="1217"/>
                </a:cubicBezTo>
                <a:cubicBezTo>
                  <a:pt x="447" y="1218"/>
                  <a:pt x="445" y="1218"/>
                  <a:pt x="443" y="1219"/>
                </a:cubicBezTo>
                <a:cubicBezTo>
                  <a:pt x="442" y="1220"/>
                  <a:pt x="440" y="1221"/>
                  <a:pt x="438" y="1221"/>
                </a:cubicBezTo>
                <a:cubicBezTo>
                  <a:pt x="438" y="1221"/>
                  <a:pt x="438" y="1221"/>
                  <a:pt x="438" y="1232"/>
                </a:cubicBezTo>
                <a:cubicBezTo>
                  <a:pt x="441" y="1231"/>
                  <a:pt x="444" y="1229"/>
                  <a:pt x="446" y="1229"/>
                </a:cubicBezTo>
                <a:cubicBezTo>
                  <a:pt x="448" y="1228"/>
                  <a:pt x="451" y="1226"/>
                  <a:pt x="453" y="1225"/>
                </a:cubicBezTo>
                <a:cubicBezTo>
                  <a:pt x="453" y="1225"/>
                  <a:pt x="453" y="1225"/>
                  <a:pt x="453" y="1284"/>
                </a:cubicBezTo>
                <a:cubicBezTo>
                  <a:pt x="453" y="1284"/>
                  <a:pt x="453" y="1284"/>
                  <a:pt x="464" y="1284"/>
                </a:cubicBezTo>
                <a:cubicBezTo>
                  <a:pt x="464" y="1284"/>
                  <a:pt x="464" y="1284"/>
                  <a:pt x="464" y="1210"/>
                </a:cubicBezTo>
                <a:close/>
                <a:moveTo>
                  <a:pt x="30" y="1284"/>
                </a:moveTo>
                <a:cubicBezTo>
                  <a:pt x="23" y="1284"/>
                  <a:pt x="16" y="1281"/>
                  <a:pt x="12" y="1275"/>
                </a:cubicBezTo>
                <a:cubicBezTo>
                  <a:pt x="8" y="1268"/>
                  <a:pt x="6" y="1260"/>
                  <a:pt x="6" y="1247"/>
                </a:cubicBezTo>
                <a:cubicBezTo>
                  <a:pt x="6" y="1234"/>
                  <a:pt x="8" y="1224"/>
                  <a:pt x="12" y="1218"/>
                </a:cubicBezTo>
                <a:cubicBezTo>
                  <a:pt x="17" y="1211"/>
                  <a:pt x="23" y="1208"/>
                  <a:pt x="32" y="1208"/>
                </a:cubicBezTo>
                <a:cubicBezTo>
                  <a:pt x="48" y="1208"/>
                  <a:pt x="56" y="1220"/>
                  <a:pt x="56" y="1246"/>
                </a:cubicBezTo>
                <a:cubicBezTo>
                  <a:pt x="56" y="1258"/>
                  <a:pt x="54" y="1268"/>
                  <a:pt x="50" y="1274"/>
                </a:cubicBezTo>
                <a:cubicBezTo>
                  <a:pt x="45" y="1281"/>
                  <a:pt x="39" y="1284"/>
                  <a:pt x="30" y="1284"/>
                </a:cubicBezTo>
                <a:close/>
                <a:moveTo>
                  <a:pt x="31" y="1217"/>
                </a:moveTo>
                <a:cubicBezTo>
                  <a:pt x="23" y="1217"/>
                  <a:pt x="17" y="1227"/>
                  <a:pt x="17" y="1247"/>
                </a:cubicBezTo>
                <a:cubicBezTo>
                  <a:pt x="17" y="1266"/>
                  <a:pt x="22" y="1274"/>
                  <a:pt x="31" y="1274"/>
                </a:cubicBezTo>
                <a:cubicBezTo>
                  <a:pt x="40" y="1274"/>
                  <a:pt x="44" y="1266"/>
                  <a:pt x="44" y="1246"/>
                </a:cubicBezTo>
                <a:cubicBezTo>
                  <a:pt x="44" y="1227"/>
                  <a:pt x="40" y="1217"/>
                  <a:pt x="31" y="1217"/>
                </a:cubicBezTo>
                <a:close/>
                <a:moveTo>
                  <a:pt x="91" y="1210"/>
                </a:moveTo>
                <a:cubicBezTo>
                  <a:pt x="91" y="1210"/>
                  <a:pt x="91" y="1210"/>
                  <a:pt x="91" y="1210"/>
                </a:cubicBezTo>
                <a:cubicBezTo>
                  <a:pt x="86" y="1210"/>
                  <a:pt x="86" y="1210"/>
                  <a:pt x="86" y="1210"/>
                </a:cubicBezTo>
                <a:cubicBezTo>
                  <a:pt x="84" y="1212"/>
                  <a:pt x="82" y="1213"/>
                  <a:pt x="80" y="1214"/>
                </a:cubicBezTo>
                <a:cubicBezTo>
                  <a:pt x="79" y="1216"/>
                  <a:pt x="77" y="1216"/>
                  <a:pt x="75" y="1217"/>
                </a:cubicBezTo>
                <a:cubicBezTo>
                  <a:pt x="74" y="1218"/>
                  <a:pt x="71" y="1219"/>
                  <a:pt x="70" y="1220"/>
                </a:cubicBezTo>
                <a:cubicBezTo>
                  <a:pt x="68" y="1221"/>
                  <a:pt x="66" y="1221"/>
                  <a:pt x="64" y="1221"/>
                </a:cubicBezTo>
                <a:cubicBezTo>
                  <a:pt x="64" y="1221"/>
                  <a:pt x="64" y="1221"/>
                  <a:pt x="64" y="1232"/>
                </a:cubicBezTo>
                <a:cubicBezTo>
                  <a:pt x="67" y="1231"/>
                  <a:pt x="70" y="1230"/>
                  <a:pt x="73" y="1229"/>
                </a:cubicBezTo>
                <a:cubicBezTo>
                  <a:pt x="75" y="1228"/>
                  <a:pt x="77" y="1226"/>
                  <a:pt x="79" y="1225"/>
                </a:cubicBezTo>
                <a:cubicBezTo>
                  <a:pt x="79" y="1225"/>
                  <a:pt x="79" y="1225"/>
                  <a:pt x="79" y="1284"/>
                </a:cubicBezTo>
                <a:cubicBezTo>
                  <a:pt x="79" y="1284"/>
                  <a:pt x="79" y="1284"/>
                  <a:pt x="91" y="1284"/>
                </a:cubicBezTo>
                <a:cubicBezTo>
                  <a:pt x="91" y="1284"/>
                  <a:pt x="91" y="1284"/>
                  <a:pt x="91" y="1210"/>
                </a:cubicBezTo>
                <a:close/>
                <a:moveTo>
                  <a:pt x="138" y="1210"/>
                </a:moveTo>
                <a:cubicBezTo>
                  <a:pt x="138" y="1210"/>
                  <a:pt x="138" y="1210"/>
                  <a:pt x="138" y="1210"/>
                </a:cubicBezTo>
                <a:cubicBezTo>
                  <a:pt x="133" y="1210"/>
                  <a:pt x="133" y="1210"/>
                  <a:pt x="133" y="1210"/>
                </a:cubicBezTo>
                <a:cubicBezTo>
                  <a:pt x="131" y="1212"/>
                  <a:pt x="129" y="1213"/>
                  <a:pt x="127" y="1214"/>
                </a:cubicBezTo>
                <a:cubicBezTo>
                  <a:pt x="126" y="1216"/>
                  <a:pt x="124" y="1216"/>
                  <a:pt x="122" y="1217"/>
                </a:cubicBezTo>
                <a:cubicBezTo>
                  <a:pt x="121" y="1218"/>
                  <a:pt x="118" y="1219"/>
                  <a:pt x="117" y="1220"/>
                </a:cubicBezTo>
                <a:cubicBezTo>
                  <a:pt x="115" y="1221"/>
                  <a:pt x="113" y="1221"/>
                  <a:pt x="111" y="1221"/>
                </a:cubicBezTo>
                <a:cubicBezTo>
                  <a:pt x="111" y="1221"/>
                  <a:pt x="111" y="1221"/>
                  <a:pt x="111" y="1232"/>
                </a:cubicBezTo>
                <a:cubicBezTo>
                  <a:pt x="114" y="1231"/>
                  <a:pt x="117" y="1230"/>
                  <a:pt x="119" y="1229"/>
                </a:cubicBezTo>
                <a:cubicBezTo>
                  <a:pt x="122" y="1228"/>
                  <a:pt x="124" y="1226"/>
                  <a:pt x="126" y="1225"/>
                </a:cubicBezTo>
                <a:cubicBezTo>
                  <a:pt x="126" y="1225"/>
                  <a:pt x="126" y="1225"/>
                  <a:pt x="126" y="1284"/>
                </a:cubicBezTo>
                <a:cubicBezTo>
                  <a:pt x="126" y="1284"/>
                  <a:pt x="126" y="1284"/>
                  <a:pt x="138" y="1284"/>
                </a:cubicBezTo>
                <a:cubicBezTo>
                  <a:pt x="138" y="1284"/>
                  <a:pt x="138" y="1284"/>
                  <a:pt x="138" y="1210"/>
                </a:cubicBezTo>
                <a:close/>
                <a:moveTo>
                  <a:pt x="184" y="1210"/>
                </a:moveTo>
                <a:cubicBezTo>
                  <a:pt x="184" y="1210"/>
                  <a:pt x="184" y="1210"/>
                  <a:pt x="184" y="1210"/>
                </a:cubicBezTo>
                <a:cubicBezTo>
                  <a:pt x="180" y="1210"/>
                  <a:pt x="180" y="1210"/>
                  <a:pt x="180" y="1210"/>
                </a:cubicBezTo>
                <a:cubicBezTo>
                  <a:pt x="178" y="1212"/>
                  <a:pt x="176" y="1213"/>
                  <a:pt x="174" y="1214"/>
                </a:cubicBezTo>
                <a:cubicBezTo>
                  <a:pt x="172" y="1216"/>
                  <a:pt x="170" y="1216"/>
                  <a:pt x="169" y="1217"/>
                </a:cubicBezTo>
                <a:cubicBezTo>
                  <a:pt x="167" y="1218"/>
                  <a:pt x="165" y="1218"/>
                  <a:pt x="163" y="1219"/>
                </a:cubicBezTo>
                <a:cubicBezTo>
                  <a:pt x="161" y="1220"/>
                  <a:pt x="159" y="1221"/>
                  <a:pt x="158" y="1221"/>
                </a:cubicBezTo>
                <a:cubicBezTo>
                  <a:pt x="158" y="1221"/>
                  <a:pt x="158" y="1221"/>
                  <a:pt x="158" y="1232"/>
                </a:cubicBezTo>
                <a:cubicBezTo>
                  <a:pt x="161" y="1231"/>
                  <a:pt x="164" y="1229"/>
                  <a:pt x="166" y="1229"/>
                </a:cubicBezTo>
                <a:cubicBezTo>
                  <a:pt x="168" y="1228"/>
                  <a:pt x="171" y="1226"/>
                  <a:pt x="172" y="1225"/>
                </a:cubicBezTo>
                <a:cubicBezTo>
                  <a:pt x="172" y="1225"/>
                  <a:pt x="172" y="1225"/>
                  <a:pt x="172" y="1284"/>
                </a:cubicBezTo>
                <a:cubicBezTo>
                  <a:pt x="172" y="1284"/>
                  <a:pt x="172" y="1284"/>
                  <a:pt x="184" y="1284"/>
                </a:cubicBezTo>
                <a:cubicBezTo>
                  <a:pt x="184" y="1284"/>
                  <a:pt x="184" y="1284"/>
                  <a:pt x="184" y="1210"/>
                </a:cubicBezTo>
                <a:close/>
                <a:moveTo>
                  <a:pt x="99" y="1176"/>
                </a:moveTo>
                <a:cubicBezTo>
                  <a:pt x="92" y="1176"/>
                  <a:pt x="85" y="1173"/>
                  <a:pt x="81" y="1168"/>
                </a:cubicBezTo>
                <a:cubicBezTo>
                  <a:pt x="77" y="1161"/>
                  <a:pt x="75" y="1152"/>
                  <a:pt x="75" y="1140"/>
                </a:cubicBezTo>
                <a:cubicBezTo>
                  <a:pt x="75" y="1127"/>
                  <a:pt x="77" y="1117"/>
                  <a:pt x="81" y="1111"/>
                </a:cubicBezTo>
                <a:cubicBezTo>
                  <a:pt x="86" y="1104"/>
                  <a:pt x="92" y="1101"/>
                  <a:pt x="101" y="1101"/>
                </a:cubicBezTo>
                <a:cubicBezTo>
                  <a:pt x="117" y="1101"/>
                  <a:pt x="125" y="1113"/>
                  <a:pt x="125" y="1138"/>
                </a:cubicBezTo>
                <a:cubicBezTo>
                  <a:pt x="125" y="1151"/>
                  <a:pt x="123" y="1160"/>
                  <a:pt x="118" y="1167"/>
                </a:cubicBezTo>
                <a:cubicBezTo>
                  <a:pt x="113" y="1173"/>
                  <a:pt x="107" y="1176"/>
                  <a:pt x="99" y="1176"/>
                </a:cubicBezTo>
                <a:close/>
                <a:moveTo>
                  <a:pt x="100" y="1110"/>
                </a:moveTo>
                <a:cubicBezTo>
                  <a:pt x="91" y="1110"/>
                  <a:pt x="86" y="1120"/>
                  <a:pt x="86" y="1140"/>
                </a:cubicBezTo>
                <a:cubicBezTo>
                  <a:pt x="86" y="1158"/>
                  <a:pt x="91" y="1167"/>
                  <a:pt x="100" y="1167"/>
                </a:cubicBezTo>
                <a:cubicBezTo>
                  <a:pt x="108" y="1167"/>
                  <a:pt x="113" y="1158"/>
                  <a:pt x="113" y="1139"/>
                </a:cubicBezTo>
                <a:cubicBezTo>
                  <a:pt x="113" y="1119"/>
                  <a:pt x="108" y="1110"/>
                  <a:pt x="100" y="1110"/>
                </a:cubicBezTo>
                <a:close/>
                <a:moveTo>
                  <a:pt x="173" y="1103"/>
                </a:moveTo>
                <a:cubicBezTo>
                  <a:pt x="173" y="1103"/>
                  <a:pt x="173" y="1103"/>
                  <a:pt x="173" y="1103"/>
                </a:cubicBezTo>
                <a:cubicBezTo>
                  <a:pt x="168" y="1103"/>
                  <a:pt x="168" y="1103"/>
                  <a:pt x="168" y="1103"/>
                </a:cubicBezTo>
                <a:cubicBezTo>
                  <a:pt x="165" y="1104"/>
                  <a:pt x="164" y="1106"/>
                  <a:pt x="162" y="1107"/>
                </a:cubicBezTo>
                <a:cubicBezTo>
                  <a:pt x="160" y="1108"/>
                  <a:pt x="158" y="1109"/>
                  <a:pt x="157" y="1109"/>
                </a:cubicBezTo>
                <a:cubicBezTo>
                  <a:pt x="154" y="1110"/>
                  <a:pt x="153" y="1111"/>
                  <a:pt x="152" y="1112"/>
                </a:cubicBezTo>
                <a:cubicBezTo>
                  <a:pt x="149" y="1112"/>
                  <a:pt x="148" y="1113"/>
                  <a:pt x="146" y="1114"/>
                </a:cubicBezTo>
                <a:cubicBezTo>
                  <a:pt x="146" y="1114"/>
                  <a:pt x="146" y="1114"/>
                  <a:pt x="146" y="1124"/>
                </a:cubicBezTo>
                <a:cubicBezTo>
                  <a:pt x="149" y="1123"/>
                  <a:pt x="152" y="1122"/>
                  <a:pt x="154" y="1121"/>
                </a:cubicBezTo>
                <a:cubicBezTo>
                  <a:pt x="157" y="1120"/>
                  <a:pt x="159" y="1119"/>
                  <a:pt x="161" y="1117"/>
                </a:cubicBezTo>
                <a:cubicBezTo>
                  <a:pt x="161" y="1117"/>
                  <a:pt x="161" y="1117"/>
                  <a:pt x="161" y="1176"/>
                </a:cubicBezTo>
                <a:cubicBezTo>
                  <a:pt x="161" y="1176"/>
                  <a:pt x="161" y="1176"/>
                  <a:pt x="173" y="1176"/>
                </a:cubicBezTo>
                <a:cubicBezTo>
                  <a:pt x="173" y="1176"/>
                  <a:pt x="173" y="1176"/>
                  <a:pt x="173" y="1103"/>
                </a:cubicBezTo>
                <a:close/>
                <a:moveTo>
                  <a:pt x="220" y="1103"/>
                </a:moveTo>
                <a:cubicBezTo>
                  <a:pt x="220" y="1103"/>
                  <a:pt x="220" y="1103"/>
                  <a:pt x="220" y="1103"/>
                </a:cubicBezTo>
                <a:cubicBezTo>
                  <a:pt x="215" y="1103"/>
                  <a:pt x="215" y="1103"/>
                  <a:pt x="215" y="1103"/>
                </a:cubicBezTo>
                <a:cubicBezTo>
                  <a:pt x="213" y="1104"/>
                  <a:pt x="211" y="1106"/>
                  <a:pt x="209" y="1107"/>
                </a:cubicBezTo>
                <a:cubicBezTo>
                  <a:pt x="208" y="1108"/>
                  <a:pt x="205" y="1109"/>
                  <a:pt x="204" y="1109"/>
                </a:cubicBezTo>
                <a:cubicBezTo>
                  <a:pt x="203" y="1111"/>
                  <a:pt x="200" y="1112"/>
                  <a:pt x="199" y="1112"/>
                </a:cubicBezTo>
                <a:cubicBezTo>
                  <a:pt x="197" y="1113"/>
                  <a:pt x="195" y="1114"/>
                  <a:pt x="193" y="1114"/>
                </a:cubicBezTo>
                <a:cubicBezTo>
                  <a:pt x="193" y="1114"/>
                  <a:pt x="193" y="1114"/>
                  <a:pt x="193" y="1124"/>
                </a:cubicBezTo>
                <a:cubicBezTo>
                  <a:pt x="196" y="1123"/>
                  <a:pt x="199" y="1123"/>
                  <a:pt x="201" y="1121"/>
                </a:cubicBezTo>
                <a:cubicBezTo>
                  <a:pt x="204" y="1120"/>
                  <a:pt x="206" y="1119"/>
                  <a:pt x="208" y="1117"/>
                </a:cubicBezTo>
                <a:cubicBezTo>
                  <a:pt x="208" y="1117"/>
                  <a:pt x="208" y="1117"/>
                  <a:pt x="208" y="1176"/>
                </a:cubicBezTo>
                <a:cubicBezTo>
                  <a:pt x="208" y="1176"/>
                  <a:pt x="208" y="1176"/>
                  <a:pt x="220" y="1176"/>
                </a:cubicBezTo>
                <a:cubicBezTo>
                  <a:pt x="220" y="1176"/>
                  <a:pt x="220" y="1176"/>
                  <a:pt x="220" y="1103"/>
                </a:cubicBezTo>
                <a:close/>
                <a:moveTo>
                  <a:pt x="266" y="1103"/>
                </a:moveTo>
                <a:cubicBezTo>
                  <a:pt x="266" y="1103"/>
                  <a:pt x="266" y="1103"/>
                  <a:pt x="266" y="1103"/>
                </a:cubicBezTo>
                <a:cubicBezTo>
                  <a:pt x="262" y="1103"/>
                  <a:pt x="262" y="1103"/>
                  <a:pt x="262" y="1103"/>
                </a:cubicBezTo>
                <a:cubicBezTo>
                  <a:pt x="260" y="1104"/>
                  <a:pt x="258" y="1106"/>
                  <a:pt x="256" y="1107"/>
                </a:cubicBezTo>
                <a:cubicBezTo>
                  <a:pt x="255" y="1108"/>
                  <a:pt x="253" y="1109"/>
                  <a:pt x="251" y="1109"/>
                </a:cubicBezTo>
                <a:cubicBezTo>
                  <a:pt x="249" y="1111"/>
                  <a:pt x="248" y="1112"/>
                  <a:pt x="245" y="1112"/>
                </a:cubicBezTo>
                <a:cubicBezTo>
                  <a:pt x="244" y="1113"/>
                  <a:pt x="242" y="1114"/>
                  <a:pt x="240" y="1114"/>
                </a:cubicBezTo>
                <a:cubicBezTo>
                  <a:pt x="240" y="1114"/>
                  <a:pt x="240" y="1114"/>
                  <a:pt x="240" y="1124"/>
                </a:cubicBezTo>
                <a:cubicBezTo>
                  <a:pt x="243" y="1123"/>
                  <a:pt x="246" y="1123"/>
                  <a:pt x="248" y="1121"/>
                </a:cubicBezTo>
                <a:cubicBezTo>
                  <a:pt x="250" y="1120"/>
                  <a:pt x="253" y="1119"/>
                  <a:pt x="255" y="1117"/>
                </a:cubicBezTo>
                <a:cubicBezTo>
                  <a:pt x="255" y="1117"/>
                  <a:pt x="255" y="1117"/>
                  <a:pt x="255" y="1176"/>
                </a:cubicBezTo>
                <a:cubicBezTo>
                  <a:pt x="255" y="1176"/>
                  <a:pt x="255" y="1176"/>
                  <a:pt x="266" y="1176"/>
                </a:cubicBezTo>
                <a:cubicBezTo>
                  <a:pt x="266" y="1176"/>
                  <a:pt x="266" y="1176"/>
                  <a:pt x="266" y="1103"/>
                </a:cubicBezTo>
                <a:close/>
                <a:moveTo>
                  <a:pt x="314" y="1103"/>
                </a:moveTo>
                <a:cubicBezTo>
                  <a:pt x="314" y="1103"/>
                  <a:pt x="314" y="1103"/>
                  <a:pt x="314" y="1103"/>
                </a:cubicBezTo>
                <a:cubicBezTo>
                  <a:pt x="309" y="1103"/>
                  <a:pt x="309" y="1103"/>
                  <a:pt x="309" y="1103"/>
                </a:cubicBezTo>
                <a:cubicBezTo>
                  <a:pt x="307" y="1104"/>
                  <a:pt x="305" y="1106"/>
                  <a:pt x="303" y="1107"/>
                </a:cubicBezTo>
                <a:cubicBezTo>
                  <a:pt x="301" y="1108"/>
                  <a:pt x="300" y="1109"/>
                  <a:pt x="298" y="1109"/>
                </a:cubicBezTo>
                <a:cubicBezTo>
                  <a:pt x="296" y="1111"/>
                  <a:pt x="294" y="1112"/>
                  <a:pt x="293" y="1112"/>
                </a:cubicBezTo>
                <a:cubicBezTo>
                  <a:pt x="291" y="1113"/>
                  <a:pt x="289" y="1114"/>
                  <a:pt x="287" y="1114"/>
                </a:cubicBezTo>
                <a:cubicBezTo>
                  <a:pt x="287" y="1114"/>
                  <a:pt x="287" y="1114"/>
                  <a:pt x="287" y="1124"/>
                </a:cubicBezTo>
                <a:cubicBezTo>
                  <a:pt x="290" y="1123"/>
                  <a:pt x="293" y="1123"/>
                  <a:pt x="295" y="1121"/>
                </a:cubicBezTo>
                <a:cubicBezTo>
                  <a:pt x="298" y="1120"/>
                  <a:pt x="300" y="1119"/>
                  <a:pt x="302" y="1117"/>
                </a:cubicBezTo>
                <a:cubicBezTo>
                  <a:pt x="302" y="1117"/>
                  <a:pt x="302" y="1117"/>
                  <a:pt x="302" y="1176"/>
                </a:cubicBezTo>
                <a:cubicBezTo>
                  <a:pt x="302" y="1176"/>
                  <a:pt x="302" y="1176"/>
                  <a:pt x="314" y="1176"/>
                </a:cubicBezTo>
                <a:cubicBezTo>
                  <a:pt x="314" y="1176"/>
                  <a:pt x="314" y="1176"/>
                  <a:pt x="314" y="1103"/>
                </a:cubicBezTo>
                <a:close/>
                <a:moveTo>
                  <a:pt x="437" y="1103"/>
                </a:moveTo>
                <a:cubicBezTo>
                  <a:pt x="437" y="1103"/>
                  <a:pt x="437" y="1103"/>
                  <a:pt x="437" y="1103"/>
                </a:cubicBezTo>
                <a:cubicBezTo>
                  <a:pt x="432" y="1103"/>
                  <a:pt x="432" y="1103"/>
                  <a:pt x="432" y="1103"/>
                </a:cubicBezTo>
                <a:cubicBezTo>
                  <a:pt x="429" y="1104"/>
                  <a:pt x="428" y="1106"/>
                  <a:pt x="426" y="1107"/>
                </a:cubicBezTo>
                <a:cubicBezTo>
                  <a:pt x="424" y="1108"/>
                  <a:pt x="423" y="1109"/>
                  <a:pt x="421" y="1109"/>
                </a:cubicBezTo>
                <a:cubicBezTo>
                  <a:pt x="419" y="1111"/>
                  <a:pt x="417" y="1112"/>
                  <a:pt x="416" y="1112"/>
                </a:cubicBezTo>
                <a:cubicBezTo>
                  <a:pt x="413" y="1113"/>
                  <a:pt x="412" y="1114"/>
                  <a:pt x="410" y="1114"/>
                </a:cubicBezTo>
                <a:cubicBezTo>
                  <a:pt x="410" y="1114"/>
                  <a:pt x="410" y="1114"/>
                  <a:pt x="410" y="1124"/>
                </a:cubicBezTo>
                <a:cubicBezTo>
                  <a:pt x="413" y="1123"/>
                  <a:pt x="416" y="1123"/>
                  <a:pt x="418" y="1121"/>
                </a:cubicBezTo>
                <a:cubicBezTo>
                  <a:pt x="421" y="1120"/>
                  <a:pt x="423" y="1119"/>
                  <a:pt x="425" y="1117"/>
                </a:cubicBezTo>
                <a:cubicBezTo>
                  <a:pt x="425" y="1117"/>
                  <a:pt x="425" y="1117"/>
                  <a:pt x="425" y="1176"/>
                </a:cubicBezTo>
                <a:cubicBezTo>
                  <a:pt x="425" y="1176"/>
                  <a:pt x="425" y="1176"/>
                  <a:pt x="437" y="1176"/>
                </a:cubicBezTo>
                <a:cubicBezTo>
                  <a:pt x="437" y="1176"/>
                  <a:pt x="437" y="1176"/>
                  <a:pt x="437" y="1103"/>
                </a:cubicBezTo>
                <a:close/>
                <a:moveTo>
                  <a:pt x="484" y="1103"/>
                </a:moveTo>
                <a:cubicBezTo>
                  <a:pt x="484" y="1103"/>
                  <a:pt x="484" y="1103"/>
                  <a:pt x="484" y="1103"/>
                </a:cubicBezTo>
                <a:cubicBezTo>
                  <a:pt x="479" y="1103"/>
                  <a:pt x="479" y="1103"/>
                  <a:pt x="479" y="1103"/>
                </a:cubicBezTo>
                <a:cubicBezTo>
                  <a:pt x="477" y="1104"/>
                  <a:pt x="475" y="1106"/>
                  <a:pt x="473" y="1107"/>
                </a:cubicBezTo>
                <a:cubicBezTo>
                  <a:pt x="472" y="1108"/>
                  <a:pt x="470" y="1109"/>
                  <a:pt x="468" y="1109"/>
                </a:cubicBezTo>
                <a:cubicBezTo>
                  <a:pt x="467" y="1111"/>
                  <a:pt x="465" y="1112"/>
                  <a:pt x="463" y="1112"/>
                </a:cubicBezTo>
                <a:cubicBezTo>
                  <a:pt x="461" y="1113"/>
                  <a:pt x="459" y="1114"/>
                  <a:pt x="457" y="1114"/>
                </a:cubicBezTo>
                <a:cubicBezTo>
                  <a:pt x="457" y="1114"/>
                  <a:pt x="457" y="1114"/>
                  <a:pt x="457" y="1124"/>
                </a:cubicBezTo>
                <a:cubicBezTo>
                  <a:pt x="460" y="1123"/>
                  <a:pt x="463" y="1123"/>
                  <a:pt x="465" y="1121"/>
                </a:cubicBezTo>
                <a:cubicBezTo>
                  <a:pt x="468" y="1120"/>
                  <a:pt x="470" y="1119"/>
                  <a:pt x="473" y="1117"/>
                </a:cubicBezTo>
                <a:cubicBezTo>
                  <a:pt x="473" y="1117"/>
                  <a:pt x="473" y="1117"/>
                  <a:pt x="473" y="1176"/>
                </a:cubicBezTo>
                <a:cubicBezTo>
                  <a:pt x="473" y="1176"/>
                  <a:pt x="473" y="1176"/>
                  <a:pt x="484" y="1176"/>
                </a:cubicBezTo>
                <a:cubicBezTo>
                  <a:pt x="484" y="1176"/>
                  <a:pt x="484" y="1176"/>
                  <a:pt x="484" y="1103"/>
                </a:cubicBezTo>
                <a:close/>
                <a:moveTo>
                  <a:pt x="532" y="1103"/>
                </a:moveTo>
                <a:cubicBezTo>
                  <a:pt x="532" y="1103"/>
                  <a:pt x="532" y="1103"/>
                  <a:pt x="532" y="1103"/>
                </a:cubicBezTo>
                <a:cubicBezTo>
                  <a:pt x="527" y="1103"/>
                  <a:pt x="527" y="1103"/>
                  <a:pt x="527" y="1103"/>
                </a:cubicBezTo>
                <a:cubicBezTo>
                  <a:pt x="525" y="1104"/>
                  <a:pt x="523" y="1106"/>
                  <a:pt x="522" y="1107"/>
                </a:cubicBezTo>
                <a:cubicBezTo>
                  <a:pt x="519" y="1108"/>
                  <a:pt x="518" y="1109"/>
                  <a:pt x="516" y="1109"/>
                </a:cubicBezTo>
                <a:cubicBezTo>
                  <a:pt x="514" y="1111"/>
                  <a:pt x="512" y="1112"/>
                  <a:pt x="511" y="1112"/>
                </a:cubicBezTo>
                <a:cubicBezTo>
                  <a:pt x="508" y="1113"/>
                  <a:pt x="507" y="1114"/>
                  <a:pt x="505" y="1114"/>
                </a:cubicBezTo>
                <a:cubicBezTo>
                  <a:pt x="505" y="1114"/>
                  <a:pt x="505" y="1114"/>
                  <a:pt x="505" y="1124"/>
                </a:cubicBezTo>
                <a:cubicBezTo>
                  <a:pt x="508" y="1123"/>
                  <a:pt x="511" y="1123"/>
                  <a:pt x="514" y="1121"/>
                </a:cubicBezTo>
                <a:cubicBezTo>
                  <a:pt x="516" y="1120"/>
                  <a:pt x="518" y="1119"/>
                  <a:pt x="520" y="1117"/>
                </a:cubicBezTo>
                <a:cubicBezTo>
                  <a:pt x="520" y="1117"/>
                  <a:pt x="520" y="1117"/>
                  <a:pt x="520" y="1176"/>
                </a:cubicBezTo>
                <a:cubicBezTo>
                  <a:pt x="520" y="1176"/>
                  <a:pt x="520" y="1176"/>
                  <a:pt x="532" y="1176"/>
                </a:cubicBezTo>
                <a:cubicBezTo>
                  <a:pt x="532" y="1176"/>
                  <a:pt x="532" y="1176"/>
                  <a:pt x="532" y="1103"/>
                </a:cubicBezTo>
                <a:close/>
                <a:moveTo>
                  <a:pt x="578" y="1103"/>
                </a:moveTo>
                <a:cubicBezTo>
                  <a:pt x="578" y="1103"/>
                  <a:pt x="578" y="1103"/>
                  <a:pt x="578" y="1103"/>
                </a:cubicBezTo>
                <a:cubicBezTo>
                  <a:pt x="574" y="1103"/>
                  <a:pt x="574" y="1103"/>
                  <a:pt x="574" y="1103"/>
                </a:cubicBezTo>
                <a:cubicBezTo>
                  <a:pt x="572" y="1104"/>
                  <a:pt x="570" y="1106"/>
                  <a:pt x="568" y="1107"/>
                </a:cubicBezTo>
                <a:cubicBezTo>
                  <a:pt x="567" y="1108"/>
                  <a:pt x="565" y="1109"/>
                  <a:pt x="563" y="1109"/>
                </a:cubicBezTo>
                <a:cubicBezTo>
                  <a:pt x="561" y="1110"/>
                  <a:pt x="560" y="1111"/>
                  <a:pt x="557" y="1112"/>
                </a:cubicBezTo>
                <a:cubicBezTo>
                  <a:pt x="556" y="1112"/>
                  <a:pt x="554" y="1113"/>
                  <a:pt x="552" y="1114"/>
                </a:cubicBezTo>
                <a:cubicBezTo>
                  <a:pt x="552" y="1114"/>
                  <a:pt x="552" y="1114"/>
                  <a:pt x="552" y="1124"/>
                </a:cubicBezTo>
                <a:cubicBezTo>
                  <a:pt x="555" y="1123"/>
                  <a:pt x="558" y="1122"/>
                  <a:pt x="560" y="1121"/>
                </a:cubicBezTo>
                <a:cubicBezTo>
                  <a:pt x="562" y="1120"/>
                  <a:pt x="565" y="1119"/>
                  <a:pt x="567" y="1117"/>
                </a:cubicBezTo>
                <a:cubicBezTo>
                  <a:pt x="567" y="1117"/>
                  <a:pt x="567" y="1117"/>
                  <a:pt x="567" y="1176"/>
                </a:cubicBezTo>
                <a:cubicBezTo>
                  <a:pt x="567" y="1176"/>
                  <a:pt x="567" y="1176"/>
                  <a:pt x="578" y="1176"/>
                </a:cubicBezTo>
                <a:cubicBezTo>
                  <a:pt x="578" y="1176"/>
                  <a:pt x="578" y="1176"/>
                  <a:pt x="578" y="1103"/>
                </a:cubicBezTo>
                <a:close/>
                <a:moveTo>
                  <a:pt x="335" y="1135"/>
                </a:moveTo>
                <a:cubicBezTo>
                  <a:pt x="335" y="1135"/>
                  <a:pt x="335" y="1135"/>
                  <a:pt x="335" y="1135"/>
                </a:cubicBezTo>
                <a:cubicBezTo>
                  <a:pt x="334" y="1143"/>
                  <a:pt x="334" y="1143"/>
                  <a:pt x="334" y="1143"/>
                </a:cubicBezTo>
                <a:cubicBezTo>
                  <a:pt x="341" y="1144"/>
                  <a:pt x="341" y="1147"/>
                  <a:pt x="341" y="1149"/>
                </a:cubicBezTo>
                <a:cubicBezTo>
                  <a:pt x="341" y="1152"/>
                  <a:pt x="341" y="1154"/>
                  <a:pt x="341" y="1157"/>
                </a:cubicBezTo>
                <a:cubicBezTo>
                  <a:pt x="341" y="1159"/>
                  <a:pt x="340" y="1161"/>
                  <a:pt x="340" y="1164"/>
                </a:cubicBezTo>
                <a:cubicBezTo>
                  <a:pt x="340" y="1173"/>
                  <a:pt x="346" y="1176"/>
                  <a:pt x="355" y="1176"/>
                </a:cubicBezTo>
                <a:cubicBezTo>
                  <a:pt x="355" y="1176"/>
                  <a:pt x="355" y="1176"/>
                  <a:pt x="358" y="1176"/>
                </a:cubicBezTo>
                <a:cubicBezTo>
                  <a:pt x="358" y="1176"/>
                  <a:pt x="358" y="1176"/>
                  <a:pt x="358" y="1167"/>
                </a:cubicBezTo>
                <a:cubicBezTo>
                  <a:pt x="358" y="1167"/>
                  <a:pt x="358" y="1167"/>
                  <a:pt x="357" y="1167"/>
                </a:cubicBezTo>
                <a:cubicBezTo>
                  <a:pt x="353" y="1167"/>
                  <a:pt x="352" y="1165"/>
                  <a:pt x="352" y="1161"/>
                </a:cubicBezTo>
                <a:cubicBezTo>
                  <a:pt x="352" y="1160"/>
                  <a:pt x="352" y="1158"/>
                  <a:pt x="353" y="1157"/>
                </a:cubicBezTo>
                <a:cubicBezTo>
                  <a:pt x="353" y="1155"/>
                  <a:pt x="353" y="1153"/>
                  <a:pt x="353" y="1151"/>
                </a:cubicBezTo>
                <a:cubicBezTo>
                  <a:pt x="353" y="1143"/>
                  <a:pt x="350" y="1140"/>
                  <a:pt x="344" y="1139"/>
                </a:cubicBezTo>
                <a:cubicBezTo>
                  <a:pt x="344" y="1139"/>
                  <a:pt x="344" y="1139"/>
                  <a:pt x="344" y="1139"/>
                </a:cubicBezTo>
                <a:cubicBezTo>
                  <a:pt x="350" y="1138"/>
                  <a:pt x="353" y="1136"/>
                  <a:pt x="353" y="1128"/>
                </a:cubicBezTo>
                <a:cubicBezTo>
                  <a:pt x="353" y="1126"/>
                  <a:pt x="353" y="1124"/>
                  <a:pt x="353" y="1122"/>
                </a:cubicBezTo>
                <a:cubicBezTo>
                  <a:pt x="352" y="1120"/>
                  <a:pt x="352" y="1118"/>
                  <a:pt x="352" y="1117"/>
                </a:cubicBezTo>
                <a:cubicBezTo>
                  <a:pt x="352" y="1114"/>
                  <a:pt x="353" y="1111"/>
                  <a:pt x="357" y="1111"/>
                </a:cubicBezTo>
                <a:cubicBezTo>
                  <a:pt x="357" y="1111"/>
                  <a:pt x="357" y="1111"/>
                  <a:pt x="358" y="1111"/>
                </a:cubicBezTo>
                <a:cubicBezTo>
                  <a:pt x="358" y="1111"/>
                  <a:pt x="358" y="1111"/>
                  <a:pt x="358" y="1102"/>
                </a:cubicBezTo>
                <a:cubicBezTo>
                  <a:pt x="358" y="1102"/>
                  <a:pt x="358" y="1102"/>
                  <a:pt x="355" y="1102"/>
                </a:cubicBezTo>
                <a:cubicBezTo>
                  <a:pt x="346" y="1102"/>
                  <a:pt x="340" y="1106"/>
                  <a:pt x="340" y="1115"/>
                </a:cubicBezTo>
                <a:cubicBezTo>
                  <a:pt x="340" y="1117"/>
                  <a:pt x="341" y="1120"/>
                  <a:pt x="341" y="1122"/>
                </a:cubicBezTo>
                <a:cubicBezTo>
                  <a:pt x="341" y="1124"/>
                  <a:pt x="341" y="1127"/>
                  <a:pt x="341" y="1129"/>
                </a:cubicBezTo>
                <a:cubicBezTo>
                  <a:pt x="341" y="1131"/>
                  <a:pt x="341" y="1135"/>
                  <a:pt x="335" y="1135"/>
                </a:cubicBezTo>
                <a:close/>
                <a:moveTo>
                  <a:pt x="389" y="1143"/>
                </a:moveTo>
                <a:cubicBezTo>
                  <a:pt x="389" y="1143"/>
                  <a:pt x="389" y="1143"/>
                  <a:pt x="389" y="1143"/>
                </a:cubicBezTo>
                <a:cubicBezTo>
                  <a:pt x="389" y="1135"/>
                  <a:pt x="389" y="1135"/>
                  <a:pt x="389" y="1135"/>
                </a:cubicBezTo>
                <a:cubicBezTo>
                  <a:pt x="383" y="1135"/>
                  <a:pt x="382" y="1131"/>
                  <a:pt x="382" y="1129"/>
                </a:cubicBezTo>
                <a:cubicBezTo>
                  <a:pt x="382" y="1127"/>
                  <a:pt x="382" y="1124"/>
                  <a:pt x="383" y="1122"/>
                </a:cubicBezTo>
                <a:cubicBezTo>
                  <a:pt x="383" y="1120"/>
                  <a:pt x="383" y="1117"/>
                  <a:pt x="383" y="1115"/>
                </a:cubicBezTo>
                <a:cubicBezTo>
                  <a:pt x="383" y="1106"/>
                  <a:pt x="378" y="1102"/>
                  <a:pt x="369" y="1102"/>
                </a:cubicBezTo>
                <a:cubicBezTo>
                  <a:pt x="369" y="1102"/>
                  <a:pt x="369" y="1102"/>
                  <a:pt x="365" y="1102"/>
                </a:cubicBezTo>
                <a:cubicBezTo>
                  <a:pt x="365" y="1102"/>
                  <a:pt x="365" y="1102"/>
                  <a:pt x="365" y="1111"/>
                </a:cubicBezTo>
                <a:cubicBezTo>
                  <a:pt x="365" y="1111"/>
                  <a:pt x="365" y="1111"/>
                  <a:pt x="367" y="1111"/>
                </a:cubicBezTo>
                <a:cubicBezTo>
                  <a:pt x="370" y="1111"/>
                  <a:pt x="372" y="1114"/>
                  <a:pt x="372" y="1117"/>
                </a:cubicBezTo>
                <a:cubicBezTo>
                  <a:pt x="372" y="1118"/>
                  <a:pt x="371" y="1120"/>
                  <a:pt x="371" y="1122"/>
                </a:cubicBezTo>
                <a:cubicBezTo>
                  <a:pt x="371" y="1124"/>
                  <a:pt x="371" y="1126"/>
                  <a:pt x="371" y="1128"/>
                </a:cubicBezTo>
                <a:cubicBezTo>
                  <a:pt x="371" y="1136"/>
                  <a:pt x="374" y="1138"/>
                  <a:pt x="380" y="1139"/>
                </a:cubicBezTo>
                <a:cubicBezTo>
                  <a:pt x="380" y="1139"/>
                  <a:pt x="380" y="1139"/>
                  <a:pt x="380" y="1139"/>
                </a:cubicBezTo>
                <a:cubicBezTo>
                  <a:pt x="374" y="1140"/>
                  <a:pt x="371" y="1143"/>
                  <a:pt x="371" y="1151"/>
                </a:cubicBezTo>
                <a:cubicBezTo>
                  <a:pt x="371" y="1153"/>
                  <a:pt x="371" y="1155"/>
                  <a:pt x="371" y="1157"/>
                </a:cubicBezTo>
                <a:cubicBezTo>
                  <a:pt x="371" y="1158"/>
                  <a:pt x="372" y="1160"/>
                  <a:pt x="372" y="1161"/>
                </a:cubicBezTo>
                <a:cubicBezTo>
                  <a:pt x="372" y="1165"/>
                  <a:pt x="371" y="1167"/>
                  <a:pt x="367" y="1167"/>
                </a:cubicBezTo>
                <a:cubicBezTo>
                  <a:pt x="367" y="1167"/>
                  <a:pt x="367" y="1167"/>
                  <a:pt x="365" y="1167"/>
                </a:cubicBezTo>
                <a:cubicBezTo>
                  <a:pt x="365" y="1167"/>
                  <a:pt x="365" y="1167"/>
                  <a:pt x="365" y="1176"/>
                </a:cubicBezTo>
                <a:cubicBezTo>
                  <a:pt x="365" y="1176"/>
                  <a:pt x="365" y="1176"/>
                  <a:pt x="369" y="1176"/>
                </a:cubicBezTo>
                <a:cubicBezTo>
                  <a:pt x="378" y="1176"/>
                  <a:pt x="383" y="1173"/>
                  <a:pt x="383" y="1164"/>
                </a:cubicBezTo>
                <a:cubicBezTo>
                  <a:pt x="383" y="1161"/>
                  <a:pt x="383" y="1159"/>
                  <a:pt x="383" y="1157"/>
                </a:cubicBezTo>
                <a:cubicBezTo>
                  <a:pt x="382" y="1154"/>
                  <a:pt x="382" y="1152"/>
                  <a:pt x="382" y="1149"/>
                </a:cubicBezTo>
                <a:cubicBezTo>
                  <a:pt x="382" y="1147"/>
                  <a:pt x="383" y="1144"/>
                  <a:pt x="389" y="1143"/>
                </a:cubicBezTo>
                <a:close/>
                <a:moveTo>
                  <a:pt x="716" y="1135"/>
                </a:moveTo>
                <a:cubicBezTo>
                  <a:pt x="716" y="1135"/>
                  <a:pt x="716" y="1135"/>
                  <a:pt x="716" y="1135"/>
                </a:cubicBezTo>
                <a:cubicBezTo>
                  <a:pt x="716" y="1143"/>
                  <a:pt x="716" y="1143"/>
                  <a:pt x="716" y="1143"/>
                </a:cubicBezTo>
                <a:cubicBezTo>
                  <a:pt x="722" y="1144"/>
                  <a:pt x="723" y="1147"/>
                  <a:pt x="723" y="1149"/>
                </a:cubicBezTo>
                <a:cubicBezTo>
                  <a:pt x="723" y="1152"/>
                  <a:pt x="723" y="1154"/>
                  <a:pt x="723" y="1157"/>
                </a:cubicBezTo>
                <a:cubicBezTo>
                  <a:pt x="722" y="1159"/>
                  <a:pt x="722" y="1161"/>
                  <a:pt x="722" y="1164"/>
                </a:cubicBezTo>
                <a:cubicBezTo>
                  <a:pt x="722" y="1173"/>
                  <a:pt x="728" y="1176"/>
                  <a:pt x="736" y="1176"/>
                </a:cubicBezTo>
                <a:cubicBezTo>
                  <a:pt x="736" y="1176"/>
                  <a:pt x="736" y="1176"/>
                  <a:pt x="740" y="1176"/>
                </a:cubicBezTo>
                <a:cubicBezTo>
                  <a:pt x="740" y="1176"/>
                  <a:pt x="740" y="1176"/>
                  <a:pt x="740" y="1167"/>
                </a:cubicBezTo>
                <a:cubicBezTo>
                  <a:pt x="740" y="1167"/>
                  <a:pt x="740" y="1167"/>
                  <a:pt x="739" y="1167"/>
                </a:cubicBezTo>
                <a:cubicBezTo>
                  <a:pt x="735" y="1167"/>
                  <a:pt x="734" y="1165"/>
                  <a:pt x="734" y="1161"/>
                </a:cubicBezTo>
                <a:cubicBezTo>
                  <a:pt x="734" y="1160"/>
                  <a:pt x="734" y="1158"/>
                  <a:pt x="734" y="1157"/>
                </a:cubicBezTo>
                <a:cubicBezTo>
                  <a:pt x="734" y="1155"/>
                  <a:pt x="734" y="1153"/>
                  <a:pt x="734" y="1151"/>
                </a:cubicBezTo>
                <a:cubicBezTo>
                  <a:pt x="734" y="1143"/>
                  <a:pt x="732" y="1140"/>
                  <a:pt x="726" y="1139"/>
                </a:cubicBezTo>
                <a:cubicBezTo>
                  <a:pt x="726" y="1139"/>
                  <a:pt x="726" y="1139"/>
                  <a:pt x="726" y="1139"/>
                </a:cubicBezTo>
                <a:cubicBezTo>
                  <a:pt x="732" y="1138"/>
                  <a:pt x="734" y="1136"/>
                  <a:pt x="734" y="1128"/>
                </a:cubicBezTo>
                <a:cubicBezTo>
                  <a:pt x="734" y="1126"/>
                  <a:pt x="734" y="1124"/>
                  <a:pt x="734" y="1122"/>
                </a:cubicBezTo>
                <a:cubicBezTo>
                  <a:pt x="734" y="1120"/>
                  <a:pt x="734" y="1118"/>
                  <a:pt x="734" y="1117"/>
                </a:cubicBezTo>
                <a:cubicBezTo>
                  <a:pt x="734" y="1114"/>
                  <a:pt x="735" y="1111"/>
                  <a:pt x="739" y="1111"/>
                </a:cubicBezTo>
                <a:cubicBezTo>
                  <a:pt x="739" y="1111"/>
                  <a:pt x="739" y="1111"/>
                  <a:pt x="740" y="1111"/>
                </a:cubicBezTo>
                <a:cubicBezTo>
                  <a:pt x="740" y="1111"/>
                  <a:pt x="740" y="1111"/>
                  <a:pt x="740" y="1102"/>
                </a:cubicBezTo>
                <a:cubicBezTo>
                  <a:pt x="740" y="1102"/>
                  <a:pt x="740" y="1102"/>
                  <a:pt x="736" y="1102"/>
                </a:cubicBezTo>
                <a:cubicBezTo>
                  <a:pt x="727" y="1102"/>
                  <a:pt x="722" y="1106"/>
                  <a:pt x="722" y="1115"/>
                </a:cubicBezTo>
                <a:cubicBezTo>
                  <a:pt x="722" y="1117"/>
                  <a:pt x="722" y="1120"/>
                  <a:pt x="722" y="1122"/>
                </a:cubicBezTo>
                <a:cubicBezTo>
                  <a:pt x="723" y="1124"/>
                  <a:pt x="723" y="1127"/>
                  <a:pt x="723" y="1129"/>
                </a:cubicBezTo>
                <a:cubicBezTo>
                  <a:pt x="723" y="1131"/>
                  <a:pt x="722" y="1135"/>
                  <a:pt x="716" y="1135"/>
                </a:cubicBezTo>
                <a:close/>
                <a:moveTo>
                  <a:pt x="771" y="1143"/>
                </a:moveTo>
                <a:cubicBezTo>
                  <a:pt x="771" y="1143"/>
                  <a:pt x="771" y="1143"/>
                  <a:pt x="771" y="1143"/>
                </a:cubicBezTo>
                <a:cubicBezTo>
                  <a:pt x="771" y="1135"/>
                  <a:pt x="771" y="1135"/>
                  <a:pt x="771" y="1135"/>
                </a:cubicBezTo>
                <a:cubicBezTo>
                  <a:pt x="764" y="1135"/>
                  <a:pt x="764" y="1131"/>
                  <a:pt x="764" y="1129"/>
                </a:cubicBezTo>
                <a:cubicBezTo>
                  <a:pt x="764" y="1127"/>
                  <a:pt x="764" y="1124"/>
                  <a:pt x="764" y="1122"/>
                </a:cubicBezTo>
                <a:cubicBezTo>
                  <a:pt x="765" y="1120"/>
                  <a:pt x="765" y="1117"/>
                  <a:pt x="765" y="1115"/>
                </a:cubicBezTo>
                <a:cubicBezTo>
                  <a:pt x="765" y="1106"/>
                  <a:pt x="760" y="1102"/>
                  <a:pt x="750" y="1102"/>
                </a:cubicBezTo>
                <a:cubicBezTo>
                  <a:pt x="750" y="1102"/>
                  <a:pt x="750" y="1102"/>
                  <a:pt x="747" y="1102"/>
                </a:cubicBezTo>
                <a:cubicBezTo>
                  <a:pt x="747" y="1102"/>
                  <a:pt x="747" y="1102"/>
                  <a:pt x="747" y="1111"/>
                </a:cubicBezTo>
                <a:cubicBezTo>
                  <a:pt x="747" y="1111"/>
                  <a:pt x="747" y="1111"/>
                  <a:pt x="748" y="1111"/>
                </a:cubicBezTo>
                <a:cubicBezTo>
                  <a:pt x="752" y="1111"/>
                  <a:pt x="753" y="1114"/>
                  <a:pt x="753" y="1117"/>
                </a:cubicBezTo>
                <a:cubicBezTo>
                  <a:pt x="753" y="1118"/>
                  <a:pt x="753" y="1120"/>
                  <a:pt x="753" y="1122"/>
                </a:cubicBezTo>
                <a:cubicBezTo>
                  <a:pt x="753" y="1124"/>
                  <a:pt x="753" y="1126"/>
                  <a:pt x="753" y="1128"/>
                </a:cubicBezTo>
                <a:cubicBezTo>
                  <a:pt x="753" y="1136"/>
                  <a:pt x="755" y="1138"/>
                  <a:pt x="761" y="1139"/>
                </a:cubicBezTo>
                <a:cubicBezTo>
                  <a:pt x="761" y="1139"/>
                  <a:pt x="761" y="1139"/>
                  <a:pt x="761" y="1139"/>
                </a:cubicBezTo>
                <a:cubicBezTo>
                  <a:pt x="755" y="1140"/>
                  <a:pt x="753" y="1143"/>
                  <a:pt x="753" y="1151"/>
                </a:cubicBezTo>
                <a:cubicBezTo>
                  <a:pt x="753" y="1153"/>
                  <a:pt x="753" y="1155"/>
                  <a:pt x="753" y="1157"/>
                </a:cubicBezTo>
                <a:cubicBezTo>
                  <a:pt x="753" y="1158"/>
                  <a:pt x="753" y="1160"/>
                  <a:pt x="753" y="1161"/>
                </a:cubicBezTo>
                <a:cubicBezTo>
                  <a:pt x="753" y="1165"/>
                  <a:pt x="752" y="1167"/>
                  <a:pt x="748" y="1167"/>
                </a:cubicBezTo>
                <a:cubicBezTo>
                  <a:pt x="748" y="1167"/>
                  <a:pt x="748" y="1167"/>
                  <a:pt x="747" y="1167"/>
                </a:cubicBezTo>
                <a:cubicBezTo>
                  <a:pt x="747" y="1167"/>
                  <a:pt x="747" y="1167"/>
                  <a:pt x="747" y="1176"/>
                </a:cubicBezTo>
                <a:cubicBezTo>
                  <a:pt x="747" y="1176"/>
                  <a:pt x="747" y="1176"/>
                  <a:pt x="750" y="1176"/>
                </a:cubicBezTo>
                <a:cubicBezTo>
                  <a:pt x="759" y="1176"/>
                  <a:pt x="765" y="1173"/>
                  <a:pt x="765" y="1164"/>
                </a:cubicBezTo>
                <a:cubicBezTo>
                  <a:pt x="765" y="1161"/>
                  <a:pt x="765" y="1159"/>
                  <a:pt x="764" y="1157"/>
                </a:cubicBezTo>
                <a:cubicBezTo>
                  <a:pt x="764" y="1154"/>
                  <a:pt x="764" y="1152"/>
                  <a:pt x="764" y="1149"/>
                </a:cubicBezTo>
                <a:cubicBezTo>
                  <a:pt x="764" y="1147"/>
                  <a:pt x="764" y="1144"/>
                  <a:pt x="771" y="1143"/>
                </a:cubicBezTo>
                <a:close/>
                <a:moveTo>
                  <a:pt x="818" y="1103"/>
                </a:moveTo>
                <a:cubicBezTo>
                  <a:pt x="818" y="1103"/>
                  <a:pt x="818" y="1103"/>
                  <a:pt x="818" y="1103"/>
                </a:cubicBezTo>
                <a:cubicBezTo>
                  <a:pt x="813" y="1103"/>
                  <a:pt x="813" y="1103"/>
                  <a:pt x="813" y="1103"/>
                </a:cubicBezTo>
                <a:cubicBezTo>
                  <a:pt x="811" y="1104"/>
                  <a:pt x="810" y="1106"/>
                  <a:pt x="807" y="1107"/>
                </a:cubicBezTo>
                <a:cubicBezTo>
                  <a:pt x="806" y="1108"/>
                  <a:pt x="804" y="1109"/>
                  <a:pt x="802" y="1109"/>
                </a:cubicBezTo>
                <a:cubicBezTo>
                  <a:pt x="800" y="1110"/>
                  <a:pt x="799" y="1111"/>
                  <a:pt x="797" y="1112"/>
                </a:cubicBezTo>
                <a:cubicBezTo>
                  <a:pt x="795" y="1112"/>
                  <a:pt x="794" y="1113"/>
                  <a:pt x="791" y="1114"/>
                </a:cubicBezTo>
                <a:cubicBezTo>
                  <a:pt x="791" y="1114"/>
                  <a:pt x="791" y="1114"/>
                  <a:pt x="791" y="1124"/>
                </a:cubicBezTo>
                <a:cubicBezTo>
                  <a:pt x="794" y="1123"/>
                  <a:pt x="797" y="1122"/>
                  <a:pt x="799" y="1121"/>
                </a:cubicBezTo>
                <a:cubicBezTo>
                  <a:pt x="802" y="1120"/>
                  <a:pt x="804" y="1119"/>
                  <a:pt x="807" y="1117"/>
                </a:cubicBezTo>
                <a:cubicBezTo>
                  <a:pt x="807" y="1117"/>
                  <a:pt x="807" y="1117"/>
                  <a:pt x="807" y="1176"/>
                </a:cubicBezTo>
                <a:cubicBezTo>
                  <a:pt x="807" y="1176"/>
                  <a:pt x="807" y="1176"/>
                  <a:pt x="818" y="1176"/>
                </a:cubicBezTo>
                <a:cubicBezTo>
                  <a:pt x="818" y="1176"/>
                  <a:pt x="818" y="1176"/>
                  <a:pt x="818" y="1103"/>
                </a:cubicBezTo>
                <a:close/>
                <a:moveTo>
                  <a:pt x="865" y="1103"/>
                </a:moveTo>
                <a:cubicBezTo>
                  <a:pt x="865" y="1103"/>
                  <a:pt x="865" y="1103"/>
                  <a:pt x="865" y="1103"/>
                </a:cubicBezTo>
                <a:cubicBezTo>
                  <a:pt x="860" y="1103"/>
                  <a:pt x="860" y="1103"/>
                  <a:pt x="860" y="1103"/>
                </a:cubicBezTo>
                <a:cubicBezTo>
                  <a:pt x="858" y="1104"/>
                  <a:pt x="857" y="1106"/>
                  <a:pt x="855" y="1107"/>
                </a:cubicBezTo>
                <a:cubicBezTo>
                  <a:pt x="853" y="1108"/>
                  <a:pt x="851" y="1109"/>
                  <a:pt x="850" y="1109"/>
                </a:cubicBezTo>
                <a:cubicBezTo>
                  <a:pt x="848" y="1111"/>
                  <a:pt x="846" y="1112"/>
                  <a:pt x="845" y="1112"/>
                </a:cubicBezTo>
                <a:cubicBezTo>
                  <a:pt x="842" y="1113"/>
                  <a:pt x="841" y="1114"/>
                  <a:pt x="839" y="1114"/>
                </a:cubicBezTo>
                <a:cubicBezTo>
                  <a:pt x="839" y="1114"/>
                  <a:pt x="839" y="1114"/>
                  <a:pt x="839" y="1124"/>
                </a:cubicBezTo>
                <a:cubicBezTo>
                  <a:pt x="842" y="1123"/>
                  <a:pt x="845" y="1123"/>
                  <a:pt x="847" y="1121"/>
                </a:cubicBezTo>
                <a:cubicBezTo>
                  <a:pt x="850" y="1120"/>
                  <a:pt x="852" y="1119"/>
                  <a:pt x="854" y="1117"/>
                </a:cubicBezTo>
                <a:cubicBezTo>
                  <a:pt x="854" y="1117"/>
                  <a:pt x="854" y="1117"/>
                  <a:pt x="854" y="1176"/>
                </a:cubicBezTo>
                <a:cubicBezTo>
                  <a:pt x="854" y="1176"/>
                  <a:pt x="854" y="1176"/>
                  <a:pt x="865" y="1176"/>
                </a:cubicBezTo>
                <a:cubicBezTo>
                  <a:pt x="865" y="1176"/>
                  <a:pt x="865" y="1176"/>
                  <a:pt x="865" y="1103"/>
                </a:cubicBezTo>
                <a:close/>
                <a:moveTo>
                  <a:pt x="912" y="1103"/>
                </a:moveTo>
                <a:cubicBezTo>
                  <a:pt x="912" y="1103"/>
                  <a:pt x="912" y="1103"/>
                  <a:pt x="912" y="1103"/>
                </a:cubicBezTo>
                <a:cubicBezTo>
                  <a:pt x="908" y="1103"/>
                  <a:pt x="908" y="1103"/>
                  <a:pt x="908" y="1103"/>
                </a:cubicBezTo>
                <a:cubicBezTo>
                  <a:pt x="905" y="1104"/>
                  <a:pt x="904" y="1106"/>
                  <a:pt x="902" y="1107"/>
                </a:cubicBezTo>
                <a:cubicBezTo>
                  <a:pt x="900" y="1108"/>
                  <a:pt x="898" y="1109"/>
                  <a:pt x="897" y="1109"/>
                </a:cubicBezTo>
                <a:cubicBezTo>
                  <a:pt x="895" y="1111"/>
                  <a:pt x="893" y="1112"/>
                  <a:pt x="891" y="1112"/>
                </a:cubicBezTo>
                <a:cubicBezTo>
                  <a:pt x="890" y="1113"/>
                  <a:pt x="887" y="1114"/>
                  <a:pt x="886" y="1114"/>
                </a:cubicBezTo>
                <a:cubicBezTo>
                  <a:pt x="886" y="1114"/>
                  <a:pt x="886" y="1114"/>
                  <a:pt x="886" y="1124"/>
                </a:cubicBezTo>
                <a:cubicBezTo>
                  <a:pt x="889" y="1123"/>
                  <a:pt x="892" y="1123"/>
                  <a:pt x="894" y="1121"/>
                </a:cubicBezTo>
                <a:cubicBezTo>
                  <a:pt x="896" y="1120"/>
                  <a:pt x="899" y="1119"/>
                  <a:pt x="900" y="1117"/>
                </a:cubicBezTo>
                <a:cubicBezTo>
                  <a:pt x="900" y="1117"/>
                  <a:pt x="900" y="1117"/>
                  <a:pt x="900" y="1176"/>
                </a:cubicBezTo>
                <a:cubicBezTo>
                  <a:pt x="900" y="1176"/>
                  <a:pt x="900" y="1176"/>
                  <a:pt x="912" y="1176"/>
                </a:cubicBezTo>
                <a:cubicBezTo>
                  <a:pt x="912" y="1176"/>
                  <a:pt x="912" y="1176"/>
                  <a:pt x="912" y="1103"/>
                </a:cubicBezTo>
                <a:close/>
                <a:moveTo>
                  <a:pt x="1035" y="1103"/>
                </a:moveTo>
                <a:cubicBezTo>
                  <a:pt x="1035" y="1103"/>
                  <a:pt x="1035" y="1103"/>
                  <a:pt x="1035" y="1103"/>
                </a:cubicBezTo>
                <a:cubicBezTo>
                  <a:pt x="1030" y="1103"/>
                  <a:pt x="1030" y="1103"/>
                  <a:pt x="1030" y="1103"/>
                </a:cubicBezTo>
                <a:cubicBezTo>
                  <a:pt x="1027" y="1104"/>
                  <a:pt x="1026" y="1106"/>
                  <a:pt x="1024" y="1107"/>
                </a:cubicBezTo>
                <a:cubicBezTo>
                  <a:pt x="1022" y="1108"/>
                  <a:pt x="1021" y="1109"/>
                  <a:pt x="1019" y="1109"/>
                </a:cubicBezTo>
                <a:cubicBezTo>
                  <a:pt x="1017" y="1111"/>
                  <a:pt x="1015" y="1112"/>
                  <a:pt x="1014" y="1112"/>
                </a:cubicBezTo>
                <a:cubicBezTo>
                  <a:pt x="1011" y="1113"/>
                  <a:pt x="1010" y="1114"/>
                  <a:pt x="1008" y="1114"/>
                </a:cubicBezTo>
                <a:cubicBezTo>
                  <a:pt x="1008" y="1114"/>
                  <a:pt x="1008" y="1114"/>
                  <a:pt x="1008" y="1124"/>
                </a:cubicBezTo>
                <a:cubicBezTo>
                  <a:pt x="1011" y="1123"/>
                  <a:pt x="1014" y="1123"/>
                  <a:pt x="1017" y="1121"/>
                </a:cubicBezTo>
                <a:cubicBezTo>
                  <a:pt x="1019" y="1120"/>
                  <a:pt x="1021" y="1119"/>
                  <a:pt x="1023" y="1117"/>
                </a:cubicBezTo>
                <a:cubicBezTo>
                  <a:pt x="1023" y="1117"/>
                  <a:pt x="1023" y="1117"/>
                  <a:pt x="1023" y="1176"/>
                </a:cubicBezTo>
                <a:cubicBezTo>
                  <a:pt x="1023" y="1176"/>
                  <a:pt x="1023" y="1176"/>
                  <a:pt x="1035" y="1176"/>
                </a:cubicBezTo>
                <a:cubicBezTo>
                  <a:pt x="1035" y="1176"/>
                  <a:pt x="1035" y="1176"/>
                  <a:pt x="1035" y="1103"/>
                </a:cubicBezTo>
                <a:close/>
                <a:moveTo>
                  <a:pt x="1082" y="1103"/>
                </a:moveTo>
                <a:cubicBezTo>
                  <a:pt x="1082" y="1103"/>
                  <a:pt x="1082" y="1103"/>
                  <a:pt x="1082" y="1103"/>
                </a:cubicBezTo>
                <a:cubicBezTo>
                  <a:pt x="1077" y="1103"/>
                  <a:pt x="1077" y="1103"/>
                  <a:pt x="1077" y="1103"/>
                </a:cubicBezTo>
                <a:cubicBezTo>
                  <a:pt x="1075" y="1104"/>
                  <a:pt x="1074" y="1106"/>
                  <a:pt x="1071" y="1107"/>
                </a:cubicBezTo>
                <a:cubicBezTo>
                  <a:pt x="1070" y="1108"/>
                  <a:pt x="1068" y="1109"/>
                  <a:pt x="1066" y="1109"/>
                </a:cubicBezTo>
                <a:cubicBezTo>
                  <a:pt x="1065" y="1111"/>
                  <a:pt x="1063" y="1112"/>
                  <a:pt x="1061" y="1112"/>
                </a:cubicBezTo>
                <a:cubicBezTo>
                  <a:pt x="1059" y="1113"/>
                  <a:pt x="1058" y="1114"/>
                  <a:pt x="1055" y="1114"/>
                </a:cubicBezTo>
                <a:cubicBezTo>
                  <a:pt x="1055" y="1114"/>
                  <a:pt x="1055" y="1114"/>
                  <a:pt x="1055" y="1124"/>
                </a:cubicBezTo>
                <a:cubicBezTo>
                  <a:pt x="1058" y="1123"/>
                  <a:pt x="1061" y="1123"/>
                  <a:pt x="1063" y="1121"/>
                </a:cubicBezTo>
                <a:cubicBezTo>
                  <a:pt x="1066" y="1120"/>
                  <a:pt x="1068" y="1119"/>
                  <a:pt x="1071" y="1117"/>
                </a:cubicBezTo>
                <a:cubicBezTo>
                  <a:pt x="1071" y="1117"/>
                  <a:pt x="1071" y="1117"/>
                  <a:pt x="1071" y="1176"/>
                </a:cubicBezTo>
                <a:cubicBezTo>
                  <a:pt x="1071" y="1176"/>
                  <a:pt x="1071" y="1176"/>
                  <a:pt x="1082" y="1176"/>
                </a:cubicBezTo>
                <a:cubicBezTo>
                  <a:pt x="1082" y="1176"/>
                  <a:pt x="1082" y="1176"/>
                  <a:pt x="1082" y="1103"/>
                </a:cubicBezTo>
                <a:close/>
                <a:moveTo>
                  <a:pt x="1129" y="1103"/>
                </a:moveTo>
                <a:cubicBezTo>
                  <a:pt x="1129" y="1103"/>
                  <a:pt x="1129" y="1103"/>
                  <a:pt x="1129" y="1103"/>
                </a:cubicBezTo>
                <a:cubicBezTo>
                  <a:pt x="1124" y="1103"/>
                  <a:pt x="1124" y="1103"/>
                  <a:pt x="1124" y="1103"/>
                </a:cubicBezTo>
                <a:cubicBezTo>
                  <a:pt x="1122" y="1104"/>
                  <a:pt x="1121" y="1106"/>
                  <a:pt x="1119" y="1107"/>
                </a:cubicBezTo>
                <a:cubicBezTo>
                  <a:pt x="1117" y="1108"/>
                  <a:pt x="1115" y="1109"/>
                  <a:pt x="1114" y="1109"/>
                </a:cubicBezTo>
                <a:cubicBezTo>
                  <a:pt x="1112" y="1110"/>
                  <a:pt x="1110" y="1111"/>
                  <a:pt x="1108" y="1112"/>
                </a:cubicBezTo>
                <a:cubicBezTo>
                  <a:pt x="1106" y="1112"/>
                  <a:pt x="1104" y="1113"/>
                  <a:pt x="1103" y="1114"/>
                </a:cubicBezTo>
                <a:cubicBezTo>
                  <a:pt x="1103" y="1114"/>
                  <a:pt x="1103" y="1114"/>
                  <a:pt x="1103" y="1124"/>
                </a:cubicBezTo>
                <a:cubicBezTo>
                  <a:pt x="1106" y="1123"/>
                  <a:pt x="1109" y="1122"/>
                  <a:pt x="1111" y="1121"/>
                </a:cubicBezTo>
                <a:cubicBezTo>
                  <a:pt x="1113" y="1120"/>
                  <a:pt x="1116" y="1119"/>
                  <a:pt x="1117" y="1117"/>
                </a:cubicBezTo>
                <a:cubicBezTo>
                  <a:pt x="1117" y="1117"/>
                  <a:pt x="1117" y="1117"/>
                  <a:pt x="1117" y="1176"/>
                </a:cubicBezTo>
                <a:cubicBezTo>
                  <a:pt x="1117" y="1176"/>
                  <a:pt x="1117" y="1176"/>
                  <a:pt x="1129" y="1176"/>
                </a:cubicBezTo>
                <a:cubicBezTo>
                  <a:pt x="1129" y="1176"/>
                  <a:pt x="1129" y="1176"/>
                  <a:pt x="1129" y="1103"/>
                </a:cubicBezTo>
                <a:close/>
                <a:moveTo>
                  <a:pt x="1174" y="1176"/>
                </a:moveTo>
                <a:cubicBezTo>
                  <a:pt x="1166" y="1176"/>
                  <a:pt x="1160" y="1173"/>
                  <a:pt x="1155" y="1168"/>
                </a:cubicBezTo>
                <a:cubicBezTo>
                  <a:pt x="1152" y="1161"/>
                  <a:pt x="1149" y="1152"/>
                  <a:pt x="1149" y="1140"/>
                </a:cubicBezTo>
                <a:cubicBezTo>
                  <a:pt x="1149" y="1127"/>
                  <a:pt x="1152" y="1117"/>
                  <a:pt x="1156" y="1111"/>
                </a:cubicBezTo>
                <a:cubicBezTo>
                  <a:pt x="1160" y="1104"/>
                  <a:pt x="1167" y="1101"/>
                  <a:pt x="1176" y="1101"/>
                </a:cubicBezTo>
                <a:cubicBezTo>
                  <a:pt x="1192" y="1101"/>
                  <a:pt x="1200" y="1113"/>
                  <a:pt x="1200" y="1138"/>
                </a:cubicBezTo>
                <a:cubicBezTo>
                  <a:pt x="1200" y="1151"/>
                  <a:pt x="1198" y="1160"/>
                  <a:pt x="1193" y="1167"/>
                </a:cubicBezTo>
                <a:cubicBezTo>
                  <a:pt x="1188" y="1173"/>
                  <a:pt x="1182" y="1176"/>
                  <a:pt x="1174" y="1176"/>
                </a:cubicBezTo>
                <a:close/>
                <a:moveTo>
                  <a:pt x="1175" y="1110"/>
                </a:moveTo>
                <a:cubicBezTo>
                  <a:pt x="1166" y="1110"/>
                  <a:pt x="1161" y="1120"/>
                  <a:pt x="1161" y="1140"/>
                </a:cubicBezTo>
                <a:cubicBezTo>
                  <a:pt x="1161" y="1158"/>
                  <a:pt x="1166" y="1167"/>
                  <a:pt x="1174" y="1167"/>
                </a:cubicBezTo>
                <a:cubicBezTo>
                  <a:pt x="1183" y="1167"/>
                  <a:pt x="1187" y="1158"/>
                  <a:pt x="1187" y="1139"/>
                </a:cubicBezTo>
                <a:cubicBezTo>
                  <a:pt x="1187" y="1119"/>
                  <a:pt x="1183" y="1110"/>
                  <a:pt x="1175" y="1110"/>
                </a:cubicBezTo>
                <a:close/>
                <a:moveTo>
                  <a:pt x="1245" y="1176"/>
                </a:moveTo>
                <a:cubicBezTo>
                  <a:pt x="1237" y="1176"/>
                  <a:pt x="1231" y="1173"/>
                  <a:pt x="1227" y="1168"/>
                </a:cubicBezTo>
                <a:cubicBezTo>
                  <a:pt x="1223" y="1161"/>
                  <a:pt x="1220" y="1152"/>
                  <a:pt x="1220" y="1140"/>
                </a:cubicBezTo>
                <a:cubicBezTo>
                  <a:pt x="1220" y="1127"/>
                  <a:pt x="1223" y="1117"/>
                  <a:pt x="1227" y="1111"/>
                </a:cubicBezTo>
                <a:cubicBezTo>
                  <a:pt x="1231" y="1104"/>
                  <a:pt x="1238" y="1101"/>
                  <a:pt x="1247" y="1101"/>
                </a:cubicBezTo>
                <a:cubicBezTo>
                  <a:pt x="1263" y="1101"/>
                  <a:pt x="1271" y="1113"/>
                  <a:pt x="1271" y="1138"/>
                </a:cubicBezTo>
                <a:cubicBezTo>
                  <a:pt x="1271" y="1151"/>
                  <a:pt x="1269" y="1160"/>
                  <a:pt x="1264" y="1167"/>
                </a:cubicBezTo>
                <a:cubicBezTo>
                  <a:pt x="1259" y="1173"/>
                  <a:pt x="1253" y="1176"/>
                  <a:pt x="1245" y="1176"/>
                </a:cubicBezTo>
                <a:close/>
                <a:moveTo>
                  <a:pt x="1246" y="1110"/>
                </a:moveTo>
                <a:cubicBezTo>
                  <a:pt x="1237" y="1110"/>
                  <a:pt x="1232" y="1120"/>
                  <a:pt x="1232" y="1140"/>
                </a:cubicBezTo>
                <a:cubicBezTo>
                  <a:pt x="1232" y="1158"/>
                  <a:pt x="1237" y="1167"/>
                  <a:pt x="1245" y="1167"/>
                </a:cubicBezTo>
                <a:cubicBezTo>
                  <a:pt x="1254" y="1167"/>
                  <a:pt x="1258" y="1158"/>
                  <a:pt x="1258" y="1139"/>
                </a:cubicBezTo>
                <a:cubicBezTo>
                  <a:pt x="1258" y="1119"/>
                  <a:pt x="1254" y="1110"/>
                  <a:pt x="1246" y="1110"/>
                </a:cubicBezTo>
                <a:close/>
                <a:moveTo>
                  <a:pt x="933" y="1135"/>
                </a:moveTo>
                <a:cubicBezTo>
                  <a:pt x="933" y="1135"/>
                  <a:pt x="933" y="1135"/>
                  <a:pt x="933" y="1135"/>
                </a:cubicBezTo>
                <a:cubicBezTo>
                  <a:pt x="932" y="1143"/>
                  <a:pt x="932" y="1143"/>
                  <a:pt x="932" y="1143"/>
                </a:cubicBezTo>
                <a:cubicBezTo>
                  <a:pt x="939" y="1144"/>
                  <a:pt x="940" y="1147"/>
                  <a:pt x="940" y="1149"/>
                </a:cubicBezTo>
                <a:cubicBezTo>
                  <a:pt x="940" y="1152"/>
                  <a:pt x="939" y="1154"/>
                  <a:pt x="939" y="1157"/>
                </a:cubicBezTo>
                <a:cubicBezTo>
                  <a:pt x="939" y="1159"/>
                  <a:pt x="938" y="1161"/>
                  <a:pt x="938" y="1164"/>
                </a:cubicBezTo>
                <a:cubicBezTo>
                  <a:pt x="938" y="1173"/>
                  <a:pt x="944" y="1176"/>
                  <a:pt x="953" y="1176"/>
                </a:cubicBezTo>
                <a:cubicBezTo>
                  <a:pt x="953" y="1176"/>
                  <a:pt x="953" y="1176"/>
                  <a:pt x="956" y="1176"/>
                </a:cubicBezTo>
                <a:cubicBezTo>
                  <a:pt x="956" y="1176"/>
                  <a:pt x="956" y="1176"/>
                  <a:pt x="956" y="1167"/>
                </a:cubicBezTo>
                <a:cubicBezTo>
                  <a:pt x="956" y="1167"/>
                  <a:pt x="956" y="1167"/>
                  <a:pt x="955" y="1167"/>
                </a:cubicBezTo>
                <a:cubicBezTo>
                  <a:pt x="951" y="1167"/>
                  <a:pt x="950" y="1165"/>
                  <a:pt x="950" y="1161"/>
                </a:cubicBezTo>
                <a:cubicBezTo>
                  <a:pt x="950" y="1160"/>
                  <a:pt x="950" y="1158"/>
                  <a:pt x="951" y="1157"/>
                </a:cubicBezTo>
                <a:cubicBezTo>
                  <a:pt x="951" y="1155"/>
                  <a:pt x="951" y="1153"/>
                  <a:pt x="951" y="1151"/>
                </a:cubicBezTo>
                <a:cubicBezTo>
                  <a:pt x="951" y="1143"/>
                  <a:pt x="948" y="1140"/>
                  <a:pt x="942" y="1139"/>
                </a:cubicBezTo>
                <a:cubicBezTo>
                  <a:pt x="942" y="1139"/>
                  <a:pt x="942" y="1139"/>
                  <a:pt x="942" y="1139"/>
                </a:cubicBezTo>
                <a:cubicBezTo>
                  <a:pt x="948" y="1138"/>
                  <a:pt x="951" y="1136"/>
                  <a:pt x="951" y="1128"/>
                </a:cubicBezTo>
                <a:cubicBezTo>
                  <a:pt x="951" y="1126"/>
                  <a:pt x="951" y="1124"/>
                  <a:pt x="951" y="1122"/>
                </a:cubicBezTo>
                <a:cubicBezTo>
                  <a:pt x="950" y="1120"/>
                  <a:pt x="950" y="1118"/>
                  <a:pt x="950" y="1117"/>
                </a:cubicBezTo>
                <a:cubicBezTo>
                  <a:pt x="950" y="1114"/>
                  <a:pt x="951" y="1111"/>
                  <a:pt x="955" y="1111"/>
                </a:cubicBezTo>
                <a:cubicBezTo>
                  <a:pt x="955" y="1111"/>
                  <a:pt x="955" y="1111"/>
                  <a:pt x="956" y="1111"/>
                </a:cubicBezTo>
                <a:cubicBezTo>
                  <a:pt x="956" y="1111"/>
                  <a:pt x="956" y="1111"/>
                  <a:pt x="956" y="1102"/>
                </a:cubicBezTo>
                <a:cubicBezTo>
                  <a:pt x="956" y="1102"/>
                  <a:pt x="956" y="1102"/>
                  <a:pt x="953" y="1102"/>
                </a:cubicBezTo>
                <a:cubicBezTo>
                  <a:pt x="944" y="1102"/>
                  <a:pt x="938" y="1106"/>
                  <a:pt x="938" y="1115"/>
                </a:cubicBezTo>
                <a:cubicBezTo>
                  <a:pt x="938" y="1117"/>
                  <a:pt x="939" y="1120"/>
                  <a:pt x="939" y="1122"/>
                </a:cubicBezTo>
                <a:cubicBezTo>
                  <a:pt x="939" y="1124"/>
                  <a:pt x="940" y="1127"/>
                  <a:pt x="940" y="1129"/>
                </a:cubicBezTo>
                <a:cubicBezTo>
                  <a:pt x="940" y="1131"/>
                  <a:pt x="939" y="1135"/>
                  <a:pt x="933" y="1135"/>
                </a:cubicBezTo>
                <a:close/>
                <a:moveTo>
                  <a:pt x="987" y="1143"/>
                </a:moveTo>
                <a:cubicBezTo>
                  <a:pt x="987" y="1143"/>
                  <a:pt x="987" y="1143"/>
                  <a:pt x="987" y="1143"/>
                </a:cubicBezTo>
                <a:cubicBezTo>
                  <a:pt x="987" y="1135"/>
                  <a:pt x="987" y="1135"/>
                  <a:pt x="987" y="1135"/>
                </a:cubicBezTo>
                <a:cubicBezTo>
                  <a:pt x="981" y="1135"/>
                  <a:pt x="981" y="1131"/>
                  <a:pt x="981" y="1129"/>
                </a:cubicBezTo>
                <a:cubicBezTo>
                  <a:pt x="981" y="1127"/>
                  <a:pt x="981" y="1124"/>
                  <a:pt x="981" y="1122"/>
                </a:cubicBezTo>
                <a:cubicBezTo>
                  <a:pt x="981" y="1120"/>
                  <a:pt x="981" y="1117"/>
                  <a:pt x="981" y="1115"/>
                </a:cubicBezTo>
                <a:cubicBezTo>
                  <a:pt x="981" y="1106"/>
                  <a:pt x="976" y="1102"/>
                  <a:pt x="967" y="1102"/>
                </a:cubicBezTo>
                <a:cubicBezTo>
                  <a:pt x="967" y="1102"/>
                  <a:pt x="967" y="1102"/>
                  <a:pt x="963" y="1102"/>
                </a:cubicBezTo>
                <a:cubicBezTo>
                  <a:pt x="963" y="1102"/>
                  <a:pt x="963" y="1102"/>
                  <a:pt x="963" y="1111"/>
                </a:cubicBezTo>
                <a:cubicBezTo>
                  <a:pt x="963" y="1111"/>
                  <a:pt x="963" y="1111"/>
                  <a:pt x="965" y="1111"/>
                </a:cubicBezTo>
                <a:cubicBezTo>
                  <a:pt x="968" y="1111"/>
                  <a:pt x="970" y="1114"/>
                  <a:pt x="970" y="1117"/>
                </a:cubicBezTo>
                <a:cubicBezTo>
                  <a:pt x="970" y="1118"/>
                  <a:pt x="969" y="1120"/>
                  <a:pt x="969" y="1122"/>
                </a:cubicBezTo>
                <a:cubicBezTo>
                  <a:pt x="969" y="1124"/>
                  <a:pt x="969" y="1126"/>
                  <a:pt x="969" y="1128"/>
                </a:cubicBezTo>
                <a:cubicBezTo>
                  <a:pt x="969" y="1136"/>
                  <a:pt x="972" y="1138"/>
                  <a:pt x="978" y="1139"/>
                </a:cubicBezTo>
                <a:cubicBezTo>
                  <a:pt x="978" y="1139"/>
                  <a:pt x="978" y="1139"/>
                  <a:pt x="978" y="1139"/>
                </a:cubicBezTo>
                <a:cubicBezTo>
                  <a:pt x="972" y="1140"/>
                  <a:pt x="969" y="1143"/>
                  <a:pt x="969" y="1151"/>
                </a:cubicBezTo>
                <a:cubicBezTo>
                  <a:pt x="969" y="1153"/>
                  <a:pt x="969" y="1155"/>
                  <a:pt x="969" y="1157"/>
                </a:cubicBezTo>
                <a:cubicBezTo>
                  <a:pt x="969" y="1158"/>
                  <a:pt x="970" y="1160"/>
                  <a:pt x="970" y="1161"/>
                </a:cubicBezTo>
                <a:cubicBezTo>
                  <a:pt x="970" y="1165"/>
                  <a:pt x="969" y="1167"/>
                  <a:pt x="965" y="1167"/>
                </a:cubicBezTo>
                <a:cubicBezTo>
                  <a:pt x="965" y="1167"/>
                  <a:pt x="965" y="1167"/>
                  <a:pt x="963" y="1167"/>
                </a:cubicBezTo>
                <a:cubicBezTo>
                  <a:pt x="963" y="1167"/>
                  <a:pt x="963" y="1167"/>
                  <a:pt x="963" y="1176"/>
                </a:cubicBezTo>
                <a:cubicBezTo>
                  <a:pt x="963" y="1176"/>
                  <a:pt x="963" y="1176"/>
                  <a:pt x="967" y="1176"/>
                </a:cubicBezTo>
                <a:cubicBezTo>
                  <a:pt x="976" y="1176"/>
                  <a:pt x="981" y="1173"/>
                  <a:pt x="981" y="1164"/>
                </a:cubicBezTo>
                <a:cubicBezTo>
                  <a:pt x="981" y="1161"/>
                  <a:pt x="981" y="1159"/>
                  <a:pt x="981" y="1157"/>
                </a:cubicBezTo>
                <a:cubicBezTo>
                  <a:pt x="981" y="1154"/>
                  <a:pt x="981" y="1152"/>
                  <a:pt x="981" y="1149"/>
                </a:cubicBezTo>
                <a:cubicBezTo>
                  <a:pt x="981" y="1147"/>
                  <a:pt x="981" y="1144"/>
                  <a:pt x="987" y="1143"/>
                </a:cubicBezTo>
                <a:close/>
                <a:moveTo>
                  <a:pt x="1457" y="1176"/>
                </a:moveTo>
                <a:cubicBezTo>
                  <a:pt x="1450" y="1176"/>
                  <a:pt x="1444" y="1173"/>
                  <a:pt x="1439" y="1167"/>
                </a:cubicBezTo>
                <a:cubicBezTo>
                  <a:pt x="1435" y="1161"/>
                  <a:pt x="1433" y="1152"/>
                  <a:pt x="1433" y="1140"/>
                </a:cubicBezTo>
                <a:cubicBezTo>
                  <a:pt x="1433" y="1127"/>
                  <a:pt x="1435" y="1117"/>
                  <a:pt x="1439" y="1110"/>
                </a:cubicBezTo>
                <a:cubicBezTo>
                  <a:pt x="1444" y="1103"/>
                  <a:pt x="1450" y="1101"/>
                  <a:pt x="1459" y="1101"/>
                </a:cubicBezTo>
                <a:cubicBezTo>
                  <a:pt x="1475" y="1101"/>
                  <a:pt x="1484" y="1113"/>
                  <a:pt x="1484" y="1138"/>
                </a:cubicBezTo>
                <a:cubicBezTo>
                  <a:pt x="1484" y="1151"/>
                  <a:pt x="1481" y="1160"/>
                  <a:pt x="1477" y="1167"/>
                </a:cubicBezTo>
                <a:cubicBezTo>
                  <a:pt x="1472" y="1173"/>
                  <a:pt x="1466" y="1176"/>
                  <a:pt x="1457" y="1176"/>
                </a:cubicBezTo>
                <a:close/>
                <a:moveTo>
                  <a:pt x="1458" y="1110"/>
                </a:moveTo>
                <a:cubicBezTo>
                  <a:pt x="1450" y="1110"/>
                  <a:pt x="1445" y="1119"/>
                  <a:pt x="1445" y="1139"/>
                </a:cubicBezTo>
                <a:cubicBezTo>
                  <a:pt x="1445" y="1157"/>
                  <a:pt x="1450" y="1167"/>
                  <a:pt x="1458" y="1167"/>
                </a:cubicBezTo>
                <a:cubicBezTo>
                  <a:pt x="1467" y="1167"/>
                  <a:pt x="1471" y="1157"/>
                  <a:pt x="1471" y="1139"/>
                </a:cubicBezTo>
                <a:cubicBezTo>
                  <a:pt x="1471" y="1119"/>
                  <a:pt x="1467" y="1110"/>
                  <a:pt x="1458" y="1110"/>
                </a:cubicBezTo>
                <a:close/>
                <a:moveTo>
                  <a:pt x="1530" y="1103"/>
                </a:moveTo>
                <a:cubicBezTo>
                  <a:pt x="1530" y="1103"/>
                  <a:pt x="1530" y="1103"/>
                  <a:pt x="1530" y="1103"/>
                </a:cubicBezTo>
                <a:cubicBezTo>
                  <a:pt x="1525" y="1103"/>
                  <a:pt x="1525" y="1103"/>
                  <a:pt x="1525" y="1103"/>
                </a:cubicBezTo>
                <a:cubicBezTo>
                  <a:pt x="1523" y="1104"/>
                  <a:pt x="1522" y="1106"/>
                  <a:pt x="1519" y="1107"/>
                </a:cubicBezTo>
                <a:cubicBezTo>
                  <a:pt x="1518" y="1108"/>
                  <a:pt x="1516" y="1109"/>
                  <a:pt x="1514" y="1109"/>
                </a:cubicBezTo>
                <a:cubicBezTo>
                  <a:pt x="1513" y="1110"/>
                  <a:pt x="1511" y="1111"/>
                  <a:pt x="1509" y="1112"/>
                </a:cubicBezTo>
                <a:cubicBezTo>
                  <a:pt x="1507" y="1112"/>
                  <a:pt x="1506" y="1113"/>
                  <a:pt x="1504" y="1114"/>
                </a:cubicBezTo>
                <a:cubicBezTo>
                  <a:pt x="1504" y="1114"/>
                  <a:pt x="1504" y="1114"/>
                  <a:pt x="1504" y="1124"/>
                </a:cubicBezTo>
                <a:cubicBezTo>
                  <a:pt x="1507" y="1123"/>
                  <a:pt x="1509" y="1122"/>
                  <a:pt x="1512" y="1121"/>
                </a:cubicBezTo>
                <a:cubicBezTo>
                  <a:pt x="1514" y="1120"/>
                  <a:pt x="1517" y="1119"/>
                  <a:pt x="1519" y="1117"/>
                </a:cubicBezTo>
                <a:cubicBezTo>
                  <a:pt x="1519" y="1117"/>
                  <a:pt x="1519" y="1117"/>
                  <a:pt x="1519" y="1176"/>
                </a:cubicBezTo>
                <a:cubicBezTo>
                  <a:pt x="1519" y="1176"/>
                  <a:pt x="1519" y="1176"/>
                  <a:pt x="1530" y="1176"/>
                </a:cubicBezTo>
                <a:cubicBezTo>
                  <a:pt x="1530" y="1176"/>
                  <a:pt x="1530" y="1176"/>
                  <a:pt x="1530" y="1103"/>
                </a:cubicBezTo>
                <a:close/>
                <a:moveTo>
                  <a:pt x="1868" y="1176"/>
                </a:moveTo>
                <a:cubicBezTo>
                  <a:pt x="1860" y="1176"/>
                  <a:pt x="1854" y="1173"/>
                  <a:pt x="1849" y="1168"/>
                </a:cubicBezTo>
                <a:cubicBezTo>
                  <a:pt x="1846" y="1161"/>
                  <a:pt x="1844" y="1152"/>
                  <a:pt x="1844" y="1140"/>
                </a:cubicBezTo>
                <a:cubicBezTo>
                  <a:pt x="1844" y="1127"/>
                  <a:pt x="1846" y="1117"/>
                  <a:pt x="1850" y="1111"/>
                </a:cubicBezTo>
                <a:cubicBezTo>
                  <a:pt x="1855" y="1104"/>
                  <a:pt x="1861" y="1101"/>
                  <a:pt x="1870" y="1101"/>
                </a:cubicBezTo>
                <a:cubicBezTo>
                  <a:pt x="1886" y="1101"/>
                  <a:pt x="1894" y="1113"/>
                  <a:pt x="1894" y="1138"/>
                </a:cubicBezTo>
                <a:cubicBezTo>
                  <a:pt x="1894" y="1151"/>
                  <a:pt x="1892" y="1160"/>
                  <a:pt x="1887" y="1167"/>
                </a:cubicBezTo>
                <a:cubicBezTo>
                  <a:pt x="1883" y="1173"/>
                  <a:pt x="1876" y="1176"/>
                  <a:pt x="1868" y="1176"/>
                </a:cubicBezTo>
                <a:close/>
                <a:moveTo>
                  <a:pt x="1869" y="1110"/>
                </a:moveTo>
                <a:cubicBezTo>
                  <a:pt x="1860" y="1110"/>
                  <a:pt x="1855" y="1120"/>
                  <a:pt x="1855" y="1140"/>
                </a:cubicBezTo>
                <a:cubicBezTo>
                  <a:pt x="1855" y="1158"/>
                  <a:pt x="1860" y="1167"/>
                  <a:pt x="1869" y="1167"/>
                </a:cubicBezTo>
                <a:cubicBezTo>
                  <a:pt x="1877" y="1167"/>
                  <a:pt x="1882" y="1158"/>
                  <a:pt x="1882" y="1139"/>
                </a:cubicBezTo>
                <a:cubicBezTo>
                  <a:pt x="1882" y="1119"/>
                  <a:pt x="1877" y="1110"/>
                  <a:pt x="1869" y="1110"/>
                </a:cubicBezTo>
                <a:close/>
                <a:moveTo>
                  <a:pt x="1938" y="1103"/>
                </a:moveTo>
                <a:cubicBezTo>
                  <a:pt x="1938" y="1103"/>
                  <a:pt x="1938" y="1103"/>
                  <a:pt x="1938" y="1103"/>
                </a:cubicBezTo>
                <a:cubicBezTo>
                  <a:pt x="1933" y="1103"/>
                  <a:pt x="1933" y="1103"/>
                  <a:pt x="1933" y="1103"/>
                </a:cubicBezTo>
                <a:cubicBezTo>
                  <a:pt x="1930" y="1104"/>
                  <a:pt x="1929" y="1106"/>
                  <a:pt x="1927" y="1107"/>
                </a:cubicBezTo>
                <a:cubicBezTo>
                  <a:pt x="1925" y="1108"/>
                  <a:pt x="1923" y="1109"/>
                  <a:pt x="1922" y="1109"/>
                </a:cubicBezTo>
                <a:cubicBezTo>
                  <a:pt x="1919" y="1110"/>
                  <a:pt x="1918" y="1111"/>
                  <a:pt x="1917" y="1112"/>
                </a:cubicBezTo>
                <a:cubicBezTo>
                  <a:pt x="1914" y="1112"/>
                  <a:pt x="1913" y="1113"/>
                  <a:pt x="1911" y="1114"/>
                </a:cubicBezTo>
                <a:cubicBezTo>
                  <a:pt x="1911" y="1114"/>
                  <a:pt x="1911" y="1114"/>
                  <a:pt x="1911" y="1124"/>
                </a:cubicBezTo>
                <a:cubicBezTo>
                  <a:pt x="1914" y="1123"/>
                  <a:pt x="1917" y="1122"/>
                  <a:pt x="1919" y="1121"/>
                </a:cubicBezTo>
                <a:cubicBezTo>
                  <a:pt x="1922" y="1120"/>
                  <a:pt x="1924" y="1119"/>
                  <a:pt x="1926" y="1117"/>
                </a:cubicBezTo>
                <a:cubicBezTo>
                  <a:pt x="1926" y="1117"/>
                  <a:pt x="1926" y="1117"/>
                  <a:pt x="1926" y="1176"/>
                </a:cubicBezTo>
                <a:cubicBezTo>
                  <a:pt x="1926" y="1176"/>
                  <a:pt x="1926" y="1176"/>
                  <a:pt x="1938" y="1176"/>
                </a:cubicBezTo>
                <a:cubicBezTo>
                  <a:pt x="1938" y="1176"/>
                  <a:pt x="1938" y="1176"/>
                  <a:pt x="1938" y="1103"/>
                </a:cubicBezTo>
                <a:close/>
                <a:moveTo>
                  <a:pt x="1774" y="1176"/>
                </a:moveTo>
                <a:cubicBezTo>
                  <a:pt x="1777" y="1157"/>
                  <a:pt x="1777" y="1157"/>
                  <a:pt x="1777" y="1157"/>
                </a:cubicBezTo>
                <a:cubicBezTo>
                  <a:pt x="1768" y="1157"/>
                  <a:pt x="1768" y="1157"/>
                  <a:pt x="1768" y="1157"/>
                </a:cubicBezTo>
                <a:cubicBezTo>
                  <a:pt x="1768" y="1145"/>
                  <a:pt x="1768" y="1145"/>
                  <a:pt x="1768" y="1145"/>
                </a:cubicBezTo>
                <a:cubicBezTo>
                  <a:pt x="1779" y="1145"/>
                  <a:pt x="1779" y="1145"/>
                  <a:pt x="1779" y="1145"/>
                </a:cubicBezTo>
                <a:cubicBezTo>
                  <a:pt x="1781" y="1134"/>
                  <a:pt x="1781" y="1134"/>
                  <a:pt x="1781" y="1134"/>
                </a:cubicBezTo>
                <a:cubicBezTo>
                  <a:pt x="1771" y="1134"/>
                  <a:pt x="1771" y="1134"/>
                  <a:pt x="1771" y="1134"/>
                </a:cubicBezTo>
                <a:cubicBezTo>
                  <a:pt x="1771" y="1122"/>
                  <a:pt x="1771" y="1122"/>
                  <a:pt x="1771" y="1122"/>
                </a:cubicBezTo>
                <a:cubicBezTo>
                  <a:pt x="1782" y="1122"/>
                  <a:pt x="1782" y="1122"/>
                  <a:pt x="1782" y="1122"/>
                </a:cubicBezTo>
                <a:cubicBezTo>
                  <a:pt x="1785" y="1104"/>
                  <a:pt x="1785" y="1104"/>
                  <a:pt x="1785" y="1104"/>
                </a:cubicBezTo>
                <a:cubicBezTo>
                  <a:pt x="1797" y="1104"/>
                  <a:pt x="1797" y="1104"/>
                  <a:pt x="1797" y="1104"/>
                </a:cubicBezTo>
                <a:cubicBezTo>
                  <a:pt x="1794" y="1122"/>
                  <a:pt x="1794" y="1122"/>
                  <a:pt x="1794" y="1122"/>
                </a:cubicBezTo>
                <a:cubicBezTo>
                  <a:pt x="1803" y="1122"/>
                  <a:pt x="1803" y="1122"/>
                  <a:pt x="1803" y="1122"/>
                </a:cubicBezTo>
                <a:cubicBezTo>
                  <a:pt x="1806" y="1104"/>
                  <a:pt x="1806" y="1104"/>
                  <a:pt x="1806" y="1104"/>
                </a:cubicBezTo>
                <a:cubicBezTo>
                  <a:pt x="1818" y="1104"/>
                  <a:pt x="1818" y="1104"/>
                  <a:pt x="1818" y="1104"/>
                </a:cubicBezTo>
                <a:cubicBezTo>
                  <a:pt x="1814" y="1122"/>
                  <a:pt x="1814" y="1122"/>
                  <a:pt x="1814" y="1122"/>
                </a:cubicBezTo>
                <a:cubicBezTo>
                  <a:pt x="1823" y="1122"/>
                  <a:pt x="1823" y="1122"/>
                  <a:pt x="1823" y="1122"/>
                </a:cubicBezTo>
                <a:cubicBezTo>
                  <a:pt x="1823" y="1134"/>
                  <a:pt x="1823" y="1134"/>
                  <a:pt x="1823" y="1134"/>
                </a:cubicBezTo>
                <a:cubicBezTo>
                  <a:pt x="1813" y="1134"/>
                  <a:pt x="1813" y="1134"/>
                  <a:pt x="1813" y="1134"/>
                </a:cubicBezTo>
                <a:cubicBezTo>
                  <a:pt x="1811" y="1145"/>
                  <a:pt x="1811" y="1145"/>
                  <a:pt x="1811" y="1145"/>
                </a:cubicBezTo>
                <a:cubicBezTo>
                  <a:pt x="1820" y="1145"/>
                  <a:pt x="1820" y="1145"/>
                  <a:pt x="1820" y="1145"/>
                </a:cubicBezTo>
                <a:cubicBezTo>
                  <a:pt x="1820" y="1157"/>
                  <a:pt x="1820" y="1157"/>
                  <a:pt x="1820" y="1157"/>
                </a:cubicBezTo>
                <a:cubicBezTo>
                  <a:pt x="1809" y="1157"/>
                  <a:pt x="1809" y="1157"/>
                  <a:pt x="1809" y="1157"/>
                </a:cubicBezTo>
                <a:cubicBezTo>
                  <a:pt x="1806" y="1176"/>
                  <a:pt x="1806" y="1176"/>
                  <a:pt x="1806" y="1176"/>
                </a:cubicBezTo>
                <a:cubicBezTo>
                  <a:pt x="1795" y="1176"/>
                  <a:pt x="1795" y="1176"/>
                  <a:pt x="1795" y="1176"/>
                </a:cubicBezTo>
                <a:cubicBezTo>
                  <a:pt x="1798" y="1157"/>
                  <a:pt x="1798" y="1157"/>
                  <a:pt x="1798" y="1157"/>
                </a:cubicBezTo>
                <a:cubicBezTo>
                  <a:pt x="1788" y="1157"/>
                  <a:pt x="1788" y="1157"/>
                  <a:pt x="1788" y="1157"/>
                </a:cubicBezTo>
                <a:cubicBezTo>
                  <a:pt x="1785" y="1176"/>
                  <a:pt x="1785" y="1176"/>
                  <a:pt x="1785" y="1176"/>
                </a:cubicBezTo>
                <a:cubicBezTo>
                  <a:pt x="1774" y="1176"/>
                  <a:pt x="1774" y="1176"/>
                  <a:pt x="1774" y="1176"/>
                </a:cubicBezTo>
                <a:cubicBezTo>
                  <a:pt x="1774" y="1176"/>
                  <a:pt x="1774" y="1176"/>
                  <a:pt x="1774" y="1176"/>
                </a:cubicBezTo>
                <a:close/>
                <a:moveTo>
                  <a:pt x="1800" y="1145"/>
                </a:moveTo>
                <a:cubicBezTo>
                  <a:pt x="1801" y="1134"/>
                  <a:pt x="1801" y="1134"/>
                  <a:pt x="1801" y="1134"/>
                </a:cubicBezTo>
                <a:cubicBezTo>
                  <a:pt x="1792" y="1134"/>
                  <a:pt x="1792" y="1134"/>
                  <a:pt x="1792" y="1134"/>
                </a:cubicBezTo>
                <a:cubicBezTo>
                  <a:pt x="1790" y="1145"/>
                  <a:pt x="1790" y="1145"/>
                  <a:pt x="1790" y="1145"/>
                </a:cubicBezTo>
                <a:cubicBezTo>
                  <a:pt x="1800" y="1145"/>
                  <a:pt x="1800" y="1145"/>
                  <a:pt x="1800" y="1145"/>
                </a:cubicBezTo>
                <a:cubicBezTo>
                  <a:pt x="1800" y="1145"/>
                  <a:pt x="1800" y="1145"/>
                  <a:pt x="1800" y="1145"/>
                </a:cubicBezTo>
                <a:close/>
                <a:moveTo>
                  <a:pt x="659" y="1150"/>
                </a:moveTo>
                <a:cubicBezTo>
                  <a:pt x="659" y="1152"/>
                  <a:pt x="660" y="1153"/>
                  <a:pt x="660" y="1155"/>
                </a:cubicBezTo>
                <a:cubicBezTo>
                  <a:pt x="661" y="1156"/>
                  <a:pt x="661" y="1158"/>
                  <a:pt x="662" y="1160"/>
                </a:cubicBezTo>
                <a:cubicBezTo>
                  <a:pt x="662" y="1161"/>
                  <a:pt x="662" y="1163"/>
                  <a:pt x="662" y="1164"/>
                </a:cubicBezTo>
                <a:cubicBezTo>
                  <a:pt x="663" y="1168"/>
                  <a:pt x="662" y="1169"/>
                  <a:pt x="659" y="1169"/>
                </a:cubicBezTo>
                <a:cubicBezTo>
                  <a:pt x="656" y="1169"/>
                  <a:pt x="653" y="1169"/>
                  <a:pt x="650" y="1169"/>
                </a:cubicBezTo>
                <a:cubicBezTo>
                  <a:pt x="650" y="1169"/>
                  <a:pt x="649" y="1169"/>
                  <a:pt x="649" y="1169"/>
                </a:cubicBezTo>
                <a:cubicBezTo>
                  <a:pt x="647" y="1171"/>
                  <a:pt x="646" y="1172"/>
                  <a:pt x="644" y="1174"/>
                </a:cubicBezTo>
                <a:cubicBezTo>
                  <a:pt x="642" y="1176"/>
                  <a:pt x="639" y="1176"/>
                  <a:pt x="637" y="1174"/>
                </a:cubicBezTo>
                <a:cubicBezTo>
                  <a:pt x="635" y="1172"/>
                  <a:pt x="634" y="1170"/>
                  <a:pt x="632" y="1167"/>
                </a:cubicBezTo>
                <a:cubicBezTo>
                  <a:pt x="631" y="1165"/>
                  <a:pt x="632" y="1164"/>
                  <a:pt x="634" y="1162"/>
                </a:cubicBezTo>
                <a:cubicBezTo>
                  <a:pt x="631" y="1162"/>
                  <a:pt x="630" y="1162"/>
                  <a:pt x="628" y="1162"/>
                </a:cubicBezTo>
                <a:cubicBezTo>
                  <a:pt x="628" y="1164"/>
                  <a:pt x="626" y="1166"/>
                  <a:pt x="626" y="1168"/>
                </a:cubicBezTo>
                <a:cubicBezTo>
                  <a:pt x="626" y="1169"/>
                  <a:pt x="625" y="1170"/>
                  <a:pt x="625" y="1170"/>
                </a:cubicBezTo>
                <a:cubicBezTo>
                  <a:pt x="625" y="1174"/>
                  <a:pt x="624" y="1175"/>
                  <a:pt x="621" y="1174"/>
                </a:cubicBezTo>
                <a:cubicBezTo>
                  <a:pt x="618" y="1174"/>
                  <a:pt x="615" y="1173"/>
                  <a:pt x="612" y="1172"/>
                </a:cubicBezTo>
                <a:cubicBezTo>
                  <a:pt x="610" y="1172"/>
                  <a:pt x="609" y="1170"/>
                  <a:pt x="610" y="1168"/>
                </a:cubicBezTo>
                <a:cubicBezTo>
                  <a:pt x="610" y="1167"/>
                  <a:pt x="610" y="1166"/>
                  <a:pt x="611" y="1166"/>
                </a:cubicBezTo>
                <a:cubicBezTo>
                  <a:pt x="608" y="1165"/>
                  <a:pt x="606" y="1164"/>
                  <a:pt x="604" y="1163"/>
                </a:cubicBezTo>
                <a:cubicBezTo>
                  <a:pt x="603" y="1162"/>
                  <a:pt x="602" y="1160"/>
                  <a:pt x="601" y="1159"/>
                </a:cubicBezTo>
                <a:cubicBezTo>
                  <a:pt x="600" y="1157"/>
                  <a:pt x="600" y="1155"/>
                  <a:pt x="602" y="1153"/>
                </a:cubicBezTo>
                <a:cubicBezTo>
                  <a:pt x="605" y="1151"/>
                  <a:pt x="606" y="1148"/>
                  <a:pt x="605" y="1144"/>
                </a:cubicBezTo>
                <a:cubicBezTo>
                  <a:pt x="605" y="1142"/>
                  <a:pt x="605" y="1140"/>
                  <a:pt x="605" y="1138"/>
                </a:cubicBezTo>
                <a:cubicBezTo>
                  <a:pt x="604" y="1138"/>
                  <a:pt x="602" y="1137"/>
                  <a:pt x="601" y="1136"/>
                </a:cubicBezTo>
                <a:cubicBezTo>
                  <a:pt x="600" y="1134"/>
                  <a:pt x="599" y="1132"/>
                  <a:pt x="599" y="1130"/>
                </a:cubicBezTo>
                <a:cubicBezTo>
                  <a:pt x="599" y="1128"/>
                  <a:pt x="602" y="1125"/>
                  <a:pt x="605" y="1124"/>
                </a:cubicBezTo>
                <a:cubicBezTo>
                  <a:pt x="606" y="1125"/>
                  <a:pt x="606" y="1126"/>
                  <a:pt x="606" y="1126"/>
                </a:cubicBezTo>
                <a:cubicBezTo>
                  <a:pt x="606" y="1128"/>
                  <a:pt x="606" y="1128"/>
                  <a:pt x="606" y="1130"/>
                </a:cubicBezTo>
                <a:cubicBezTo>
                  <a:pt x="606" y="1129"/>
                  <a:pt x="605" y="1129"/>
                  <a:pt x="605" y="1129"/>
                </a:cubicBezTo>
                <a:cubicBezTo>
                  <a:pt x="604" y="1130"/>
                  <a:pt x="604" y="1132"/>
                  <a:pt x="603" y="1134"/>
                </a:cubicBezTo>
                <a:cubicBezTo>
                  <a:pt x="604" y="1133"/>
                  <a:pt x="605" y="1133"/>
                  <a:pt x="606" y="1133"/>
                </a:cubicBezTo>
                <a:cubicBezTo>
                  <a:pt x="607" y="1132"/>
                  <a:pt x="608" y="1131"/>
                  <a:pt x="608" y="1130"/>
                </a:cubicBezTo>
                <a:cubicBezTo>
                  <a:pt x="613" y="1123"/>
                  <a:pt x="619" y="1119"/>
                  <a:pt x="626" y="1117"/>
                </a:cubicBezTo>
                <a:cubicBezTo>
                  <a:pt x="629" y="1117"/>
                  <a:pt x="633" y="1116"/>
                  <a:pt x="635" y="1113"/>
                </a:cubicBezTo>
                <a:cubicBezTo>
                  <a:pt x="635" y="1113"/>
                  <a:pt x="636" y="1112"/>
                  <a:pt x="636" y="1112"/>
                </a:cubicBezTo>
                <a:cubicBezTo>
                  <a:pt x="639" y="1112"/>
                  <a:pt x="640" y="1109"/>
                  <a:pt x="642" y="1107"/>
                </a:cubicBezTo>
                <a:cubicBezTo>
                  <a:pt x="650" y="1100"/>
                  <a:pt x="662" y="1100"/>
                  <a:pt x="669" y="1106"/>
                </a:cubicBezTo>
                <a:cubicBezTo>
                  <a:pt x="672" y="1108"/>
                  <a:pt x="675" y="1110"/>
                  <a:pt x="677" y="1112"/>
                </a:cubicBezTo>
                <a:cubicBezTo>
                  <a:pt x="679" y="1113"/>
                  <a:pt x="680" y="1115"/>
                  <a:pt x="681" y="1117"/>
                </a:cubicBezTo>
                <a:cubicBezTo>
                  <a:pt x="682" y="1119"/>
                  <a:pt x="682" y="1119"/>
                  <a:pt x="684" y="1117"/>
                </a:cubicBezTo>
                <a:cubicBezTo>
                  <a:pt x="684" y="1117"/>
                  <a:pt x="685" y="1116"/>
                  <a:pt x="686" y="1115"/>
                </a:cubicBezTo>
                <a:cubicBezTo>
                  <a:pt x="688" y="1113"/>
                  <a:pt x="691" y="1113"/>
                  <a:pt x="692" y="1116"/>
                </a:cubicBezTo>
                <a:cubicBezTo>
                  <a:pt x="693" y="1119"/>
                  <a:pt x="694" y="1122"/>
                  <a:pt x="695" y="1125"/>
                </a:cubicBezTo>
                <a:cubicBezTo>
                  <a:pt x="695" y="1129"/>
                  <a:pt x="695" y="1134"/>
                  <a:pt x="693" y="1138"/>
                </a:cubicBezTo>
                <a:cubicBezTo>
                  <a:pt x="691" y="1144"/>
                  <a:pt x="686" y="1148"/>
                  <a:pt x="680" y="1148"/>
                </a:cubicBezTo>
                <a:cubicBezTo>
                  <a:pt x="679" y="1148"/>
                  <a:pt x="679" y="1148"/>
                  <a:pt x="678" y="1148"/>
                </a:cubicBezTo>
                <a:cubicBezTo>
                  <a:pt x="675" y="1147"/>
                  <a:pt x="674" y="1148"/>
                  <a:pt x="673" y="1150"/>
                </a:cubicBezTo>
                <a:cubicBezTo>
                  <a:pt x="672" y="1155"/>
                  <a:pt x="666" y="1156"/>
                  <a:pt x="663" y="1153"/>
                </a:cubicBezTo>
                <a:cubicBezTo>
                  <a:pt x="662" y="1152"/>
                  <a:pt x="661" y="1151"/>
                  <a:pt x="660" y="1150"/>
                </a:cubicBezTo>
                <a:cubicBezTo>
                  <a:pt x="659" y="1150"/>
                  <a:pt x="659" y="1150"/>
                  <a:pt x="659" y="1150"/>
                </a:cubicBezTo>
                <a:close/>
                <a:moveTo>
                  <a:pt x="653" y="1146"/>
                </a:moveTo>
                <a:cubicBezTo>
                  <a:pt x="657" y="1147"/>
                  <a:pt x="660" y="1149"/>
                  <a:pt x="663" y="1151"/>
                </a:cubicBezTo>
                <a:cubicBezTo>
                  <a:pt x="665" y="1153"/>
                  <a:pt x="667" y="1154"/>
                  <a:pt x="669" y="1153"/>
                </a:cubicBezTo>
                <a:cubicBezTo>
                  <a:pt x="671" y="1152"/>
                  <a:pt x="673" y="1150"/>
                  <a:pt x="673" y="1147"/>
                </a:cubicBezTo>
                <a:cubicBezTo>
                  <a:pt x="673" y="1147"/>
                  <a:pt x="672" y="1147"/>
                  <a:pt x="672" y="1148"/>
                </a:cubicBezTo>
                <a:cubicBezTo>
                  <a:pt x="671" y="1149"/>
                  <a:pt x="670" y="1150"/>
                  <a:pt x="669" y="1151"/>
                </a:cubicBezTo>
                <a:cubicBezTo>
                  <a:pt x="668" y="1153"/>
                  <a:pt x="667" y="1152"/>
                  <a:pt x="666" y="1152"/>
                </a:cubicBezTo>
                <a:cubicBezTo>
                  <a:pt x="666" y="1152"/>
                  <a:pt x="665" y="1151"/>
                  <a:pt x="665" y="1150"/>
                </a:cubicBezTo>
                <a:cubicBezTo>
                  <a:pt x="665" y="1147"/>
                  <a:pt x="666" y="1145"/>
                  <a:pt x="666" y="1144"/>
                </a:cubicBezTo>
                <a:cubicBezTo>
                  <a:pt x="669" y="1144"/>
                  <a:pt x="672" y="1145"/>
                  <a:pt x="676" y="1146"/>
                </a:cubicBezTo>
                <a:cubicBezTo>
                  <a:pt x="683" y="1147"/>
                  <a:pt x="689" y="1145"/>
                  <a:pt x="692" y="1137"/>
                </a:cubicBezTo>
                <a:cubicBezTo>
                  <a:pt x="694" y="1132"/>
                  <a:pt x="693" y="1127"/>
                  <a:pt x="693" y="1122"/>
                </a:cubicBezTo>
                <a:cubicBezTo>
                  <a:pt x="692" y="1120"/>
                  <a:pt x="691" y="1119"/>
                  <a:pt x="691" y="1117"/>
                </a:cubicBezTo>
                <a:cubicBezTo>
                  <a:pt x="690" y="1115"/>
                  <a:pt x="689" y="1115"/>
                  <a:pt x="688" y="1116"/>
                </a:cubicBezTo>
                <a:cubicBezTo>
                  <a:pt x="686" y="1118"/>
                  <a:pt x="684" y="1119"/>
                  <a:pt x="682" y="1120"/>
                </a:cubicBezTo>
                <a:cubicBezTo>
                  <a:pt x="682" y="1121"/>
                  <a:pt x="681" y="1121"/>
                  <a:pt x="681" y="1123"/>
                </a:cubicBezTo>
                <a:cubicBezTo>
                  <a:pt x="682" y="1126"/>
                  <a:pt x="681" y="1129"/>
                  <a:pt x="680" y="1132"/>
                </a:cubicBezTo>
                <a:cubicBezTo>
                  <a:pt x="680" y="1130"/>
                  <a:pt x="680" y="1128"/>
                  <a:pt x="680" y="1126"/>
                </a:cubicBezTo>
                <a:cubicBezTo>
                  <a:pt x="680" y="1126"/>
                  <a:pt x="680" y="1125"/>
                  <a:pt x="680" y="1125"/>
                </a:cubicBezTo>
                <a:cubicBezTo>
                  <a:pt x="679" y="1125"/>
                  <a:pt x="679" y="1125"/>
                  <a:pt x="679" y="1126"/>
                </a:cubicBezTo>
                <a:cubicBezTo>
                  <a:pt x="678" y="1127"/>
                  <a:pt x="677" y="1128"/>
                  <a:pt x="676" y="1130"/>
                </a:cubicBezTo>
                <a:cubicBezTo>
                  <a:pt x="676" y="1130"/>
                  <a:pt x="676" y="1130"/>
                  <a:pt x="676" y="1130"/>
                </a:cubicBezTo>
                <a:cubicBezTo>
                  <a:pt x="676" y="1128"/>
                  <a:pt x="677" y="1126"/>
                  <a:pt x="677" y="1124"/>
                </a:cubicBezTo>
                <a:cubicBezTo>
                  <a:pt x="676" y="1125"/>
                  <a:pt x="675" y="1125"/>
                  <a:pt x="675" y="1126"/>
                </a:cubicBezTo>
                <a:cubicBezTo>
                  <a:pt x="674" y="1126"/>
                  <a:pt x="674" y="1127"/>
                  <a:pt x="673" y="1128"/>
                </a:cubicBezTo>
                <a:cubicBezTo>
                  <a:pt x="674" y="1125"/>
                  <a:pt x="674" y="1125"/>
                  <a:pt x="680" y="1123"/>
                </a:cubicBezTo>
                <a:cubicBezTo>
                  <a:pt x="680" y="1123"/>
                  <a:pt x="679" y="1122"/>
                  <a:pt x="679" y="1122"/>
                </a:cubicBezTo>
                <a:cubicBezTo>
                  <a:pt x="676" y="1123"/>
                  <a:pt x="675" y="1121"/>
                  <a:pt x="675" y="1119"/>
                </a:cubicBezTo>
                <a:cubicBezTo>
                  <a:pt x="677" y="1119"/>
                  <a:pt x="678" y="1118"/>
                  <a:pt x="680" y="1118"/>
                </a:cubicBezTo>
                <a:cubicBezTo>
                  <a:pt x="678" y="1115"/>
                  <a:pt x="677" y="1113"/>
                  <a:pt x="673" y="1112"/>
                </a:cubicBezTo>
                <a:cubicBezTo>
                  <a:pt x="673" y="1112"/>
                  <a:pt x="673" y="1112"/>
                  <a:pt x="673" y="1111"/>
                </a:cubicBezTo>
                <a:cubicBezTo>
                  <a:pt x="670" y="1109"/>
                  <a:pt x="668" y="1107"/>
                  <a:pt x="665" y="1105"/>
                </a:cubicBezTo>
                <a:cubicBezTo>
                  <a:pt x="663" y="1104"/>
                  <a:pt x="660" y="1103"/>
                  <a:pt x="658" y="1103"/>
                </a:cubicBezTo>
                <a:cubicBezTo>
                  <a:pt x="655" y="1104"/>
                  <a:pt x="651" y="1105"/>
                  <a:pt x="648" y="1105"/>
                </a:cubicBezTo>
                <a:cubicBezTo>
                  <a:pt x="646" y="1107"/>
                  <a:pt x="643" y="1108"/>
                  <a:pt x="641" y="1111"/>
                </a:cubicBezTo>
                <a:cubicBezTo>
                  <a:pt x="643" y="1111"/>
                  <a:pt x="644" y="1111"/>
                  <a:pt x="645" y="1111"/>
                </a:cubicBezTo>
                <a:cubicBezTo>
                  <a:pt x="645" y="1112"/>
                  <a:pt x="644" y="1112"/>
                  <a:pt x="643" y="1112"/>
                </a:cubicBezTo>
                <a:cubicBezTo>
                  <a:pt x="641" y="1113"/>
                  <a:pt x="638" y="1112"/>
                  <a:pt x="636" y="1115"/>
                </a:cubicBezTo>
                <a:cubicBezTo>
                  <a:pt x="633" y="1119"/>
                  <a:pt x="629" y="1122"/>
                  <a:pt x="625" y="1126"/>
                </a:cubicBezTo>
                <a:cubicBezTo>
                  <a:pt x="624" y="1128"/>
                  <a:pt x="623" y="1131"/>
                  <a:pt x="622" y="1133"/>
                </a:cubicBezTo>
                <a:cubicBezTo>
                  <a:pt x="622" y="1134"/>
                  <a:pt x="622" y="1134"/>
                  <a:pt x="622" y="1135"/>
                </a:cubicBezTo>
                <a:cubicBezTo>
                  <a:pt x="623" y="1137"/>
                  <a:pt x="624" y="1139"/>
                  <a:pt x="626" y="1141"/>
                </a:cubicBezTo>
                <a:cubicBezTo>
                  <a:pt x="627" y="1139"/>
                  <a:pt x="628" y="1138"/>
                  <a:pt x="629" y="1136"/>
                </a:cubicBezTo>
                <a:cubicBezTo>
                  <a:pt x="629" y="1138"/>
                  <a:pt x="629" y="1139"/>
                  <a:pt x="628" y="1140"/>
                </a:cubicBezTo>
                <a:cubicBezTo>
                  <a:pt x="627" y="1142"/>
                  <a:pt x="626" y="1143"/>
                  <a:pt x="626" y="1144"/>
                </a:cubicBezTo>
                <a:cubicBezTo>
                  <a:pt x="626" y="1145"/>
                  <a:pt x="626" y="1146"/>
                  <a:pt x="626" y="1147"/>
                </a:cubicBezTo>
                <a:cubicBezTo>
                  <a:pt x="629" y="1151"/>
                  <a:pt x="632" y="1151"/>
                  <a:pt x="636" y="1149"/>
                </a:cubicBezTo>
                <a:cubicBezTo>
                  <a:pt x="638" y="1147"/>
                  <a:pt x="641" y="1146"/>
                  <a:pt x="644" y="1145"/>
                </a:cubicBezTo>
                <a:cubicBezTo>
                  <a:pt x="645" y="1145"/>
                  <a:pt x="646" y="1144"/>
                  <a:pt x="646" y="1142"/>
                </a:cubicBezTo>
                <a:cubicBezTo>
                  <a:pt x="646" y="1139"/>
                  <a:pt x="646" y="1136"/>
                  <a:pt x="646" y="1132"/>
                </a:cubicBezTo>
                <a:cubicBezTo>
                  <a:pt x="646" y="1129"/>
                  <a:pt x="646" y="1126"/>
                  <a:pt x="646" y="1123"/>
                </a:cubicBezTo>
                <a:cubicBezTo>
                  <a:pt x="647" y="1126"/>
                  <a:pt x="648" y="1129"/>
                  <a:pt x="648" y="1131"/>
                </a:cubicBezTo>
                <a:cubicBezTo>
                  <a:pt x="649" y="1136"/>
                  <a:pt x="649" y="1140"/>
                  <a:pt x="648" y="1145"/>
                </a:cubicBezTo>
                <a:cubicBezTo>
                  <a:pt x="647" y="1145"/>
                  <a:pt x="646" y="1146"/>
                  <a:pt x="646" y="1146"/>
                </a:cubicBezTo>
                <a:cubicBezTo>
                  <a:pt x="642" y="1147"/>
                  <a:pt x="639" y="1149"/>
                  <a:pt x="636" y="1150"/>
                </a:cubicBezTo>
                <a:cubicBezTo>
                  <a:pt x="631" y="1153"/>
                  <a:pt x="628" y="1151"/>
                  <a:pt x="624" y="1147"/>
                </a:cubicBezTo>
                <a:cubicBezTo>
                  <a:pt x="624" y="1147"/>
                  <a:pt x="624" y="1146"/>
                  <a:pt x="624" y="1145"/>
                </a:cubicBezTo>
                <a:cubicBezTo>
                  <a:pt x="625" y="1143"/>
                  <a:pt x="624" y="1141"/>
                  <a:pt x="622" y="1139"/>
                </a:cubicBezTo>
                <a:cubicBezTo>
                  <a:pt x="621" y="1137"/>
                  <a:pt x="619" y="1135"/>
                  <a:pt x="620" y="1132"/>
                </a:cubicBezTo>
                <a:cubicBezTo>
                  <a:pt x="621" y="1130"/>
                  <a:pt x="622" y="1128"/>
                  <a:pt x="623" y="1127"/>
                </a:cubicBezTo>
                <a:cubicBezTo>
                  <a:pt x="625" y="1124"/>
                  <a:pt x="627" y="1122"/>
                  <a:pt x="629" y="1119"/>
                </a:cubicBezTo>
                <a:cubicBezTo>
                  <a:pt x="629" y="1119"/>
                  <a:pt x="628" y="1119"/>
                  <a:pt x="628" y="1119"/>
                </a:cubicBezTo>
                <a:cubicBezTo>
                  <a:pt x="623" y="1120"/>
                  <a:pt x="619" y="1122"/>
                  <a:pt x="615" y="1125"/>
                </a:cubicBezTo>
                <a:cubicBezTo>
                  <a:pt x="610" y="1129"/>
                  <a:pt x="607" y="1134"/>
                  <a:pt x="607" y="1141"/>
                </a:cubicBezTo>
                <a:cubicBezTo>
                  <a:pt x="606" y="1148"/>
                  <a:pt x="609" y="1154"/>
                  <a:pt x="612" y="1160"/>
                </a:cubicBezTo>
                <a:cubicBezTo>
                  <a:pt x="613" y="1161"/>
                  <a:pt x="613" y="1162"/>
                  <a:pt x="613" y="1163"/>
                </a:cubicBezTo>
                <a:cubicBezTo>
                  <a:pt x="613" y="1165"/>
                  <a:pt x="613" y="1166"/>
                  <a:pt x="612" y="1168"/>
                </a:cubicBezTo>
                <a:cubicBezTo>
                  <a:pt x="611" y="1170"/>
                  <a:pt x="612" y="1170"/>
                  <a:pt x="613" y="1171"/>
                </a:cubicBezTo>
                <a:cubicBezTo>
                  <a:pt x="616" y="1172"/>
                  <a:pt x="619" y="1172"/>
                  <a:pt x="622" y="1172"/>
                </a:cubicBezTo>
                <a:cubicBezTo>
                  <a:pt x="622" y="1172"/>
                  <a:pt x="623" y="1172"/>
                  <a:pt x="623" y="1171"/>
                </a:cubicBezTo>
                <a:cubicBezTo>
                  <a:pt x="624" y="1170"/>
                  <a:pt x="624" y="1168"/>
                  <a:pt x="624" y="1168"/>
                </a:cubicBezTo>
                <a:cubicBezTo>
                  <a:pt x="626" y="1165"/>
                  <a:pt x="626" y="1163"/>
                  <a:pt x="626" y="1160"/>
                </a:cubicBezTo>
                <a:cubicBezTo>
                  <a:pt x="626" y="1159"/>
                  <a:pt x="626" y="1159"/>
                  <a:pt x="626" y="1159"/>
                </a:cubicBezTo>
                <a:cubicBezTo>
                  <a:pt x="626" y="1158"/>
                  <a:pt x="626" y="1158"/>
                  <a:pt x="626" y="1158"/>
                </a:cubicBezTo>
                <a:cubicBezTo>
                  <a:pt x="627" y="1161"/>
                  <a:pt x="628" y="1161"/>
                  <a:pt x="630" y="1161"/>
                </a:cubicBezTo>
                <a:cubicBezTo>
                  <a:pt x="631" y="1161"/>
                  <a:pt x="632" y="1161"/>
                  <a:pt x="633" y="1161"/>
                </a:cubicBezTo>
                <a:cubicBezTo>
                  <a:pt x="635" y="1161"/>
                  <a:pt x="639" y="1161"/>
                  <a:pt x="639" y="1157"/>
                </a:cubicBezTo>
                <a:cubicBezTo>
                  <a:pt x="639" y="1159"/>
                  <a:pt x="639" y="1161"/>
                  <a:pt x="639" y="1162"/>
                </a:cubicBezTo>
                <a:cubicBezTo>
                  <a:pt x="638" y="1163"/>
                  <a:pt x="637" y="1163"/>
                  <a:pt x="635" y="1164"/>
                </a:cubicBezTo>
                <a:cubicBezTo>
                  <a:pt x="634" y="1164"/>
                  <a:pt x="633" y="1166"/>
                  <a:pt x="634" y="1167"/>
                </a:cubicBezTo>
                <a:cubicBezTo>
                  <a:pt x="635" y="1169"/>
                  <a:pt x="637" y="1171"/>
                  <a:pt x="638" y="1173"/>
                </a:cubicBezTo>
                <a:cubicBezTo>
                  <a:pt x="640" y="1174"/>
                  <a:pt x="642" y="1174"/>
                  <a:pt x="643" y="1172"/>
                </a:cubicBezTo>
                <a:cubicBezTo>
                  <a:pt x="644" y="1172"/>
                  <a:pt x="644" y="1171"/>
                  <a:pt x="645" y="1170"/>
                </a:cubicBezTo>
                <a:cubicBezTo>
                  <a:pt x="647" y="1169"/>
                  <a:pt x="648" y="1168"/>
                  <a:pt x="650" y="1166"/>
                </a:cubicBezTo>
                <a:cubicBezTo>
                  <a:pt x="654" y="1162"/>
                  <a:pt x="656" y="1156"/>
                  <a:pt x="658" y="1150"/>
                </a:cubicBezTo>
                <a:cubicBezTo>
                  <a:pt x="658" y="1150"/>
                  <a:pt x="657" y="1149"/>
                  <a:pt x="657" y="1149"/>
                </a:cubicBezTo>
                <a:cubicBezTo>
                  <a:pt x="656" y="1147"/>
                  <a:pt x="655" y="1147"/>
                  <a:pt x="653" y="1146"/>
                </a:cubicBezTo>
                <a:close/>
                <a:moveTo>
                  <a:pt x="606" y="1152"/>
                </a:moveTo>
                <a:cubicBezTo>
                  <a:pt x="606" y="1153"/>
                  <a:pt x="604" y="1154"/>
                  <a:pt x="603" y="1155"/>
                </a:cubicBezTo>
                <a:cubicBezTo>
                  <a:pt x="602" y="1155"/>
                  <a:pt x="602" y="1156"/>
                  <a:pt x="602" y="1157"/>
                </a:cubicBezTo>
                <a:cubicBezTo>
                  <a:pt x="602" y="1160"/>
                  <a:pt x="606" y="1164"/>
                  <a:pt x="609" y="1164"/>
                </a:cubicBezTo>
                <a:cubicBezTo>
                  <a:pt x="611" y="1164"/>
                  <a:pt x="612" y="1163"/>
                  <a:pt x="611" y="1161"/>
                </a:cubicBezTo>
                <a:cubicBezTo>
                  <a:pt x="609" y="1158"/>
                  <a:pt x="608" y="1155"/>
                  <a:pt x="606" y="1152"/>
                </a:cubicBezTo>
                <a:close/>
                <a:moveTo>
                  <a:pt x="659" y="1154"/>
                </a:moveTo>
                <a:cubicBezTo>
                  <a:pt x="657" y="1159"/>
                  <a:pt x="654" y="1163"/>
                  <a:pt x="652" y="1168"/>
                </a:cubicBezTo>
                <a:cubicBezTo>
                  <a:pt x="655" y="1168"/>
                  <a:pt x="657" y="1168"/>
                  <a:pt x="660" y="1168"/>
                </a:cubicBezTo>
                <a:cubicBezTo>
                  <a:pt x="660" y="1168"/>
                  <a:pt x="660" y="1166"/>
                  <a:pt x="660" y="1166"/>
                </a:cubicBezTo>
                <a:cubicBezTo>
                  <a:pt x="660" y="1163"/>
                  <a:pt x="660" y="1161"/>
                  <a:pt x="660" y="1159"/>
                </a:cubicBezTo>
                <a:cubicBezTo>
                  <a:pt x="660" y="1157"/>
                  <a:pt x="659" y="1156"/>
                  <a:pt x="659" y="1154"/>
                </a:cubicBezTo>
                <a:close/>
                <a:moveTo>
                  <a:pt x="606" y="1134"/>
                </a:moveTo>
                <a:cubicBezTo>
                  <a:pt x="606" y="1134"/>
                  <a:pt x="605" y="1135"/>
                  <a:pt x="604" y="1135"/>
                </a:cubicBezTo>
                <a:cubicBezTo>
                  <a:pt x="604" y="1135"/>
                  <a:pt x="603" y="1135"/>
                  <a:pt x="603" y="1134"/>
                </a:cubicBezTo>
                <a:cubicBezTo>
                  <a:pt x="602" y="1134"/>
                  <a:pt x="602" y="1133"/>
                  <a:pt x="602" y="1132"/>
                </a:cubicBezTo>
                <a:cubicBezTo>
                  <a:pt x="603" y="1130"/>
                  <a:pt x="603" y="1128"/>
                  <a:pt x="604" y="1126"/>
                </a:cubicBezTo>
                <a:cubicBezTo>
                  <a:pt x="604" y="1126"/>
                  <a:pt x="604" y="1126"/>
                  <a:pt x="603" y="1126"/>
                </a:cubicBezTo>
                <a:cubicBezTo>
                  <a:pt x="602" y="1127"/>
                  <a:pt x="601" y="1128"/>
                  <a:pt x="600" y="1129"/>
                </a:cubicBezTo>
                <a:cubicBezTo>
                  <a:pt x="600" y="1130"/>
                  <a:pt x="601" y="1136"/>
                  <a:pt x="603" y="1136"/>
                </a:cubicBezTo>
                <a:cubicBezTo>
                  <a:pt x="604" y="1137"/>
                  <a:pt x="606" y="1136"/>
                  <a:pt x="606" y="1134"/>
                </a:cubicBezTo>
                <a:close/>
                <a:moveTo>
                  <a:pt x="606" y="1152"/>
                </a:moveTo>
                <a:cubicBezTo>
                  <a:pt x="605" y="1153"/>
                  <a:pt x="604" y="1153"/>
                  <a:pt x="603" y="1155"/>
                </a:cubicBezTo>
                <a:cubicBezTo>
                  <a:pt x="602" y="1155"/>
                  <a:pt x="602" y="1156"/>
                  <a:pt x="602" y="1157"/>
                </a:cubicBezTo>
                <a:cubicBezTo>
                  <a:pt x="602" y="1159"/>
                  <a:pt x="606" y="1164"/>
                  <a:pt x="609" y="1163"/>
                </a:cubicBezTo>
                <a:cubicBezTo>
                  <a:pt x="611" y="1163"/>
                  <a:pt x="612" y="1162"/>
                  <a:pt x="611" y="1161"/>
                </a:cubicBezTo>
                <a:cubicBezTo>
                  <a:pt x="609" y="1157"/>
                  <a:pt x="608" y="1155"/>
                  <a:pt x="606" y="1152"/>
                </a:cubicBezTo>
                <a:close/>
                <a:moveTo>
                  <a:pt x="659" y="1154"/>
                </a:moveTo>
                <a:cubicBezTo>
                  <a:pt x="656" y="1159"/>
                  <a:pt x="654" y="1163"/>
                  <a:pt x="652" y="1168"/>
                </a:cubicBezTo>
                <a:cubicBezTo>
                  <a:pt x="654" y="1168"/>
                  <a:pt x="657" y="1168"/>
                  <a:pt x="660" y="1168"/>
                </a:cubicBezTo>
                <a:cubicBezTo>
                  <a:pt x="660" y="1168"/>
                  <a:pt x="660" y="1167"/>
                  <a:pt x="660" y="1166"/>
                </a:cubicBezTo>
                <a:cubicBezTo>
                  <a:pt x="660" y="1163"/>
                  <a:pt x="660" y="1161"/>
                  <a:pt x="660" y="1159"/>
                </a:cubicBezTo>
                <a:cubicBezTo>
                  <a:pt x="660" y="1157"/>
                  <a:pt x="659" y="1156"/>
                  <a:pt x="659" y="1154"/>
                </a:cubicBezTo>
                <a:close/>
                <a:moveTo>
                  <a:pt x="606" y="1134"/>
                </a:moveTo>
                <a:cubicBezTo>
                  <a:pt x="605" y="1134"/>
                  <a:pt x="605" y="1135"/>
                  <a:pt x="604" y="1135"/>
                </a:cubicBezTo>
                <a:cubicBezTo>
                  <a:pt x="603" y="1135"/>
                  <a:pt x="603" y="1135"/>
                  <a:pt x="603" y="1134"/>
                </a:cubicBezTo>
                <a:cubicBezTo>
                  <a:pt x="602" y="1134"/>
                  <a:pt x="602" y="1133"/>
                  <a:pt x="602" y="1132"/>
                </a:cubicBezTo>
                <a:cubicBezTo>
                  <a:pt x="603" y="1130"/>
                  <a:pt x="603" y="1128"/>
                  <a:pt x="604" y="1126"/>
                </a:cubicBezTo>
                <a:cubicBezTo>
                  <a:pt x="603" y="1126"/>
                  <a:pt x="603" y="1126"/>
                  <a:pt x="603" y="1126"/>
                </a:cubicBezTo>
                <a:cubicBezTo>
                  <a:pt x="602" y="1127"/>
                  <a:pt x="601" y="1128"/>
                  <a:pt x="600" y="1129"/>
                </a:cubicBezTo>
                <a:cubicBezTo>
                  <a:pt x="599" y="1130"/>
                  <a:pt x="601" y="1135"/>
                  <a:pt x="603" y="1136"/>
                </a:cubicBezTo>
                <a:cubicBezTo>
                  <a:pt x="604" y="1137"/>
                  <a:pt x="606" y="1136"/>
                  <a:pt x="606" y="1134"/>
                </a:cubicBezTo>
                <a:close/>
                <a:moveTo>
                  <a:pt x="658" y="1126"/>
                </a:moveTo>
                <a:cubicBezTo>
                  <a:pt x="661" y="1122"/>
                  <a:pt x="661" y="1122"/>
                  <a:pt x="665" y="1121"/>
                </a:cubicBezTo>
                <a:cubicBezTo>
                  <a:pt x="665" y="1123"/>
                  <a:pt x="666" y="1124"/>
                  <a:pt x="668" y="1124"/>
                </a:cubicBezTo>
                <a:cubicBezTo>
                  <a:pt x="666" y="1125"/>
                  <a:pt x="664" y="1127"/>
                  <a:pt x="662" y="1128"/>
                </a:cubicBezTo>
                <a:cubicBezTo>
                  <a:pt x="661" y="1127"/>
                  <a:pt x="661" y="1126"/>
                  <a:pt x="660" y="1125"/>
                </a:cubicBezTo>
                <a:cubicBezTo>
                  <a:pt x="660" y="1125"/>
                  <a:pt x="659" y="1125"/>
                  <a:pt x="658" y="1126"/>
                </a:cubicBezTo>
                <a:close/>
                <a:moveTo>
                  <a:pt x="664" y="1125"/>
                </a:moveTo>
                <a:cubicBezTo>
                  <a:pt x="663" y="1125"/>
                  <a:pt x="663" y="1125"/>
                  <a:pt x="662" y="1125"/>
                </a:cubicBezTo>
                <a:cubicBezTo>
                  <a:pt x="662" y="1125"/>
                  <a:pt x="661" y="1125"/>
                  <a:pt x="661" y="1126"/>
                </a:cubicBezTo>
                <a:cubicBezTo>
                  <a:pt x="661" y="1126"/>
                  <a:pt x="661" y="1126"/>
                  <a:pt x="662" y="1127"/>
                </a:cubicBezTo>
                <a:cubicBezTo>
                  <a:pt x="663" y="1126"/>
                  <a:pt x="663" y="1126"/>
                  <a:pt x="664" y="1125"/>
                </a:cubicBezTo>
                <a:close/>
                <a:moveTo>
                  <a:pt x="645" y="1116"/>
                </a:moveTo>
                <a:cubicBezTo>
                  <a:pt x="639" y="1115"/>
                  <a:pt x="636" y="1117"/>
                  <a:pt x="635" y="1125"/>
                </a:cubicBezTo>
                <a:cubicBezTo>
                  <a:pt x="636" y="1123"/>
                  <a:pt x="637" y="1121"/>
                  <a:pt x="638" y="1118"/>
                </a:cubicBezTo>
                <a:cubicBezTo>
                  <a:pt x="639" y="1118"/>
                  <a:pt x="639" y="1118"/>
                  <a:pt x="639" y="1118"/>
                </a:cubicBezTo>
                <a:cubicBezTo>
                  <a:pt x="639" y="1120"/>
                  <a:pt x="639" y="1120"/>
                  <a:pt x="639" y="1121"/>
                </a:cubicBezTo>
                <a:cubicBezTo>
                  <a:pt x="640" y="1118"/>
                  <a:pt x="642" y="1116"/>
                  <a:pt x="645" y="1116"/>
                </a:cubicBezTo>
                <a:close/>
                <a:moveTo>
                  <a:pt x="689" y="1117"/>
                </a:moveTo>
                <a:cubicBezTo>
                  <a:pt x="687" y="1118"/>
                  <a:pt x="685" y="1120"/>
                  <a:pt x="684" y="1121"/>
                </a:cubicBezTo>
                <a:cubicBezTo>
                  <a:pt x="686" y="1122"/>
                  <a:pt x="688" y="1120"/>
                  <a:pt x="689" y="1117"/>
                </a:cubicBezTo>
                <a:close/>
                <a:moveTo>
                  <a:pt x="656" y="1119"/>
                </a:moveTo>
                <a:cubicBezTo>
                  <a:pt x="657" y="1118"/>
                  <a:pt x="658" y="1117"/>
                  <a:pt x="659" y="1115"/>
                </a:cubicBezTo>
                <a:cubicBezTo>
                  <a:pt x="656" y="1117"/>
                  <a:pt x="656" y="1117"/>
                  <a:pt x="656" y="1119"/>
                </a:cubicBezTo>
                <a:close/>
                <a:moveTo>
                  <a:pt x="666" y="1141"/>
                </a:moveTo>
                <a:cubicBezTo>
                  <a:pt x="664" y="1141"/>
                  <a:pt x="663" y="1142"/>
                  <a:pt x="663" y="1143"/>
                </a:cubicBezTo>
                <a:cubicBezTo>
                  <a:pt x="664" y="1142"/>
                  <a:pt x="665" y="1142"/>
                  <a:pt x="666" y="1141"/>
                </a:cubicBezTo>
                <a:close/>
                <a:moveTo>
                  <a:pt x="665" y="1125"/>
                </a:moveTo>
                <a:cubicBezTo>
                  <a:pt x="664" y="1125"/>
                  <a:pt x="663" y="1125"/>
                  <a:pt x="663" y="1125"/>
                </a:cubicBezTo>
                <a:cubicBezTo>
                  <a:pt x="662" y="1125"/>
                  <a:pt x="661" y="1125"/>
                  <a:pt x="661" y="1126"/>
                </a:cubicBezTo>
                <a:cubicBezTo>
                  <a:pt x="661" y="1126"/>
                  <a:pt x="662" y="1127"/>
                  <a:pt x="662" y="1127"/>
                </a:cubicBezTo>
                <a:cubicBezTo>
                  <a:pt x="663" y="1127"/>
                  <a:pt x="663" y="1126"/>
                  <a:pt x="665" y="1125"/>
                </a:cubicBezTo>
                <a:close/>
                <a:moveTo>
                  <a:pt x="1318" y="1103"/>
                </a:moveTo>
                <a:cubicBezTo>
                  <a:pt x="1318" y="1103"/>
                  <a:pt x="1318" y="1103"/>
                  <a:pt x="1318" y="1103"/>
                </a:cubicBezTo>
                <a:cubicBezTo>
                  <a:pt x="1313" y="1103"/>
                  <a:pt x="1313" y="1103"/>
                  <a:pt x="1313" y="1103"/>
                </a:cubicBezTo>
                <a:cubicBezTo>
                  <a:pt x="1311" y="1104"/>
                  <a:pt x="1310" y="1106"/>
                  <a:pt x="1307" y="1107"/>
                </a:cubicBezTo>
                <a:cubicBezTo>
                  <a:pt x="1306" y="1108"/>
                  <a:pt x="1304" y="1109"/>
                  <a:pt x="1302" y="1109"/>
                </a:cubicBezTo>
                <a:cubicBezTo>
                  <a:pt x="1301" y="1111"/>
                  <a:pt x="1298" y="1112"/>
                  <a:pt x="1297" y="1112"/>
                </a:cubicBezTo>
                <a:cubicBezTo>
                  <a:pt x="1295" y="1113"/>
                  <a:pt x="1293" y="1114"/>
                  <a:pt x="1291" y="1114"/>
                </a:cubicBezTo>
                <a:cubicBezTo>
                  <a:pt x="1291" y="1114"/>
                  <a:pt x="1291" y="1114"/>
                  <a:pt x="1291" y="1124"/>
                </a:cubicBezTo>
                <a:cubicBezTo>
                  <a:pt x="1294" y="1123"/>
                  <a:pt x="1297" y="1123"/>
                  <a:pt x="1300" y="1121"/>
                </a:cubicBezTo>
                <a:cubicBezTo>
                  <a:pt x="1302" y="1120"/>
                  <a:pt x="1304" y="1119"/>
                  <a:pt x="1307" y="1117"/>
                </a:cubicBezTo>
                <a:cubicBezTo>
                  <a:pt x="1307" y="1117"/>
                  <a:pt x="1307" y="1117"/>
                  <a:pt x="1307" y="1176"/>
                </a:cubicBezTo>
                <a:cubicBezTo>
                  <a:pt x="1307" y="1176"/>
                  <a:pt x="1307" y="1176"/>
                  <a:pt x="1318" y="1176"/>
                </a:cubicBezTo>
                <a:cubicBezTo>
                  <a:pt x="1318" y="1176"/>
                  <a:pt x="1318" y="1176"/>
                  <a:pt x="1318" y="1103"/>
                </a:cubicBezTo>
                <a:close/>
                <a:moveTo>
                  <a:pt x="1366" y="1103"/>
                </a:moveTo>
                <a:cubicBezTo>
                  <a:pt x="1366" y="1103"/>
                  <a:pt x="1366" y="1103"/>
                  <a:pt x="1366" y="1103"/>
                </a:cubicBezTo>
                <a:cubicBezTo>
                  <a:pt x="1361" y="1103"/>
                  <a:pt x="1361" y="1103"/>
                  <a:pt x="1361" y="1103"/>
                </a:cubicBezTo>
                <a:cubicBezTo>
                  <a:pt x="1359" y="1104"/>
                  <a:pt x="1357" y="1106"/>
                  <a:pt x="1355" y="1107"/>
                </a:cubicBezTo>
                <a:cubicBezTo>
                  <a:pt x="1353" y="1108"/>
                  <a:pt x="1351" y="1109"/>
                  <a:pt x="1350" y="1109"/>
                </a:cubicBezTo>
                <a:cubicBezTo>
                  <a:pt x="1348" y="1111"/>
                  <a:pt x="1346" y="1112"/>
                  <a:pt x="1344" y="1112"/>
                </a:cubicBezTo>
                <a:cubicBezTo>
                  <a:pt x="1342" y="1113"/>
                  <a:pt x="1341" y="1114"/>
                  <a:pt x="1339" y="1114"/>
                </a:cubicBezTo>
                <a:cubicBezTo>
                  <a:pt x="1339" y="1114"/>
                  <a:pt x="1339" y="1114"/>
                  <a:pt x="1339" y="1124"/>
                </a:cubicBezTo>
                <a:cubicBezTo>
                  <a:pt x="1342" y="1123"/>
                  <a:pt x="1344" y="1123"/>
                  <a:pt x="1347" y="1121"/>
                </a:cubicBezTo>
                <a:cubicBezTo>
                  <a:pt x="1350" y="1120"/>
                  <a:pt x="1352" y="1119"/>
                  <a:pt x="1354" y="1117"/>
                </a:cubicBezTo>
                <a:cubicBezTo>
                  <a:pt x="1354" y="1117"/>
                  <a:pt x="1354" y="1117"/>
                  <a:pt x="1354" y="1176"/>
                </a:cubicBezTo>
                <a:cubicBezTo>
                  <a:pt x="1354" y="1176"/>
                  <a:pt x="1354" y="1176"/>
                  <a:pt x="1366" y="1176"/>
                </a:cubicBezTo>
                <a:cubicBezTo>
                  <a:pt x="1366" y="1176"/>
                  <a:pt x="1366" y="1176"/>
                  <a:pt x="1366" y="1103"/>
                </a:cubicBezTo>
                <a:close/>
                <a:moveTo>
                  <a:pt x="1412" y="1103"/>
                </a:moveTo>
                <a:cubicBezTo>
                  <a:pt x="1412" y="1103"/>
                  <a:pt x="1412" y="1103"/>
                  <a:pt x="1412" y="1103"/>
                </a:cubicBezTo>
                <a:cubicBezTo>
                  <a:pt x="1408" y="1103"/>
                  <a:pt x="1408" y="1103"/>
                  <a:pt x="1408" y="1103"/>
                </a:cubicBezTo>
                <a:cubicBezTo>
                  <a:pt x="1406" y="1104"/>
                  <a:pt x="1404" y="1106"/>
                  <a:pt x="1402" y="1107"/>
                </a:cubicBezTo>
                <a:cubicBezTo>
                  <a:pt x="1401" y="1108"/>
                  <a:pt x="1399" y="1109"/>
                  <a:pt x="1397" y="1109"/>
                </a:cubicBezTo>
                <a:cubicBezTo>
                  <a:pt x="1395" y="1110"/>
                  <a:pt x="1393" y="1111"/>
                  <a:pt x="1391" y="1112"/>
                </a:cubicBezTo>
                <a:cubicBezTo>
                  <a:pt x="1390" y="1112"/>
                  <a:pt x="1388" y="1113"/>
                  <a:pt x="1386" y="1114"/>
                </a:cubicBezTo>
                <a:cubicBezTo>
                  <a:pt x="1386" y="1114"/>
                  <a:pt x="1386" y="1114"/>
                  <a:pt x="1386" y="1124"/>
                </a:cubicBezTo>
                <a:cubicBezTo>
                  <a:pt x="1389" y="1123"/>
                  <a:pt x="1392" y="1122"/>
                  <a:pt x="1394" y="1121"/>
                </a:cubicBezTo>
                <a:cubicBezTo>
                  <a:pt x="1396" y="1120"/>
                  <a:pt x="1399" y="1119"/>
                  <a:pt x="1401" y="1117"/>
                </a:cubicBezTo>
                <a:cubicBezTo>
                  <a:pt x="1401" y="1117"/>
                  <a:pt x="1401" y="1117"/>
                  <a:pt x="1401" y="1176"/>
                </a:cubicBezTo>
                <a:cubicBezTo>
                  <a:pt x="1401" y="1176"/>
                  <a:pt x="1401" y="1176"/>
                  <a:pt x="1412" y="1176"/>
                </a:cubicBezTo>
                <a:cubicBezTo>
                  <a:pt x="1412" y="1176"/>
                  <a:pt x="1412" y="1176"/>
                  <a:pt x="1412" y="1103"/>
                </a:cubicBezTo>
                <a:close/>
                <a:moveTo>
                  <a:pt x="47" y="1102"/>
                </a:moveTo>
                <a:cubicBezTo>
                  <a:pt x="47" y="1102"/>
                  <a:pt x="47" y="1102"/>
                  <a:pt x="47" y="1102"/>
                </a:cubicBezTo>
                <a:cubicBezTo>
                  <a:pt x="42" y="1102"/>
                  <a:pt x="42" y="1102"/>
                  <a:pt x="42" y="1102"/>
                </a:cubicBezTo>
                <a:cubicBezTo>
                  <a:pt x="40" y="1103"/>
                  <a:pt x="38" y="1105"/>
                  <a:pt x="36" y="1106"/>
                </a:cubicBezTo>
                <a:cubicBezTo>
                  <a:pt x="35" y="1107"/>
                  <a:pt x="32" y="1108"/>
                  <a:pt x="31" y="1109"/>
                </a:cubicBezTo>
                <a:cubicBezTo>
                  <a:pt x="29" y="1110"/>
                  <a:pt x="27" y="1111"/>
                  <a:pt x="26" y="1111"/>
                </a:cubicBezTo>
                <a:cubicBezTo>
                  <a:pt x="24" y="1112"/>
                  <a:pt x="22" y="1113"/>
                  <a:pt x="20" y="1113"/>
                </a:cubicBezTo>
                <a:cubicBezTo>
                  <a:pt x="20" y="1113"/>
                  <a:pt x="20" y="1113"/>
                  <a:pt x="20" y="1123"/>
                </a:cubicBezTo>
                <a:cubicBezTo>
                  <a:pt x="23" y="1122"/>
                  <a:pt x="26" y="1122"/>
                  <a:pt x="28" y="1120"/>
                </a:cubicBezTo>
                <a:cubicBezTo>
                  <a:pt x="31" y="1119"/>
                  <a:pt x="33" y="1118"/>
                  <a:pt x="35" y="1117"/>
                </a:cubicBezTo>
                <a:cubicBezTo>
                  <a:pt x="35" y="1117"/>
                  <a:pt x="35" y="1117"/>
                  <a:pt x="35" y="1175"/>
                </a:cubicBezTo>
                <a:cubicBezTo>
                  <a:pt x="35" y="1175"/>
                  <a:pt x="35" y="1175"/>
                  <a:pt x="47" y="1175"/>
                </a:cubicBezTo>
                <a:cubicBezTo>
                  <a:pt x="47" y="1175"/>
                  <a:pt x="47" y="1175"/>
                  <a:pt x="47" y="1102"/>
                </a:cubicBezTo>
                <a:close/>
                <a:moveTo>
                  <a:pt x="2026" y="2177"/>
                </a:moveTo>
                <a:cubicBezTo>
                  <a:pt x="2019" y="2177"/>
                  <a:pt x="2012" y="2174"/>
                  <a:pt x="2008" y="2168"/>
                </a:cubicBezTo>
                <a:cubicBezTo>
                  <a:pt x="2004" y="2162"/>
                  <a:pt x="2002" y="2153"/>
                  <a:pt x="2002" y="2141"/>
                </a:cubicBezTo>
                <a:cubicBezTo>
                  <a:pt x="2002" y="2128"/>
                  <a:pt x="2004" y="2118"/>
                  <a:pt x="2009" y="2112"/>
                </a:cubicBezTo>
                <a:cubicBezTo>
                  <a:pt x="2013" y="2105"/>
                  <a:pt x="2019" y="2101"/>
                  <a:pt x="2028" y="2101"/>
                </a:cubicBezTo>
                <a:cubicBezTo>
                  <a:pt x="2044" y="2101"/>
                  <a:pt x="2052" y="2114"/>
                  <a:pt x="2052" y="2139"/>
                </a:cubicBezTo>
                <a:cubicBezTo>
                  <a:pt x="2052" y="2152"/>
                  <a:pt x="2050" y="2161"/>
                  <a:pt x="2045" y="2168"/>
                </a:cubicBezTo>
                <a:cubicBezTo>
                  <a:pt x="2041" y="2174"/>
                  <a:pt x="2034" y="2177"/>
                  <a:pt x="2026" y="2177"/>
                </a:cubicBezTo>
                <a:close/>
                <a:moveTo>
                  <a:pt x="2027" y="2111"/>
                </a:moveTo>
                <a:cubicBezTo>
                  <a:pt x="2018" y="2111"/>
                  <a:pt x="2014" y="2121"/>
                  <a:pt x="2014" y="2141"/>
                </a:cubicBezTo>
                <a:cubicBezTo>
                  <a:pt x="2014" y="2159"/>
                  <a:pt x="2018" y="2168"/>
                  <a:pt x="2027" y="2168"/>
                </a:cubicBezTo>
                <a:cubicBezTo>
                  <a:pt x="2036" y="2168"/>
                  <a:pt x="2040" y="2159"/>
                  <a:pt x="2040" y="2140"/>
                </a:cubicBezTo>
                <a:cubicBezTo>
                  <a:pt x="2040" y="2120"/>
                  <a:pt x="2036" y="2111"/>
                  <a:pt x="2027" y="2111"/>
                </a:cubicBezTo>
                <a:close/>
                <a:moveTo>
                  <a:pt x="2100" y="2104"/>
                </a:moveTo>
                <a:cubicBezTo>
                  <a:pt x="2100" y="2104"/>
                  <a:pt x="2100" y="2104"/>
                  <a:pt x="2100" y="2104"/>
                </a:cubicBezTo>
                <a:cubicBezTo>
                  <a:pt x="2095" y="2104"/>
                  <a:pt x="2095" y="2104"/>
                  <a:pt x="2095" y="2104"/>
                </a:cubicBezTo>
                <a:cubicBezTo>
                  <a:pt x="2093" y="2105"/>
                  <a:pt x="2091" y="2107"/>
                  <a:pt x="2089" y="2107"/>
                </a:cubicBezTo>
                <a:cubicBezTo>
                  <a:pt x="2088" y="2109"/>
                  <a:pt x="2085" y="2110"/>
                  <a:pt x="2084" y="2110"/>
                </a:cubicBezTo>
                <a:cubicBezTo>
                  <a:pt x="2082" y="2111"/>
                  <a:pt x="2080" y="2112"/>
                  <a:pt x="2079" y="2112"/>
                </a:cubicBezTo>
                <a:cubicBezTo>
                  <a:pt x="2077" y="2113"/>
                  <a:pt x="2075" y="2114"/>
                  <a:pt x="2073" y="2115"/>
                </a:cubicBezTo>
                <a:cubicBezTo>
                  <a:pt x="2073" y="2115"/>
                  <a:pt x="2073" y="2115"/>
                  <a:pt x="2073" y="2125"/>
                </a:cubicBezTo>
                <a:cubicBezTo>
                  <a:pt x="2076" y="2124"/>
                  <a:pt x="2079" y="2123"/>
                  <a:pt x="2081" y="2122"/>
                </a:cubicBezTo>
                <a:cubicBezTo>
                  <a:pt x="2084" y="2121"/>
                  <a:pt x="2086" y="2120"/>
                  <a:pt x="2088" y="2118"/>
                </a:cubicBezTo>
                <a:cubicBezTo>
                  <a:pt x="2088" y="2118"/>
                  <a:pt x="2088" y="2118"/>
                  <a:pt x="2088" y="2177"/>
                </a:cubicBezTo>
                <a:cubicBezTo>
                  <a:pt x="2088" y="2177"/>
                  <a:pt x="2088" y="2177"/>
                  <a:pt x="2100" y="2177"/>
                </a:cubicBezTo>
                <a:cubicBezTo>
                  <a:pt x="2100" y="2177"/>
                  <a:pt x="2100" y="2177"/>
                  <a:pt x="2100" y="2104"/>
                </a:cubicBezTo>
                <a:close/>
                <a:moveTo>
                  <a:pt x="2147" y="2104"/>
                </a:moveTo>
                <a:cubicBezTo>
                  <a:pt x="2147" y="2104"/>
                  <a:pt x="2147" y="2104"/>
                  <a:pt x="2147" y="2104"/>
                </a:cubicBezTo>
                <a:cubicBezTo>
                  <a:pt x="2142" y="2104"/>
                  <a:pt x="2142" y="2104"/>
                  <a:pt x="2142" y="2104"/>
                </a:cubicBezTo>
                <a:cubicBezTo>
                  <a:pt x="2140" y="2105"/>
                  <a:pt x="2138" y="2107"/>
                  <a:pt x="2136" y="2107"/>
                </a:cubicBezTo>
                <a:cubicBezTo>
                  <a:pt x="2135" y="2109"/>
                  <a:pt x="2133" y="2110"/>
                  <a:pt x="2131" y="2110"/>
                </a:cubicBezTo>
                <a:cubicBezTo>
                  <a:pt x="2130" y="2112"/>
                  <a:pt x="2128" y="2112"/>
                  <a:pt x="2126" y="2113"/>
                </a:cubicBezTo>
                <a:cubicBezTo>
                  <a:pt x="2124" y="2114"/>
                  <a:pt x="2123" y="2115"/>
                  <a:pt x="2120" y="2115"/>
                </a:cubicBezTo>
                <a:cubicBezTo>
                  <a:pt x="2120" y="2115"/>
                  <a:pt x="2120" y="2115"/>
                  <a:pt x="2120" y="2125"/>
                </a:cubicBezTo>
                <a:cubicBezTo>
                  <a:pt x="2123" y="2124"/>
                  <a:pt x="2126" y="2123"/>
                  <a:pt x="2128" y="2122"/>
                </a:cubicBezTo>
                <a:cubicBezTo>
                  <a:pt x="2131" y="2121"/>
                  <a:pt x="2133" y="2120"/>
                  <a:pt x="2135" y="2118"/>
                </a:cubicBezTo>
                <a:cubicBezTo>
                  <a:pt x="2135" y="2118"/>
                  <a:pt x="2135" y="2118"/>
                  <a:pt x="2135" y="2177"/>
                </a:cubicBezTo>
                <a:cubicBezTo>
                  <a:pt x="2135" y="2177"/>
                  <a:pt x="2135" y="2177"/>
                  <a:pt x="2147" y="2177"/>
                </a:cubicBezTo>
                <a:cubicBezTo>
                  <a:pt x="2147" y="2177"/>
                  <a:pt x="2147" y="2177"/>
                  <a:pt x="2147" y="2104"/>
                </a:cubicBezTo>
                <a:close/>
                <a:moveTo>
                  <a:pt x="2193" y="2104"/>
                </a:moveTo>
                <a:cubicBezTo>
                  <a:pt x="2193" y="2104"/>
                  <a:pt x="2193" y="2104"/>
                  <a:pt x="2193" y="2104"/>
                </a:cubicBezTo>
                <a:cubicBezTo>
                  <a:pt x="2189" y="2104"/>
                  <a:pt x="2189" y="2104"/>
                  <a:pt x="2189" y="2104"/>
                </a:cubicBezTo>
                <a:cubicBezTo>
                  <a:pt x="2187" y="2105"/>
                  <a:pt x="2186" y="2107"/>
                  <a:pt x="2183" y="2107"/>
                </a:cubicBezTo>
                <a:cubicBezTo>
                  <a:pt x="2182" y="2109"/>
                  <a:pt x="2180" y="2110"/>
                  <a:pt x="2178" y="2110"/>
                </a:cubicBezTo>
                <a:cubicBezTo>
                  <a:pt x="2176" y="2112"/>
                  <a:pt x="2175" y="2112"/>
                  <a:pt x="2173" y="2113"/>
                </a:cubicBezTo>
                <a:cubicBezTo>
                  <a:pt x="2171" y="2114"/>
                  <a:pt x="2169" y="2115"/>
                  <a:pt x="2168" y="2115"/>
                </a:cubicBezTo>
                <a:cubicBezTo>
                  <a:pt x="2168" y="2115"/>
                  <a:pt x="2168" y="2115"/>
                  <a:pt x="2168" y="2125"/>
                </a:cubicBezTo>
                <a:cubicBezTo>
                  <a:pt x="2170" y="2124"/>
                  <a:pt x="2173" y="2123"/>
                  <a:pt x="2175" y="2122"/>
                </a:cubicBezTo>
                <a:cubicBezTo>
                  <a:pt x="2178" y="2121"/>
                  <a:pt x="2180" y="2120"/>
                  <a:pt x="2182" y="2118"/>
                </a:cubicBezTo>
                <a:cubicBezTo>
                  <a:pt x="2182" y="2118"/>
                  <a:pt x="2182" y="2118"/>
                  <a:pt x="2182" y="2177"/>
                </a:cubicBezTo>
                <a:cubicBezTo>
                  <a:pt x="2182" y="2177"/>
                  <a:pt x="2182" y="2177"/>
                  <a:pt x="2193" y="2177"/>
                </a:cubicBezTo>
                <a:cubicBezTo>
                  <a:pt x="2193" y="2177"/>
                  <a:pt x="2193" y="2177"/>
                  <a:pt x="2193" y="2104"/>
                </a:cubicBezTo>
                <a:close/>
                <a:moveTo>
                  <a:pt x="2241" y="2104"/>
                </a:moveTo>
                <a:cubicBezTo>
                  <a:pt x="2241" y="2104"/>
                  <a:pt x="2241" y="2104"/>
                  <a:pt x="2241" y="2104"/>
                </a:cubicBezTo>
                <a:cubicBezTo>
                  <a:pt x="2236" y="2104"/>
                  <a:pt x="2236" y="2104"/>
                  <a:pt x="2236" y="2104"/>
                </a:cubicBezTo>
                <a:cubicBezTo>
                  <a:pt x="2234" y="2105"/>
                  <a:pt x="2232" y="2107"/>
                  <a:pt x="2230" y="2107"/>
                </a:cubicBezTo>
                <a:cubicBezTo>
                  <a:pt x="2228" y="2109"/>
                  <a:pt x="2227" y="2110"/>
                  <a:pt x="2225" y="2110"/>
                </a:cubicBezTo>
                <a:cubicBezTo>
                  <a:pt x="2223" y="2112"/>
                  <a:pt x="2221" y="2112"/>
                  <a:pt x="2220" y="2113"/>
                </a:cubicBezTo>
                <a:cubicBezTo>
                  <a:pt x="2217" y="2114"/>
                  <a:pt x="2216" y="2115"/>
                  <a:pt x="2214" y="2115"/>
                </a:cubicBezTo>
                <a:cubicBezTo>
                  <a:pt x="2214" y="2115"/>
                  <a:pt x="2214" y="2115"/>
                  <a:pt x="2214" y="2125"/>
                </a:cubicBezTo>
                <a:cubicBezTo>
                  <a:pt x="2217" y="2124"/>
                  <a:pt x="2220" y="2123"/>
                  <a:pt x="2222" y="2122"/>
                </a:cubicBezTo>
                <a:cubicBezTo>
                  <a:pt x="2225" y="2121"/>
                  <a:pt x="2227" y="2120"/>
                  <a:pt x="2229" y="2118"/>
                </a:cubicBezTo>
                <a:cubicBezTo>
                  <a:pt x="2229" y="2118"/>
                  <a:pt x="2229" y="2118"/>
                  <a:pt x="2229" y="2177"/>
                </a:cubicBezTo>
                <a:cubicBezTo>
                  <a:pt x="2229" y="2177"/>
                  <a:pt x="2229" y="2177"/>
                  <a:pt x="2241" y="2177"/>
                </a:cubicBezTo>
                <a:cubicBezTo>
                  <a:pt x="2241" y="2177"/>
                  <a:pt x="2241" y="2177"/>
                  <a:pt x="2241" y="2104"/>
                </a:cubicBezTo>
                <a:close/>
                <a:moveTo>
                  <a:pt x="2364" y="2104"/>
                </a:moveTo>
                <a:cubicBezTo>
                  <a:pt x="2364" y="2104"/>
                  <a:pt x="2364" y="2104"/>
                  <a:pt x="2364" y="2104"/>
                </a:cubicBezTo>
                <a:cubicBezTo>
                  <a:pt x="2359" y="2104"/>
                  <a:pt x="2359" y="2104"/>
                  <a:pt x="2359" y="2104"/>
                </a:cubicBezTo>
                <a:cubicBezTo>
                  <a:pt x="2357" y="2105"/>
                  <a:pt x="2355" y="2107"/>
                  <a:pt x="2353" y="2107"/>
                </a:cubicBezTo>
                <a:cubicBezTo>
                  <a:pt x="2352" y="2109"/>
                  <a:pt x="2350" y="2110"/>
                  <a:pt x="2348" y="2110"/>
                </a:cubicBezTo>
                <a:cubicBezTo>
                  <a:pt x="2346" y="2112"/>
                  <a:pt x="2344" y="2112"/>
                  <a:pt x="2343" y="2113"/>
                </a:cubicBezTo>
                <a:cubicBezTo>
                  <a:pt x="2341" y="2114"/>
                  <a:pt x="2339" y="2115"/>
                  <a:pt x="2337" y="2115"/>
                </a:cubicBezTo>
                <a:cubicBezTo>
                  <a:pt x="2337" y="2115"/>
                  <a:pt x="2337" y="2115"/>
                  <a:pt x="2337" y="2125"/>
                </a:cubicBezTo>
                <a:cubicBezTo>
                  <a:pt x="2340" y="2124"/>
                  <a:pt x="2343" y="2123"/>
                  <a:pt x="2346" y="2122"/>
                </a:cubicBezTo>
                <a:cubicBezTo>
                  <a:pt x="2348" y="2121"/>
                  <a:pt x="2350" y="2120"/>
                  <a:pt x="2352" y="2118"/>
                </a:cubicBezTo>
                <a:cubicBezTo>
                  <a:pt x="2352" y="2118"/>
                  <a:pt x="2352" y="2118"/>
                  <a:pt x="2352" y="2177"/>
                </a:cubicBezTo>
                <a:cubicBezTo>
                  <a:pt x="2352" y="2177"/>
                  <a:pt x="2352" y="2177"/>
                  <a:pt x="2364" y="2177"/>
                </a:cubicBezTo>
                <a:cubicBezTo>
                  <a:pt x="2364" y="2177"/>
                  <a:pt x="2364" y="2177"/>
                  <a:pt x="2364" y="2104"/>
                </a:cubicBezTo>
                <a:close/>
                <a:moveTo>
                  <a:pt x="2411" y="2104"/>
                </a:moveTo>
                <a:cubicBezTo>
                  <a:pt x="2411" y="2104"/>
                  <a:pt x="2411" y="2104"/>
                  <a:pt x="2411" y="2104"/>
                </a:cubicBezTo>
                <a:cubicBezTo>
                  <a:pt x="2406" y="2104"/>
                  <a:pt x="2406" y="2104"/>
                  <a:pt x="2406" y="2104"/>
                </a:cubicBezTo>
                <a:cubicBezTo>
                  <a:pt x="2404" y="2105"/>
                  <a:pt x="2403" y="2107"/>
                  <a:pt x="2400" y="2107"/>
                </a:cubicBezTo>
                <a:cubicBezTo>
                  <a:pt x="2399" y="2109"/>
                  <a:pt x="2397" y="2110"/>
                  <a:pt x="2395" y="2110"/>
                </a:cubicBezTo>
                <a:cubicBezTo>
                  <a:pt x="2394" y="2112"/>
                  <a:pt x="2392" y="2112"/>
                  <a:pt x="2390" y="2113"/>
                </a:cubicBezTo>
                <a:cubicBezTo>
                  <a:pt x="2388" y="2114"/>
                  <a:pt x="2387" y="2115"/>
                  <a:pt x="2384" y="2115"/>
                </a:cubicBezTo>
                <a:cubicBezTo>
                  <a:pt x="2384" y="2115"/>
                  <a:pt x="2384" y="2115"/>
                  <a:pt x="2384" y="2125"/>
                </a:cubicBezTo>
                <a:cubicBezTo>
                  <a:pt x="2387" y="2124"/>
                  <a:pt x="2390" y="2123"/>
                  <a:pt x="2392" y="2122"/>
                </a:cubicBezTo>
                <a:cubicBezTo>
                  <a:pt x="2395" y="2121"/>
                  <a:pt x="2398" y="2120"/>
                  <a:pt x="2400" y="2118"/>
                </a:cubicBezTo>
                <a:cubicBezTo>
                  <a:pt x="2400" y="2118"/>
                  <a:pt x="2400" y="2118"/>
                  <a:pt x="2400" y="2177"/>
                </a:cubicBezTo>
                <a:cubicBezTo>
                  <a:pt x="2400" y="2177"/>
                  <a:pt x="2400" y="2177"/>
                  <a:pt x="2411" y="2177"/>
                </a:cubicBezTo>
                <a:cubicBezTo>
                  <a:pt x="2411" y="2177"/>
                  <a:pt x="2411" y="2177"/>
                  <a:pt x="2411" y="2104"/>
                </a:cubicBezTo>
                <a:close/>
                <a:moveTo>
                  <a:pt x="2459" y="2104"/>
                </a:moveTo>
                <a:cubicBezTo>
                  <a:pt x="2459" y="2104"/>
                  <a:pt x="2459" y="2104"/>
                  <a:pt x="2459" y="2104"/>
                </a:cubicBezTo>
                <a:cubicBezTo>
                  <a:pt x="2454" y="2104"/>
                  <a:pt x="2454" y="2104"/>
                  <a:pt x="2454" y="2104"/>
                </a:cubicBezTo>
                <a:cubicBezTo>
                  <a:pt x="2452" y="2105"/>
                  <a:pt x="2450" y="2107"/>
                  <a:pt x="2449" y="2107"/>
                </a:cubicBezTo>
                <a:cubicBezTo>
                  <a:pt x="2447" y="2109"/>
                  <a:pt x="2445" y="2110"/>
                  <a:pt x="2443" y="2110"/>
                </a:cubicBezTo>
                <a:cubicBezTo>
                  <a:pt x="2441" y="2112"/>
                  <a:pt x="2439" y="2112"/>
                  <a:pt x="2438" y="2113"/>
                </a:cubicBezTo>
                <a:cubicBezTo>
                  <a:pt x="2436" y="2114"/>
                  <a:pt x="2434" y="2115"/>
                  <a:pt x="2432" y="2115"/>
                </a:cubicBezTo>
                <a:cubicBezTo>
                  <a:pt x="2432" y="2115"/>
                  <a:pt x="2432" y="2115"/>
                  <a:pt x="2432" y="2125"/>
                </a:cubicBezTo>
                <a:cubicBezTo>
                  <a:pt x="2435" y="2124"/>
                  <a:pt x="2438" y="2123"/>
                  <a:pt x="2441" y="2122"/>
                </a:cubicBezTo>
                <a:cubicBezTo>
                  <a:pt x="2443" y="2121"/>
                  <a:pt x="2445" y="2120"/>
                  <a:pt x="2447" y="2118"/>
                </a:cubicBezTo>
                <a:cubicBezTo>
                  <a:pt x="2447" y="2118"/>
                  <a:pt x="2447" y="2118"/>
                  <a:pt x="2447" y="2177"/>
                </a:cubicBezTo>
                <a:cubicBezTo>
                  <a:pt x="2447" y="2177"/>
                  <a:pt x="2447" y="2177"/>
                  <a:pt x="2459" y="2177"/>
                </a:cubicBezTo>
                <a:cubicBezTo>
                  <a:pt x="2459" y="2177"/>
                  <a:pt x="2459" y="2177"/>
                  <a:pt x="2459" y="2104"/>
                </a:cubicBezTo>
                <a:close/>
                <a:moveTo>
                  <a:pt x="2505" y="2104"/>
                </a:moveTo>
                <a:cubicBezTo>
                  <a:pt x="2505" y="2104"/>
                  <a:pt x="2505" y="2104"/>
                  <a:pt x="2505" y="2104"/>
                </a:cubicBezTo>
                <a:cubicBezTo>
                  <a:pt x="2501" y="2104"/>
                  <a:pt x="2501" y="2104"/>
                  <a:pt x="2501" y="2104"/>
                </a:cubicBezTo>
                <a:cubicBezTo>
                  <a:pt x="2499" y="2105"/>
                  <a:pt x="2498" y="2107"/>
                  <a:pt x="2495" y="2107"/>
                </a:cubicBezTo>
                <a:cubicBezTo>
                  <a:pt x="2494" y="2109"/>
                  <a:pt x="2492" y="2110"/>
                  <a:pt x="2490" y="2110"/>
                </a:cubicBezTo>
                <a:cubicBezTo>
                  <a:pt x="2488" y="2111"/>
                  <a:pt x="2487" y="2112"/>
                  <a:pt x="2485" y="2112"/>
                </a:cubicBezTo>
                <a:cubicBezTo>
                  <a:pt x="2483" y="2113"/>
                  <a:pt x="2481" y="2114"/>
                  <a:pt x="2480" y="2115"/>
                </a:cubicBezTo>
                <a:cubicBezTo>
                  <a:pt x="2480" y="2115"/>
                  <a:pt x="2480" y="2115"/>
                  <a:pt x="2480" y="2125"/>
                </a:cubicBezTo>
                <a:cubicBezTo>
                  <a:pt x="2482" y="2124"/>
                  <a:pt x="2485" y="2123"/>
                  <a:pt x="2487" y="2122"/>
                </a:cubicBezTo>
                <a:cubicBezTo>
                  <a:pt x="2490" y="2121"/>
                  <a:pt x="2492" y="2120"/>
                  <a:pt x="2494" y="2118"/>
                </a:cubicBezTo>
                <a:cubicBezTo>
                  <a:pt x="2494" y="2118"/>
                  <a:pt x="2494" y="2118"/>
                  <a:pt x="2494" y="2177"/>
                </a:cubicBezTo>
                <a:cubicBezTo>
                  <a:pt x="2494" y="2177"/>
                  <a:pt x="2494" y="2177"/>
                  <a:pt x="2505" y="2177"/>
                </a:cubicBezTo>
                <a:cubicBezTo>
                  <a:pt x="2505" y="2177"/>
                  <a:pt x="2505" y="2177"/>
                  <a:pt x="2505" y="2104"/>
                </a:cubicBezTo>
                <a:close/>
                <a:moveTo>
                  <a:pt x="2262" y="2136"/>
                </a:moveTo>
                <a:cubicBezTo>
                  <a:pt x="2262" y="2136"/>
                  <a:pt x="2262" y="2136"/>
                  <a:pt x="2262" y="2136"/>
                </a:cubicBezTo>
                <a:cubicBezTo>
                  <a:pt x="2261" y="2144"/>
                  <a:pt x="2261" y="2144"/>
                  <a:pt x="2261" y="2144"/>
                </a:cubicBezTo>
                <a:cubicBezTo>
                  <a:pt x="2268" y="2145"/>
                  <a:pt x="2268" y="2148"/>
                  <a:pt x="2268" y="2150"/>
                </a:cubicBezTo>
                <a:cubicBezTo>
                  <a:pt x="2268" y="2152"/>
                  <a:pt x="2268" y="2155"/>
                  <a:pt x="2268" y="2157"/>
                </a:cubicBezTo>
                <a:cubicBezTo>
                  <a:pt x="2268" y="2160"/>
                  <a:pt x="2267" y="2162"/>
                  <a:pt x="2267" y="2164"/>
                </a:cubicBezTo>
                <a:cubicBezTo>
                  <a:pt x="2267" y="2174"/>
                  <a:pt x="2273" y="2177"/>
                  <a:pt x="2282" y="2177"/>
                </a:cubicBezTo>
                <a:cubicBezTo>
                  <a:pt x="2282" y="2177"/>
                  <a:pt x="2282" y="2177"/>
                  <a:pt x="2286" y="2177"/>
                </a:cubicBezTo>
                <a:cubicBezTo>
                  <a:pt x="2286" y="2177"/>
                  <a:pt x="2286" y="2177"/>
                  <a:pt x="2286" y="2168"/>
                </a:cubicBezTo>
                <a:cubicBezTo>
                  <a:pt x="2286" y="2168"/>
                  <a:pt x="2286" y="2168"/>
                  <a:pt x="2284" y="2168"/>
                </a:cubicBezTo>
                <a:cubicBezTo>
                  <a:pt x="2280" y="2168"/>
                  <a:pt x="2279" y="2166"/>
                  <a:pt x="2279" y="2162"/>
                </a:cubicBezTo>
                <a:cubicBezTo>
                  <a:pt x="2279" y="2161"/>
                  <a:pt x="2279" y="2159"/>
                  <a:pt x="2280" y="2157"/>
                </a:cubicBezTo>
                <a:cubicBezTo>
                  <a:pt x="2280" y="2156"/>
                  <a:pt x="2280" y="2154"/>
                  <a:pt x="2280" y="2151"/>
                </a:cubicBezTo>
                <a:cubicBezTo>
                  <a:pt x="2280" y="2144"/>
                  <a:pt x="2277" y="2141"/>
                  <a:pt x="2271" y="2140"/>
                </a:cubicBezTo>
                <a:cubicBezTo>
                  <a:pt x="2271" y="2140"/>
                  <a:pt x="2271" y="2140"/>
                  <a:pt x="2271" y="2140"/>
                </a:cubicBezTo>
                <a:cubicBezTo>
                  <a:pt x="2277" y="2139"/>
                  <a:pt x="2280" y="2136"/>
                  <a:pt x="2280" y="2129"/>
                </a:cubicBezTo>
                <a:cubicBezTo>
                  <a:pt x="2280" y="2126"/>
                  <a:pt x="2280" y="2124"/>
                  <a:pt x="2280" y="2123"/>
                </a:cubicBezTo>
                <a:cubicBezTo>
                  <a:pt x="2279" y="2121"/>
                  <a:pt x="2279" y="2119"/>
                  <a:pt x="2279" y="2118"/>
                </a:cubicBezTo>
                <a:cubicBezTo>
                  <a:pt x="2279" y="2114"/>
                  <a:pt x="2280" y="2112"/>
                  <a:pt x="2284" y="2112"/>
                </a:cubicBezTo>
                <a:cubicBezTo>
                  <a:pt x="2284" y="2112"/>
                  <a:pt x="2284" y="2112"/>
                  <a:pt x="2286" y="2112"/>
                </a:cubicBezTo>
                <a:cubicBezTo>
                  <a:pt x="2286" y="2112"/>
                  <a:pt x="2286" y="2112"/>
                  <a:pt x="2286" y="2103"/>
                </a:cubicBezTo>
                <a:cubicBezTo>
                  <a:pt x="2286" y="2103"/>
                  <a:pt x="2286" y="2103"/>
                  <a:pt x="2282" y="2103"/>
                </a:cubicBezTo>
                <a:cubicBezTo>
                  <a:pt x="2273" y="2103"/>
                  <a:pt x="2267" y="2107"/>
                  <a:pt x="2267" y="2115"/>
                </a:cubicBezTo>
                <a:cubicBezTo>
                  <a:pt x="2267" y="2118"/>
                  <a:pt x="2268" y="2120"/>
                  <a:pt x="2268" y="2123"/>
                </a:cubicBezTo>
                <a:cubicBezTo>
                  <a:pt x="2268" y="2125"/>
                  <a:pt x="2268" y="2128"/>
                  <a:pt x="2268" y="2130"/>
                </a:cubicBezTo>
                <a:cubicBezTo>
                  <a:pt x="2268" y="2132"/>
                  <a:pt x="2268" y="2136"/>
                  <a:pt x="2262" y="2136"/>
                </a:cubicBezTo>
                <a:close/>
                <a:moveTo>
                  <a:pt x="2316" y="2144"/>
                </a:moveTo>
                <a:cubicBezTo>
                  <a:pt x="2316" y="2144"/>
                  <a:pt x="2316" y="2144"/>
                  <a:pt x="2316" y="2144"/>
                </a:cubicBezTo>
                <a:cubicBezTo>
                  <a:pt x="2316" y="2136"/>
                  <a:pt x="2316" y="2136"/>
                  <a:pt x="2316" y="2136"/>
                </a:cubicBezTo>
                <a:cubicBezTo>
                  <a:pt x="2310" y="2136"/>
                  <a:pt x="2310" y="2132"/>
                  <a:pt x="2310" y="2130"/>
                </a:cubicBezTo>
                <a:cubicBezTo>
                  <a:pt x="2310" y="2128"/>
                  <a:pt x="2310" y="2125"/>
                  <a:pt x="2310" y="2123"/>
                </a:cubicBezTo>
                <a:cubicBezTo>
                  <a:pt x="2310" y="2120"/>
                  <a:pt x="2310" y="2118"/>
                  <a:pt x="2310" y="2115"/>
                </a:cubicBezTo>
                <a:cubicBezTo>
                  <a:pt x="2310" y="2107"/>
                  <a:pt x="2305" y="2103"/>
                  <a:pt x="2296" y="2103"/>
                </a:cubicBezTo>
                <a:cubicBezTo>
                  <a:pt x="2296" y="2103"/>
                  <a:pt x="2296" y="2103"/>
                  <a:pt x="2292" y="2103"/>
                </a:cubicBezTo>
                <a:cubicBezTo>
                  <a:pt x="2292" y="2103"/>
                  <a:pt x="2292" y="2103"/>
                  <a:pt x="2292" y="2112"/>
                </a:cubicBezTo>
                <a:cubicBezTo>
                  <a:pt x="2292" y="2112"/>
                  <a:pt x="2292" y="2112"/>
                  <a:pt x="2294" y="2112"/>
                </a:cubicBezTo>
                <a:cubicBezTo>
                  <a:pt x="2298" y="2112"/>
                  <a:pt x="2299" y="2114"/>
                  <a:pt x="2299" y="2118"/>
                </a:cubicBezTo>
                <a:cubicBezTo>
                  <a:pt x="2299" y="2119"/>
                  <a:pt x="2299" y="2121"/>
                  <a:pt x="2299" y="2123"/>
                </a:cubicBezTo>
                <a:cubicBezTo>
                  <a:pt x="2298" y="2124"/>
                  <a:pt x="2298" y="2126"/>
                  <a:pt x="2298" y="2129"/>
                </a:cubicBezTo>
                <a:cubicBezTo>
                  <a:pt x="2298" y="2136"/>
                  <a:pt x="2301" y="2139"/>
                  <a:pt x="2307" y="2140"/>
                </a:cubicBezTo>
                <a:cubicBezTo>
                  <a:pt x="2307" y="2140"/>
                  <a:pt x="2307" y="2140"/>
                  <a:pt x="2307" y="2140"/>
                </a:cubicBezTo>
                <a:cubicBezTo>
                  <a:pt x="2301" y="2141"/>
                  <a:pt x="2298" y="2144"/>
                  <a:pt x="2298" y="2151"/>
                </a:cubicBezTo>
                <a:cubicBezTo>
                  <a:pt x="2298" y="2154"/>
                  <a:pt x="2298" y="2156"/>
                  <a:pt x="2299" y="2157"/>
                </a:cubicBezTo>
                <a:cubicBezTo>
                  <a:pt x="2299" y="2159"/>
                  <a:pt x="2299" y="2161"/>
                  <a:pt x="2299" y="2162"/>
                </a:cubicBezTo>
                <a:cubicBezTo>
                  <a:pt x="2299" y="2166"/>
                  <a:pt x="2298" y="2168"/>
                  <a:pt x="2294" y="2168"/>
                </a:cubicBezTo>
                <a:cubicBezTo>
                  <a:pt x="2294" y="2168"/>
                  <a:pt x="2294" y="2168"/>
                  <a:pt x="2292" y="2168"/>
                </a:cubicBezTo>
                <a:cubicBezTo>
                  <a:pt x="2292" y="2168"/>
                  <a:pt x="2292" y="2168"/>
                  <a:pt x="2292" y="2177"/>
                </a:cubicBezTo>
                <a:cubicBezTo>
                  <a:pt x="2292" y="2177"/>
                  <a:pt x="2292" y="2177"/>
                  <a:pt x="2296" y="2177"/>
                </a:cubicBezTo>
                <a:cubicBezTo>
                  <a:pt x="2305" y="2177"/>
                  <a:pt x="2310" y="2174"/>
                  <a:pt x="2310" y="2164"/>
                </a:cubicBezTo>
                <a:cubicBezTo>
                  <a:pt x="2310" y="2162"/>
                  <a:pt x="2310" y="2160"/>
                  <a:pt x="2310" y="2157"/>
                </a:cubicBezTo>
                <a:cubicBezTo>
                  <a:pt x="2310" y="2155"/>
                  <a:pt x="2310" y="2152"/>
                  <a:pt x="2310" y="2150"/>
                </a:cubicBezTo>
                <a:cubicBezTo>
                  <a:pt x="2310" y="2148"/>
                  <a:pt x="2310" y="2145"/>
                  <a:pt x="2316" y="2144"/>
                </a:cubicBezTo>
                <a:close/>
                <a:moveTo>
                  <a:pt x="2644" y="2136"/>
                </a:moveTo>
                <a:cubicBezTo>
                  <a:pt x="2644" y="2136"/>
                  <a:pt x="2644" y="2136"/>
                  <a:pt x="2644" y="2136"/>
                </a:cubicBezTo>
                <a:cubicBezTo>
                  <a:pt x="2643" y="2144"/>
                  <a:pt x="2643" y="2144"/>
                  <a:pt x="2643" y="2144"/>
                </a:cubicBezTo>
                <a:cubicBezTo>
                  <a:pt x="2649" y="2145"/>
                  <a:pt x="2650" y="2148"/>
                  <a:pt x="2650" y="2150"/>
                </a:cubicBezTo>
                <a:cubicBezTo>
                  <a:pt x="2650" y="2152"/>
                  <a:pt x="2650" y="2155"/>
                  <a:pt x="2650" y="2157"/>
                </a:cubicBezTo>
                <a:cubicBezTo>
                  <a:pt x="2649" y="2160"/>
                  <a:pt x="2649" y="2162"/>
                  <a:pt x="2649" y="2164"/>
                </a:cubicBezTo>
                <a:cubicBezTo>
                  <a:pt x="2649" y="2174"/>
                  <a:pt x="2655" y="2177"/>
                  <a:pt x="2664" y="2177"/>
                </a:cubicBezTo>
                <a:cubicBezTo>
                  <a:pt x="2664" y="2177"/>
                  <a:pt x="2664" y="2177"/>
                  <a:pt x="2667" y="2177"/>
                </a:cubicBezTo>
                <a:cubicBezTo>
                  <a:pt x="2667" y="2177"/>
                  <a:pt x="2667" y="2177"/>
                  <a:pt x="2667" y="2168"/>
                </a:cubicBezTo>
                <a:cubicBezTo>
                  <a:pt x="2667" y="2168"/>
                  <a:pt x="2667" y="2168"/>
                  <a:pt x="2666" y="2168"/>
                </a:cubicBezTo>
                <a:cubicBezTo>
                  <a:pt x="2662" y="2168"/>
                  <a:pt x="2661" y="2166"/>
                  <a:pt x="2661" y="2162"/>
                </a:cubicBezTo>
                <a:cubicBezTo>
                  <a:pt x="2661" y="2161"/>
                  <a:pt x="2661" y="2159"/>
                  <a:pt x="2661" y="2157"/>
                </a:cubicBezTo>
                <a:cubicBezTo>
                  <a:pt x="2661" y="2156"/>
                  <a:pt x="2662" y="2154"/>
                  <a:pt x="2662" y="2151"/>
                </a:cubicBezTo>
                <a:cubicBezTo>
                  <a:pt x="2662" y="2144"/>
                  <a:pt x="2659" y="2141"/>
                  <a:pt x="2653" y="2140"/>
                </a:cubicBezTo>
                <a:cubicBezTo>
                  <a:pt x="2653" y="2140"/>
                  <a:pt x="2653" y="2140"/>
                  <a:pt x="2653" y="2140"/>
                </a:cubicBezTo>
                <a:cubicBezTo>
                  <a:pt x="2659" y="2139"/>
                  <a:pt x="2662" y="2136"/>
                  <a:pt x="2662" y="2129"/>
                </a:cubicBezTo>
                <a:cubicBezTo>
                  <a:pt x="2662" y="2126"/>
                  <a:pt x="2661" y="2124"/>
                  <a:pt x="2661" y="2123"/>
                </a:cubicBezTo>
                <a:cubicBezTo>
                  <a:pt x="2661" y="2121"/>
                  <a:pt x="2661" y="2119"/>
                  <a:pt x="2661" y="2118"/>
                </a:cubicBezTo>
                <a:cubicBezTo>
                  <a:pt x="2661" y="2114"/>
                  <a:pt x="2662" y="2112"/>
                  <a:pt x="2666" y="2112"/>
                </a:cubicBezTo>
                <a:cubicBezTo>
                  <a:pt x="2666" y="2112"/>
                  <a:pt x="2666" y="2112"/>
                  <a:pt x="2667" y="2112"/>
                </a:cubicBezTo>
                <a:cubicBezTo>
                  <a:pt x="2667" y="2112"/>
                  <a:pt x="2667" y="2112"/>
                  <a:pt x="2667" y="2103"/>
                </a:cubicBezTo>
                <a:cubicBezTo>
                  <a:pt x="2667" y="2103"/>
                  <a:pt x="2667" y="2103"/>
                  <a:pt x="2664" y="2103"/>
                </a:cubicBezTo>
                <a:cubicBezTo>
                  <a:pt x="2655" y="2103"/>
                  <a:pt x="2649" y="2107"/>
                  <a:pt x="2649" y="2115"/>
                </a:cubicBezTo>
                <a:cubicBezTo>
                  <a:pt x="2649" y="2118"/>
                  <a:pt x="2649" y="2120"/>
                  <a:pt x="2649" y="2123"/>
                </a:cubicBezTo>
                <a:cubicBezTo>
                  <a:pt x="2650" y="2125"/>
                  <a:pt x="2650" y="2128"/>
                  <a:pt x="2650" y="2130"/>
                </a:cubicBezTo>
                <a:cubicBezTo>
                  <a:pt x="2650" y="2132"/>
                  <a:pt x="2649" y="2136"/>
                  <a:pt x="2644" y="2136"/>
                </a:cubicBezTo>
                <a:close/>
                <a:moveTo>
                  <a:pt x="2698" y="2144"/>
                </a:moveTo>
                <a:cubicBezTo>
                  <a:pt x="2698" y="2144"/>
                  <a:pt x="2698" y="2144"/>
                  <a:pt x="2698" y="2144"/>
                </a:cubicBezTo>
                <a:cubicBezTo>
                  <a:pt x="2698" y="2136"/>
                  <a:pt x="2698" y="2136"/>
                  <a:pt x="2698" y="2136"/>
                </a:cubicBezTo>
                <a:cubicBezTo>
                  <a:pt x="2692" y="2136"/>
                  <a:pt x="2691" y="2132"/>
                  <a:pt x="2691" y="2130"/>
                </a:cubicBezTo>
                <a:cubicBezTo>
                  <a:pt x="2691" y="2128"/>
                  <a:pt x="2691" y="2125"/>
                  <a:pt x="2692" y="2123"/>
                </a:cubicBezTo>
                <a:cubicBezTo>
                  <a:pt x="2692" y="2120"/>
                  <a:pt x="2692" y="2118"/>
                  <a:pt x="2692" y="2115"/>
                </a:cubicBezTo>
                <a:cubicBezTo>
                  <a:pt x="2692" y="2107"/>
                  <a:pt x="2687" y="2103"/>
                  <a:pt x="2678" y="2103"/>
                </a:cubicBezTo>
                <a:cubicBezTo>
                  <a:pt x="2678" y="2103"/>
                  <a:pt x="2678" y="2103"/>
                  <a:pt x="2674" y="2103"/>
                </a:cubicBezTo>
                <a:cubicBezTo>
                  <a:pt x="2674" y="2103"/>
                  <a:pt x="2674" y="2103"/>
                  <a:pt x="2674" y="2112"/>
                </a:cubicBezTo>
                <a:cubicBezTo>
                  <a:pt x="2674" y="2112"/>
                  <a:pt x="2674" y="2112"/>
                  <a:pt x="2675" y="2112"/>
                </a:cubicBezTo>
                <a:cubicBezTo>
                  <a:pt x="2679" y="2112"/>
                  <a:pt x="2681" y="2114"/>
                  <a:pt x="2681" y="2118"/>
                </a:cubicBezTo>
                <a:cubicBezTo>
                  <a:pt x="2681" y="2119"/>
                  <a:pt x="2680" y="2121"/>
                  <a:pt x="2680" y="2123"/>
                </a:cubicBezTo>
                <a:cubicBezTo>
                  <a:pt x="2680" y="2124"/>
                  <a:pt x="2680" y="2126"/>
                  <a:pt x="2680" y="2129"/>
                </a:cubicBezTo>
                <a:cubicBezTo>
                  <a:pt x="2680" y="2136"/>
                  <a:pt x="2682" y="2139"/>
                  <a:pt x="2688" y="2140"/>
                </a:cubicBezTo>
                <a:cubicBezTo>
                  <a:pt x="2688" y="2140"/>
                  <a:pt x="2688" y="2140"/>
                  <a:pt x="2688" y="2140"/>
                </a:cubicBezTo>
                <a:cubicBezTo>
                  <a:pt x="2682" y="2141"/>
                  <a:pt x="2680" y="2144"/>
                  <a:pt x="2680" y="2151"/>
                </a:cubicBezTo>
                <a:cubicBezTo>
                  <a:pt x="2680" y="2154"/>
                  <a:pt x="2680" y="2156"/>
                  <a:pt x="2680" y="2157"/>
                </a:cubicBezTo>
                <a:cubicBezTo>
                  <a:pt x="2680" y="2159"/>
                  <a:pt x="2681" y="2161"/>
                  <a:pt x="2681" y="2162"/>
                </a:cubicBezTo>
                <a:cubicBezTo>
                  <a:pt x="2681" y="2166"/>
                  <a:pt x="2679" y="2168"/>
                  <a:pt x="2675" y="2168"/>
                </a:cubicBezTo>
                <a:cubicBezTo>
                  <a:pt x="2675" y="2168"/>
                  <a:pt x="2675" y="2168"/>
                  <a:pt x="2674" y="2168"/>
                </a:cubicBezTo>
                <a:cubicBezTo>
                  <a:pt x="2674" y="2168"/>
                  <a:pt x="2674" y="2168"/>
                  <a:pt x="2674" y="2177"/>
                </a:cubicBezTo>
                <a:cubicBezTo>
                  <a:pt x="2674" y="2177"/>
                  <a:pt x="2674" y="2177"/>
                  <a:pt x="2678" y="2177"/>
                </a:cubicBezTo>
                <a:cubicBezTo>
                  <a:pt x="2686" y="2177"/>
                  <a:pt x="2692" y="2174"/>
                  <a:pt x="2692" y="2164"/>
                </a:cubicBezTo>
                <a:cubicBezTo>
                  <a:pt x="2692" y="2162"/>
                  <a:pt x="2692" y="2160"/>
                  <a:pt x="2692" y="2157"/>
                </a:cubicBezTo>
                <a:cubicBezTo>
                  <a:pt x="2691" y="2155"/>
                  <a:pt x="2691" y="2152"/>
                  <a:pt x="2691" y="2150"/>
                </a:cubicBezTo>
                <a:cubicBezTo>
                  <a:pt x="2691" y="2148"/>
                  <a:pt x="2692" y="2145"/>
                  <a:pt x="2698" y="2144"/>
                </a:cubicBezTo>
                <a:close/>
                <a:moveTo>
                  <a:pt x="2745" y="2104"/>
                </a:moveTo>
                <a:cubicBezTo>
                  <a:pt x="2745" y="2104"/>
                  <a:pt x="2745" y="2104"/>
                  <a:pt x="2745" y="2104"/>
                </a:cubicBezTo>
                <a:cubicBezTo>
                  <a:pt x="2740" y="2104"/>
                  <a:pt x="2740" y="2104"/>
                  <a:pt x="2740" y="2104"/>
                </a:cubicBezTo>
                <a:cubicBezTo>
                  <a:pt x="2738" y="2105"/>
                  <a:pt x="2737" y="2107"/>
                  <a:pt x="2735" y="2107"/>
                </a:cubicBezTo>
                <a:cubicBezTo>
                  <a:pt x="2733" y="2109"/>
                  <a:pt x="2731" y="2110"/>
                  <a:pt x="2729" y="2110"/>
                </a:cubicBezTo>
                <a:cubicBezTo>
                  <a:pt x="2727" y="2111"/>
                  <a:pt x="2726" y="2112"/>
                  <a:pt x="2724" y="2112"/>
                </a:cubicBezTo>
                <a:cubicBezTo>
                  <a:pt x="2722" y="2113"/>
                  <a:pt x="2721" y="2114"/>
                  <a:pt x="2719" y="2115"/>
                </a:cubicBezTo>
                <a:cubicBezTo>
                  <a:pt x="2719" y="2115"/>
                  <a:pt x="2719" y="2115"/>
                  <a:pt x="2719" y="2125"/>
                </a:cubicBezTo>
                <a:cubicBezTo>
                  <a:pt x="2721" y="2124"/>
                  <a:pt x="2724" y="2123"/>
                  <a:pt x="2727" y="2122"/>
                </a:cubicBezTo>
                <a:cubicBezTo>
                  <a:pt x="2729" y="2121"/>
                  <a:pt x="2732" y="2120"/>
                  <a:pt x="2734" y="2118"/>
                </a:cubicBezTo>
                <a:cubicBezTo>
                  <a:pt x="2734" y="2118"/>
                  <a:pt x="2734" y="2118"/>
                  <a:pt x="2734" y="2177"/>
                </a:cubicBezTo>
                <a:cubicBezTo>
                  <a:pt x="2734" y="2177"/>
                  <a:pt x="2734" y="2177"/>
                  <a:pt x="2745" y="2177"/>
                </a:cubicBezTo>
                <a:cubicBezTo>
                  <a:pt x="2745" y="2177"/>
                  <a:pt x="2745" y="2177"/>
                  <a:pt x="2745" y="2104"/>
                </a:cubicBezTo>
                <a:close/>
                <a:moveTo>
                  <a:pt x="2792" y="2104"/>
                </a:moveTo>
                <a:cubicBezTo>
                  <a:pt x="2792" y="2104"/>
                  <a:pt x="2792" y="2104"/>
                  <a:pt x="2792" y="2104"/>
                </a:cubicBezTo>
                <a:cubicBezTo>
                  <a:pt x="2787" y="2104"/>
                  <a:pt x="2787" y="2104"/>
                  <a:pt x="2787" y="2104"/>
                </a:cubicBezTo>
                <a:cubicBezTo>
                  <a:pt x="2785" y="2105"/>
                  <a:pt x="2784" y="2107"/>
                  <a:pt x="2782" y="2107"/>
                </a:cubicBezTo>
                <a:cubicBezTo>
                  <a:pt x="2780" y="2109"/>
                  <a:pt x="2778" y="2110"/>
                  <a:pt x="2777" y="2110"/>
                </a:cubicBezTo>
                <a:cubicBezTo>
                  <a:pt x="2775" y="2112"/>
                  <a:pt x="2773" y="2112"/>
                  <a:pt x="2772" y="2113"/>
                </a:cubicBezTo>
                <a:cubicBezTo>
                  <a:pt x="2770" y="2114"/>
                  <a:pt x="2768" y="2115"/>
                  <a:pt x="2766" y="2115"/>
                </a:cubicBezTo>
                <a:cubicBezTo>
                  <a:pt x="2766" y="2115"/>
                  <a:pt x="2766" y="2115"/>
                  <a:pt x="2766" y="2125"/>
                </a:cubicBezTo>
                <a:cubicBezTo>
                  <a:pt x="2769" y="2124"/>
                  <a:pt x="2772" y="2123"/>
                  <a:pt x="2774" y="2122"/>
                </a:cubicBezTo>
                <a:cubicBezTo>
                  <a:pt x="2777" y="2121"/>
                  <a:pt x="2779" y="2120"/>
                  <a:pt x="2781" y="2118"/>
                </a:cubicBezTo>
                <a:cubicBezTo>
                  <a:pt x="2781" y="2118"/>
                  <a:pt x="2781" y="2118"/>
                  <a:pt x="2781" y="2177"/>
                </a:cubicBezTo>
                <a:cubicBezTo>
                  <a:pt x="2781" y="2177"/>
                  <a:pt x="2781" y="2177"/>
                  <a:pt x="2792" y="2177"/>
                </a:cubicBezTo>
                <a:cubicBezTo>
                  <a:pt x="2792" y="2177"/>
                  <a:pt x="2792" y="2177"/>
                  <a:pt x="2792" y="2104"/>
                </a:cubicBezTo>
                <a:close/>
                <a:moveTo>
                  <a:pt x="2839" y="2104"/>
                </a:moveTo>
                <a:cubicBezTo>
                  <a:pt x="2839" y="2104"/>
                  <a:pt x="2839" y="2104"/>
                  <a:pt x="2839" y="2104"/>
                </a:cubicBezTo>
                <a:cubicBezTo>
                  <a:pt x="2835" y="2104"/>
                  <a:pt x="2835" y="2104"/>
                  <a:pt x="2835" y="2104"/>
                </a:cubicBezTo>
                <a:cubicBezTo>
                  <a:pt x="2833" y="2105"/>
                  <a:pt x="2831" y="2107"/>
                  <a:pt x="2829" y="2107"/>
                </a:cubicBezTo>
                <a:cubicBezTo>
                  <a:pt x="2828" y="2109"/>
                  <a:pt x="2825" y="2110"/>
                  <a:pt x="2824" y="2110"/>
                </a:cubicBezTo>
                <a:cubicBezTo>
                  <a:pt x="2822" y="2112"/>
                  <a:pt x="2820" y="2112"/>
                  <a:pt x="2818" y="2113"/>
                </a:cubicBezTo>
                <a:cubicBezTo>
                  <a:pt x="2817" y="2114"/>
                  <a:pt x="2815" y="2115"/>
                  <a:pt x="2813" y="2115"/>
                </a:cubicBezTo>
                <a:cubicBezTo>
                  <a:pt x="2813" y="2115"/>
                  <a:pt x="2813" y="2115"/>
                  <a:pt x="2813" y="2125"/>
                </a:cubicBezTo>
                <a:cubicBezTo>
                  <a:pt x="2816" y="2124"/>
                  <a:pt x="2819" y="2123"/>
                  <a:pt x="2821" y="2122"/>
                </a:cubicBezTo>
                <a:cubicBezTo>
                  <a:pt x="2823" y="2121"/>
                  <a:pt x="2826" y="2120"/>
                  <a:pt x="2828" y="2118"/>
                </a:cubicBezTo>
                <a:cubicBezTo>
                  <a:pt x="2828" y="2118"/>
                  <a:pt x="2828" y="2118"/>
                  <a:pt x="2828" y="2177"/>
                </a:cubicBezTo>
                <a:cubicBezTo>
                  <a:pt x="2828" y="2177"/>
                  <a:pt x="2828" y="2177"/>
                  <a:pt x="2839" y="2177"/>
                </a:cubicBezTo>
                <a:cubicBezTo>
                  <a:pt x="2839" y="2177"/>
                  <a:pt x="2839" y="2177"/>
                  <a:pt x="2839" y="2104"/>
                </a:cubicBezTo>
                <a:close/>
                <a:moveTo>
                  <a:pt x="2962" y="2104"/>
                </a:moveTo>
                <a:cubicBezTo>
                  <a:pt x="2962" y="2104"/>
                  <a:pt x="2962" y="2104"/>
                  <a:pt x="2962" y="2104"/>
                </a:cubicBezTo>
                <a:cubicBezTo>
                  <a:pt x="2957" y="2104"/>
                  <a:pt x="2957" y="2104"/>
                  <a:pt x="2957" y="2104"/>
                </a:cubicBezTo>
                <a:cubicBezTo>
                  <a:pt x="2955" y="2105"/>
                  <a:pt x="2953" y="2107"/>
                  <a:pt x="2951" y="2107"/>
                </a:cubicBezTo>
                <a:cubicBezTo>
                  <a:pt x="2950" y="2109"/>
                  <a:pt x="2948" y="2110"/>
                  <a:pt x="2946" y="2110"/>
                </a:cubicBezTo>
                <a:cubicBezTo>
                  <a:pt x="2944" y="2112"/>
                  <a:pt x="2942" y="2112"/>
                  <a:pt x="2941" y="2113"/>
                </a:cubicBezTo>
                <a:cubicBezTo>
                  <a:pt x="2939" y="2114"/>
                  <a:pt x="2937" y="2115"/>
                  <a:pt x="2935" y="2115"/>
                </a:cubicBezTo>
                <a:cubicBezTo>
                  <a:pt x="2935" y="2115"/>
                  <a:pt x="2935" y="2115"/>
                  <a:pt x="2935" y="2125"/>
                </a:cubicBezTo>
                <a:cubicBezTo>
                  <a:pt x="2938" y="2124"/>
                  <a:pt x="2941" y="2123"/>
                  <a:pt x="2944" y="2122"/>
                </a:cubicBezTo>
                <a:cubicBezTo>
                  <a:pt x="2946" y="2121"/>
                  <a:pt x="2948" y="2120"/>
                  <a:pt x="2950" y="2118"/>
                </a:cubicBezTo>
                <a:cubicBezTo>
                  <a:pt x="2950" y="2118"/>
                  <a:pt x="2950" y="2118"/>
                  <a:pt x="2950" y="2177"/>
                </a:cubicBezTo>
                <a:cubicBezTo>
                  <a:pt x="2950" y="2177"/>
                  <a:pt x="2950" y="2177"/>
                  <a:pt x="2962" y="2177"/>
                </a:cubicBezTo>
                <a:cubicBezTo>
                  <a:pt x="2962" y="2177"/>
                  <a:pt x="2962" y="2177"/>
                  <a:pt x="2962" y="2104"/>
                </a:cubicBezTo>
                <a:close/>
                <a:moveTo>
                  <a:pt x="3009" y="2104"/>
                </a:moveTo>
                <a:cubicBezTo>
                  <a:pt x="3009" y="2104"/>
                  <a:pt x="3009" y="2104"/>
                  <a:pt x="3009" y="2104"/>
                </a:cubicBezTo>
                <a:cubicBezTo>
                  <a:pt x="3004" y="2104"/>
                  <a:pt x="3004" y="2104"/>
                  <a:pt x="3004" y="2104"/>
                </a:cubicBezTo>
                <a:cubicBezTo>
                  <a:pt x="3002" y="2105"/>
                  <a:pt x="3001" y="2107"/>
                  <a:pt x="2999" y="2107"/>
                </a:cubicBezTo>
                <a:cubicBezTo>
                  <a:pt x="2997" y="2109"/>
                  <a:pt x="2995" y="2110"/>
                  <a:pt x="2993" y="2110"/>
                </a:cubicBezTo>
                <a:cubicBezTo>
                  <a:pt x="2992" y="2112"/>
                  <a:pt x="2990" y="2112"/>
                  <a:pt x="2988" y="2113"/>
                </a:cubicBezTo>
                <a:cubicBezTo>
                  <a:pt x="2986" y="2114"/>
                  <a:pt x="2985" y="2115"/>
                  <a:pt x="2983" y="2115"/>
                </a:cubicBezTo>
                <a:cubicBezTo>
                  <a:pt x="2983" y="2115"/>
                  <a:pt x="2983" y="2115"/>
                  <a:pt x="2983" y="2125"/>
                </a:cubicBezTo>
                <a:cubicBezTo>
                  <a:pt x="2985" y="2124"/>
                  <a:pt x="2988" y="2123"/>
                  <a:pt x="2991" y="2122"/>
                </a:cubicBezTo>
                <a:cubicBezTo>
                  <a:pt x="2993" y="2121"/>
                  <a:pt x="2996" y="2120"/>
                  <a:pt x="2998" y="2118"/>
                </a:cubicBezTo>
                <a:cubicBezTo>
                  <a:pt x="2998" y="2118"/>
                  <a:pt x="2998" y="2118"/>
                  <a:pt x="2998" y="2177"/>
                </a:cubicBezTo>
                <a:cubicBezTo>
                  <a:pt x="2998" y="2177"/>
                  <a:pt x="2998" y="2177"/>
                  <a:pt x="3009" y="2177"/>
                </a:cubicBezTo>
                <a:cubicBezTo>
                  <a:pt x="3009" y="2177"/>
                  <a:pt x="3009" y="2177"/>
                  <a:pt x="3009" y="2104"/>
                </a:cubicBezTo>
                <a:close/>
                <a:moveTo>
                  <a:pt x="3056" y="2104"/>
                </a:moveTo>
                <a:cubicBezTo>
                  <a:pt x="3056" y="2104"/>
                  <a:pt x="3056" y="2104"/>
                  <a:pt x="3056" y="2104"/>
                </a:cubicBezTo>
                <a:cubicBezTo>
                  <a:pt x="3052" y="2104"/>
                  <a:pt x="3052" y="2104"/>
                  <a:pt x="3052" y="2104"/>
                </a:cubicBezTo>
                <a:cubicBezTo>
                  <a:pt x="3050" y="2105"/>
                  <a:pt x="3048" y="2107"/>
                  <a:pt x="3046" y="2107"/>
                </a:cubicBezTo>
                <a:cubicBezTo>
                  <a:pt x="3044" y="2109"/>
                  <a:pt x="3042" y="2110"/>
                  <a:pt x="3041" y="2110"/>
                </a:cubicBezTo>
                <a:cubicBezTo>
                  <a:pt x="3039" y="2111"/>
                  <a:pt x="3037" y="2112"/>
                  <a:pt x="3035" y="2112"/>
                </a:cubicBezTo>
                <a:cubicBezTo>
                  <a:pt x="3034" y="2113"/>
                  <a:pt x="3032" y="2114"/>
                  <a:pt x="3030" y="2115"/>
                </a:cubicBezTo>
                <a:cubicBezTo>
                  <a:pt x="3030" y="2115"/>
                  <a:pt x="3030" y="2115"/>
                  <a:pt x="3030" y="2125"/>
                </a:cubicBezTo>
                <a:cubicBezTo>
                  <a:pt x="3033" y="2124"/>
                  <a:pt x="3036" y="2123"/>
                  <a:pt x="3038" y="2122"/>
                </a:cubicBezTo>
                <a:cubicBezTo>
                  <a:pt x="3040" y="2121"/>
                  <a:pt x="3043" y="2120"/>
                  <a:pt x="3044" y="2118"/>
                </a:cubicBezTo>
                <a:cubicBezTo>
                  <a:pt x="3044" y="2118"/>
                  <a:pt x="3044" y="2118"/>
                  <a:pt x="3044" y="2177"/>
                </a:cubicBezTo>
                <a:cubicBezTo>
                  <a:pt x="3044" y="2177"/>
                  <a:pt x="3044" y="2177"/>
                  <a:pt x="3056" y="2177"/>
                </a:cubicBezTo>
                <a:cubicBezTo>
                  <a:pt x="3056" y="2177"/>
                  <a:pt x="3056" y="2177"/>
                  <a:pt x="3056" y="2104"/>
                </a:cubicBezTo>
                <a:close/>
                <a:moveTo>
                  <a:pt x="3101" y="2177"/>
                </a:moveTo>
                <a:cubicBezTo>
                  <a:pt x="3093" y="2177"/>
                  <a:pt x="3087" y="2174"/>
                  <a:pt x="3082" y="2168"/>
                </a:cubicBezTo>
                <a:cubicBezTo>
                  <a:pt x="3079" y="2162"/>
                  <a:pt x="3077" y="2153"/>
                  <a:pt x="3077" y="2141"/>
                </a:cubicBezTo>
                <a:cubicBezTo>
                  <a:pt x="3077" y="2128"/>
                  <a:pt x="3079" y="2118"/>
                  <a:pt x="3083" y="2112"/>
                </a:cubicBezTo>
                <a:cubicBezTo>
                  <a:pt x="3088" y="2105"/>
                  <a:pt x="3094" y="2101"/>
                  <a:pt x="3103" y="2101"/>
                </a:cubicBezTo>
                <a:cubicBezTo>
                  <a:pt x="3119" y="2101"/>
                  <a:pt x="3127" y="2114"/>
                  <a:pt x="3127" y="2139"/>
                </a:cubicBezTo>
                <a:cubicBezTo>
                  <a:pt x="3127" y="2152"/>
                  <a:pt x="3125" y="2161"/>
                  <a:pt x="3120" y="2168"/>
                </a:cubicBezTo>
                <a:cubicBezTo>
                  <a:pt x="3115" y="2174"/>
                  <a:pt x="3109" y="2177"/>
                  <a:pt x="3101" y="2177"/>
                </a:cubicBezTo>
                <a:close/>
                <a:moveTo>
                  <a:pt x="3102" y="2111"/>
                </a:moveTo>
                <a:cubicBezTo>
                  <a:pt x="3093" y="2111"/>
                  <a:pt x="3088" y="2121"/>
                  <a:pt x="3088" y="2141"/>
                </a:cubicBezTo>
                <a:cubicBezTo>
                  <a:pt x="3088" y="2159"/>
                  <a:pt x="3093" y="2168"/>
                  <a:pt x="3101" y="2168"/>
                </a:cubicBezTo>
                <a:cubicBezTo>
                  <a:pt x="3110" y="2168"/>
                  <a:pt x="3115" y="2159"/>
                  <a:pt x="3115" y="2140"/>
                </a:cubicBezTo>
                <a:cubicBezTo>
                  <a:pt x="3115" y="2120"/>
                  <a:pt x="3110" y="2111"/>
                  <a:pt x="3102" y="2111"/>
                </a:cubicBezTo>
                <a:close/>
                <a:moveTo>
                  <a:pt x="3172" y="2177"/>
                </a:moveTo>
                <a:cubicBezTo>
                  <a:pt x="3164" y="2177"/>
                  <a:pt x="3158" y="2174"/>
                  <a:pt x="3154" y="2168"/>
                </a:cubicBezTo>
                <a:cubicBezTo>
                  <a:pt x="3149" y="2162"/>
                  <a:pt x="3147" y="2153"/>
                  <a:pt x="3147" y="2141"/>
                </a:cubicBezTo>
                <a:cubicBezTo>
                  <a:pt x="3147" y="2128"/>
                  <a:pt x="3149" y="2118"/>
                  <a:pt x="3154" y="2112"/>
                </a:cubicBezTo>
                <a:cubicBezTo>
                  <a:pt x="3158" y="2105"/>
                  <a:pt x="3165" y="2101"/>
                  <a:pt x="3174" y="2101"/>
                </a:cubicBezTo>
                <a:cubicBezTo>
                  <a:pt x="3190" y="2101"/>
                  <a:pt x="3198" y="2114"/>
                  <a:pt x="3198" y="2139"/>
                </a:cubicBezTo>
                <a:cubicBezTo>
                  <a:pt x="3198" y="2152"/>
                  <a:pt x="3196" y="2161"/>
                  <a:pt x="3191" y="2168"/>
                </a:cubicBezTo>
                <a:cubicBezTo>
                  <a:pt x="3186" y="2174"/>
                  <a:pt x="3180" y="2177"/>
                  <a:pt x="3172" y="2177"/>
                </a:cubicBezTo>
                <a:close/>
                <a:moveTo>
                  <a:pt x="3173" y="2111"/>
                </a:moveTo>
                <a:cubicBezTo>
                  <a:pt x="3164" y="2111"/>
                  <a:pt x="3159" y="2121"/>
                  <a:pt x="3159" y="2141"/>
                </a:cubicBezTo>
                <a:cubicBezTo>
                  <a:pt x="3159" y="2159"/>
                  <a:pt x="3163" y="2168"/>
                  <a:pt x="3172" y="2168"/>
                </a:cubicBezTo>
                <a:cubicBezTo>
                  <a:pt x="3181" y="2168"/>
                  <a:pt x="3186" y="2159"/>
                  <a:pt x="3186" y="2140"/>
                </a:cubicBezTo>
                <a:cubicBezTo>
                  <a:pt x="3186" y="2120"/>
                  <a:pt x="3181" y="2111"/>
                  <a:pt x="3173" y="2111"/>
                </a:cubicBezTo>
                <a:close/>
                <a:moveTo>
                  <a:pt x="2860" y="2136"/>
                </a:moveTo>
                <a:cubicBezTo>
                  <a:pt x="2860" y="2136"/>
                  <a:pt x="2860" y="2136"/>
                  <a:pt x="2860" y="2136"/>
                </a:cubicBezTo>
                <a:cubicBezTo>
                  <a:pt x="2860" y="2144"/>
                  <a:pt x="2860" y="2144"/>
                  <a:pt x="2860" y="2144"/>
                </a:cubicBezTo>
                <a:cubicBezTo>
                  <a:pt x="2866" y="2145"/>
                  <a:pt x="2867" y="2148"/>
                  <a:pt x="2867" y="2150"/>
                </a:cubicBezTo>
                <a:cubicBezTo>
                  <a:pt x="2867" y="2152"/>
                  <a:pt x="2866" y="2155"/>
                  <a:pt x="2866" y="2157"/>
                </a:cubicBezTo>
                <a:cubicBezTo>
                  <a:pt x="2866" y="2160"/>
                  <a:pt x="2866" y="2162"/>
                  <a:pt x="2866" y="2164"/>
                </a:cubicBezTo>
                <a:cubicBezTo>
                  <a:pt x="2866" y="2174"/>
                  <a:pt x="2872" y="2177"/>
                  <a:pt x="2880" y="2177"/>
                </a:cubicBezTo>
                <a:cubicBezTo>
                  <a:pt x="2880" y="2177"/>
                  <a:pt x="2880" y="2177"/>
                  <a:pt x="2884" y="2177"/>
                </a:cubicBezTo>
                <a:cubicBezTo>
                  <a:pt x="2884" y="2177"/>
                  <a:pt x="2884" y="2177"/>
                  <a:pt x="2884" y="2168"/>
                </a:cubicBezTo>
                <a:cubicBezTo>
                  <a:pt x="2884" y="2168"/>
                  <a:pt x="2884" y="2168"/>
                  <a:pt x="2882" y="2168"/>
                </a:cubicBezTo>
                <a:cubicBezTo>
                  <a:pt x="2879" y="2168"/>
                  <a:pt x="2877" y="2166"/>
                  <a:pt x="2877" y="2162"/>
                </a:cubicBezTo>
                <a:cubicBezTo>
                  <a:pt x="2877" y="2161"/>
                  <a:pt x="2877" y="2159"/>
                  <a:pt x="2878" y="2157"/>
                </a:cubicBezTo>
                <a:cubicBezTo>
                  <a:pt x="2878" y="2156"/>
                  <a:pt x="2878" y="2154"/>
                  <a:pt x="2878" y="2151"/>
                </a:cubicBezTo>
                <a:cubicBezTo>
                  <a:pt x="2878" y="2144"/>
                  <a:pt x="2875" y="2141"/>
                  <a:pt x="2870" y="2140"/>
                </a:cubicBezTo>
                <a:cubicBezTo>
                  <a:pt x="2870" y="2140"/>
                  <a:pt x="2870" y="2140"/>
                  <a:pt x="2870" y="2140"/>
                </a:cubicBezTo>
                <a:cubicBezTo>
                  <a:pt x="2875" y="2139"/>
                  <a:pt x="2878" y="2136"/>
                  <a:pt x="2878" y="2129"/>
                </a:cubicBezTo>
                <a:cubicBezTo>
                  <a:pt x="2878" y="2126"/>
                  <a:pt x="2878" y="2124"/>
                  <a:pt x="2878" y="2123"/>
                </a:cubicBezTo>
                <a:cubicBezTo>
                  <a:pt x="2877" y="2121"/>
                  <a:pt x="2877" y="2119"/>
                  <a:pt x="2877" y="2118"/>
                </a:cubicBezTo>
                <a:cubicBezTo>
                  <a:pt x="2877" y="2114"/>
                  <a:pt x="2879" y="2112"/>
                  <a:pt x="2882" y="2112"/>
                </a:cubicBezTo>
                <a:cubicBezTo>
                  <a:pt x="2882" y="2112"/>
                  <a:pt x="2882" y="2112"/>
                  <a:pt x="2884" y="2112"/>
                </a:cubicBezTo>
                <a:cubicBezTo>
                  <a:pt x="2884" y="2112"/>
                  <a:pt x="2884" y="2112"/>
                  <a:pt x="2884" y="2103"/>
                </a:cubicBezTo>
                <a:cubicBezTo>
                  <a:pt x="2884" y="2103"/>
                  <a:pt x="2884" y="2103"/>
                  <a:pt x="2880" y="2103"/>
                </a:cubicBezTo>
                <a:cubicBezTo>
                  <a:pt x="2871" y="2103"/>
                  <a:pt x="2866" y="2107"/>
                  <a:pt x="2866" y="2115"/>
                </a:cubicBezTo>
                <a:cubicBezTo>
                  <a:pt x="2866" y="2118"/>
                  <a:pt x="2866" y="2120"/>
                  <a:pt x="2866" y="2123"/>
                </a:cubicBezTo>
                <a:cubicBezTo>
                  <a:pt x="2866" y="2125"/>
                  <a:pt x="2867" y="2128"/>
                  <a:pt x="2867" y="2130"/>
                </a:cubicBezTo>
                <a:cubicBezTo>
                  <a:pt x="2867" y="2132"/>
                  <a:pt x="2866" y="2136"/>
                  <a:pt x="2860" y="2136"/>
                </a:cubicBezTo>
                <a:close/>
                <a:moveTo>
                  <a:pt x="2914" y="2144"/>
                </a:moveTo>
                <a:cubicBezTo>
                  <a:pt x="2914" y="2144"/>
                  <a:pt x="2914" y="2144"/>
                  <a:pt x="2914" y="2144"/>
                </a:cubicBezTo>
                <a:cubicBezTo>
                  <a:pt x="2914" y="2136"/>
                  <a:pt x="2914" y="2136"/>
                  <a:pt x="2914" y="2136"/>
                </a:cubicBezTo>
                <a:cubicBezTo>
                  <a:pt x="2908" y="2136"/>
                  <a:pt x="2908" y="2132"/>
                  <a:pt x="2908" y="2130"/>
                </a:cubicBezTo>
                <a:cubicBezTo>
                  <a:pt x="2908" y="2128"/>
                  <a:pt x="2908" y="2125"/>
                  <a:pt x="2908" y="2123"/>
                </a:cubicBezTo>
                <a:cubicBezTo>
                  <a:pt x="2909" y="2120"/>
                  <a:pt x="2909" y="2118"/>
                  <a:pt x="2909" y="2115"/>
                </a:cubicBezTo>
                <a:cubicBezTo>
                  <a:pt x="2909" y="2107"/>
                  <a:pt x="2903" y="2103"/>
                  <a:pt x="2894" y="2103"/>
                </a:cubicBezTo>
                <a:cubicBezTo>
                  <a:pt x="2894" y="2103"/>
                  <a:pt x="2894" y="2103"/>
                  <a:pt x="2890" y="2103"/>
                </a:cubicBezTo>
                <a:cubicBezTo>
                  <a:pt x="2890" y="2103"/>
                  <a:pt x="2890" y="2103"/>
                  <a:pt x="2890" y="2112"/>
                </a:cubicBezTo>
                <a:cubicBezTo>
                  <a:pt x="2890" y="2112"/>
                  <a:pt x="2890" y="2112"/>
                  <a:pt x="2892" y="2112"/>
                </a:cubicBezTo>
                <a:cubicBezTo>
                  <a:pt x="2896" y="2112"/>
                  <a:pt x="2897" y="2114"/>
                  <a:pt x="2897" y="2118"/>
                </a:cubicBezTo>
                <a:cubicBezTo>
                  <a:pt x="2897" y="2119"/>
                  <a:pt x="2897" y="2121"/>
                  <a:pt x="2897" y="2123"/>
                </a:cubicBezTo>
                <a:cubicBezTo>
                  <a:pt x="2896" y="2124"/>
                  <a:pt x="2896" y="2126"/>
                  <a:pt x="2896" y="2129"/>
                </a:cubicBezTo>
                <a:cubicBezTo>
                  <a:pt x="2896" y="2136"/>
                  <a:pt x="2899" y="2139"/>
                  <a:pt x="2905" y="2140"/>
                </a:cubicBezTo>
                <a:cubicBezTo>
                  <a:pt x="2905" y="2140"/>
                  <a:pt x="2905" y="2140"/>
                  <a:pt x="2905" y="2140"/>
                </a:cubicBezTo>
                <a:cubicBezTo>
                  <a:pt x="2899" y="2141"/>
                  <a:pt x="2896" y="2144"/>
                  <a:pt x="2896" y="2151"/>
                </a:cubicBezTo>
                <a:cubicBezTo>
                  <a:pt x="2896" y="2154"/>
                  <a:pt x="2896" y="2156"/>
                  <a:pt x="2897" y="2157"/>
                </a:cubicBezTo>
                <a:cubicBezTo>
                  <a:pt x="2897" y="2159"/>
                  <a:pt x="2897" y="2161"/>
                  <a:pt x="2897" y="2162"/>
                </a:cubicBezTo>
                <a:cubicBezTo>
                  <a:pt x="2897" y="2166"/>
                  <a:pt x="2896" y="2168"/>
                  <a:pt x="2892" y="2168"/>
                </a:cubicBezTo>
                <a:cubicBezTo>
                  <a:pt x="2892" y="2168"/>
                  <a:pt x="2892" y="2168"/>
                  <a:pt x="2890" y="2168"/>
                </a:cubicBezTo>
                <a:cubicBezTo>
                  <a:pt x="2890" y="2168"/>
                  <a:pt x="2890" y="2168"/>
                  <a:pt x="2890" y="2177"/>
                </a:cubicBezTo>
                <a:cubicBezTo>
                  <a:pt x="2890" y="2177"/>
                  <a:pt x="2890" y="2177"/>
                  <a:pt x="2894" y="2177"/>
                </a:cubicBezTo>
                <a:cubicBezTo>
                  <a:pt x="2903" y="2177"/>
                  <a:pt x="2909" y="2174"/>
                  <a:pt x="2909" y="2164"/>
                </a:cubicBezTo>
                <a:cubicBezTo>
                  <a:pt x="2909" y="2162"/>
                  <a:pt x="2909" y="2160"/>
                  <a:pt x="2908" y="2157"/>
                </a:cubicBezTo>
                <a:cubicBezTo>
                  <a:pt x="2908" y="2155"/>
                  <a:pt x="2908" y="2152"/>
                  <a:pt x="2908" y="2150"/>
                </a:cubicBezTo>
                <a:cubicBezTo>
                  <a:pt x="2908" y="2148"/>
                  <a:pt x="2908" y="2145"/>
                  <a:pt x="2914" y="2144"/>
                </a:cubicBezTo>
                <a:close/>
                <a:moveTo>
                  <a:pt x="3384" y="2177"/>
                </a:moveTo>
                <a:cubicBezTo>
                  <a:pt x="3377" y="2177"/>
                  <a:pt x="3371" y="2174"/>
                  <a:pt x="3366" y="2168"/>
                </a:cubicBezTo>
                <a:cubicBezTo>
                  <a:pt x="3362" y="2162"/>
                  <a:pt x="3360" y="2152"/>
                  <a:pt x="3360" y="2141"/>
                </a:cubicBezTo>
                <a:cubicBezTo>
                  <a:pt x="3360" y="2128"/>
                  <a:pt x="3362" y="2118"/>
                  <a:pt x="3366" y="2111"/>
                </a:cubicBezTo>
                <a:cubicBezTo>
                  <a:pt x="3371" y="2104"/>
                  <a:pt x="3377" y="2101"/>
                  <a:pt x="3386" y="2101"/>
                </a:cubicBezTo>
                <a:cubicBezTo>
                  <a:pt x="3402" y="2101"/>
                  <a:pt x="3410" y="2114"/>
                  <a:pt x="3410" y="2139"/>
                </a:cubicBezTo>
                <a:cubicBezTo>
                  <a:pt x="3410" y="2152"/>
                  <a:pt x="3408" y="2161"/>
                  <a:pt x="3404" y="2168"/>
                </a:cubicBezTo>
                <a:cubicBezTo>
                  <a:pt x="3399" y="2174"/>
                  <a:pt x="3393" y="2177"/>
                  <a:pt x="3384" y="2177"/>
                </a:cubicBezTo>
                <a:close/>
                <a:moveTo>
                  <a:pt x="3385" y="2111"/>
                </a:moveTo>
                <a:cubicBezTo>
                  <a:pt x="3377" y="2111"/>
                  <a:pt x="3372" y="2120"/>
                  <a:pt x="3372" y="2140"/>
                </a:cubicBezTo>
                <a:cubicBezTo>
                  <a:pt x="3372" y="2158"/>
                  <a:pt x="3377" y="2168"/>
                  <a:pt x="3385" y="2168"/>
                </a:cubicBezTo>
                <a:cubicBezTo>
                  <a:pt x="3393" y="2168"/>
                  <a:pt x="3398" y="2158"/>
                  <a:pt x="3398" y="2140"/>
                </a:cubicBezTo>
                <a:cubicBezTo>
                  <a:pt x="3398" y="2120"/>
                  <a:pt x="3394" y="2111"/>
                  <a:pt x="3385" y="2111"/>
                </a:cubicBezTo>
                <a:close/>
                <a:moveTo>
                  <a:pt x="3502" y="2177"/>
                </a:moveTo>
                <a:cubicBezTo>
                  <a:pt x="3495" y="2177"/>
                  <a:pt x="3489" y="2174"/>
                  <a:pt x="3485" y="2168"/>
                </a:cubicBezTo>
                <a:cubicBezTo>
                  <a:pt x="3480" y="2162"/>
                  <a:pt x="3478" y="2152"/>
                  <a:pt x="3478" y="2141"/>
                </a:cubicBezTo>
                <a:cubicBezTo>
                  <a:pt x="3478" y="2128"/>
                  <a:pt x="3480" y="2118"/>
                  <a:pt x="3485" y="2111"/>
                </a:cubicBezTo>
                <a:cubicBezTo>
                  <a:pt x="3489" y="2104"/>
                  <a:pt x="3495" y="2101"/>
                  <a:pt x="3504" y="2101"/>
                </a:cubicBezTo>
                <a:cubicBezTo>
                  <a:pt x="3520" y="2101"/>
                  <a:pt x="3528" y="2114"/>
                  <a:pt x="3528" y="2139"/>
                </a:cubicBezTo>
                <a:cubicBezTo>
                  <a:pt x="3528" y="2152"/>
                  <a:pt x="3526" y="2161"/>
                  <a:pt x="3522" y="2168"/>
                </a:cubicBezTo>
                <a:cubicBezTo>
                  <a:pt x="3517" y="2174"/>
                  <a:pt x="3511" y="2177"/>
                  <a:pt x="3502" y="2177"/>
                </a:cubicBezTo>
                <a:close/>
                <a:moveTo>
                  <a:pt x="3503" y="2111"/>
                </a:moveTo>
                <a:cubicBezTo>
                  <a:pt x="3495" y="2111"/>
                  <a:pt x="3490" y="2120"/>
                  <a:pt x="3490" y="2140"/>
                </a:cubicBezTo>
                <a:cubicBezTo>
                  <a:pt x="3490" y="2158"/>
                  <a:pt x="3495" y="2168"/>
                  <a:pt x="3503" y="2168"/>
                </a:cubicBezTo>
                <a:cubicBezTo>
                  <a:pt x="3512" y="2168"/>
                  <a:pt x="3516" y="2158"/>
                  <a:pt x="3516" y="2140"/>
                </a:cubicBezTo>
                <a:cubicBezTo>
                  <a:pt x="3516" y="2120"/>
                  <a:pt x="3512" y="2111"/>
                  <a:pt x="3503" y="2111"/>
                </a:cubicBezTo>
                <a:close/>
                <a:moveTo>
                  <a:pt x="3457" y="2104"/>
                </a:moveTo>
                <a:cubicBezTo>
                  <a:pt x="3457" y="2104"/>
                  <a:pt x="3457" y="2104"/>
                  <a:pt x="3457" y="2104"/>
                </a:cubicBezTo>
                <a:cubicBezTo>
                  <a:pt x="3452" y="2104"/>
                  <a:pt x="3452" y="2104"/>
                  <a:pt x="3452" y="2104"/>
                </a:cubicBezTo>
                <a:cubicBezTo>
                  <a:pt x="3450" y="2105"/>
                  <a:pt x="3449" y="2107"/>
                  <a:pt x="3447" y="2107"/>
                </a:cubicBezTo>
                <a:cubicBezTo>
                  <a:pt x="3445" y="2109"/>
                  <a:pt x="3443" y="2110"/>
                  <a:pt x="3442" y="2110"/>
                </a:cubicBezTo>
                <a:cubicBezTo>
                  <a:pt x="3440" y="2111"/>
                  <a:pt x="3438" y="2112"/>
                  <a:pt x="3437" y="2112"/>
                </a:cubicBezTo>
                <a:cubicBezTo>
                  <a:pt x="3434" y="2113"/>
                  <a:pt x="3433" y="2114"/>
                  <a:pt x="3431" y="2115"/>
                </a:cubicBezTo>
                <a:cubicBezTo>
                  <a:pt x="3431" y="2115"/>
                  <a:pt x="3431" y="2115"/>
                  <a:pt x="3431" y="2125"/>
                </a:cubicBezTo>
                <a:cubicBezTo>
                  <a:pt x="3434" y="2124"/>
                  <a:pt x="3437" y="2123"/>
                  <a:pt x="3439" y="2122"/>
                </a:cubicBezTo>
                <a:cubicBezTo>
                  <a:pt x="3442" y="2121"/>
                  <a:pt x="3444" y="2120"/>
                  <a:pt x="3446" y="2118"/>
                </a:cubicBezTo>
                <a:cubicBezTo>
                  <a:pt x="3446" y="2118"/>
                  <a:pt x="3446" y="2118"/>
                  <a:pt x="3446" y="2177"/>
                </a:cubicBezTo>
                <a:cubicBezTo>
                  <a:pt x="3446" y="2177"/>
                  <a:pt x="3446" y="2177"/>
                  <a:pt x="3457" y="2177"/>
                </a:cubicBezTo>
                <a:cubicBezTo>
                  <a:pt x="3457" y="2177"/>
                  <a:pt x="3457" y="2177"/>
                  <a:pt x="3457" y="2104"/>
                </a:cubicBezTo>
                <a:close/>
                <a:moveTo>
                  <a:pt x="3573" y="2177"/>
                </a:moveTo>
                <a:cubicBezTo>
                  <a:pt x="3566" y="2177"/>
                  <a:pt x="3559" y="2174"/>
                  <a:pt x="3556" y="2168"/>
                </a:cubicBezTo>
                <a:cubicBezTo>
                  <a:pt x="3551" y="2162"/>
                  <a:pt x="3549" y="2153"/>
                  <a:pt x="3549" y="2141"/>
                </a:cubicBezTo>
                <a:cubicBezTo>
                  <a:pt x="3549" y="2128"/>
                  <a:pt x="3551" y="2118"/>
                  <a:pt x="3556" y="2112"/>
                </a:cubicBezTo>
                <a:cubicBezTo>
                  <a:pt x="3560" y="2105"/>
                  <a:pt x="3567" y="2101"/>
                  <a:pt x="3575" y="2101"/>
                </a:cubicBezTo>
                <a:cubicBezTo>
                  <a:pt x="3591" y="2101"/>
                  <a:pt x="3599" y="2114"/>
                  <a:pt x="3599" y="2139"/>
                </a:cubicBezTo>
                <a:cubicBezTo>
                  <a:pt x="3599" y="2152"/>
                  <a:pt x="3597" y="2161"/>
                  <a:pt x="3593" y="2168"/>
                </a:cubicBezTo>
                <a:cubicBezTo>
                  <a:pt x="3588" y="2174"/>
                  <a:pt x="3582" y="2177"/>
                  <a:pt x="3573" y="2177"/>
                </a:cubicBezTo>
                <a:close/>
                <a:moveTo>
                  <a:pt x="3575" y="2111"/>
                </a:moveTo>
                <a:cubicBezTo>
                  <a:pt x="3566" y="2111"/>
                  <a:pt x="3561" y="2121"/>
                  <a:pt x="3561" y="2141"/>
                </a:cubicBezTo>
                <a:cubicBezTo>
                  <a:pt x="3561" y="2159"/>
                  <a:pt x="3565" y="2168"/>
                  <a:pt x="3574" y="2168"/>
                </a:cubicBezTo>
                <a:cubicBezTo>
                  <a:pt x="3583" y="2168"/>
                  <a:pt x="3587" y="2159"/>
                  <a:pt x="3587" y="2140"/>
                </a:cubicBezTo>
                <a:cubicBezTo>
                  <a:pt x="3587" y="2120"/>
                  <a:pt x="3583" y="2111"/>
                  <a:pt x="3575" y="2111"/>
                </a:cubicBezTo>
                <a:close/>
                <a:moveTo>
                  <a:pt x="3620" y="2136"/>
                </a:moveTo>
                <a:cubicBezTo>
                  <a:pt x="3620" y="2136"/>
                  <a:pt x="3620" y="2136"/>
                  <a:pt x="3620" y="2136"/>
                </a:cubicBezTo>
                <a:cubicBezTo>
                  <a:pt x="3620" y="2144"/>
                  <a:pt x="3620" y="2144"/>
                  <a:pt x="3620" y="2144"/>
                </a:cubicBezTo>
                <a:cubicBezTo>
                  <a:pt x="3626" y="2145"/>
                  <a:pt x="3627" y="2148"/>
                  <a:pt x="3627" y="2150"/>
                </a:cubicBezTo>
                <a:cubicBezTo>
                  <a:pt x="3627" y="2152"/>
                  <a:pt x="3627" y="2155"/>
                  <a:pt x="3627" y="2157"/>
                </a:cubicBezTo>
                <a:cubicBezTo>
                  <a:pt x="3626" y="2160"/>
                  <a:pt x="3626" y="2162"/>
                  <a:pt x="3626" y="2164"/>
                </a:cubicBezTo>
                <a:cubicBezTo>
                  <a:pt x="3626" y="2174"/>
                  <a:pt x="3632" y="2177"/>
                  <a:pt x="3640" y="2177"/>
                </a:cubicBezTo>
                <a:cubicBezTo>
                  <a:pt x="3640" y="2177"/>
                  <a:pt x="3640" y="2177"/>
                  <a:pt x="3644" y="2177"/>
                </a:cubicBezTo>
                <a:cubicBezTo>
                  <a:pt x="3644" y="2177"/>
                  <a:pt x="3644" y="2177"/>
                  <a:pt x="3644" y="2168"/>
                </a:cubicBezTo>
                <a:cubicBezTo>
                  <a:pt x="3644" y="2168"/>
                  <a:pt x="3644" y="2168"/>
                  <a:pt x="3643" y="2168"/>
                </a:cubicBezTo>
                <a:cubicBezTo>
                  <a:pt x="3639" y="2168"/>
                  <a:pt x="3638" y="2166"/>
                  <a:pt x="3638" y="2162"/>
                </a:cubicBezTo>
                <a:cubicBezTo>
                  <a:pt x="3638" y="2161"/>
                  <a:pt x="3638" y="2159"/>
                  <a:pt x="3638" y="2157"/>
                </a:cubicBezTo>
                <a:cubicBezTo>
                  <a:pt x="3638" y="2156"/>
                  <a:pt x="3638" y="2154"/>
                  <a:pt x="3638" y="2151"/>
                </a:cubicBezTo>
                <a:cubicBezTo>
                  <a:pt x="3638" y="2144"/>
                  <a:pt x="3636" y="2141"/>
                  <a:pt x="3630" y="2140"/>
                </a:cubicBezTo>
                <a:cubicBezTo>
                  <a:pt x="3630" y="2140"/>
                  <a:pt x="3630" y="2140"/>
                  <a:pt x="3630" y="2140"/>
                </a:cubicBezTo>
                <a:cubicBezTo>
                  <a:pt x="3636" y="2139"/>
                  <a:pt x="3638" y="2136"/>
                  <a:pt x="3638" y="2129"/>
                </a:cubicBezTo>
                <a:cubicBezTo>
                  <a:pt x="3638" y="2126"/>
                  <a:pt x="3638" y="2124"/>
                  <a:pt x="3638" y="2123"/>
                </a:cubicBezTo>
                <a:cubicBezTo>
                  <a:pt x="3638" y="2121"/>
                  <a:pt x="3638" y="2119"/>
                  <a:pt x="3638" y="2118"/>
                </a:cubicBezTo>
                <a:cubicBezTo>
                  <a:pt x="3638" y="2114"/>
                  <a:pt x="3639" y="2112"/>
                  <a:pt x="3643" y="2112"/>
                </a:cubicBezTo>
                <a:cubicBezTo>
                  <a:pt x="3643" y="2112"/>
                  <a:pt x="3643" y="2112"/>
                  <a:pt x="3644" y="2112"/>
                </a:cubicBezTo>
                <a:cubicBezTo>
                  <a:pt x="3644" y="2112"/>
                  <a:pt x="3644" y="2112"/>
                  <a:pt x="3644" y="2103"/>
                </a:cubicBezTo>
                <a:cubicBezTo>
                  <a:pt x="3644" y="2103"/>
                  <a:pt x="3644" y="2103"/>
                  <a:pt x="3640" y="2103"/>
                </a:cubicBezTo>
                <a:cubicBezTo>
                  <a:pt x="3631" y="2103"/>
                  <a:pt x="3626" y="2107"/>
                  <a:pt x="3626" y="2115"/>
                </a:cubicBezTo>
                <a:cubicBezTo>
                  <a:pt x="3626" y="2118"/>
                  <a:pt x="3626" y="2120"/>
                  <a:pt x="3626" y="2123"/>
                </a:cubicBezTo>
                <a:cubicBezTo>
                  <a:pt x="3627" y="2125"/>
                  <a:pt x="3627" y="2128"/>
                  <a:pt x="3627" y="2130"/>
                </a:cubicBezTo>
                <a:cubicBezTo>
                  <a:pt x="3627" y="2132"/>
                  <a:pt x="3626" y="2136"/>
                  <a:pt x="3620" y="2136"/>
                </a:cubicBezTo>
                <a:close/>
                <a:moveTo>
                  <a:pt x="3675" y="2144"/>
                </a:moveTo>
                <a:cubicBezTo>
                  <a:pt x="3675" y="2144"/>
                  <a:pt x="3675" y="2144"/>
                  <a:pt x="3675" y="2144"/>
                </a:cubicBezTo>
                <a:cubicBezTo>
                  <a:pt x="3675" y="2136"/>
                  <a:pt x="3675" y="2136"/>
                  <a:pt x="3675" y="2136"/>
                </a:cubicBezTo>
                <a:cubicBezTo>
                  <a:pt x="3668" y="2136"/>
                  <a:pt x="3668" y="2132"/>
                  <a:pt x="3668" y="2130"/>
                </a:cubicBezTo>
                <a:cubicBezTo>
                  <a:pt x="3668" y="2128"/>
                  <a:pt x="3668" y="2125"/>
                  <a:pt x="3668" y="2123"/>
                </a:cubicBezTo>
                <a:cubicBezTo>
                  <a:pt x="3669" y="2120"/>
                  <a:pt x="3669" y="2118"/>
                  <a:pt x="3669" y="2115"/>
                </a:cubicBezTo>
                <a:cubicBezTo>
                  <a:pt x="3669" y="2107"/>
                  <a:pt x="3664" y="2103"/>
                  <a:pt x="3654" y="2103"/>
                </a:cubicBezTo>
                <a:cubicBezTo>
                  <a:pt x="3654" y="2103"/>
                  <a:pt x="3654" y="2103"/>
                  <a:pt x="3651" y="2103"/>
                </a:cubicBezTo>
                <a:cubicBezTo>
                  <a:pt x="3651" y="2103"/>
                  <a:pt x="3651" y="2103"/>
                  <a:pt x="3651" y="2112"/>
                </a:cubicBezTo>
                <a:cubicBezTo>
                  <a:pt x="3651" y="2112"/>
                  <a:pt x="3651" y="2112"/>
                  <a:pt x="3652" y="2112"/>
                </a:cubicBezTo>
                <a:cubicBezTo>
                  <a:pt x="3656" y="2112"/>
                  <a:pt x="3657" y="2114"/>
                  <a:pt x="3657" y="2118"/>
                </a:cubicBezTo>
                <a:cubicBezTo>
                  <a:pt x="3657" y="2119"/>
                  <a:pt x="3657" y="2121"/>
                  <a:pt x="3657" y="2123"/>
                </a:cubicBezTo>
                <a:cubicBezTo>
                  <a:pt x="3657" y="2124"/>
                  <a:pt x="3657" y="2126"/>
                  <a:pt x="3657" y="2129"/>
                </a:cubicBezTo>
                <a:cubicBezTo>
                  <a:pt x="3657" y="2136"/>
                  <a:pt x="3659" y="2139"/>
                  <a:pt x="3665" y="2140"/>
                </a:cubicBezTo>
                <a:cubicBezTo>
                  <a:pt x="3665" y="2140"/>
                  <a:pt x="3665" y="2140"/>
                  <a:pt x="3665" y="2140"/>
                </a:cubicBezTo>
                <a:cubicBezTo>
                  <a:pt x="3659" y="2141"/>
                  <a:pt x="3657" y="2144"/>
                  <a:pt x="3657" y="2151"/>
                </a:cubicBezTo>
                <a:cubicBezTo>
                  <a:pt x="3657" y="2154"/>
                  <a:pt x="3657" y="2156"/>
                  <a:pt x="3657" y="2157"/>
                </a:cubicBezTo>
                <a:cubicBezTo>
                  <a:pt x="3657" y="2159"/>
                  <a:pt x="3657" y="2161"/>
                  <a:pt x="3657" y="2162"/>
                </a:cubicBezTo>
                <a:cubicBezTo>
                  <a:pt x="3657" y="2166"/>
                  <a:pt x="3656" y="2168"/>
                  <a:pt x="3652" y="2168"/>
                </a:cubicBezTo>
                <a:cubicBezTo>
                  <a:pt x="3652" y="2168"/>
                  <a:pt x="3652" y="2168"/>
                  <a:pt x="3651" y="2168"/>
                </a:cubicBezTo>
                <a:cubicBezTo>
                  <a:pt x="3651" y="2168"/>
                  <a:pt x="3651" y="2168"/>
                  <a:pt x="3651" y="2177"/>
                </a:cubicBezTo>
                <a:cubicBezTo>
                  <a:pt x="3651" y="2177"/>
                  <a:pt x="3651" y="2177"/>
                  <a:pt x="3654" y="2177"/>
                </a:cubicBezTo>
                <a:cubicBezTo>
                  <a:pt x="3663" y="2177"/>
                  <a:pt x="3669" y="2174"/>
                  <a:pt x="3669" y="2164"/>
                </a:cubicBezTo>
                <a:cubicBezTo>
                  <a:pt x="3669" y="2162"/>
                  <a:pt x="3669" y="2160"/>
                  <a:pt x="3668" y="2157"/>
                </a:cubicBezTo>
                <a:cubicBezTo>
                  <a:pt x="3668" y="2155"/>
                  <a:pt x="3668" y="2152"/>
                  <a:pt x="3668" y="2150"/>
                </a:cubicBezTo>
                <a:cubicBezTo>
                  <a:pt x="3668" y="2148"/>
                  <a:pt x="3668" y="2145"/>
                  <a:pt x="3675" y="2144"/>
                </a:cubicBezTo>
                <a:close/>
                <a:moveTo>
                  <a:pt x="3795" y="2177"/>
                </a:moveTo>
                <a:cubicBezTo>
                  <a:pt x="3788" y="2177"/>
                  <a:pt x="3781" y="2174"/>
                  <a:pt x="3777" y="2168"/>
                </a:cubicBezTo>
                <a:cubicBezTo>
                  <a:pt x="3773" y="2162"/>
                  <a:pt x="3771" y="2153"/>
                  <a:pt x="3771" y="2141"/>
                </a:cubicBezTo>
                <a:cubicBezTo>
                  <a:pt x="3771" y="2128"/>
                  <a:pt x="3773" y="2118"/>
                  <a:pt x="3777" y="2112"/>
                </a:cubicBezTo>
                <a:cubicBezTo>
                  <a:pt x="3782" y="2105"/>
                  <a:pt x="3788" y="2101"/>
                  <a:pt x="3797" y="2101"/>
                </a:cubicBezTo>
                <a:cubicBezTo>
                  <a:pt x="3813" y="2101"/>
                  <a:pt x="3821" y="2114"/>
                  <a:pt x="3821" y="2139"/>
                </a:cubicBezTo>
                <a:cubicBezTo>
                  <a:pt x="3821" y="2152"/>
                  <a:pt x="3819" y="2161"/>
                  <a:pt x="3814" y="2168"/>
                </a:cubicBezTo>
                <a:cubicBezTo>
                  <a:pt x="3809" y="2174"/>
                  <a:pt x="3803" y="2177"/>
                  <a:pt x="3795" y="2177"/>
                </a:cubicBezTo>
                <a:close/>
                <a:moveTo>
                  <a:pt x="3796" y="2111"/>
                </a:moveTo>
                <a:cubicBezTo>
                  <a:pt x="3787" y="2111"/>
                  <a:pt x="3782" y="2121"/>
                  <a:pt x="3782" y="2141"/>
                </a:cubicBezTo>
                <a:cubicBezTo>
                  <a:pt x="3782" y="2159"/>
                  <a:pt x="3787" y="2168"/>
                  <a:pt x="3796" y="2168"/>
                </a:cubicBezTo>
                <a:cubicBezTo>
                  <a:pt x="3804" y="2168"/>
                  <a:pt x="3809" y="2159"/>
                  <a:pt x="3809" y="2140"/>
                </a:cubicBezTo>
                <a:cubicBezTo>
                  <a:pt x="3809" y="2120"/>
                  <a:pt x="3804" y="2111"/>
                  <a:pt x="3796" y="2111"/>
                </a:cubicBezTo>
                <a:close/>
                <a:moveTo>
                  <a:pt x="3869" y="2104"/>
                </a:moveTo>
                <a:cubicBezTo>
                  <a:pt x="3869" y="2104"/>
                  <a:pt x="3869" y="2104"/>
                  <a:pt x="3869" y="2104"/>
                </a:cubicBezTo>
                <a:cubicBezTo>
                  <a:pt x="3864" y="2104"/>
                  <a:pt x="3864" y="2104"/>
                  <a:pt x="3864" y="2104"/>
                </a:cubicBezTo>
                <a:cubicBezTo>
                  <a:pt x="3861" y="2105"/>
                  <a:pt x="3860" y="2107"/>
                  <a:pt x="3858" y="2107"/>
                </a:cubicBezTo>
                <a:cubicBezTo>
                  <a:pt x="3856" y="2109"/>
                  <a:pt x="3854" y="2110"/>
                  <a:pt x="3853" y="2110"/>
                </a:cubicBezTo>
                <a:cubicBezTo>
                  <a:pt x="3850" y="2111"/>
                  <a:pt x="3849" y="2112"/>
                  <a:pt x="3848" y="2112"/>
                </a:cubicBezTo>
                <a:cubicBezTo>
                  <a:pt x="3845" y="2113"/>
                  <a:pt x="3844" y="2114"/>
                  <a:pt x="3842" y="2115"/>
                </a:cubicBezTo>
                <a:cubicBezTo>
                  <a:pt x="3842" y="2115"/>
                  <a:pt x="3842" y="2115"/>
                  <a:pt x="3842" y="2125"/>
                </a:cubicBezTo>
                <a:cubicBezTo>
                  <a:pt x="3845" y="2124"/>
                  <a:pt x="3848" y="2123"/>
                  <a:pt x="3850" y="2122"/>
                </a:cubicBezTo>
                <a:cubicBezTo>
                  <a:pt x="3853" y="2121"/>
                  <a:pt x="3855" y="2120"/>
                  <a:pt x="3857" y="2118"/>
                </a:cubicBezTo>
                <a:cubicBezTo>
                  <a:pt x="3857" y="2118"/>
                  <a:pt x="3857" y="2118"/>
                  <a:pt x="3857" y="2177"/>
                </a:cubicBezTo>
                <a:cubicBezTo>
                  <a:pt x="3857" y="2177"/>
                  <a:pt x="3857" y="2177"/>
                  <a:pt x="3869" y="2177"/>
                </a:cubicBezTo>
                <a:cubicBezTo>
                  <a:pt x="3869" y="2177"/>
                  <a:pt x="3869" y="2177"/>
                  <a:pt x="3869" y="2104"/>
                </a:cubicBezTo>
                <a:close/>
                <a:moveTo>
                  <a:pt x="2065" y="2056"/>
                </a:moveTo>
                <a:cubicBezTo>
                  <a:pt x="2066" y="2058"/>
                  <a:pt x="2066" y="2059"/>
                  <a:pt x="2067" y="2060"/>
                </a:cubicBezTo>
                <a:cubicBezTo>
                  <a:pt x="2067" y="2062"/>
                  <a:pt x="2068" y="2064"/>
                  <a:pt x="2068" y="2065"/>
                </a:cubicBezTo>
                <a:cubicBezTo>
                  <a:pt x="2068" y="2067"/>
                  <a:pt x="2068" y="2069"/>
                  <a:pt x="2068" y="2070"/>
                </a:cubicBezTo>
                <a:cubicBezTo>
                  <a:pt x="2069" y="2073"/>
                  <a:pt x="2068" y="2075"/>
                  <a:pt x="2065" y="2075"/>
                </a:cubicBezTo>
                <a:cubicBezTo>
                  <a:pt x="2062" y="2075"/>
                  <a:pt x="2059" y="2075"/>
                  <a:pt x="2057" y="2075"/>
                </a:cubicBezTo>
                <a:cubicBezTo>
                  <a:pt x="2056" y="2075"/>
                  <a:pt x="2055" y="2075"/>
                  <a:pt x="2055" y="2075"/>
                </a:cubicBezTo>
                <a:cubicBezTo>
                  <a:pt x="2054" y="2077"/>
                  <a:pt x="2052" y="2078"/>
                  <a:pt x="2051" y="2079"/>
                </a:cubicBezTo>
                <a:cubicBezTo>
                  <a:pt x="2049" y="2082"/>
                  <a:pt x="2046" y="2082"/>
                  <a:pt x="2043" y="2080"/>
                </a:cubicBezTo>
                <a:cubicBezTo>
                  <a:pt x="2041" y="2078"/>
                  <a:pt x="2040" y="2075"/>
                  <a:pt x="2039" y="2073"/>
                </a:cubicBezTo>
                <a:cubicBezTo>
                  <a:pt x="2038" y="2071"/>
                  <a:pt x="2038" y="2069"/>
                  <a:pt x="2041" y="2068"/>
                </a:cubicBezTo>
                <a:cubicBezTo>
                  <a:pt x="2038" y="2068"/>
                  <a:pt x="2036" y="2068"/>
                  <a:pt x="2035" y="2068"/>
                </a:cubicBezTo>
                <a:cubicBezTo>
                  <a:pt x="2034" y="2070"/>
                  <a:pt x="2033" y="2072"/>
                  <a:pt x="2032" y="2074"/>
                </a:cubicBezTo>
                <a:cubicBezTo>
                  <a:pt x="2032" y="2075"/>
                  <a:pt x="2032" y="2075"/>
                  <a:pt x="2032" y="2076"/>
                </a:cubicBezTo>
                <a:cubicBezTo>
                  <a:pt x="2032" y="2079"/>
                  <a:pt x="2030" y="2081"/>
                  <a:pt x="2027" y="2080"/>
                </a:cubicBezTo>
                <a:cubicBezTo>
                  <a:pt x="2024" y="2080"/>
                  <a:pt x="2021" y="2079"/>
                  <a:pt x="2018" y="2078"/>
                </a:cubicBezTo>
                <a:cubicBezTo>
                  <a:pt x="2016" y="2077"/>
                  <a:pt x="2016" y="2076"/>
                  <a:pt x="2016" y="2074"/>
                </a:cubicBezTo>
                <a:cubicBezTo>
                  <a:pt x="2017" y="2073"/>
                  <a:pt x="2017" y="2072"/>
                  <a:pt x="2017" y="2072"/>
                </a:cubicBezTo>
                <a:cubicBezTo>
                  <a:pt x="2015" y="2071"/>
                  <a:pt x="2012" y="2070"/>
                  <a:pt x="2010" y="2069"/>
                </a:cubicBezTo>
                <a:cubicBezTo>
                  <a:pt x="2009" y="2068"/>
                  <a:pt x="2008" y="2066"/>
                  <a:pt x="2007" y="2064"/>
                </a:cubicBezTo>
                <a:cubicBezTo>
                  <a:pt x="2006" y="2062"/>
                  <a:pt x="2006" y="2061"/>
                  <a:pt x="2008" y="2059"/>
                </a:cubicBezTo>
                <a:cubicBezTo>
                  <a:pt x="2012" y="2057"/>
                  <a:pt x="2012" y="2054"/>
                  <a:pt x="2012" y="2050"/>
                </a:cubicBezTo>
                <a:cubicBezTo>
                  <a:pt x="2012" y="2048"/>
                  <a:pt x="2012" y="2046"/>
                  <a:pt x="2012" y="2044"/>
                </a:cubicBezTo>
                <a:cubicBezTo>
                  <a:pt x="2010" y="2043"/>
                  <a:pt x="2008" y="2043"/>
                  <a:pt x="2008" y="2042"/>
                </a:cubicBezTo>
                <a:cubicBezTo>
                  <a:pt x="2006" y="2040"/>
                  <a:pt x="2006" y="2038"/>
                  <a:pt x="2006" y="2036"/>
                </a:cubicBezTo>
                <a:cubicBezTo>
                  <a:pt x="2005" y="2033"/>
                  <a:pt x="2009" y="2031"/>
                  <a:pt x="2012" y="2030"/>
                </a:cubicBezTo>
                <a:cubicBezTo>
                  <a:pt x="2012" y="2031"/>
                  <a:pt x="2012" y="2031"/>
                  <a:pt x="2012" y="2032"/>
                </a:cubicBezTo>
                <a:cubicBezTo>
                  <a:pt x="2012" y="2033"/>
                  <a:pt x="2012" y="2034"/>
                  <a:pt x="2013" y="2035"/>
                </a:cubicBezTo>
                <a:cubicBezTo>
                  <a:pt x="2012" y="2035"/>
                  <a:pt x="2012" y="2035"/>
                  <a:pt x="2011" y="2035"/>
                </a:cubicBezTo>
                <a:cubicBezTo>
                  <a:pt x="2011" y="2036"/>
                  <a:pt x="2010" y="2037"/>
                  <a:pt x="2010" y="2039"/>
                </a:cubicBezTo>
                <a:cubicBezTo>
                  <a:pt x="2011" y="2039"/>
                  <a:pt x="2012" y="2039"/>
                  <a:pt x="2012" y="2039"/>
                </a:cubicBezTo>
                <a:cubicBezTo>
                  <a:pt x="2013" y="2037"/>
                  <a:pt x="2014" y="2037"/>
                  <a:pt x="2015" y="2035"/>
                </a:cubicBezTo>
                <a:cubicBezTo>
                  <a:pt x="2019" y="2029"/>
                  <a:pt x="2025" y="2025"/>
                  <a:pt x="2033" y="2023"/>
                </a:cubicBezTo>
                <a:cubicBezTo>
                  <a:pt x="2036" y="2023"/>
                  <a:pt x="2039" y="2022"/>
                  <a:pt x="2041" y="2019"/>
                </a:cubicBezTo>
                <a:cubicBezTo>
                  <a:pt x="2041" y="2018"/>
                  <a:pt x="2042" y="2018"/>
                  <a:pt x="2043" y="2018"/>
                </a:cubicBezTo>
                <a:cubicBezTo>
                  <a:pt x="2045" y="2018"/>
                  <a:pt x="2047" y="2015"/>
                  <a:pt x="2049" y="2013"/>
                </a:cubicBezTo>
                <a:cubicBezTo>
                  <a:pt x="2056" y="2006"/>
                  <a:pt x="2068" y="2005"/>
                  <a:pt x="2076" y="2012"/>
                </a:cubicBezTo>
                <a:cubicBezTo>
                  <a:pt x="2078" y="2014"/>
                  <a:pt x="2081" y="2016"/>
                  <a:pt x="2083" y="2018"/>
                </a:cubicBezTo>
                <a:cubicBezTo>
                  <a:pt x="2085" y="2019"/>
                  <a:pt x="2086" y="2021"/>
                  <a:pt x="2087" y="2023"/>
                </a:cubicBezTo>
                <a:cubicBezTo>
                  <a:pt x="2088" y="2024"/>
                  <a:pt x="2089" y="2024"/>
                  <a:pt x="2090" y="2023"/>
                </a:cubicBezTo>
                <a:cubicBezTo>
                  <a:pt x="2091" y="2023"/>
                  <a:pt x="2092" y="2022"/>
                  <a:pt x="2092" y="2021"/>
                </a:cubicBezTo>
                <a:cubicBezTo>
                  <a:pt x="2094" y="2018"/>
                  <a:pt x="2097" y="2018"/>
                  <a:pt x="2099" y="2022"/>
                </a:cubicBezTo>
                <a:cubicBezTo>
                  <a:pt x="2100" y="2025"/>
                  <a:pt x="2101" y="2027"/>
                  <a:pt x="2101" y="2031"/>
                </a:cubicBezTo>
                <a:cubicBezTo>
                  <a:pt x="2102" y="2035"/>
                  <a:pt x="2101" y="2039"/>
                  <a:pt x="2100" y="2044"/>
                </a:cubicBezTo>
                <a:cubicBezTo>
                  <a:pt x="2097" y="2050"/>
                  <a:pt x="2093" y="2054"/>
                  <a:pt x="2086" y="2054"/>
                </a:cubicBezTo>
                <a:cubicBezTo>
                  <a:pt x="2085" y="2054"/>
                  <a:pt x="2085" y="2054"/>
                  <a:pt x="2084" y="2054"/>
                </a:cubicBezTo>
                <a:cubicBezTo>
                  <a:pt x="2082" y="2053"/>
                  <a:pt x="2081" y="2054"/>
                  <a:pt x="2080" y="2056"/>
                </a:cubicBezTo>
                <a:cubicBezTo>
                  <a:pt x="2078" y="2060"/>
                  <a:pt x="2073" y="2062"/>
                  <a:pt x="2069" y="2059"/>
                </a:cubicBezTo>
                <a:cubicBezTo>
                  <a:pt x="2068" y="2058"/>
                  <a:pt x="2067" y="2057"/>
                  <a:pt x="2066" y="2056"/>
                </a:cubicBezTo>
                <a:cubicBezTo>
                  <a:pt x="2066" y="2056"/>
                  <a:pt x="2066" y="2056"/>
                  <a:pt x="2065" y="2056"/>
                </a:cubicBezTo>
                <a:close/>
                <a:moveTo>
                  <a:pt x="2060" y="2052"/>
                </a:moveTo>
                <a:cubicBezTo>
                  <a:pt x="2063" y="2053"/>
                  <a:pt x="2067" y="2054"/>
                  <a:pt x="2070" y="2057"/>
                </a:cubicBezTo>
                <a:cubicBezTo>
                  <a:pt x="2071" y="2059"/>
                  <a:pt x="2073" y="2060"/>
                  <a:pt x="2075" y="2059"/>
                </a:cubicBezTo>
                <a:cubicBezTo>
                  <a:pt x="2078" y="2058"/>
                  <a:pt x="2079" y="2056"/>
                  <a:pt x="2079" y="2053"/>
                </a:cubicBezTo>
                <a:cubicBezTo>
                  <a:pt x="2079" y="2053"/>
                  <a:pt x="2078" y="2053"/>
                  <a:pt x="2078" y="2054"/>
                </a:cubicBezTo>
                <a:cubicBezTo>
                  <a:pt x="2078" y="2055"/>
                  <a:pt x="2077" y="2056"/>
                  <a:pt x="2076" y="2057"/>
                </a:cubicBezTo>
                <a:cubicBezTo>
                  <a:pt x="2075" y="2058"/>
                  <a:pt x="2074" y="2058"/>
                  <a:pt x="2073" y="2058"/>
                </a:cubicBezTo>
                <a:cubicBezTo>
                  <a:pt x="2072" y="2058"/>
                  <a:pt x="2072" y="2056"/>
                  <a:pt x="2072" y="2056"/>
                </a:cubicBezTo>
                <a:cubicBezTo>
                  <a:pt x="2072" y="2053"/>
                  <a:pt x="2072" y="2051"/>
                  <a:pt x="2072" y="2049"/>
                </a:cubicBezTo>
                <a:cubicBezTo>
                  <a:pt x="2075" y="2050"/>
                  <a:pt x="2079" y="2051"/>
                  <a:pt x="2082" y="2052"/>
                </a:cubicBezTo>
                <a:cubicBezTo>
                  <a:pt x="2090" y="2053"/>
                  <a:pt x="2095" y="2051"/>
                  <a:pt x="2099" y="2043"/>
                </a:cubicBezTo>
                <a:cubicBezTo>
                  <a:pt x="2100" y="2038"/>
                  <a:pt x="2100" y="2033"/>
                  <a:pt x="2099" y="2028"/>
                </a:cubicBezTo>
                <a:cubicBezTo>
                  <a:pt x="2099" y="2026"/>
                  <a:pt x="2098" y="2024"/>
                  <a:pt x="2097" y="2022"/>
                </a:cubicBezTo>
                <a:cubicBezTo>
                  <a:pt x="2096" y="2021"/>
                  <a:pt x="2095" y="2020"/>
                  <a:pt x="2094" y="2022"/>
                </a:cubicBezTo>
                <a:cubicBezTo>
                  <a:pt x="2092" y="2024"/>
                  <a:pt x="2091" y="2025"/>
                  <a:pt x="2089" y="2026"/>
                </a:cubicBezTo>
                <a:cubicBezTo>
                  <a:pt x="2088" y="2026"/>
                  <a:pt x="2087" y="2027"/>
                  <a:pt x="2088" y="2028"/>
                </a:cubicBezTo>
                <a:cubicBezTo>
                  <a:pt x="2088" y="2031"/>
                  <a:pt x="2088" y="2035"/>
                  <a:pt x="2086" y="2038"/>
                </a:cubicBezTo>
                <a:cubicBezTo>
                  <a:pt x="2086" y="2036"/>
                  <a:pt x="2087" y="2034"/>
                  <a:pt x="2087" y="2032"/>
                </a:cubicBezTo>
                <a:cubicBezTo>
                  <a:pt x="2087" y="2031"/>
                  <a:pt x="2086" y="2031"/>
                  <a:pt x="2086" y="2031"/>
                </a:cubicBezTo>
                <a:cubicBezTo>
                  <a:pt x="2086" y="2031"/>
                  <a:pt x="2085" y="2031"/>
                  <a:pt x="2085" y="2031"/>
                </a:cubicBezTo>
                <a:cubicBezTo>
                  <a:pt x="2084" y="2033"/>
                  <a:pt x="2083" y="2034"/>
                  <a:pt x="2083" y="2035"/>
                </a:cubicBezTo>
                <a:cubicBezTo>
                  <a:pt x="2082" y="2035"/>
                  <a:pt x="2082" y="2035"/>
                  <a:pt x="2082" y="2035"/>
                </a:cubicBezTo>
                <a:cubicBezTo>
                  <a:pt x="2083" y="2034"/>
                  <a:pt x="2083" y="2032"/>
                  <a:pt x="2083" y="2030"/>
                </a:cubicBezTo>
                <a:cubicBezTo>
                  <a:pt x="2082" y="2031"/>
                  <a:pt x="2082" y="2031"/>
                  <a:pt x="2081" y="2032"/>
                </a:cubicBezTo>
                <a:cubicBezTo>
                  <a:pt x="2081" y="2032"/>
                  <a:pt x="2080" y="2033"/>
                  <a:pt x="2080" y="2034"/>
                </a:cubicBezTo>
                <a:cubicBezTo>
                  <a:pt x="2080" y="2030"/>
                  <a:pt x="2081" y="2030"/>
                  <a:pt x="2086" y="2029"/>
                </a:cubicBezTo>
                <a:cubicBezTo>
                  <a:pt x="2086" y="2029"/>
                  <a:pt x="2085" y="2028"/>
                  <a:pt x="2085" y="2028"/>
                </a:cubicBezTo>
                <a:cubicBezTo>
                  <a:pt x="2083" y="2029"/>
                  <a:pt x="2082" y="2027"/>
                  <a:pt x="2081" y="2025"/>
                </a:cubicBezTo>
                <a:cubicBezTo>
                  <a:pt x="2083" y="2024"/>
                  <a:pt x="2085" y="2024"/>
                  <a:pt x="2086" y="2024"/>
                </a:cubicBezTo>
                <a:cubicBezTo>
                  <a:pt x="2085" y="2021"/>
                  <a:pt x="2083" y="2018"/>
                  <a:pt x="2080" y="2018"/>
                </a:cubicBezTo>
                <a:cubicBezTo>
                  <a:pt x="2079" y="2018"/>
                  <a:pt x="2079" y="2018"/>
                  <a:pt x="2079" y="2017"/>
                </a:cubicBezTo>
                <a:cubicBezTo>
                  <a:pt x="2077" y="2015"/>
                  <a:pt x="2074" y="2013"/>
                  <a:pt x="2072" y="2011"/>
                </a:cubicBezTo>
                <a:cubicBezTo>
                  <a:pt x="2069" y="2010"/>
                  <a:pt x="2066" y="2009"/>
                  <a:pt x="2064" y="2009"/>
                </a:cubicBezTo>
                <a:cubicBezTo>
                  <a:pt x="2061" y="2009"/>
                  <a:pt x="2058" y="2010"/>
                  <a:pt x="2055" y="2011"/>
                </a:cubicBezTo>
                <a:cubicBezTo>
                  <a:pt x="2052" y="2012"/>
                  <a:pt x="2049" y="2014"/>
                  <a:pt x="2048" y="2017"/>
                </a:cubicBezTo>
                <a:cubicBezTo>
                  <a:pt x="2049" y="2017"/>
                  <a:pt x="2050" y="2017"/>
                  <a:pt x="2052" y="2017"/>
                </a:cubicBezTo>
                <a:cubicBezTo>
                  <a:pt x="2051" y="2018"/>
                  <a:pt x="2050" y="2018"/>
                  <a:pt x="2050" y="2018"/>
                </a:cubicBezTo>
                <a:cubicBezTo>
                  <a:pt x="2047" y="2019"/>
                  <a:pt x="2045" y="2018"/>
                  <a:pt x="2043" y="2020"/>
                </a:cubicBezTo>
                <a:cubicBezTo>
                  <a:pt x="2039" y="2024"/>
                  <a:pt x="2035" y="2028"/>
                  <a:pt x="2032" y="2032"/>
                </a:cubicBezTo>
                <a:cubicBezTo>
                  <a:pt x="2030" y="2034"/>
                  <a:pt x="2029" y="2037"/>
                  <a:pt x="2028" y="2039"/>
                </a:cubicBezTo>
                <a:cubicBezTo>
                  <a:pt x="2028" y="2039"/>
                  <a:pt x="2028" y="2040"/>
                  <a:pt x="2028" y="2041"/>
                </a:cubicBezTo>
                <a:cubicBezTo>
                  <a:pt x="2030" y="2043"/>
                  <a:pt x="2031" y="2045"/>
                  <a:pt x="2032" y="2046"/>
                </a:cubicBezTo>
                <a:cubicBezTo>
                  <a:pt x="2034" y="2045"/>
                  <a:pt x="2035" y="2043"/>
                  <a:pt x="2036" y="2042"/>
                </a:cubicBezTo>
                <a:cubicBezTo>
                  <a:pt x="2035" y="2043"/>
                  <a:pt x="2035" y="2045"/>
                  <a:pt x="2034" y="2046"/>
                </a:cubicBezTo>
                <a:cubicBezTo>
                  <a:pt x="2034" y="2047"/>
                  <a:pt x="2033" y="2048"/>
                  <a:pt x="2032" y="2050"/>
                </a:cubicBezTo>
                <a:cubicBezTo>
                  <a:pt x="2032" y="2051"/>
                  <a:pt x="2032" y="2052"/>
                  <a:pt x="2033" y="2053"/>
                </a:cubicBezTo>
                <a:cubicBezTo>
                  <a:pt x="2035" y="2056"/>
                  <a:pt x="2038" y="2056"/>
                  <a:pt x="2042" y="2054"/>
                </a:cubicBezTo>
                <a:cubicBezTo>
                  <a:pt x="2045" y="2053"/>
                  <a:pt x="2047" y="2052"/>
                  <a:pt x="2050" y="2051"/>
                </a:cubicBezTo>
                <a:cubicBezTo>
                  <a:pt x="2052" y="2050"/>
                  <a:pt x="2053" y="2050"/>
                  <a:pt x="2053" y="2048"/>
                </a:cubicBezTo>
                <a:cubicBezTo>
                  <a:pt x="2053" y="2045"/>
                  <a:pt x="2053" y="2041"/>
                  <a:pt x="2053" y="2038"/>
                </a:cubicBezTo>
                <a:cubicBezTo>
                  <a:pt x="2053" y="2035"/>
                  <a:pt x="2053" y="2032"/>
                  <a:pt x="2053" y="2029"/>
                </a:cubicBezTo>
                <a:cubicBezTo>
                  <a:pt x="2054" y="2032"/>
                  <a:pt x="2054" y="2035"/>
                  <a:pt x="2054" y="2037"/>
                </a:cubicBezTo>
                <a:cubicBezTo>
                  <a:pt x="2055" y="2042"/>
                  <a:pt x="2055" y="2046"/>
                  <a:pt x="2054" y="2050"/>
                </a:cubicBezTo>
                <a:cubicBezTo>
                  <a:pt x="2054" y="2051"/>
                  <a:pt x="2053" y="2052"/>
                  <a:pt x="2052" y="2052"/>
                </a:cubicBezTo>
                <a:cubicBezTo>
                  <a:pt x="2049" y="2052"/>
                  <a:pt x="2046" y="2054"/>
                  <a:pt x="2043" y="2056"/>
                </a:cubicBezTo>
                <a:cubicBezTo>
                  <a:pt x="2037" y="2059"/>
                  <a:pt x="2034" y="2057"/>
                  <a:pt x="2030" y="2053"/>
                </a:cubicBezTo>
                <a:cubicBezTo>
                  <a:pt x="2030" y="2053"/>
                  <a:pt x="2030" y="2052"/>
                  <a:pt x="2030" y="2051"/>
                </a:cubicBezTo>
                <a:cubicBezTo>
                  <a:pt x="2032" y="2049"/>
                  <a:pt x="2030" y="2047"/>
                  <a:pt x="2029" y="2045"/>
                </a:cubicBezTo>
                <a:cubicBezTo>
                  <a:pt x="2027" y="2043"/>
                  <a:pt x="2026" y="2041"/>
                  <a:pt x="2027" y="2038"/>
                </a:cubicBezTo>
                <a:cubicBezTo>
                  <a:pt x="2027" y="2036"/>
                  <a:pt x="2028" y="2034"/>
                  <a:pt x="2030" y="2033"/>
                </a:cubicBezTo>
                <a:cubicBezTo>
                  <a:pt x="2031" y="2030"/>
                  <a:pt x="2034" y="2027"/>
                  <a:pt x="2035" y="2025"/>
                </a:cubicBezTo>
                <a:cubicBezTo>
                  <a:pt x="2035" y="2025"/>
                  <a:pt x="2034" y="2025"/>
                  <a:pt x="2034" y="2025"/>
                </a:cubicBezTo>
                <a:cubicBezTo>
                  <a:pt x="2029" y="2026"/>
                  <a:pt x="2025" y="2027"/>
                  <a:pt x="2021" y="2031"/>
                </a:cubicBezTo>
                <a:cubicBezTo>
                  <a:pt x="2016" y="2035"/>
                  <a:pt x="2014" y="2040"/>
                  <a:pt x="2013" y="2047"/>
                </a:cubicBezTo>
                <a:cubicBezTo>
                  <a:pt x="2013" y="2054"/>
                  <a:pt x="2015" y="2060"/>
                  <a:pt x="2019" y="2065"/>
                </a:cubicBezTo>
                <a:cubicBezTo>
                  <a:pt x="2019" y="2066"/>
                  <a:pt x="2020" y="2068"/>
                  <a:pt x="2019" y="2069"/>
                </a:cubicBezTo>
                <a:cubicBezTo>
                  <a:pt x="2019" y="2071"/>
                  <a:pt x="2019" y="2072"/>
                  <a:pt x="2018" y="2073"/>
                </a:cubicBezTo>
                <a:cubicBezTo>
                  <a:pt x="2018" y="2075"/>
                  <a:pt x="2018" y="2076"/>
                  <a:pt x="2019" y="2077"/>
                </a:cubicBezTo>
                <a:cubicBezTo>
                  <a:pt x="2023" y="2077"/>
                  <a:pt x="2025" y="2078"/>
                  <a:pt x="2028" y="2078"/>
                </a:cubicBezTo>
                <a:cubicBezTo>
                  <a:pt x="2029" y="2078"/>
                  <a:pt x="2030" y="2077"/>
                  <a:pt x="2030" y="2077"/>
                </a:cubicBezTo>
                <a:cubicBezTo>
                  <a:pt x="2030" y="2076"/>
                  <a:pt x="2030" y="2074"/>
                  <a:pt x="2031" y="2073"/>
                </a:cubicBezTo>
                <a:cubicBezTo>
                  <a:pt x="2033" y="2071"/>
                  <a:pt x="2033" y="2068"/>
                  <a:pt x="2033" y="2065"/>
                </a:cubicBezTo>
                <a:cubicBezTo>
                  <a:pt x="2033" y="2065"/>
                  <a:pt x="2033" y="2065"/>
                  <a:pt x="2033" y="2064"/>
                </a:cubicBezTo>
                <a:cubicBezTo>
                  <a:pt x="2033" y="2064"/>
                  <a:pt x="2033" y="2064"/>
                  <a:pt x="2033" y="2064"/>
                </a:cubicBezTo>
                <a:cubicBezTo>
                  <a:pt x="2033" y="2066"/>
                  <a:pt x="2035" y="2066"/>
                  <a:pt x="2037" y="2066"/>
                </a:cubicBezTo>
                <a:cubicBezTo>
                  <a:pt x="2037" y="2066"/>
                  <a:pt x="2039" y="2066"/>
                  <a:pt x="2039" y="2066"/>
                </a:cubicBezTo>
                <a:cubicBezTo>
                  <a:pt x="2042" y="2066"/>
                  <a:pt x="2045" y="2067"/>
                  <a:pt x="2046" y="2063"/>
                </a:cubicBezTo>
                <a:cubicBezTo>
                  <a:pt x="2046" y="2065"/>
                  <a:pt x="2046" y="2067"/>
                  <a:pt x="2046" y="2067"/>
                </a:cubicBezTo>
                <a:cubicBezTo>
                  <a:pt x="2044" y="2068"/>
                  <a:pt x="2043" y="2069"/>
                  <a:pt x="2042" y="2069"/>
                </a:cubicBezTo>
                <a:cubicBezTo>
                  <a:pt x="2040" y="2070"/>
                  <a:pt x="2040" y="2072"/>
                  <a:pt x="2041" y="2073"/>
                </a:cubicBezTo>
                <a:cubicBezTo>
                  <a:pt x="2042" y="2075"/>
                  <a:pt x="2043" y="2077"/>
                  <a:pt x="2045" y="2079"/>
                </a:cubicBezTo>
                <a:cubicBezTo>
                  <a:pt x="2046" y="2080"/>
                  <a:pt x="2048" y="2080"/>
                  <a:pt x="2050" y="2078"/>
                </a:cubicBezTo>
                <a:cubicBezTo>
                  <a:pt x="2050" y="2077"/>
                  <a:pt x="2051" y="2077"/>
                  <a:pt x="2052" y="2076"/>
                </a:cubicBezTo>
                <a:cubicBezTo>
                  <a:pt x="2053" y="2075"/>
                  <a:pt x="2055" y="2073"/>
                  <a:pt x="2056" y="2072"/>
                </a:cubicBezTo>
                <a:cubicBezTo>
                  <a:pt x="2061" y="2068"/>
                  <a:pt x="2063" y="2062"/>
                  <a:pt x="2064" y="2056"/>
                </a:cubicBezTo>
                <a:cubicBezTo>
                  <a:pt x="2064" y="2056"/>
                  <a:pt x="2063" y="2055"/>
                  <a:pt x="2063" y="2054"/>
                </a:cubicBezTo>
                <a:cubicBezTo>
                  <a:pt x="2062" y="2053"/>
                  <a:pt x="2061" y="2052"/>
                  <a:pt x="2060" y="2052"/>
                </a:cubicBezTo>
                <a:close/>
                <a:moveTo>
                  <a:pt x="2013" y="2058"/>
                </a:moveTo>
                <a:cubicBezTo>
                  <a:pt x="2012" y="2059"/>
                  <a:pt x="2010" y="2060"/>
                  <a:pt x="2009" y="2061"/>
                </a:cubicBezTo>
                <a:cubicBezTo>
                  <a:pt x="2009" y="2061"/>
                  <a:pt x="2008" y="2062"/>
                  <a:pt x="2008" y="2063"/>
                </a:cubicBezTo>
                <a:cubicBezTo>
                  <a:pt x="2008" y="2065"/>
                  <a:pt x="2013" y="2070"/>
                  <a:pt x="2016" y="2069"/>
                </a:cubicBezTo>
                <a:cubicBezTo>
                  <a:pt x="2017" y="2069"/>
                  <a:pt x="2018" y="2068"/>
                  <a:pt x="2017" y="2067"/>
                </a:cubicBezTo>
                <a:cubicBezTo>
                  <a:pt x="2016" y="2064"/>
                  <a:pt x="2014" y="2061"/>
                  <a:pt x="2013" y="2058"/>
                </a:cubicBezTo>
                <a:close/>
                <a:moveTo>
                  <a:pt x="2065" y="2060"/>
                </a:moveTo>
                <a:cubicBezTo>
                  <a:pt x="2063" y="2065"/>
                  <a:pt x="2061" y="2069"/>
                  <a:pt x="2058" y="2073"/>
                </a:cubicBezTo>
                <a:cubicBezTo>
                  <a:pt x="2061" y="2073"/>
                  <a:pt x="2063" y="2074"/>
                  <a:pt x="2066" y="2073"/>
                </a:cubicBezTo>
                <a:cubicBezTo>
                  <a:pt x="2066" y="2073"/>
                  <a:pt x="2067" y="2072"/>
                  <a:pt x="2067" y="2072"/>
                </a:cubicBezTo>
                <a:cubicBezTo>
                  <a:pt x="2067" y="2069"/>
                  <a:pt x="2067" y="2067"/>
                  <a:pt x="2066" y="2064"/>
                </a:cubicBezTo>
                <a:cubicBezTo>
                  <a:pt x="2066" y="2063"/>
                  <a:pt x="2066" y="2062"/>
                  <a:pt x="2065" y="2060"/>
                </a:cubicBezTo>
                <a:close/>
                <a:moveTo>
                  <a:pt x="2013" y="2040"/>
                </a:moveTo>
                <a:cubicBezTo>
                  <a:pt x="2012" y="2040"/>
                  <a:pt x="2011" y="2041"/>
                  <a:pt x="2011" y="2041"/>
                </a:cubicBezTo>
                <a:cubicBezTo>
                  <a:pt x="2010" y="2041"/>
                  <a:pt x="2009" y="2041"/>
                  <a:pt x="2009" y="2040"/>
                </a:cubicBezTo>
                <a:cubicBezTo>
                  <a:pt x="2009" y="2040"/>
                  <a:pt x="2008" y="2039"/>
                  <a:pt x="2008" y="2038"/>
                </a:cubicBezTo>
                <a:cubicBezTo>
                  <a:pt x="2009" y="2036"/>
                  <a:pt x="2010" y="2034"/>
                  <a:pt x="2010" y="2032"/>
                </a:cubicBezTo>
                <a:cubicBezTo>
                  <a:pt x="2010" y="2032"/>
                  <a:pt x="2010" y="2032"/>
                  <a:pt x="2010" y="2032"/>
                </a:cubicBezTo>
                <a:cubicBezTo>
                  <a:pt x="2009" y="2033"/>
                  <a:pt x="2008" y="2034"/>
                  <a:pt x="2007" y="2035"/>
                </a:cubicBezTo>
                <a:cubicBezTo>
                  <a:pt x="2006" y="2036"/>
                  <a:pt x="2008" y="2041"/>
                  <a:pt x="2009" y="2042"/>
                </a:cubicBezTo>
                <a:cubicBezTo>
                  <a:pt x="2011" y="2043"/>
                  <a:pt x="2013" y="2042"/>
                  <a:pt x="2013" y="2040"/>
                </a:cubicBezTo>
                <a:close/>
                <a:moveTo>
                  <a:pt x="2013" y="2058"/>
                </a:moveTo>
                <a:cubicBezTo>
                  <a:pt x="2012" y="2058"/>
                  <a:pt x="2010" y="2059"/>
                  <a:pt x="2009" y="2060"/>
                </a:cubicBezTo>
                <a:cubicBezTo>
                  <a:pt x="2009" y="2061"/>
                  <a:pt x="2008" y="2062"/>
                  <a:pt x="2008" y="2062"/>
                </a:cubicBezTo>
                <a:cubicBezTo>
                  <a:pt x="2008" y="2065"/>
                  <a:pt x="2013" y="2070"/>
                  <a:pt x="2016" y="2069"/>
                </a:cubicBezTo>
                <a:cubicBezTo>
                  <a:pt x="2017" y="2069"/>
                  <a:pt x="2018" y="2068"/>
                  <a:pt x="2017" y="2066"/>
                </a:cubicBezTo>
                <a:cubicBezTo>
                  <a:pt x="2016" y="2063"/>
                  <a:pt x="2014" y="2060"/>
                  <a:pt x="2013" y="2058"/>
                </a:cubicBezTo>
                <a:close/>
                <a:moveTo>
                  <a:pt x="2065" y="2060"/>
                </a:moveTo>
                <a:cubicBezTo>
                  <a:pt x="2063" y="2064"/>
                  <a:pt x="2060" y="2069"/>
                  <a:pt x="2058" y="2073"/>
                </a:cubicBezTo>
                <a:cubicBezTo>
                  <a:pt x="2061" y="2073"/>
                  <a:pt x="2063" y="2073"/>
                  <a:pt x="2066" y="2073"/>
                </a:cubicBezTo>
                <a:cubicBezTo>
                  <a:pt x="2066" y="2073"/>
                  <a:pt x="2067" y="2072"/>
                  <a:pt x="2067" y="2071"/>
                </a:cubicBezTo>
                <a:cubicBezTo>
                  <a:pt x="2067" y="2069"/>
                  <a:pt x="2067" y="2066"/>
                  <a:pt x="2066" y="2064"/>
                </a:cubicBezTo>
                <a:cubicBezTo>
                  <a:pt x="2066" y="2062"/>
                  <a:pt x="2066" y="2061"/>
                  <a:pt x="2065" y="2060"/>
                </a:cubicBezTo>
                <a:close/>
                <a:moveTo>
                  <a:pt x="2012" y="2040"/>
                </a:moveTo>
                <a:cubicBezTo>
                  <a:pt x="2012" y="2040"/>
                  <a:pt x="2011" y="2040"/>
                  <a:pt x="2011" y="2040"/>
                </a:cubicBezTo>
                <a:cubicBezTo>
                  <a:pt x="2010" y="2040"/>
                  <a:pt x="2009" y="2040"/>
                  <a:pt x="2009" y="2040"/>
                </a:cubicBezTo>
                <a:cubicBezTo>
                  <a:pt x="2009" y="2040"/>
                  <a:pt x="2008" y="2039"/>
                  <a:pt x="2008" y="2038"/>
                </a:cubicBezTo>
                <a:cubicBezTo>
                  <a:pt x="2009" y="2036"/>
                  <a:pt x="2009" y="2034"/>
                  <a:pt x="2010" y="2032"/>
                </a:cubicBezTo>
                <a:cubicBezTo>
                  <a:pt x="2010" y="2032"/>
                  <a:pt x="2010" y="2032"/>
                  <a:pt x="2009" y="2032"/>
                </a:cubicBezTo>
                <a:cubicBezTo>
                  <a:pt x="2009" y="2033"/>
                  <a:pt x="2007" y="2034"/>
                  <a:pt x="2007" y="2035"/>
                </a:cubicBezTo>
                <a:cubicBezTo>
                  <a:pt x="2006" y="2036"/>
                  <a:pt x="2007" y="2041"/>
                  <a:pt x="2009" y="2042"/>
                </a:cubicBezTo>
                <a:cubicBezTo>
                  <a:pt x="2011" y="2043"/>
                  <a:pt x="2012" y="2042"/>
                  <a:pt x="2012" y="2040"/>
                </a:cubicBezTo>
                <a:close/>
                <a:moveTo>
                  <a:pt x="2065" y="2031"/>
                </a:moveTo>
                <a:cubicBezTo>
                  <a:pt x="2068" y="2028"/>
                  <a:pt x="2068" y="2028"/>
                  <a:pt x="2072" y="2026"/>
                </a:cubicBezTo>
                <a:cubicBezTo>
                  <a:pt x="2072" y="2028"/>
                  <a:pt x="2073" y="2030"/>
                  <a:pt x="2074" y="2030"/>
                </a:cubicBezTo>
                <a:cubicBezTo>
                  <a:pt x="2072" y="2031"/>
                  <a:pt x="2070" y="2032"/>
                  <a:pt x="2068" y="2034"/>
                </a:cubicBezTo>
                <a:cubicBezTo>
                  <a:pt x="2068" y="2033"/>
                  <a:pt x="2067" y="2032"/>
                  <a:pt x="2066" y="2031"/>
                </a:cubicBezTo>
                <a:cubicBezTo>
                  <a:pt x="2066" y="2031"/>
                  <a:pt x="2066" y="2031"/>
                  <a:pt x="2065" y="2031"/>
                </a:cubicBezTo>
                <a:close/>
                <a:moveTo>
                  <a:pt x="2071" y="2031"/>
                </a:moveTo>
                <a:cubicBezTo>
                  <a:pt x="2070" y="2030"/>
                  <a:pt x="2069" y="2030"/>
                  <a:pt x="2069" y="2030"/>
                </a:cubicBezTo>
                <a:cubicBezTo>
                  <a:pt x="2068" y="2030"/>
                  <a:pt x="2068" y="2031"/>
                  <a:pt x="2068" y="2031"/>
                </a:cubicBezTo>
                <a:cubicBezTo>
                  <a:pt x="2068" y="2032"/>
                  <a:pt x="2068" y="2032"/>
                  <a:pt x="2068" y="2032"/>
                </a:cubicBezTo>
                <a:cubicBezTo>
                  <a:pt x="2069" y="2032"/>
                  <a:pt x="2069" y="2032"/>
                  <a:pt x="2071" y="2031"/>
                </a:cubicBezTo>
                <a:close/>
                <a:moveTo>
                  <a:pt x="2052" y="2021"/>
                </a:moveTo>
                <a:cubicBezTo>
                  <a:pt x="2045" y="2021"/>
                  <a:pt x="2042" y="2023"/>
                  <a:pt x="2041" y="2031"/>
                </a:cubicBezTo>
                <a:cubicBezTo>
                  <a:pt x="2042" y="2029"/>
                  <a:pt x="2044" y="2026"/>
                  <a:pt x="2045" y="2024"/>
                </a:cubicBezTo>
                <a:cubicBezTo>
                  <a:pt x="2045" y="2024"/>
                  <a:pt x="2045" y="2024"/>
                  <a:pt x="2045" y="2024"/>
                </a:cubicBezTo>
                <a:cubicBezTo>
                  <a:pt x="2045" y="2025"/>
                  <a:pt x="2046" y="2026"/>
                  <a:pt x="2046" y="2027"/>
                </a:cubicBezTo>
                <a:cubicBezTo>
                  <a:pt x="2047" y="2024"/>
                  <a:pt x="2048" y="2022"/>
                  <a:pt x="2052" y="2021"/>
                </a:cubicBezTo>
                <a:close/>
                <a:moveTo>
                  <a:pt x="2096" y="2023"/>
                </a:moveTo>
                <a:cubicBezTo>
                  <a:pt x="2094" y="2024"/>
                  <a:pt x="2092" y="2026"/>
                  <a:pt x="2090" y="2027"/>
                </a:cubicBezTo>
                <a:cubicBezTo>
                  <a:pt x="2092" y="2027"/>
                  <a:pt x="2094" y="2026"/>
                  <a:pt x="2096" y="2023"/>
                </a:cubicBezTo>
                <a:close/>
                <a:moveTo>
                  <a:pt x="2062" y="2025"/>
                </a:moveTo>
                <a:cubicBezTo>
                  <a:pt x="2063" y="2024"/>
                  <a:pt x="2064" y="2022"/>
                  <a:pt x="2066" y="2021"/>
                </a:cubicBezTo>
                <a:cubicBezTo>
                  <a:pt x="2062" y="2022"/>
                  <a:pt x="2061" y="2023"/>
                  <a:pt x="2062" y="2025"/>
                </a:cubicBezTo>
                <a:close/>
                <a:moveTo>
                  <a:pt x="2072" y="2046"/>
                </a:moveTo>
                <a:cubicBezTo>
                  <a:pt x="2070" y="2047"/>
                  <a:pt x="2070" y="2048"/>
                  <a:pt x="2070" y="2049"/>
                </a:cubicBezTo>
                <a:cubicBezTo>
                  <a:pt x="2070" y="2048"/>
                  <a:pt x="2071" y="2047"/>
                  <a:pt x="2072" y="2046"/>
                </a:cubicBezTo>
                <a:close/>
                <a:moveTo>
                  <a:pt x="2071" y="2031"/>
                </a:moveTo>
                <a:cubicBezTo>
                  <a:pt x="2070" y="2031"/>
                  <a:pt x="2069" y="2030"/>
                  <a:pt x="2069" y="2030"/>
                </a:cubicBezTo>
                <a:cubicBezTo>
                  <a:pt x="2068" y="2030"/>
                  <a:pt x="2068" y="2031"/>
                  <a:pt x="2068" y="2031"/>
                </a:cubicBezTo>
                <a:cubicBezTo>
                  <a:pt x="2068" y="2032"/>
                  <a:pt x="2068" y="2032"/>
                  <a:pt x="2068" y="2033"/>
                </a:cubicBezTo>
                <a:cubicBezTo>
                  <a:pt x="2069" y="2032"/>
                  <a:pt x="2069" y="2032"/>
                  <a:pt x="2071" y="2031"/>
                </a:cubicBezTo>
                <a:close/>
                <a:moveTo>
                  <a:pt x="3701" y="2177"/>
                </a:moveTo>
                <a:cubicBezTo>
                  <a:pt x="3704" y="2158"/>
                  <a:pt x="3704" y="2158"/>
                  <a:pt x="3704" y="2158"/>
                </a:cubicBezTo>
                <a:cubicBezTo>
                  <a:pt x="3695" y="2158"/>
                  <a:pt x="3695" y="2158"/>
                  <a:pt x="3695" y="2158"/>
                </a:cubicBezTo>
                <a:cubicBezTo>
                  <a:pt x="3695" y="2146"/>
                  <a:pt x="3695" y="2146"/>
                  <a:pt x="3695" y="2146"/>
                </a:cubicBezTo>
                <a:cubicBezTo>
                  <a:pt x="3706" y="2146"/>
                  <a:pt x="3706" y="2146"/>
                  <a:pt x="3706" y="2146"/>
                </a:cubicBezTo>
                <a:cubicBezTo>
                  <a:pt x="3708" y="2135"/>
                  <a:pt x="3708" y="2135"/>
                  <a:pt x="3708" y="2135"/>
                </a:cubicBezTo>
                <a:cubicBezTo>
                  <a:pt x="3698" y="2135"/>
                  <a:pt x="3698" y="2135"/>
                  <a:pt x="3698" y="2135"/>
                </a:cubicBezTo>
                <a:cubicBezTo>
                  <a:pt x="3698" y="2123"/>
                  <a:pt x="3698" y="2123"/>
                  <a:pt x="3698" y="2123"/>
                </a:cubicBezTo>
                <a:cubicBezTo>
                  <a:pt x="3710" y="2123"/>
                  <a:pt x="3710" y="2123"/>
                  <a:pt x="3710" y="2123"/>
                </a:cubicBezTo>
                <a:cubicBezTo>
                  <a:pt x="3712" y="2105"/>
                  <a:pt x="3712" y="2105"/>
                  <a:pt x="3712" y="2105"/>
                </a:cubicBezTo>
                <a:cubicBezTo>
                  <a:pt x="3724" y="2105"/>
                  <a:pt x="3724" y="2105"/>
                  <a:pt x="3724" y="2105"/>
                </a:cubicBezTo>
                <a:cubicBezTo>
                  <a:pt x="3721" y="2123"/>
                  <a:pt x="3721" y="2123"/>
                  <a:pt x="3721" y="2123"/>
                </a:cubicBezTo>
                <a:cubicBezTo>
                  <a:pt x="3730" y="2123"/>
                  <a:pt x="3730" y="2123"/>
                  <a:pt x="3730" y="2123"/>
                </a:cubicBezTo>
                <a:cubicBezTo>
                  <a:pt x="3733" y="2105"/>
                  <a:pt x="3733" y="2105"/>
                  <a:pt x="3733" y="2105"/>
                </a:cubicBezTo>
                <a:cubicBezTo>
                  <a:pt x="3745" y="2105"/>
                  <a:pt x="3745" y="2105"/>
                  <a:pt x="3745" y="2105"/>
                </a:cubicBezTo>
                <a:cubicBezTo>
                  <a:pt x="3742" y="2123"/>
                  <a:pt x="3742" y="2123"/>
                  <a:pt x="3742" y="2123"/>
                </a:cubicBezTo>
                <a:cubicBezTo>
                  <a:pt x="3751" y="2123"/>
                  <a:pt x="3751" y="2123"/>
                  <a:pt x="3751" y="2123"/>
                </a:cubicBezTo>
                <a:cubicBezTo>
                  <a:pt x="3751" y="2135"/>
                  <a:pt x="3751" y="2135"/>
                  <a:pt x="3751" y="2135"/>
                </a:cubicBezTo>
                <a:cubicBezTo>
                  <a:pt x="3740" y="2135"/>
                  <a:pt x="3740" y="2135"/>
                  <a:pt x="3740" y="2135"/>
                </a:cubicBezTo>
                <a:cubicBezTo>
                  <a:pt x="3738" y="2146"/>
                  <a:pt x="3738" y="2146"/>
                  <a:pt x="3738" y="2146"/>
                </a:cubicBezTo>
                <a:cubicBezTo>
                  <a:pt x="3747" y="2146"/>
                  <a:pt x="3747" y="2146"/>
                  <a:pt x="3747" y="2146"/>
                </a:cubicBezTo>
                <a:cubicBezTo>
                  <a:pt x="3747" y="2158"/>
                  <a:pt x="3747" y="2158"/>
                  <a:pt x="3747" y="2158"/>
                </a:cubicBezTo>
                <a:cubicBezTo>
                  <a:pt x="3736" y="2158"/>
                  <a:pt x="3736" y="2158"/>
                  <a:pt x="3736" y="2158"/>
                </a:cubicBezTo>
                <a:cubicBezTo>
                  <a:pt x="3734" y="2177"/>
                  <a:pt x="3734" y="2177"/>
                  <a:pt x="3734" y="2177"/>
                </a:cubicBezTo>
                <a:cubicBezTo>
                  <a:pt x="3722" y="2177"/>
                  <a:pt x="3722" y="2177"/>
                  <a:pt x="3722" y="2177"/>
                </a:cubicBezTo>
                <a:cubicBezTo>
                  <a:pt x="3725" y="2158"/>
                  <a:pt x="3725" y="2158"/>
                  <a:pt x="3725" y="2158"/>
                </a:cubicBezTo>
                <a:cubicBezTo>
                  <a:pt x="3715" y="2158"/>
                  <a:pt x="3715" y="2158"/>
                  <a:pt x="3715" y="2158"/>
                </a:cubicBezTo>
                <a:cubicBezTo>
                  <a:pt x="3713" y="2177"/>
                  <a:pt x="3713" y="2177"/>
                  <a:pt x="3713" y="2177"/>
                </a:cubicBezTo>
                <a:cubicBezTo>
                  <a:pt x="3701" y="2177"/>
                  <a:pt x="3701" y="2177"/>
                  <a:pt x="3701" y="2177"/>
                </a:cubicBezTo>
                <a:cubicBezTo>
                  <a:pt x="3701" y="2177"/>
                  <a:pt x="3701" y="2177"/>
                  <a:pt x="3701" y="2177"/>
                </a:cubicBezTo>
                <a:close/>
                <a:moveTo>
                  <a:pt x="3727" y="2146"/>
                </a:moveTo>
                <a:cubicBezTo>
                  <a:pt x="3729" y="2135"/>
                  <a:pt x="3729" y="2135"/>
                  <a:pt x="3729" y="2135"/>
                </a:cubicBezTo>
                <a:cubicBezTo>
                  <a:pt x="3719" y="2135"/>
                  <a:pt x="3719" y="2135"/>
                  <a:pt x="3719" y="2135"/>
                </a:cubicBezTo>
                <a:cubicBezTo>
                  <a:pt x="3718" y="2146"/>
                  <a:pt x="3718" y="2146"/>
                  <a:pt x="3718" y="2146"/>
                </a:cubicBezTo>
                <a:cubicBezTo>
                  <a:pt x="3727" y="2146"/>
                  <a:pt x="3727" y="2146"/>
                  <a:pt x="3727" y="2146"/>
                </a:cubicBezTo>
                <a:cubicBezTo>
                  <a:pt x="3727" y="2146"/>
                  <a:pt x="3727" y="2146"/>
                  <a:pt x="3727" y="2146"/>
                </a:cubicBezTo>
                <a:close/>
                <a:moveTo>
                  <a:pt x="2586" y="2151"/>
                </a:moveTo>
                <a:cubicBezTo>
                  <a:pt x="2586" y="2153"/>
                  <a:pt x="2587" y="2154"/>
                  <a:pt x="2588" y="2155"/>
                </a:cubicBezTo>
                <a:cubicBezTo>
                  <a:pt x="2588" y="2157"/>
                  <a:pt x="2588" y="2159"/>
                  <a:pt x="2589" y="2161"/>
                </a:cubicBezTo>
                <a:cubicBezTo>
                  <a:pt x="2589" y="2162"/>
                  <a:pt x="2589" y="2164"/>
                  <a:pt x="2589" y="2165"/>
                </a:cubicBezTo>
                <a:cubicBezTo>
                  <a:pt x="2590" y="2168"/>
                  <a:pt x="2589" y="2170"/>
                  <a:pt x="2586" y="2170"/>
                </a:cubicBezTo>
                <a:cubicBezTo>
                  <a:pt x="2583" y="2170"/>
                  <a:pt x="2580" y="2170"/>
                  <a:pt x="2577" y="2170"/>
                </a:cubicBezTo>
                <a:cubicBezTo>
                  <a:pt x="2577" y="2170"/>
                  <a:pt x="2576" y="2170"/>
                  <a:pt x="2576" y="2170"/>
                </a:cubicBezTo>
                <a:cubicBezTo>
                  <a:pt x="2574" y="2172"/>
                  <a:pt x="2573" y="2173"/>
                  <a:pt x="2572" y="2174"/>
                </a:cubicBezTo>
                <a:cubicBezTo>
                  <a:pt x="2570" y="2177"/>
                  <a:pt x="2566" y="2177"/>
                  <a:pt x="2564" y="2175"/>
                </a:cubicBezTo>
                <a:cubicBezTo>
                  <a:pt x="2562" y="2173"/>
                  <a:pt x="2561" y="2170"/>
                  <a:pt x="2559" y="2168"/>
                </a:cubicBezTo>
                <a:cubicBezTo>
                  <a:pt x="2559" y="2166"/>
                  <a:pt x="2559" y="2164"/>
                  <a:pt x="2561" y="2163"/>
                </a:cubicBezTo>
                <a:cubicBezTo>
                  <a:pt x="2559" y="2163"/>
                  <a:pt x="2557" y="2163"/>
                  <a:pt x="2556" y="2163"/>
                </a:cubicBezTo>
                <a:cubicBezTo>
                  <a:pt x="2555" y="2165"/>
                  <a:pt x="2554" y="2167"/>
                  <a:pt x="2553" y="2169"/>
                </a:cubicBezTo>
                <a:cubicBezTo>
                  <a:pt x="2553" y="2170"/>
                  <a:pt x="2552" y="2170"/>
                  <a:pt x="2552" y="2171"/>
                </a:cubicBezTo>
                <a:cubicBezTo>
                  <a:pt x="2552" y="2174"/>
                  <a:pt x="2551" y="2176"/>
                  <a:pt x="2548" y="2175"/>
                </a:cubicBezTo>
                <a:cubicBezTo>
                  <a:pt x="2545" y="2175"/>
                  <a:pt x="2542" y="2174"/>
                  <a:pt x="2539" y="2173"/>
                </a:cubicBezTo>
                <a:cubicBezTo>
                  <a:pt x="2537" y="2172"/>
                  <a:pt x="2537" y="2171"/>
                  <a:pt x="2537" y="2169"/>
                </a:cubicBezTo>
                <a:cubicBezTo>
                  <a:pt x="2537" y="2168"/>
                  <a:pt x="2537" y="2167"/>
                  <a:pt x="2538" y="2167"/>
                </a:cubicBezTo>
                <a:cubicBezTo>
                  <a:pt x="2536" y="2166"/>
                  <a:pt x="2533" y="2165"/>
                  <a:pt x="2531" y="2164"/>
                </a:cubicBezTo>
                <a:cubicBezTo>
                  <a:pt x="2530" y="2163"/>
                  <a:pt x="2529" y="2161"/>
                  <a:pt x="2528" y="2159"/>
                </a:cubicBezTo>
                <a:cubicBezTo>
                  <a:pt x="2527" y="2157"/>
                  <a:pt x="2527" y="2156"/>
                  <a:pt x="2529" y="2154"/>
                </a:cubicBezTo>
                <a:cubicBezTo>
                  <a:pt x="2532" y="2152"/>
                  <a:pt x="2533" y="2149"/>
                  <a:pt x="2532" y="2145"/>
                </a:cubicBezTo>
                <a:cubicBezTo>
                  <a:pt x="2532" y="2143"/>
                  <a:pt x="2532" y="2141"/>
                  <a:pt x="2532" y="2139"/>
                </a:cubicBezTo>
                <a:cubicBezTo>
                  <a:pt x="2531" y="2138"/>
                  <a:pt x="2529" y="2138"/>
                  <a:pt x="2528" y="2137"/>
                </a:cubicBezTo>
                <a:cubicBezTo>
                  <a:pt x="2527" y="2135"/>
                  <a:pt x="2526" y="2133"/>
                  <a:pt x="2526" y="2131"/>
                </a:cubicBezTo>
                <a:cubicBezTo>
                  <a:pt x="2526" y="2128"/>
                  <a:pt x="2530" y="2126"/>
                  <a:pt x="2532" y="2125"/>
                </a:cubicBezTo>
                <a:cubicBezTo>
                  <a:pt x="2533" y="2126"/>
                  <a:pt x="2533" y="2126"/>
                  <a:pt x="2533" y="2127"/>
                </a:cubicBezTo>
                <a:cubicBezTo>
                  <a:pt x="2533" y="2128"/>
                  <a:pt x="2533" y="2129"/>
                  <a:pt x="2534" y="2130"/>
                </a:cubicBezTo>
                <a:cubicBezTo>
                  <a:pt x="2533" y="2130"/>
                  <a:pt x="2532" y="2130"/>
                  <a:pt x="2532" y="2130"/>
                </a:cubicBezTo>
                <a:cubicBezTo>
                  <a:pt x="2532" y="2131"/>
                  <a:pt x="2531" y="2132"/>
                  <a:pt x="2530" y="2134"/>
                </a:cubicBezTo>
                <a:cubicBezTo>
                  <a:pt x="2532" y="2134"/>
                  <a:pt x="2532" y="2134"/>
                  <a:pt x="2533" y="2134"/>
                </a:cubicBezTo>
                <a:cubicBezTo>
                  <a:pt x="2534" y="2132"/>
                  <a:pt x="2535" y="2132"/>
                  <a:pt x="2536" y="2130"/>
                </a:cubicBezTo>
                <a:cubicBezTo>
                  <a:pt x="2540" y="2124"/>
                  <a:pt x="2546" y="2120"/>
                  <a:pt x="2554" y="2118"/>
                </a:cubicBezTo>
                <a:cubicBezTo>
                  <a:pt x="2557" y="2118"/>
                  <a:pt x="2560" y="2117"/>
                  <a:pt x="2562" y="2114"/>
                </a:cubicBezTo>
                <a:cubicBezTo>
                  <a:pt x="2562" y="2113"/>
                  <a:pt x="2563" y="2113"/>
                  <a:pt x="2563" y="2113"/>
                </a:cubicBezTo>
                <a:cubicBezTo>
                  <a:pt x="2566" y="2113"/>
                  <a:pt x="2568" y="2110"/>
                  <a:pt x="2570" y="2108"/>
                </a:cubicBezTo>
                <a:cubicBezTo>
                  <a:pt x="2577" y="2101"/>
                  <a:pt x="2589" y="2100"/>
                  <a:pt x="2597" y="2107"/>
                </a:cubicBezTo>
                <a:cubicBezTo>
                  <a:pt x="2599" y="2109"/>
                  <a:pt x="2602" y="2111"/>
                  <a:pt x="2604" y="2113"/>
                </a:cubicBezTo>
                <a:cubicBezTo>
                  <a:pt x="2606" y="2114"/>
                  <a:pt x="2607" y="2116"/>
                  <a:pt x="2608" y="2118"/>
                </a:cubicBezTo>
                <a:cubicBezTo>
                  <a:pt x="2609" y="2119"/>
                  <a:pt x="2610" y="2119"/>
                  <a:pt x="2611" y="2118"/>
                </a:cubicBezTo>
                <a:cubicBezTo>
                  <a:pt x="2612" y="2118"/>
                  <a:pt x="2612" y="2117"/>
                  <a:pt x="2613" y="2116"/>
                </a:cubicBezTo>
                <a:cubicBezTo>
                  <a:pt x="2615" y="2113"/>
                  <a:pt x="2618" y="2113"/>
                  <a:pt x="2619" y="2117"/>
                </a:cubicBezTo>
                <a:cubicBezTo>
                  <a:pt x="2621" y="2120"/>
                  <a:pt x="2621" y="2123"/>
                  <a:pt x="2622" y="2126"/>
                </a:cubicBezTo>
                <a:cubicBezTo>
                  <a:pt x="2623" y="2130"/>
                  <a:pt x="2622" y="2134"/>
                  <a:pt x="2621" y="2139"/>
                </a:cubicBezTo>
                <a:cubicBezTo>
                  <a:pt x="2618" y="2145"/>
                  <a:pt x="2614" y="2149"/>
                  <a:pt x="2607" y="2149"/>
                </a:cubicBezTo>
                <a:cubicBezTo>
                  <a:pt x="2606" y="2149"/>
                  <a:pt x="2606" y="2149"/>
                  <a:pt x="2605" y="2149"/>
                </a:cubicBezTo>
                <a:cubicBezTo>
                  <a:pt x="2603" y="2148"/>
                  <a:pt x="2601" y="2149"/>
                  <a:pt x="2601" y="2151"/>
                </a:cubicBezTo>
                <a:cubicBezTo>
                  <a:pt x="2599" y="2155"/>
                  <a:pt x="2594" y="2157"/>
                  <a:pt x="2590" y="2154"/>
                </a:cubicBezTo>
                <a:cubicBezTo>
                  <a:pt x="2589" y="2153"/>
                  <a:pt x="2588" y="2152"/>
                  <a:pt x="2587" y="2151"/>
                </a:cubicBezTo>
                <a:cubicBezTo>
                  <a:pt x="2586" y="2151"/>
                  <a:pt x="2586" y="2151"/>
                  <a:pt x="2586" y="2151"/>
                </a:cubicBezTo>
                <a:close/>
                <a:moveTo>
                  <a:pt x="2581" y="2147"/>
                </a:moveTo>
                <a:cubicBezTo>
                  <a:pt x="2584" y="2148"/>
                  <a:pt x="2588" y="2149"/>
                  <a:pt x="2590" y="2152"/>
                </a:cubicBezTo>
                <a:cubicBezTo>
                  <a:pt x="2592" y="2154"/>
                  <a:pt x="2594" y="2155"/>
                  <a:pt x="2596" y="2154"/>
                </a:cubicBezTo>
                <a:cubicBezTo>
                  <a:pt x="2599" y="2153"/>
                  <a:pt x="2600" y="2151"/>
                  <a:pt x="2600" y="2148"/>
                </a:cubicBezTo>
                <a:cubicBezTo>
                  <a:pt x="2600" y="2148"/>
                  <a:pt x="2599" y="2148"/>
                  <a:pt x="2599" y="2149"/>
                </a:cubicBezTo>
                <a:cubicBezTo>
                  <a:pt x="2599" y="2150"/>
                  <a:pt x="2597" y="2151"/>
                  <a:pt x="2597" y="2152"/>
                </a:cubicBezTo>
                <a:cubicBezTo>
                  <a:pt x="2596" y="2153"/>
                  <a:pt x="2594" y="2153"/>
                  <a:pt x="2594" y="2153"/>
                </a:cubicBezTo>
                <a:cubicBezTo>
                  <a:pt x="2593" y="2153"/>
                  <a:pt x="2592" y="2151"/>
                  <a:pt x="2592" y="2151"/>
                </a:cubicBezTo>
                <a:cubicBezTo>
                  <a:pt x="2592" y="2148"/>
                  <a:pt x="2593" y="2146"/>
                  <a:pt x="2593" y="2144"/>
                </a:cubicBezTo>
                <a:cubicBezTo>
                  <a:pt x="2596" y="2145"/>
                  <a:pt x="2599" y="2146"/>
                  <a:pt x="2603" y="2147"/>
                </a:cubicBezTo>
                <a:cubicBezTo>
                  <a:pt x="2610" y="2148"/>
                  <a:pt x="2616" y="2146"/>
                  <a:pt x="2619" y="2138"/>
                </a:cubicBezTo>
                <a:cubicBezTo>
                  <a:pt x="2621" y="2133"/>
                  <a:pt x="2621" y="2128"/>
                  <a:pt x="2620" y="2123"/>
                </a:cubicBezTo>
                <a:cubicBezTo>
                  <a:pt x="2619" y="2121"/>
                  <a:pt x="2619" y="2119"/>
                  <a:pt x="2618" y="2117"/>
                </a:cubicBezTo>
                <a:cubicBezTo>
                  <a:pt x="2617" y="2116"/>
                  <a:pt x="2616" y="2115"/>
                  <a:pt x="2615" y="2117"/>
                </a:cubicBezTo>
                <a:cubicBezTo>
                  <a:pt x="2613" y="2119"/>
                  <a:pt x="2612" y="2120"/>
                  <a:pt x="2610" y="2121"/>
                </a:cubicBezTo>
                <a:cubicBezTo>
                  <a:pt x="2609" y="2121"/>
                  <a:pt x="2608" y="2122"/>
                  <a:pt x="2608" y="2123"/>
                </a:cubicBezTo>
                <a:cubicBezTo>
                  <a:pt x="2609" y="2126"/>
                  <a:pt x="2608" y="2130"/>
                  <a:pt x="2607" y="2133"/>
                </a:cubicBezTo>
                <a:cubicBezTo>
                  <a:pt x="2607" y="2131"/>
                  <a:pt x="2608" y="2129"/>
                  <a:pt x="2608" y="2127"/>
                </a:cubicBezTo>
                <a:cubicBezTo>
                  <a:pt x="2608" y="2126"/>
                  <a:pt x="2607" y="2126"/>
                  <a:pt x="2607" y="2126"/>
                </a:cubicBezTo>
                <a:cubicBezTo>
                  <a:pt x="2606" y="2126"/>
                  <a:pt x="2606" y="2126"/>
                  <a:pt x="2606" y="2126"/>
                </a:cubicBezTo>
                <a:cubicBezTo>
                  <a:pt x="2605" y="2128"/>
                  <a:pt x="2604" y="2129"/>
                  <a:pt x="2603" y="2130"/>
                </a:cubicBezTo>
                <a:cubicBezTo>
                  <a:pt x="2603" y="2130"/>
                  <a:pt x="2603" y="2130"/>
                  <a:pt x="2603" y="2130"/>
                </a:cubicBezTo>
                <a:cubicBezTo>
                  <a:pt x="2603" y="2129"/>
                  <a:pt x="2604" y="2127"/>
                  <a:pt x="2604" y="2125"/>
                </a:cubicBezTo>
                <a:cubicBezTo>
                  <a:pt x="2603" y="2126"/>
                  <a:pt x="2603" y="2126"/>
                  <a:pt x="2602" y="2127"/>
                </a:cubicBezTo>
                <a:cubicBezTo>
                  <a:pt x="2601" y="2127"/>
                  <a:pt x="2601" y="2128"/>
                  <a:pt x="2601" y="2129"/>
                </a:cubicBezTo>
                <a:cubicBezTo>
                  <a:pt x="2601" y="2125"/>
                  <a:pt x="2601" y="2125"/>
                  <a:pt x="2607" y="2124"/>
                </a:cubicBezTo>
                <a:cubicBezTo>
                  <a:pt x="2607" y="2124"/>
                  <a:pt x="2606" y="2123"/>
                  <a:pt x="2606" y="2123"/>
                </a:cubicBezTo>
                <a:cubicBezTo>
                  <a:pt x="2603" y="2124"/>
                  <a:pt x="2603" y="2122"/>
                  <a:pt x="2602" y="2120"/>
                </a:cubicBezTo>
                <a:cubicBezTo>
                  <a:pt x="2604" y="2119"/>
                  <a:pt x="2605" y="2119"/>
                  <a:pt x="2607" y="2119"/>
                </a:cubicBezTo>
                <a:cubicBezTo>
                  <a:pt x="2605" y="2116"/>
                  <a:pt x="2604" y="2113"/>
                  <a:pt x="2601" y="2113"/>
                </a:cubicBezTo>
                <a:cubicBezTo>
                  <a:pt x="2600" y="2113"/>
                  <a:pt x="2600" y="2113"/>
                  <a:pt x="2600" y="2112"/>
                </a:cubicBezTo>
                <a:cubicBezTo>
                  <a:pt x="2597" y="2110"/>
                  <a:pt x="2595" y="2108"/>
                  <a:pt x="2592" y="2106"/>
                </a:cubicBezTo>
                <a:cubicBezTo>
                  <a:pt x="2590" y="2105"/>
                  <a:pt x="2587" y="2104"/>
                  <a:pt x="2585" y="2104"/>
                </a:cubicBezTo>
                <a:cubicBezTo>
                  <a:pt x="2582" y="2104"/>
                  <a:pt x="2579" y="2106"/>
                  <a:pt x="2576" y="2106"/>
                </a:cubicBezTo>
                <a:cubicBezTo>
                  <a:pt x="2573" y="2107"/>
                  <a:pt x="2570" y="2109"/>
                  <a:pt x="2568" y="2112"/>
                </a:cubicBezTo>
                <a:cubicBezTo>
                  <a:pt x="2570" y="2112"/>
                  <a:pt x="2571" y="2112"/>
                  <a:pt x="2572" y="2112"/>
                </a:cubicBezTo>
                <a:cubicBezTo>
                  <a:pt x="2572" y="2113"/>
                  <a:pt x="2571" y="2113"/>
                  <a:pt x="2570" y="2113"/>
                </a:cubicBezTo>
                <a:cubicBezTo>
                  <a:pt x="2568" y="2114"/>
                  <a:pt x="2565" y="2113"/>
                  <a:pt x="2563" y="2115"/>
                </a:cubicBezTo>
                <a:cubicBezTo>
                  <a:pt x="2560" y="2119"/>
                  <a:pt x="2556" y="2123"/>
                  <a:pt x="2552" y="2127"/>
                </a:cubicBezTo>
                <a:cubicBezTo>
                  <a:pt x="2551" y="2129"/>
                  <a:pt x="2550" y="2132"/>
                  <a:pt x="2549" y="2134"/>
                </a:cubicBezTo>
                <a:cubicBezTo>
                  <a:pt x="2549" y="2134"/>
                  <a:pt x="2549" y="2135"/>
                  <a:pt x="2549" y="2136"/>
                </a:cubicBezTo>
                <a:cubicBezTo>
                  <a:pt x="2550" y="2138"/>
                  <a:pt x="2552" y="2140"/>
                  <a:pt x="2553" y="2142"/>
                </a:cubicBezTo>
                <a:cubicBezTo>
                  <a:pt x="2554" y="2140"/>
                  <a:pt x="2556" y="2138"/>
                  <a:pt x="2557" y="2137"/>
                </a:cubicBezTo>
                <a:cubicBezTo>
                  <a:pt x="2556" y="2138"/>
                  <a:pt x="2556" y="2140"/>
                  <a:pt x="2555" y="2141"/>
                </a:cubicBezTo>
                <a:cubicBezTo>
                  <a:pt x="2554" y="2142"/>
                  <a:pt x="2554" y="2144"/>
                  <a:pt x="2553" y="2145"/>
                </a:cubicBezTo>
                <a:cubicBezTo>
                  <a:pt x="2553" y="2146"/>
                  <a:pt x="2553" y="2147"/>
                  <a:pt x="2554" y="2148"/>
                </a:cubicBezTo>
                <a:cubicBezTo>
                  <a:pt x="2556" y="2151"/>
                  <a:pt x="2559" y="2151"/>
                  <a:pt x="2563" y="2149"/>
                </a:cubicBezTo>
                <a:cubicBezTo>
                  <a:pt x="2565" y="2148"/>
                  <a:pt x="2568" y="2147"/>
                  <a:pt x="2571" y="2146"/>
                </a:cubicBezTo>
                <a:cubicBezTo>
                  <a:pt x="2572" y="2145"/>
                  <a:pt x="2574" y="2145"/>
                  <a:pt x="2574" y="2143"/>
                </a:cubicBezTo>
                <a:cubicBezTo>
                  <a:pt x="2574" y="2140"/>
                  <a:pt x="2574" y="2136"/>
                  <a:pt x="2574" y="2133"/>
                </a:cubicBezTo>
                <a:cubicBezTo>
                  <a:pt x="2574" y="2130"/>
                  <a:pt x="2574" y="2127"/>
                  <a:pt x="2574" y="2124"/>
                </a:cubicBezTo>
                <a:cubicBezTo>
                  <a:pt x="2574" y="2127"/>
                  <a:pt x="2575" y="2130"/>
                  <a:pt x="2575" y="2132"/>
                </a:cubicBezTo>
                <a:cubicBezTo>
                  <a:pt x="2576" y="2137"/>
                  <a:pt x="2576" y="2141"/>
                  <a:pt x="2575" y="2145"/>
                </a:cubicBezTo>
                <a:cubicBezTo>
                  <a:pt x="2574" y="2146"/>
                  <a:pt x="2574" y="2147"/>
                  <a:pt x="2573" y="2147"/>
                </a:cubicBezTo>
                <a:cubicBezTo>
                  <a:pt x="2570" y="2147"/>
                  <a:pt x="2566" y="2149"/>
                  <a:pt x="2563" y="2151"/>
                </a:cubicBezTo>
                <a:cubicBezTo>
                  <a:pt x="2558" y="2154"/>
                  <a:pt x="2555" y="2152"/>
                  <a:pt x="2551" y="2148"/>
                </a:cubicBezTo>
                <a:cubicBezTo>
                  <a:pt x="2551" y="2148"/>
                  <a:pt x="2551" y="2147"/>
                  <a:pt x="2551" y="2146"/>
                </a:cubicBezTo>
                <a:cubicBezTo>
                  <a:pt x="2552" y="2144"/>
                  <a:pt x="2551" y="2142"/>
                  <a:pt x="2550" y="2140"/>
                </a:cubicBezTo>
                <a:cubicBezTo>
                  <a:pt x="2548" y="2138"/>
                  <a:pt x="2546" y="2136"/>
                  <a:pt x="2548" y="2133"/>
                </a:cubicBezTo>
                <a:cubicBezTo>
                  <a:pt x="2548" y="2131"/>
                  <a:pt x="2549" y="2129"/>
                  <a:pt x="2550" y="2128"/>
                </a:cubicBezTo>
                <a:cubicBezTo>
                  <a:pt x="2552" y="2125"/>
                  <a:pt x="2554" y="2123"/>
                  <a:pt x="2556" y="2120"/>
                </a:cubicBezTo>
                <a:cubicBezTo>
                  <a:pt x="2556" y="2120"/>
                  <a:pt x="2555" y="2120"/>
                  <a:pt x="2555" y="2120"/>
                </a:cubicBezTo>
                <a:cubicBezTo>
                  <a:pt x="2550" y="2121"/>
                  <a:pt x="2546" y="2123"/>
                  <a:pt x="2542" y="2126"/>
                </a:cubicBezTo>
                <a:cubicBezTo>
                  <a:pt x="2537" y="2130"/>
                  <a:pt x="2534" y="2135"/>
                  <a:pt x="2534" y="2142"/>
                </a:cubicBezTo>
                <a:cubicBezTo>
                  <a:pt x="2534" y="2149"/>
                  <a:pt x="2536" y="2155"/>
                  <a:pt x="2539" y="2161"/>
                </a:cubicBezTo>
                <a:cubicBezTo>
                  <a:pt x="2540" y="2161"/>
                  <a:pt x="2541" y="2163"/>
                  <a:pt x="2540" y="2164"/>
                </a:cubicBezTo>
                <a:cubicBezTo>
                  <a:pt x="2540" y="2166"/>
                  <a:pt x="2540" y="2167"/>
                  <a:pt x="2539" y="2168"/>
                </a:cubicBezTo>
                <a:cubicBezTo>
                  <a:pt x="2539" y="2170"/>
                  <a:pt x="2539" y="2171"/>
                  <a:pt x="2540" y="2172"/>
                </a:cubicBezTo>
                <a:cubicBezTo>
                  <a:pt x="2543" y="2172"/>
                  <a:pt x="2546" y="2173"/>
                  <a:pt x="2549" y="2173"/>
                </a:cubicBezTo>
                <a:cubicBezTo>
                  <a:pt x="2550" y="2173"/>
                  <a:pt x="2550" y="2172"/>
                  <a:pt x="2550" y="2172"/>
                </a:cubicBezTo>
                <a:cubicBezTo>
                  <a:pt x="2551" y="2171"/>
                  <a:pt x="2551" y="2169"/>
                  <a:pt x="2552" y="2168"/>
                </a:cubicBezTo>
                <a:cubicBezTo>
                  <a:pt x="2554" y="2166"/>
                  <a:pt x="2554" y="2163"/>
                  <a:pt x="2554" y="2161"/>
                </a:cubicBezTo>
                <a:cubicBezTo>
                  <a:pt x="2554" y="2160"/>
                  <a:pt x="2554" y="2160"/>
                  <a:pt x="2554" y="2159"/>
                </a:cubicBezTo>
                <a:cubicBezTo>
                  <a:pt x="2554" y="2159"/>
                  <a:pt x="2554" y="2159"/>
                  <a:pt x="2554" y="2159"/>
                </a:cubicBezTo>
                <a:cubicBezTo>
                  <a:pt x="2554" y="2161"/>
                  <a:pt x="2556" y="2161"/>
                  <a:pt x="2557" y="2161"/>
                </a:cubicBezTo>
                <a:cubicBezTo>
                  <a:pt x="2558" y="2161"/>
                  <a:pt x="2559" y="2161"/>
                  <a:pt x="2560" y="2161"/>
                </a:cubicBezTo>
                <a:cubicBezTo>
                  <a:pt x="2563" y="2161"/>
                  <a:pt x="2566" y="2162"/>
                  <a:pt x="2566" y="2158"/>
                </a:cubicBezTo>
                <a:cubicBezTo>
                  <a:pt x="2566" y="2160"/>
                  <a:pt x="2566" y="2162"/>
                  <a:pt x="2566" y="2163"/>
                </a:cubicBezTo>
                <a:cubicBezTo>
                  <a:pt x="2565" y="2163"/>
                  <a:pt x="2564" y="2164"/>
                  <a:pt x="2563" y="2164"/>
                </a:cubicBezTo>
                <a:cubicBezTo>
                  <a:pt x="2561" y="2165"/>
                  <a:pt x="2561" y="2167"/>
                  <a:pt x="2561" y="2168"/>
                </a:cubicBezTo>
                <a:cubicBezTo>
                  <a:pt x="2563" y="2170"/>
                  <a:pt x="2564" y="2172"/>
                  <a:pt x="2565" y="2174"/>
                </a:cubicBezTo>
                <a:cubicBezTo>
                  <a:pt x="2567" y="2175"/>
                  <a:pt x="2569" y="2175"/>
                  <a:pt x="2570" y="2173"/>
                </a:cubicBezTo>
                <a:cubicBezTo>
                  <a:pt x="2571" y="2172"/>
                  <a:pt x="2572" y="2172"/>
                  <a:pt x="2572" y="2171"/>
                </a:cubicBezTo>
                <a:cubicBezTo>
                  <a:pt x="2574" y="2170"/>
                  <a:pt x="2576" y="2168"/>
                  <a:pt x="2577" y="2167"/>
                </a:cubicBezTo>
                <a:cubicBezTo>
                  <a:pt x="2581" y="2163"/>
                  <a:pt x="2583" y="2157"/>
                  <a:pt x="2585" y="2151"/>
                </a:cubicBezTo>
                <a:cubicBezTo>
                  <a:pt x="2585" y="2151"/>
                  <a:pt x="2584" y="2150"/>
                  <a:pt x="2584" y="2149"/>
                </a:cubicBezTo>
                <a:cubicBezTo>
                  <a:pt x="2583" y="2148"/>
                  <a:pt x="2582" y="2147"/>
                  <a:pt x="2581" y="2147"/>
                </a:cubicBezTo>
                <a:close/>
                <a:moveTo>
                  <a:pt x="2534" y="2153"/>
                </a:moveTo>
                <a:cubicBezTo>
                  <a:pt x="2533" y="2154"/>
                  <a:pt x="2531" y="2155"/>
                  <a:pt x="2530" y="2156"/>
                </a:cubicBezTo>
                <a:cubicBezTo>
                  <a:pt x="2530" y="2156"/>
                  <a:pt x="2529" y="2157"/>
                  <a:pt x="2529" y="2158"/>
                </a:cubicBezTo>
                <a:cubicBezTo>
                  <a:pt x="2529" y="2161"/>
                  <a:pt x="2534" y="2165"/>
                  <a:pt x="2537" y="2164"/>
                </a:cubicBezTo>
                <a:cubicBezTo>
                  <a:pt x="2538" y="2164"/>
                  <a:pt x="2539" y="2163"/>
                  <a:pt x="2538" y="2162"/>
                </a:cubicBezTo>
                <a:cubicBezTo>
                  <a:pt x="2537" y="2159"/>
                  <a:pt x="2535" y="2156"/>
                  <a:pt x="2534" y="2153"/>
                </a:cubicBezTo>
                <a:close/>
                <a:moveTo>
                  <a:pt x="2586" y="2155"/>
                </a:moveTo>
                <a:cubicBezTo>
                  <a:pt x="2584" y="2160"/>
                  <a:pt x="2581" y="2164"/>
                  <a:pt x="2579" y="2168"/>
                </a:cubicBezTo>
                <a:cubicBezTo>
                  <a:pt x="2582" y="2168"/>
                  <a:pt x="2584" y="2169"/>
                  <a:pt x="2587" y="2168"/>
                </a:cubicBezTo>
                <a:cubicBezTo>
                  <a:pt x="2587" y="2168"/>
                  <a:pt x="2588" y="2167"/>
                  <a:pt x="2588" y="2167"/>
                </a:cubicBezTo>
                <a:cubicBezTo>
                  <a:pt x="2588" y="2164"/>
                  <a:pt x="2588" y="2162"/>
                  <a:pt x="2587" y="2159"/>
                </a:cubicBezTo>
                <a:cubicBezTo>
                  <a:pt x="2587" y="2158"/>
                  <a:pt x="2586" y="2157"/>
                  <a:pt x="2586" y="2155"/>
                </a:cubicBezTo>
                <a:close/>
                <a:moveTo>
                  <a:pt x="2534" y="2135"/>
                </a:moveTo>
                <a:cubicBezTo>
                  <a:pt x="2533" y="2135"/>
                  <a:pt x="2532" y="2136"/>
                  <a:pt x="2532" y="2136"/>
                </a:cubicBezTo>
                <a:cubicBezTo>
                  <a:pt x="2531" y="2136"/>
                  <a:pt x="2530" y="2136"/>
                  <a:pt x="2530" y="2135"/>
                </a:cubicBezTo>
                <a:cubicBezTo>
                  <a:pt x="2530" y="2135"/>
                  <a:pt x="2529" y="2134"/>
                  <a:pt x="2529" y="2133"/>
                </a:cubicBezTo>
                <a:cubicBezTo>
                  <a:pt x="2530" y="2131"/>
                  <a:pt x="2530" y="2129"/>
                  <a:pt x="2531" y="2127"/>
                </a:cubicBezTo>
                <a:cubicBezTo>
                  <a:pt x="2531" y="2127"/>
                  <a:pt x="2531" y="2127"/>
                  <a:pt x="2530" y="2127"/>
                </a:cubicBezTo>
                <a:cubicBezTo>
                  <a:pt x="2530" y="2128"/>
                  <a:pt x="2528" y="2129"/>
                  <a:pt x="2528" y="2130"/>
                </a:cubicBezTo>
                <a:cubicBezTo>
                  <a:pt x="2527" y="2131"/>
                  <a:pt x="2528" y="2136"/>
                  <a:pt x="2530" y="2137"/>
                </a:cubicBezTo>
                <a:cubicBezTo>
                  <a:pt x="2532" y="2138"/>
                  <a:pt x="2534" y="2137"/>
                  <a:pt x="2534" y="2135"/>
                </a:cubicBezTo>
                <a:close/>
                <a:moveTo>
                  <a:pt x="2533" y="2153"/>
                </a:moveTo>
                <a:cubicBezTo>
                  <a:pt x="2532" y="2154"/>
                  <a:pt x="2531" y="2155"/>
                  <a:pt x="2530" y="2156"/>
                </a:cubicBezTo>
                <a:cubicBezTo>
                  <a:pt x="2529" y="2156"/>
                  <a:pt x="2529" y="2157"/>
                  <a:pt x="2529" y="2158"/>
                </a:cubicBezTo>
                <a:cubicBezTo>
                  <a:pt x="2529" y="2160"/>
                  <a:pt x="2533" y="2165"/>
                  <a:pt x="2536" y="2164"/>
                </a:cubicBezTo>
                <a:cubicBezTo>
                  <a:pt x="2538" y="2164"/>
                  <a:pt x="2539" y="2163"/>
                  <a:pt x="2538" y="2162"/>
                </a:cubicBezTo>
                <a:cubicBezTo>
                  <a:pt x="2536" y="2159"/>
                  <a:pt x="2535" y="2156"/>
                  <a:pt x="2533" y="2153"/>
                </a:cubicBezTo>
                <a:close/>
                <a:moveTo>
                  <a:pt x="2586" y="2155"/>
                </a:moveTo>
                <a:cubicBezTo>
                  <a:pt x="2584" y="2160"/>
                  <a:pt x="2581" y="2164"/>
                  <a:pt x="2579" y="2169"/>
                </a:cubicBezTo>
                <a:cubicBezTo>
                  <a:pt x="2582" y="2169"/>
                  <a:pt x="2584" y="2169"/>
                  <a:pt x="2587" y="2169"/>
                </a:cubicBezTo>
                <a:cubicBezTo>
                  <a:pt x="2587" y="2169"/>
                  <a:pt x="2588" y="2167"/>
                  <a:pt x="2588" y="2167"/>
                </a:cubicBezTo>
                <a:cubicBezTo>
                  <a:pt x="2588" y="2164"/>
                  <a:pt x="2588" y="2162"/>
                  <a:pt x="2587" y="2159"/>
                </a:cubicBezTo>
                <a:cubicBezTo>
                  <a:pt x="2587" y="2158"/>
                  <a:pt x="2586" y="2157"/>
                  <a:pt x="2586" y="2155"/>
                </a:cubicBezTo>
                <a:close/>
                <a:moveTo>
                  <a:pt x="2533" y="2135"/>
                </a:moveTo>
                <a:cubicBezTo>
                  <a:pt x="2533" y="2135"/>
                  <a:pt x="2532" y="2135"/>
                  <a:pt x="2531" y="2135"/>
                </a:cubicBezTo>
                <a:cubicBezTo>
                  <a:pt x="2531" y="2135"/>
                  <a:pt x="2530" y="2135"/>
                  <a:pt x="2530" y="2135"/>
                </a:cubicBezTo>
                <a:cubicBezTo>
                  <a:pt x="2529" y="2135"/>
                  <a:pt x="2529" y="2134"/>
                  <a:pt x="2529" y="2133"/>
                </a:cubicBezTo>
                <a:cubicBezTo>
                  <a:pt x="2530" y="2131"/>
                  <a:pt x="2530" y="2129"/>
                  <a:pt x="2531" y="2127"/>
                </a:cubicBezTo>
                <a:cubicBezTo>
                  <a:pt x="2531" y="2127"/>
                  <a:pt x="2531" y="2127"/>
                  <a:pt x="2530" y="2127"/>
                </a:cubicBezTo>
                <a:cubicBezTo>
                  <a:pt x="2529" y="2128"/>
                  <a:pt x="2528" y="2129"/>
                  <a:pt x="2527" y="2130"/>
                </a:cubicBezTo>
                <a:cubicBezTo>
                  <a:pt x="2527" y="2131"/>
                  <a:pt x="2528" y="2136"/>
                  <a:pt x="2530" y="2137"/>
                </a:cubicBezTo>
                <a:cubicBezTo>
                  <a:pt x="2531" y="2138"/>
                  <a:pt x="2533" y="2137"/>
                  <a:pt x="2533" y="2135"/>
                </a:cubicBezTo>
                <a:close/>
                <a:moveTo>
                  <a:pt x="2586" y="2126"/>
                </a:moveTo>
                <a:cubicBezTo>
                  <a:pt x="2589" y="2123"/>
                  <a:pt x="2589" y="2123"/>
                  <a:pt x="2593" y="2122"/>
                </a:cubicBezTo>
                <a:cubicBezTo>
                  <a:pt x="2593" y="2124"/>
                  <a:pt x="2594" y="2125"/>
                  <a:pt x="2595" y="2125"/>
                </a:cubicBezTo>
                <a:cubicBezTo>
                  <a:pt x="2593" y="2126"/>
                  <a:pt x="2591" y="2128"/>
                  <a:pt x="2589" y="2129"/>
                </a:cubicBezTo>
                <a:cubicBezTo>
                  <a:pt x="2588" y="2128"/>
                  <a:pt x="2588" y="2127"/>
                  <a:pt x="2587" y="2126"/>
                </a:cubicBezTo>
                <a:cubicBezTo>
                  <a:pt x="2587" y="2126"/>
                  <a:pt x="2586" y="2126"/>
                  <a:pt x="2586" y="2126"/>
                </a:cubicBezTo>
                <a:close/>
                <a:moveTo>
                  <a:pt x="2591" y="2126"/>
                </a:moveTo>
                <a:cubicBezTo>
                  <a:pt x="2591" y="2126"/>
                  <a:pt x="2590" y="2125"/>
                  <a:pt x="2589" y="2125"/>
                </a:cubicBezTo>
                <a:cubicBezTo>
                  <a:pt x="2589" y="2125"/>
                  <a:pt x="2588" y="2126"/>
                  <a:pt x="2588" y="2126"/>
                </a:cubicBezTo>
                <a:cubicBezTo>
                  <a:pt x="2588" y="2127"/>
                  <a:pt x="2589" y="2127"/>
                  <a:pt x="2589" y="2128"/>
                </a:cubicBezTo>
                <a:cubicBezTo>
                  <a:pt x="2590" y="2127"/>
                  <a:pt x="2590" y="2127"/>
                  <a:pt x="2591" y="2126"/>
                </a:cubicBezTo>
                <a:close/>
                <a:moveTo>
                  <a:pt x="2573" y="2117"/>
                </a:moveTo>
                <a:cubicBezTo>
                  <a:pt x="2566" y="2116"/>
                  <a:pt x="2563" y="2118"/>
                  <a:pt x="2562" y="2126"/>
                </a:cubicBezTo>
                <a:cubicBezTo>
                  <a:pt x="2563" y="2124"/>
                  <a:pt x="2564" y="2122"/>
                  <a:pt x="2566" y="2119"/>
                </a:cubicBezTo>
                <a:cubicBezTo>
                  <a:pt x="2566" y="2119"/>
                  <a:pt x="2566" y="2119"/>
                  <a:pt x="2566" y="2119"/>
                </a:cubicBezTo>
                <a:cubicBezTo>
                  <a:pt x="2566" y="2121"/>
                  <a:pt x="2566" y="2121"/>
                  <a:pt x="2566" y="2122"/>
                </a:cubicBezTo>
                <a:cubicBezTo>
                  <a:pt x="2568" y="2119"/>
                  <a:pt x="2569" y="2117"/>
                  <a:pt x="2573" y="2117"/>
                </a:cubicBezTo>
                <a:close/>
                <a:moveTo>
                  <a:pt x="2616" y="2118"/>
                </a:moveTo>
                <a:cubicBezTo>
                  <a:pt x="2614" y="2119"/>
                  <a:pt x="2612" y="2121"/>
                  <a:pt x="2611" y="2122"/>
                </a:cubicBezTo>
                <a:cubicBezTo>
                  <a:pt x="2613" y="2122"/>
                  <a:pt x="2615" y="2121"/>
                  <a:pt x="2616" y="2118"/>
                </a:cubicBezTo>
                <a:close/>
                <a:moveTo>
                  <a:pt x="2583" y="2120"/>
                </a:moveTo>
                <a:cubicBezTo>
                  <a:pt x="2584" y="2119"/>
                  <a:pt x="2585" y="2117"/>
                  <a:pt x="2587" y="2116"/>
                </a:cubicBezTo>
                <a:cubicBezTo>
                  <a:pt x="2583" y="2117"/>
                  <a:pt x="2582" y="2118"/>
                  <a:pt x="2583" y="2120"/>
                </a:cubicBezTo>
                <a:close/>
                <a:moveTo>
                  <a:pt x="2593" y="2142"/>
                </a:moveTo>
                <a:cubicBezTo>
                  <a:pt x="2591" y="2142"/>
                  <a:pt x="2590" y="2143"/>
                  <a:pt x="2590" y="2144"/>
                </a:cubicBezTo>
                <a:cubicBezTo>
                  <a:pt x="2591" y="2143"/>
                  <a:pt x="2592" y="2142"/>
                  <a:pt x="2593" y="2142"/>
                </a:cubicBezTo>
                <a:close/>
                <a:moveTo>
                  <a:pt x="2591" y="2126"/>
                </a:moveTo>
                <a:cubicBezTo>
                  <a:pt x="2591" y="2126"/>
                  <a:pt x="2590" y="2125"/>
                  <a:pt x="2590" y="2125"/>
                </a:cubicBezTo>
                <a:cubicBezTo>
                  <a:pt x="2589" y="2125"/>
                  <a:pt x="2588" y="2126"/>
                  <a:pt x="2588" y="2127"/>
                </a:cubicBezTo>
                <a:cubicBezTo>
                  <a:pt x="2588" y="2127"/>
                  <a:pt x="2589" y="2127"/>
                  <a:pt x="2589" y="2128"/>
                </a:cubicBezTo>
                <a:cubicBezTo>
                  <a:pt x="2590" y="2127"/>
                  <a:pt x="2590" y="2127"/>
                  <a:pt x="2591" y="2126"/>
                </a:cubicBezTo>
                <a:close/>
                <a:moveTo>
                  <a:pt x="3246" y="2104"/>
                </a:moveTo>
                <a:cubicBezTo>
                  <a:pt x="3246" y="2104"/>
                  <a:pt x="3246" y="2104"/>
                  <a:pt x="3246" y="2104"/>
                </a:cubicBezTo>
                <a:cubicBezTo>
                  <a:pt x="3240" y="2104"/>
                  <a:pt x="3240" y="2104"/>
                  <a:pt x="3240" y="2104"/>
                </a:cubicBezTo>
                <a:cubicBezTo>
                  <a:pt x="3238" y="2105"/>
                  <a:pt x="3237" y="2107"/>
                  <a:pt x="3235" y="2107"/>
                </a:cubicBezTo>
                <a:cubicBezTo>
                  <a:pt x="3233" y="2109"/>
                  <a:pt x="3232" y="2110"/>
                  <a:pt x="3229" y="2110"/>
                </a:cubicBezTo>
                <a:cubicBezTo>
                  <a:pt x="3228" y="2112"/>
                  <a:pt x="3226" y="2112"/>
                  <a:pt x="3224" y="2113"/>
                </a:cubicBezTo>
                <a:cubicBezTo>
                  <a:pt x="3222" y="2114"/>
                  <a:pt x="3220" y="2115"/>
                  <a:pt x="3218" y="2115"/>
                </a:cubicBezTo>
                <a:cubicBezTo>
                  <a:pt x="3218" y="2115"/>
                  <a:pt x="3218" y="2115"/>
                  <a:pt x="3218" y="2125"/>
                </a:cubicBezTo>
                <a:cubicBezTo>
                  <a:pt x="3221" y="2124"/>
                  <a:pt x="3224" y="2123"/>
                  <a:pt x="3227" y="2122"/>
                </a:cubicBezTo>
                <a:cubicBezTo>
                  <a:pt x="3229" y="2121"/>
                  <a:pt x="3232" y="2120"/>
                  <a:pt x="3234" y="2118"/>
                </a:cubicBezTo>
                <a:cubicBezTo>
                  <a:pt x="3234" y="2118"/>
                  <a:pt x="3234" y="2118"/>
                  <a:pt x="3234" y="2177"/>
                </a:cubicBezTo>
                <a:cubicBezTo>
                  <a:pt x="3234" y="2177"/>
                  <a:pt x="3234" y="2177"/>
                  <a:pt x="3246" y="2177"/>
                </a:cubicBezTo>
                <a:cubicBezTo>
                  <a:pt x="3246" y="2177"/>
                  <a:pt x="3246" y="2177"/>
                  <a:pt x="3246" y="2104"/>
                </a:cubicBezTo>
                <a:close/>
                <a:moveTo>
                  <a:pt x="3293" y="2104"/>
                </a:moveTo>
                <a:cubicBezTo>
                  <a:pt x="3293" y="2104"/>
                  <a:pt x="3293" y="2104"/>
                  <a:pt x="3293" y="2104"/>
                </a:cubicBezTo>
                <a:cubicBezTo>
                  <a:pt x="3288" y="2104"/>
                  <a:pt x="3288" y="2104"/>
                  <a:pt x="3288" y="2104"/>
                </a:cubicBezTo>
                <a:cubicBezTo>
                  <a:pt x="3286" y="2105"/>
                  <a:pt x="3284" y="2107"/>
                  <a:pt x="3282" y="2107"/>
                </a:cubicBezTo>
                <a:cubicBezTo>
                  <a:pt x="3281" y="2109"/>
                  <a:pt x="3278" y="2110"/>
                  <a:pt x="3277" y="2110"/>
                </a:cubicBezTo>
                <a:cubicBezTo>
                  <a:pt x="3275" y="2112"/>
                  <a:pt x="3273" y="2112"/>
                  <a:pt x="3272" y="2113"/>
                </a:cubicBezTo>
                <a:cubicBezTo>
                  <a:pt x="3269" y="2114"/>
                  <a:pt x="3268" y="2115"/>
                  <a:pt x="3266" y="2115"/>
                </a:cubicBezTo>
                <a:cubicBezTo>
                  <a:pt x="3266" y="2115"/>
                  <a:pt x="3266" y="2115"/>
                  <a:pt x="3266" y="2125"/>
                </a:cubicBezTo>
                <a:cubicBezTo>
                  <a:pt x="3269" y="2124"/>
                  <a:pt x="3272" y="2123"/>
                  <a:pt x="3274" y="2122"/>
                </a:cubicBezTo>
                <a:cubicBezTo>
                  <a:pt x="3277" y="2121"/>
                  <a:pt x="3279" y="2120"/>
                  <a:pt x="3281" y="2118"/>
                </a:cubicBezTo>
                <a:cubicBezTo>
                  <a:pt x="3281" y="2118"/>
                  <a:pt x="3281" y="2118"/>
                  <a:pt x="3281" y="2177"/>
                </a:cubicBezTo>
                <a:cubicBezTo>
                  <a:pt x="3281" y="2177"/>
                  <a:pt x="3281" y="2177"/>
                  <a:pt x="3293" y="2177"/>
                </a:cubicBezTo>
                <a:cubicBezTo>
                  <a:pt x="3293" y="2177"/>
                  <a:pt x="3293" y="2177"/>
                  <a:pt x="3293" y="2104"/>
                </a:cubicBezTo>
                <a:close/>
                <a:moveTo>
                  <a:pt x="3340" y="2104"/>
                </a:moveTo>
                <a:cubicBezTo>
                  <a:pt x="3340" y="2104"/>
                  <a:pt x="3340" y="2104"/>
                  <a:pt x="3340" y="2104"/>
                </a:cubicBezTo>
                <a:cubicBezTo>
                  <a:pt x="3335" y="2104"/>
                  <a:pt x="3335" y="2104"/>
                  <a:pt x="3335" y="2104"/>
                </a:cubicBezTo>
                <a:cubicBezTo>
                  <a:pt x="3333" y="2105"/>
                  <a:pt x="3332" y="2107"/>
                  <a:pt x="3329" y="2107"/>
                </a:cubicBezTo>
                <a:cubicBezTo>
                  <a:pt x="3328" y="2109"/>
                  <a:pt x="3326" y="2110"/>
                  <a:pt x="3324" y="2110"/>
                </a:cubicBezTo>
                <a:cubicBezTo>
                  <a:pt x="3322" y="2111"/>
                  <a:pt x="3321" y="2112"/>
                  <a:pt x="3318" y="2112"/>
                </a:cubicBezTo>
                <a:cubicBezTo>
                  <a:pt x="3317" y="2113"/>
                  <a:pt x="3315" y="2114"/>
                  <a:pt x="3313" y="2115"/>
                </a:cubicBezTo>
                <a:cubicBezTo>
                  <a:pt x="3313" y="2115"/>
                  <a:pt x="3313" y="2115"/>
                  <a:pt x="3313" y="2125"/>
                </a:cubicBezTo>
                <a:cubicBezTo>
                  <a:pt x="3316" y="2124"/>
                  <a:pt x="3319" y="2123"/>
                  <a:pt x="3321" y="2122"/>
                </a:cubicBezTo>
                <a:cubicBezTo>
                  <a:pt x="3324" y="2121"/>
                  <a:pt x="3326" y="2120"/>
                  <a:pt x="3328" y="2118"/>
                </a:cubicBezTo>
                <a:cubicBezTo>
                  <a:pt x="3328" y="2118"/>
                  <a:pt x="3328" y="2118"/>
                  <a:pt x="3328" y="2177"/>
                </a:cubicBezTo>
                <a:cubicBezTo>
                  <a:pt x="3328" y="2177"/>
                  <a:pt x="3328" y="2177"/>
                  <a:pt x="3340" y="2177"/>
                </a:cubicBezTo>
                <a:cubicBezTo>
                  <a:pt x="3340" y="2177"/>
                  <a:pt x="3340" y="2177"/>
                  <a:pt x="3340" y="2104"/>
                </a:cubicBezTo>
                <a:close/>
                <a:moveTo>
                  <a:pt x="3550" y="2009"/>
                </a:moveTo>
                <a:cubicBezTo>
                  <a:pt x="3550" y="2009"/>
                  <a:pt x="3550" y="2009"/>
                  <a:pt x="3550" y="2009"/>
                </a:cubicBezTo>
                <a:cubicBezTo>
                  <a:pt x="3545" y="2009"/>
                  <a:pt x="3545" y="2009"/>
                  <a:pt x="3545" y="2009"/>
                </a:cubicBezTo>
                <a:cubicBezTo>
                  <a:pt x="3543" y="2010"/>
                  <a:pt x="3542" y="2012"/>
                  <a:pt x="3539" y="2012"/>
                </a:cubicBezTo>
                <a:cubicBezTo>
                  <a:pt x="3538" y="2014"/>
                  <a:pt x="3536" y="2014"/>
                  <a:pt x="3534" y="2015"/>
                </a:cubicBezTo>
                <a:cubicBezTo>
                  <a:pt x="3532" y="2016"/>
                  <a:pt x="3530" y="2017"/>
                  <a:pt x="3529" y="2017"/>
                </a:cubicBezTo>
                <a:cubicBezTo>
                  <a:pt x="3527" y="2018"/>
                  <a:pt x="3525" y="2019"/>
                  <a:pt x="3523" y="2020"/>
                </a:cubicBezTo>
                <a:cubicBezTo>
                  <a:pt x="3523" y="2020"/>
                  <a:pt x="3523" y="2020"/>
                  <a:pt x="3523" y="2030"/>
                </a:cubicBezTo>
                <a:cubicBezTo>
                  <a:pt x="3526" y="2029"/>
                  <a:pt x="3529" y="2028"/>
                  <a:pt x="3531" y="2027"/>
                </a:cubicBezTo>
                <a:cubicBezTo>
                  <a:pt x="3534" y="2026"/>
                  <a:pt x="3536" y="2025"/>
                  <a:pt x="3539" y="2023"/>
                </a:cubicBezTo>
                <a:cubicBezTo>
                  <a:pt x="3539" y="2023"/>
                  <a:pt x="3539" y="2023"/>
                  <a:pt x="3539" y="2082"/>
                </a:cubicBezTo>
                <a:cubicBezTo>
                  <a:pt x="3539" y="2082"/>
                  <a:pt x="3539" y="2082"/>
                  <a:pt x="3550" y="2082"/>
                </a:cubicBezTo>
                <a:cubicBezTo>
                  <a:pt x="3550" y="2082"/>
                  <a:pt x="3550" y="2082"/>
                  <a:pt x="3550" y="2009"/>
                </a:cubicBezTo>
                <a:close/>
                <a:moveTo>
                  <a:pt x="3596" y="2009"/>
                </a:moveTo>
                <a:cubicBezTo>
                  <a:pt x="3596" y="2009"/>
                  <a:pt x="3596" y="2009"/>
                  <a:pt x="3596" y="2009"/>
                </a:cubicBezTo>
                <a:cubicBezTo>
                  <a:pt x="3591" y="2009"/>
                  <a:pt x="3591" y="2009"/>
                  <a:pt x="3591" y="2009"/>
                </a:cubicBezTo>
                <a:cubicBezTo>
                  <a:pt x="3589" y="2010"/>
                  <a:pt x="3588" y="2012"/>
                  <a:pt x="3586" y="2012"/>
                </a:cubicBezTo>
                <a:cubicBezTo>
                  <a:pt x="3584" y="2014"/>
                  <a:pt x="3582" y="2014"/>
                  <a:pt x="3581" y="2015"/>
                </a:cubicBezTo>
                <a:cubicBezTo>
                  <a:pt x="3579" y="2017"/>
                  <a:pt x="3577" y="2017"/>
                  <a:pt x="3576" y="2018"/>
                </a:cubicBezTo>
                <a:cubicBezTo>
                  <a:pt x="3574" y="2019"/>
                  <a:pt x="3572" y="2020"/>
                  <a:pt x="3570" y="2020"/>
                </a:cubicBezTo>
                <a:cubicBezTo>
                  <a:pt x="3570" y="2020"/>
                  <a:pt x="3570" y="2020"/>
                  <a:pt x="3570" y="2030"/>
                </a:cubicBezTo>
                <a:cubicBezTo>
                  <a:pt x="3573" y="2029"/>
                  <a:pt x="3576" y="2028"/>
                  <a:pt x="3578" y="2027"/>
                </a:cubicBezTo>
                <a:cubicBezTo>
                  <a:pt x="3581" y="2026"/>
                  <a:pt x="3583" y="2025"/>
                  <a:pt x="3585" y="2023"/>
                </a:cubicBezTo>
                <a:cubicBezTo>
                  <a:pt x="3585" y="2023"/>
                  <a:pt x="3585" y="2023"/>
                  <a:pt x="3585" y="2082"/>
                </a:cubicBezTo>
                <a:cubicBezTo>
                  <a:pt x="3585" y="2082"/>
                  <a:pt x="3585" y="2082"/>
                  <a:pt x="3596" y="2082"/>
                </a:cubicBezTo>
                <a:cubicBezTo>
                  <a:pt x="3596" y="2082"/>
                  <a:pt x="3596" y="2082"/>
                  <a:pt x="3596" y="2009"/>
                </a:cubicBezTo>
                <a:close/>
                <a:moveTo>
                  <a:pt x="3643" y="2009"/>
                </a:moveTo>
                <a:cubicBezTo>
                  <a:pt x="3643" y="2009"/>
                  <a:pt x="3643" y="2009"/>
                  <a:pt x="3643" y="2009"/>
                </a:cubicBezTo>
                <a:cubicBezTo>
                  <a:pt x="3638" y="2009"/>
                  <a:pt x="3638" y="2009"/>
                  <a:pt x="3638" y="2009"/>
                </a:cubicBezTo>
                <a:cubicBezTo>
                  <a:pt x="3636" y="2010"/>
                  <a:pt x="3635" y="2012"/>
                  <a:pt x="3632" y="2012"/>
                </a:cubicBezTo>
                <a:cubicBezTo>
                  <a:pt x="3631" y="2014"/>
                  <a:pt x="3629" y="2014"/>
                  <a:pt x="3627" y="2015"/>
                </a:cubicBezTo>
                <a:cubicBezTo>
                  <a:pt x="3625" y="2017"/>
                  <a:pt x="3624" y="2017"/>
                  <a:pt x="3621" y="2018"/>
                </a:cubicBezTo>
                <a:cubicBezTo>
                  <a:pt x="3620" y="2019"/>
                  <a:pt x="3618" y="2020"/>
                  <a:pt x="3616" y="2020"/>
                </a:cubicBezTo>
                <a:cubicBezTo>
                  <a:pt x="3616" y="2020"/>
                  <a:pt x="3616" y="2020"/>
                  <a:pt x="3616" y="2030"/>
                </a:cubicBezTo>
                <a:cubicBezTo>
                  <a:pt x="3619" y="2029"/>
                  <a:pt x="3622" y="2028"/>
                  <a:pt x="3624" y="2027"/>
                </a:cubicBezTo>
                <a:cubicBezTo>
                  <a:pt x="3626" y="2026"/>
                  <a:pt x="3629" y="2025"/>
                  <a:pt x="3631" y="2023"/>
                </a:cubicBezTo>
                <a:cubicBezTo>
                  <a:pt x="3631" y="2023"/>
                  <a:pt x="3631" y="2023"/>
                  <a:pt x="3631" y="2082"/>
                </a:cubicBezTo>
                <a:cubicBezTo>
                  <a:pt x="3631" y="2082"/>
                  <a:pt x="3631" y="2082"/>
                  <a:pt x="3643" y="2082"/>
                </a:cubicBezTo>
                <a:cubicBezTo>
                  <a:pt x="3643" y="2082"/>
                  <a:pt x="3643" y="2082"/>
                  <a:pt x="3643" y="2009"/>
                </a:cubicBezTo>
                <a:close/>
                <a:moveTo>
                  <a:pt x="3689" y="2009"/>
                </a:moveTo>
                <a:cubicBezTo>
                  <a:pt x="3689" y="2009"/>
                  <a:pt x="3689" y="2009"/>
                  <a:pt x="3689" y="2009"/>
                </a:cubicBezTo>
                <a:cubicBezTo>
                  <a:pt x="3684" y="2009"/>
                  <a:pt x="3684" y="2009"/>
                  <a:pt x="3684" y="2009"/>
                </a:cubicBezTo>
                <a:cubicBezTo>
                  <a:pt x="3682" y="2010"/>
                  <a:pt x="3680" y="2012"/>
                  <a:pt x="3678" y="2012"/>
                </a:cubicBezTo>
                <a:cubicBezTo>
                  <a:pt x="3677" y="2014"/>
                  <a:pt x="3675" y="2014"/>
                  <a:pt x="3673" y="2015"/>
                </a:cubicBezTo>
                <a:cubicBezTo>
                  <a:pt x="3672" y="2017"/>
                  <a:pt x="3670" y="2017"/>
                  <a:pt x="3668" y="2018"/>
                </a:cubicBezTo>
                <a:cubicBezTo>
                  <a:pt x="3666" y="2019"/>
                  <a:pt x="3664" y="2020"/>
                  <a:pt x="3662" y="2020"/>
                </a:cubicBezTo>
                <a:cubicBezTo>
                  <a:pt x="3662" y="2020"/>
                  <a:pt x="3662" y="2020"/>
                  <a:pt x="3662" y="2030"/>
                </a:cubicBezTo>
                <a:cubicBezTo>
                  <a:pt x="3665" y="2029"/>
                  <a:pt x="3668" y="2028"/>
                  <a:pt x="3670" y="2027"/>
                </a:cubicBezTo>
                <a:cubicBezTo>
                  <a:pt x="3673" y="2026"/>
                  <a:pt x="3675" y="2025"/>
                  <a:pt x="3678" y="2023"/>
                </a:cubicBezTo>
                <a:cubicBezTo>
                  <a:pt x="3678" y="2023"/>
                  <a:pt x="3678" y="2023"/>
                  <a:pt x="3678" y="2082"/>
                </a:cubicBezTo>
                <a:cubicBezTo>
                  <a:pt x="3678" y="2082"/>
                  <a:pt x="3678" y="2082"/>
                  <a:pt x="3689" y="2082"/>
                </a:cubicBezTo>
                <a:cubicBezTo>
                  <a:pt x="3689" y="2082"/>
                  <a:pt x="3689" y="2082"/>
                  <a:pt x="3689" y="2009"/>
                </a:cubicBezTo>
                <a:close/>
                <a:moveTo>
                  <a:pt x="3811" y="2009"/>
                </a:moveTo>
                <a:cubicBezTo>
                  <a:pt x="3811" y="2009"/>
                  <a:pt x="3811" y="2009"/>
                  <a:pt x="3811" y="2009"/>
                </a:cubicBezTo>
                <a:cubicBezTo>
                  <a:pt x="3806" y="2009"/>
                  <a:pt x="3806" y="2009"/>
                  <a:pt x="3806" y="2009"/>
                </a:cubicBezTo>
                <a:cubicBezTo>
                  <a:pt x="3804" y="2010"/>
                  <a:pt x="3802" y="2012"/>
                  <a:pt x="3800" y="2012"/>
                </a:cubicBezTo>
                <a:cubicBezTo>
                  <a:pt x="3798" y="2014"/>
                  <a:pt x="3797" y="2014"/>
                  <a:pt x="3795" y="2015"/>
                </a:cubicBezTo>
                <a:cubicBezTo>
                  <a:pt x="3793" y="2017"/>
                  <a:pt x="3791" y="2017"/>
                  <a:pt x="3790" y="2018"/>
                </a:cubicBezTo>
                <a:cubicBezTo>
                  <a:pt x="3787" y="2019"/>
                  <a:pt x="3786" y="2020"/>
                  <a:pt x="3784" y="2020"/>
                </a:cubicBezTo>
                <a:cubicBezTo>
                  <a:pt x="3784" y="2020"/>
                  <a:pt x="3784" y="2020"/>
                  <a:pt x="3784" y="2030"/>
                </a:cubicBezTo>
                <a:cubicBezTo>
                  <a:pt x="3787" y="2029"/>
                  <a:pt x="3790" y="2028"/>
                  <a:pt x="3793" y="2027"/>
                </a:cubicBezTo>
                <a:cubicBezTo>
                  <a:pt x="3795" y="2026"/>
                  <a:pt x="3797" y="2025"/>
                  <a:pt x="3799" y="2023"/>
                </a:cubicBezTo>
                <a:cubicBezTo>
                  <a:pt x="3799" y="2023"/>
                  <a:pt x="3799" y="2023"/>
                  <a:pt x="3799" y="2082"/>
                </a:cubicBezTo>
                <a:cubicBezTo>
                  <a:pt x="3799" y="2082"/>
                  <a:pt x="3799" y="2082"/>
                  <a:pt x="3811" y="2082"/>
                </a:cubicBezTo>
                <a:cubicBezTo>
                  <a:pt x="3811" y="2082"/>
                  <a:pt x="3811" y="2082"/>
                  <a:pt x="3811" y="2009"/>
                </a:cubicBezTo>
                <a:close/>
                <a:moveTo>
                  <a:pt x="3858" y="2009"/>
                </a:moveTo>
                <a:cubicBezTo>
                  <a:pt x="3858" y="2009"/>
                  <a:pt x="3858" y="2009"/>
                  <a:pt x="3858" y="2009"/>
                </a:cubicBezTo>
                <a:cubicBezTo>
                  <a:pt x="3853" y="2009"/>
                  <a:pt x="3853" y="2009"/>
                  <a:pt x="3853" y="2009"/>
                </a:cubicBezTo>
                <a:cubicBezTo>
                  <a:pt x="3850" y="2010"/>
                  <a:pt x="3849" y="2012"/>
                  <a:pt x="3847" y="2012"/>
                </a:cubicBezTo>
                <a:cubicBezTo>
                  <a:pt x="3845" y="2014"/>
                  <a:pt x="3843" y="2014"/>
                  <a:pt x="3842" y="2015"/>
                </a:cubicBezTo>
                <a:cubicBezTo>
                  <a:pt x="3840" y="2017"/>
                  <a:pt x="3838" y="2017"/>
                  <a:pt x="3837" y="2018"/>
                </a:cubicBezTo>
                <a:cubicBezTo>
                  <a:pt x="3834" y="2019"/>
                  <a:pt x="3833" y="2020"/>
                  <a:pt x="3831" y="2020"/>
                </a:cubicBezTo>
                <a:cubicBezTo>
                  <a:pt x="3831" y="2020"/>
                  <a:pt x="3831" y="2020"/>
                  <a:pt x="3831" y="2030"/>
                </a:cubicBezTo>
                <a:cubicBezTo>
                  <a:pt x="3834" y="2029"/>
                  <a:pt x="3837" y="2028"/>
                  <a:pt x="3839" y="2027"/>
                </a:cubicBezTo>
                <a:cubicBezTo>
                  <a:pt x="3842" y="2026"/>
                  <a:pt x="3844" y="2025"/>
                  <a:pt x="3846" y="2023"/>
                </a:cubicBezTo>
                <a:cubicBezTo>
                  <a:pt x="3846" y="2023"/>
                  <a:pt x="3846" y="2023"/>
                  <a:pt x="3846" y="2082"/>
                </a:cubicBezTo>
                <a:cubicBezTo>
                  <a:pt x="3846" y="2082"/>
                  <a:pt x="3846" y="2082"/>
                  <a:pt x="3858" y="2082"/>
                </a:cubicBezTo>
                <a:cubicBezTo>
                  <a:pt x="3858" y="2082"/>
                  <a:pt x="3858" y="2082"/>
                  <a:pt x="3858" y="2009"/>
                </a:cubicBezTo>
                <a:close/>
                <a:moveTo>
                  <a:pt x="3709" y="2041"/>
                </a:moveTo>
                <a:cubicBezTo>
                  <a:pt x="3709" y="2041"/>
                  <a:pt x="3709" y="2041"/>
                  <a:pt x="3709" y="2041"/>
                </a:cubicBezTo>
                <a:cubicBezTo>
                  <a:pt x="3709" y="2049"/>
                  <a:pt x="3709" y="2049"/>
                  <a:pt x="3709" y="2049"/>
                </a:cubicBezTo>
                <a:cubicBezTo>
                  <a:pt x="3715" y="2050"/>
                  <a:pt x="3716" y="2053"/>
                  <a:pt x="3716" y="2055"/>
                </a:cubicBezTo>
                <a:cubicBezTo>
                  <a:pt x="3716" y="2057"/>
                  <a:pt x="3716" y="2060"/>
                  <a:pt x="3716" y="2062"/>
                </a:cubicBezTo>
                <a:cubicBezTo>
                  <a:pt x="3715" y="2065"/>
                  <a:pt x="3715" y="2067"/>
                  <a:pt x="3715" y="2069"/>
                </a:cubicBezTo>
                <a:cubicBezTo>
                  <a:pt x="3715" y="2079"/>
                  <a:pt x="3721" y="2082"/>
                  <a:pt x="3730" y="2082"/>
                </a:cubicBezTo>
                <a:cubicBezTo>
                  <a:pt x="3730" y="2082"/>
                  <a:pt x="3730" y="2082"/>
                  <a:pt x="3733" y="2082"/>
                </a:cubicBezTo>
                <a:cubicBezTo>
                  <a:pt x="3733" y="2082"/>
                  <a:pt x="3733" y="2082"/>
                  <a:pt x="3733" y="2073"/>
                </a:cubicBezTo>
                <a:cubicBezTo>
                  <a:pt x="3733" y="2073"/>
                  <a:pt x="3733" y="2073"/>
                  <a:pt x="3732" y="2073"/>
                </a:cubicBezTo>
                <a:cubicBezTo>
                  <a:pt x="3728" y="2073"/>
                  <a:pt x="3727" y="2071"/>
                  <a:pt x="3727" y="2067"/>
                </a:cubicBezTo>
                <a:cubicBezTo>
                  <a:pt x="3727" y="2066"/>
                  <a:pt x="3727" y="2064"/>
                  <a:pt x="3727" y="2062"/>
                </a:cubicBezTo>
                <a:cubicBezTo>
                  <a:pt x="3727" y="2061"/>
                  <a:pt x="3728" y="2059"/>
                  <a:pt x="3728" y="2056"/>
                </a:cubicBezTo>
                <a:cubicBezTo>
                  <a:pt x="3728" y="2049"/>
                  <a:pt x="3725" y="2046"/>
                  <a:pt x="3719" y="2045"/>
                </a:cubicBezTo>
                <a:cubicBezTo>
                  <a:pt x="3719" y="2045"/>
                  <a:pt x="3719" y="2045"/>
                  <a:pt x="3719" y="2045"/>
                </a:cubicBezTo>
                <a:cubicBezTo>
                  <a:pt x="3725" y="2044"/>
                  <a:pt x="3728" y="2041"/>
                  <a:pt x="3728" y="2034"/>
                </a:cubicBezTo>
                <a:cubicBezTo>
                  <a:pt x="3728" y="2031"/>
                  <a:pt x="3727" y="2029"/>
                  <a:pt x="3727" y="2028"/>
                </a:cubicBezTo>
                <a:cubicBezTo>
                  <a:pt x="3727" y="2026"/>
                  <a:pt x="3727" y="2024"/>
                  <a:pt x="3727" y="2023"/>
                </a:cubicBezTo>
                <a:cubicBezTo>
                  <a:pt x="3727" y="2019"/>
                  <a:pt x="3728" y="2017"/>
                  <a:pt x="3732" y="2017"/>
                </a:cubicBezTo>
                <a:cubicBezTo>
                  <a:pt x="3732" y="2017"/>
                  <a:pt x="3732" y="2017"/>
                  <a:pt x="3733" y="2017"/>
                </a:cubicBezTo>
                <a:cubicBezTo>
                  <a:pt x="3733" y="2017"/>
                  <a:pt x="3733" y="2017"/>
                  <a:pt x="3733" y="2008"/>
                </a:cubicBezTo>
                <a:cubicBezTo>
                  <a:pt x="3733" y="2008"/>
                  <a:pt x="3733" y="2008"/>
                  <a:pt x="3730" y="2008"/>
                </a:cubicBezTo>
                <a:cubicBezTo>
                  <a:pt x="3720" y="2008"/>
                  <a:pt x="3715" y="2012"/>
                  <a:pt x="3715" y="2020"/>
                </a:cubicBezTo>
                <a:cubicBezTo>
                  <a:pt x="3715" y="2023"/>
                  <a:pt x="3715" y="2025"/>
                  <a:pt x="3715" y="2028"/>
                </a:cubicBezTo>
                <a:cubicBezTo>
                  <a:pt x="3716" y="2030"/>
                  <a:pt x="3716" y="2033"/>
                  <a:pt x="3716" y="2035"/>
                </a:cubicBezTo>
                <a:cubicBezTo>
                  <a:pt x="3716" y="2037"/>
                  <a:pt x="3715" y="2041"/>
                  <a:pt x="3709" y="2041"/>
                </a:cubicBezTo>
                <a:close/>
                <a:moveTo>
                  <a:pt x="3764" y="2049"/>
                </a:moveTo>
                <a:cubicBezTo>
                  <a:pt x="3764" y="2049"/>
                  <a:pt x="3764" y="2049"/>
                  <a:pt x="3764" y="2049"/>
                </a:cubicBezTo>
                <a:cubicBezTo>
                  <a:pt x="3764" y="2041"/>
                  <a:pt x="3764" y="2041"/>
                  <a:pt x="3764" y="2041"/>
                </a:cubicBezTo>
                <a:cubicBezTo>
                  <a:pt x="3758" y="2041"/>
                  <a:pt x="3757" y="2037"/>
                  <a:pt x="3757" y="2035"/>
                </a:cubicBezTo>
                <a:cubicBezTo>
                  <a:pt x="3757" y="2033"/>
                  <a:pt x="3757" y="2030"/>
                  <a:pt x="3758" y="2028"/>
                </a:cubicBezTo>
                <a:cubicBezTo>
                  <a:pt x="3758" y="2025"/>
                  <a:pt x="3758" y="2023"/>
                  <a:pt x="3758" y="2020"/>
                </a:cubicBezTo>
                <a:cubicBezTo>
                  <a:pt x="3758" y="2012"/>
                  <a:pt x="3753" y="2008"/>
                  <a:pt x="3744" y="2008"/>
                </a:cubicBezTo>
                <a:cubicBezTo>
                  <a:pt x="3744" y="2008"/>
                  <a:pt x="3744" y="2008"/>
                  <a:pt x="3740" y="2008"/>
                </a:cubicBezTo>
                <a:cubicBezTo>
                  <a:pt x="3740" y="2008"/>
                  <a:pt x="3740" y="2008"/>
                  <a:pt x="3740" y="2017"/>
                </a:cubicBezTo>
                <a:cubicBezTo>
                  <a:pt x="3740" y="2017"/>
                  <a:pt x="3740" y="2017"/>
                  <a:pt x="3741" y="2017"/>
                </a:cubicBezTo>
                <a:cubicBezTo>
                  <a:pt x="3745" y="2017"/>
                  <a:pt x="3747" y="2019"/>
                  <a:pt x="3747" y="2023"/>
                </a:cubicBezTo>
                <a:cubicBezTo>
                  <a:pt x="3747" y="2024"/>
                  <a:pt x="3746" y="2026"/>
                  <a:pt x="3746" y="2028"/>
                </a:cubicBezTo>
                <a:cubicBezTo>
                  <a:pt x="3746" y="2029"/>
                  <a:pt x="3746" y="2031"/>
                  <a:pt x="3746" y="2034"/>
                </a:cubicBezTo>
                <a:cubicBezTo>
                  <a:pt x="3746" y="2041"/>
                  <a:pt x="3749" y="2044"/>
                  <a:pt x="3754" y="2045"/>
                </a:cubicBezTo>
                <a:cubicBezTo>
                  <a:pt x="3754" y="2045"/>
                  <a:pt x="3754" y="2045"/>
                  <a:pt x="3754" y="2045"/>
                </a:cubicBezTo>
                <a:cubicBezTo>
                  <a:pt x="3749" y="2046"/>
                  <a:pt x="3746" y="2049"/>
                  <a:pt x="3746" y="2056"/>
                </a:cubicBezTo>
                <a:cubicBezTo>
                  <a:pt x="3746" y="2059"/>
                  <a:pt x="3746" y="2061"/>
                  <a:pt x="3746" y="2062"/>
                </a:cubicBezTo>
                <a:cubicBezTo>
                  <a:pt x="3746" y="2064"/>
                  <a:pt x="3747" y="2066"/>
                  <a:pt x="3747" y="2067"/>
                </a:cubicBezTo>
                <a:cubicBezTo>
                  <a:pt x="3747" y="2071"/>
                  <a:pt x="3746" y="2073"/>
                  <a:pt x="3741" y="2073"/>
                </a:cubicBezTo>
                <a:cubicBezTo>
                  <a:pt x="3741" y="2073"/>
                  <a:pt x="3741" y="2073"/>
                  <a:pt x="3740" y="2073"/>
                </a:cubicBezTo>
                <a:cubicBezTo>
                  <a:pt x="3740" y="2073"/>
                  <a:pt x="3740" y="2073"/>
                  <a:pt x="3740" y="2082"/>
                </a:cubicBezTo>
                <a:cubicBezTo>
                  <a:pt x="3740" y="2082"/>
                  <a:pt x="3740" y="2082"/>
                  <a:pt x="3744" y="2082"/>
                </a:cubicBezTo>
                <a:cubicBezTo>
                  <a:pt x="3753" y="2082"/>
                  <a:pt x="3758" y="2079"/>
                  <a:pt x="3758" y="2069"/>
                </a:cubicBezTo>
                <a:cubicBezTo>
                  <a:pt x="3758" y="2067"/>
                  <a:pt x="3758" y="2065"/>
                  <a:pt x="3758" y="2062"/>
                </a:cubicBezTo>
                <a:cubicBezTo>
                  <a:pt x="3757" y="2060"/>
                  <a:pt x="3757" y="2057"/>
                  <a:pt x="3757" y="2055"/>
                </a:cubicBezTo>
                <a:cubicBezTo>
                  <a:pt x="3757" y="2053"/>
                  <a:pt x="3758" y="2050"/>
                  <a:pt x="3764" y="2049"/>
                </a:cubicBezTo>
                <a:close/>
                <a:moveTo>
                  <a:pt x="3151" y="2082"/>
                </a:moveTo>
                <a:cubicBezTo>
                  <a:pt x="3144" y="2082"/>
                  <a:pt x="3137" y="2079"/>
                  <a:pt x="3133" y="2073"/>
                </a:cubicBezTo>
                <a:cubicBezTo>
                  <a:pt x="3129" y="2067"/>
                  <a:pt x="3127" y="2058"/>
                  <a:pt x="3127" y="2045"/>
                </a:cubicBezTo>
                <a:cubicBezTo>
                  <a:pt x="3127" y="2032"/>
                  <a:pt x="3129" y="2023"/>
                  <a:pt x="3134" y="2016"/>
                </a:cubicBezTo>
                <a:cubicBezTo>
                  <a:pt x="3138" y="2009"/>
                  <a:pt x="3145" y="2006"/>
                  <a:pt x="3153" y="2006"/>
                </a:cubicBezTo>
                <a:cubicBezTo>
                  <a:pt x="3169" y="2006"/>
                  <a:pt x="3177" y="2018"/>
                  <a:pt x="3177" y="2044"/>
                </a:cubicBezTo>
                <a:cubicBezTo>
                  <a:pt x="3177" y="2056"/>
                  <a:pt x="3175" y="2066"/>
                  <a:pt x="3170" y="2073"/>
                </a:cubicBezTo>
                <a:cubicBezTo>
                  <a:pt x="3166" y="2079"/>
                  <a:pt x="3159" y="2082"/>
                  <a:pt x="3151" y="2082"/>
                </a:cubicBezTo>
                <a:close/>
                <a:moveTo>
                  <a:pt x="3153" y="2015"/>
                </a:moveTo>
                <a:cubicBezTo>
                  <a:pt x="3143" y="2015"/>
                  <a:pt x="3139" y="2026"/>
                  <a:pt x="3139" y="2045"/>
                </a:cubicBezTo>
                <a:cubicBezTo>
                  <a:pt x="3139" y="2064"/>
                  <a:pt x="3143" y="2073"/>
                  <a:pt x="3152" y="2073"/>
                </a:cubicBezTo>
                <a:cubicBezTo>
                  <a:pt x="3161" y="2073"/>
                  <a:pt x="3165" y="2064"/>
                  <a:pt x="3165" y="2045"/>
                </a:cubicBezTo>
                <a:cubicBezTo>
                  <a:pt x="3165" y="2025"/>
                  <a:pt x="3161" y="2015"/>
                  <a:pt x="3153" y="2015"/>
                </a:cubicBezTo>
                <a:close/>
                <a:moveTo>
                  <a:pt x="3221" y="2082"/>
                </a:moveTo>
                <a:cubicBezTo>
                  <a:pt x="3214" y="2082"/>
                  <a:pt x="3207" y="2079"/>
                  <a:pt x="3204" y="2073"/>
                </a:cubicBezTo>
                <a:cubicBezTo>
                  <a:pt x="3199" y="2067"/>
                  <a:pt x="3197" y="2058"/>
                  <a:pt x="3197" y="2045"/>
                </a:cubicBezTo>
                <a:cubicBezTo>
                  <a:pt x="3197" y="2032"/>
                  <a:pt x="3199" y="2023"/>
                  <a:pt x="3204" y="2016"/>
                </a:cubicBezTo>
                <a:cubicBezTo>
                  <a:pt x="3208" y="2009"/>
                  <a:pt x="3215" y="2006"/>
                  <a:pt x="3223" y="2006"/>
                </a:cubicBezTo>
                <a:cubicBezTo>
                  <a:pt x="3239" y="2006"/>
                  <a:pt x="3248" y="2018"/>
                  <a:pt x="3248" y="2044"/>
                </a:cubicBezTo>
                <a:cubicBezTo>
                  <a:pt x="3248" y="2056"/>
                  <a:pt x="3245" y="2066"/>
                  <a:pt x="3241" y="2073"/>
                </a:cubicBezTo>
                <a:cubicBezTo>
                  <a:pt x="3236" y="2079"/>
                  <a:pt x="3230" y="2082"/>
                  <a:pt x="3221" y="2082"/>
                </a:cubicBezTo>
                <a:close/>
                <a:moveTo>
                  <a:pt x="3223" y="2015"/>
                </a:moveTo>
                <a:cubicBezTo>
                  <a:pt x="3214" y="2015"/>
                  <a:pt x="3209" y="2026"/>
                  <a:pt x="3209" y="2045"/>
                </a:cubicBezTo>
                <a:cubicBezTo>
                  <a:pt x="3209" y="2064"/>
                  <a:pt x="3213" y="2073"/>
                  <a:pt x="3222" y="2073"/>
                </a:cubicBezTo>
                <a:cubicBezTo>
                  <a:pt x="3231" y="2073"/>
                  <a:pt x="3235" y="2064"/>
                  <a:pt x="3235" y="2045"/>
                </a:cubicBezTo>
                <a:cubicBezTo>
                  <a:pt x="3235" y="2025"/>
                  <a:pt x="3231" y="2015"/>
                  <a:pt x="3223" y="2015"/>
                </a:cubicBezTo>
                <a:close/>
                <a:moveTo>
                  <a:pt x="3431" y="2082"/>
                </a:moveTo>
                <a:cubicBezTo>
                  <a:pt x="3424" y="2082"/>
                  <a:pt x="3418" y="2079"/>
                  <a:pt x="3413" y="2073"/>
                </a:cubicBezTo>
                <a:cubicBezTo>
                  <a:pt x="3409" y="2067"/>
                  <a:pt x="3407" y="2057"/>
                  <a:pt x="3407" y="2045"/>
                </a:cubicBezTo>
                <a:cubicBezTo>
                  <a:pt x="3407" y="2032"/>
                  <a:pt x="3409" y="2023"/>
                  <a:pt x="3413" y="2015"/>
                </a:cubicBezTo>
                <a:cubicBezTo>
                  <a:pt x="3418" y="2009"/>
                  <a:pt x="3424" y="2006"/>
                  <a:pt x="3433" y="2006"/>
                </a:cubicBezTo>
                <a:cubicBezTo>
                  <a:pt x="3449" y="2006"/>
                  <a:pt x="3457" y="2018"/>
                  <a:pt x="3457" y="2043"/>
                </a:cubicBezTo>
                <a:cubicBezTo>
                  <a:pt x="3457" y="2056"/>
                  <a:pt x="3455" y="2066"/>
                  <a:pt x="3451" y="2073"/>
                </a:cubicBezTo>
                <a:cubicBezTo>
                  <a:pt x="3446" y="2079"/>
                  <a:pt x="3440" y="2082"/>
                  <a:pt x="3431" y="2082"/>
                </a:cubicBezTo>
                <a:close/>
                <a:moveTo>
                  <a:pt x="3432" y="2015"/>
                </a:moveTo>
                <a:cubicBezTo>
                  <a:pt x="3424" y="2015"/>
                  <a:pt x="3419" y="2025"/>
                  <a:pt x="3419" y="2045"/>
                </a:cubicBezTo>
                <a:cubicBezTo>
                  <a:pt x="3419" y="2063"/>
                  <a:pt x="3424" y="2073"/>
                  <a:pt x="3432" y="2073"/>
                </a:cubicBezTo>
                <a:cubicBezTo>
                  <a:pt x="3440" y="2073"/>
                  <a:pt x="3445" y="2063"/>
                  <a:pt x="3445" y="2045"/>
                </a:cubicBezTo>
                <a:cubicBezTo>
                  <a:pt x="3445" y="2025"/>
                  <a:pt x="3441" y="2015"/>
                  <a:pt x="3432" y="2015"/>
                </a:cubicBezTo>
                <a:close/>
                <a:moveTo>
                  <a:pt x="3503" y="2009"/>
                </a:moveTo>
                <a:cubicBezTo>
                  <a:pt x="3503" y="2009"/>
                  <a:pt x="3503" y="2009"/>
                  <a:pt x="3503" y="2009"/>
                </a:cubicBezTo>
                <a:cubicBezTo>
                  <a:pt x="3498" y="2009"/>
                  <a:pt x="3498" y="2009"/>
                  <a:pt x="3498" y="2009"/>
                </a:cubicBezTo>
                <a:cubicBezTo>
                  <a:pt x="3496" y="2010"/>
                  <a:pt x="3495" y="2012"/>
                  <a:pt x="3493" y="2012"/>
                </a:cubicBezTo>
                <a:cubicBezTo>
                  <a:pt x="3491" y="2014"/>
                  <a:pt x="3489" y="2014"/>
                  <a:pt x="3488" y="2015"/>
                </a:cubicBezTo>
                <a:cubicBezTo>
                  <a:pt x="3486" y="2016"/>
                  <a:pt x="3484" y="2017"/>
                  <a:pt x="3483" y="2017"/>
                </a:cubicBezTo>
                <a:cubicBezTo>
                  <a:pt x="3481" y="2018"/>
                  <a:pt x="3479" y="2019"/>
                  <a:pt x="3477" y="2020"/>
                </a:cubicBezTo>
                <a:cubicBezTo>
                  <a:pt x="3477" y="2020"/>
                  <a:pt x="3477" y="2020"/>
                  <a:pt x="3477" y="2030"/>
                </a:cubicBezTo>
                <a:cubicBezTo>
                  <a:pt x="3480" y="2029"/>
                  <a:pt x="3483" y="2028"/>
                  <a:pt x="3485" y="2027"/>
                </a:cubicBezTo>
                <a:cubicBezTo>
                  <a:pt x="3488" y="2026"/>
                  <a:pt x="3490" y="2025"/>
                  <a:pt x="3492" y="2023"/>
                </a:cubicBezTo>
                <a:cubicBezTo>
                  <a:pt x="3492" y="2023"/>
                  <a:pt x="3492" y="2023"/>
                  <a:pt x="3492" y="2082"/>
                </a:cubicBezTo>
                <a:cubicBezTo>
                  <a:pt x="3492" y="2082"/>
                  <a:pt x="3492" y="2082"/>
                  <a:pt x="3503" y="2082"/>
                </a:cubicBezTo>
                <a:cubicBezTo>
                  <a:pt x="3503" y="2082"/>
                  <a:pt x="3503" y="2082"/>
                  <a:pt x="3503" y="2009"/>
                </a:cubicBezTo>
                <a:close/>
                <a:moveTo>
                  <a:pt x="3295" y="2009"/>
                </a:moveTo>
                <a:cubicBezTo>
                  <a:pt x="3295" y="2009"/>
                  <a:pt x="3295" y="2009"/>
                  <a:pt x="3295" y="2009"/>
                </a:cubicBezTo>
                <a:cubicBezTo>
                  <a:pt x="3289" y="2009"/>
                  <a:pt x="3289" y="2009"/>
                  <a:pt x="3289" y="2009"/>
                </a:cubicBezTo>
                <a:cubicBezTo>
                  <a:pt x="3287" y="2010"/>
                  <a:pt x="3286" y="2012"/>
                  <a:pt x="3283" y="2012"/>
                </a:cubicBezTo>
                <a:cubicBezTo>
                  <a:pt x="3282" y="2014"/>
                  <a:pt x="3281" y="2014"/>
                  <a:pt x="3278" y="2015"/>
                </a:cubicBezTo>
                <a:cubicBezTo>
                  <a:pt x="3277" y="2017"/>
                  <a:pt x="3275" y="2017"/>
                  <a:pt x="3273" y="2018"/>
                </a:cubicBezTo>
                <a:cubicBezTo>
                  <a:pt x="3271" y="2019"/>
                  <a:pt x="3269" y="2020"/>
                  <a:pt x="3267" y="2020"/>
                </a:cubicBezTo>
                <a:cubicBezTo>
                  <a:pt x="3267" y="2020"/>
                  <a:pt x="3267" y="2020"/>
                  <a:pt x="3267" y="2030"/>
                </a:cubicBezTo>
                <a:cubicBezTo>
                  <a:pt x="3270" y="2029"/>
                  <a:pt x="3273" y="2028"/>
                  <a:pt x="3276" y="2027"/>
                </a:cubicBezTo>
                <a:cubicBezTo>
                  <a:pt x="3278" y="2026"/>
                  <a:pt x="3281" y="2025"/>
                  <a:pt x="3283" y="2023"/>
                </a:cubicBezTo>
                <a:cubicBezTo>
                  <a:pt x="3283" y="2023"/>
                  <a:pt x="3283" y="2023"/>
                  <a:pt x="3283" y="2082"/>
                </a:cubicBezTo>
                <a:cubicBezTo>
                  <a:pt x="3283" y="2082"/>
                  <a:pt x="3283" y="2082"/>
                  <a:pt x="3295" y="2082"/>
                </a:cubicBezTo>
                <a:cubicBezTo>
                  <a:pt x="3295" y="2082"/>
                  <a:pt x="3295" y="2082"/>
                  <a:pt x="3295" y="2009"/>
                </a:cubicBezTo>
                <a:close/>
                <a:moveTo>
                  <a:pt x="3341" y="2009"/>
                </a:moveTo>
                <a:cubicBezTo>
                  <a:pt x="3341" y="2009"/>
                  <a:pt x="3341" y="2009"/>
                  <a:pt x="3341" y="2009"/>
                </a:cubicBezTo>
                <a:cubicBezTo>
                  <a:pt x="3336" y="2009"/>
                  <a:pt x="3336" y="2009"/>
                  <a:pt x="3336" y="2009"/>
                </a:cubicBezTo>
                <a:cubicBezTo>
                  <a:pt x="3334" y="2010"/>
                  <a:pt x="3332" y="2012"/>
                  <a:pt x="3330" y="2012"/>
                </a:cubicBezTo>
                <a:cubicBezTo>
                  <a:pt x="3329" y="2014"/>
                  <a:pt x="3327" y="2014"/>
                  <a:pt x="3325" y="2015"/>
                </a:cubicBezTo>
                <a:cubicBezTo>
                  <a:pt x="3324" y="2017"/>
                  <a:pt x="3322" y="2017"/>
                  <a:pt x="3320" y="2018"/>
                </a:cubicBezTo>
                <a:cubicBezTo>
                  <a:pt x="3318" y="2019"/>
                  <a:pt x="3316" y="2020"/>
                  <a:pt x="3314" y="2020"/>
                </a:cubicBezTo>
                <a:cubicBezTo>
                  <a:pt x="3314" y="2020"/>
                  <a:pt x="3314" y="2020"/>
                  <a:pt x="3314" y="2030"/>
                </a:cubicBezTo>
                <a:cubicBezTo>
                  <a:pt x="3317" y="2029"/>
                  <a:pt x="3320" y="2028"/>
                  <a:pt x="3322" y="2027"/>
                </a:cubicBezTo>
                <a:cubicBezTo>
                  <a:pt x="3325" y="2026"/>
                  <a:pt x="3327" y="2025"/>
                  <a:pt x="3330" y="2023"/>
                </a:cubicBezTo>
                <a:cubicBezTo>
                  <a:pt x="3330" y="2023"/>
                  <a:pt x="3330" y="2023"/>
                  <a:pt x="3330" y="2082"/>
                </a:cubicBezTo>
                <a:cubicBezTo>
                  <a:pt x="3330" y="2082"/>
                  <a:pt x="3330" y="2082"/>
                  <a:pt x="3341" y="2082"/>
                </a:cubicBezTo>
                <a:cubicBezTo>
                  <a:pt x="3341" y="2082"/>
                  <a:pt x="3341" y="2082"/>
                  <a:pt x="3341" y="2009"/>
                </a:cubicBezTo>
                <a:close/>
                <a:moveTo>
                  <a:pt x="3387" y="2009"/>
                </a:moveTo>
                <a:cubicBezTo>
                  <a:pt x="3387" y="2009"/>
                  <a:pt x="3387" y="2009"/>
                  <a:pt x="3387" y="2009"/>
                </a:cubicBezTo>
                <a:cubicBezTo>
                  <a:pt x="3383" y="2009"/>
                  <a:pt x="3383" y="2009"/>
                  <a:pt x="3383" y="2009"/>
                </a:cubicBezTo>
                <a:cubicBezTo>
                  <a:pt x="3381" y="2010"/>
                  <a:pt x="3379" y="2012"/>
                  <a:pt x="3377" y="2012"/>
                </a:cubicBezTo>
                <a:cubicBezTo>
                  <a:pt x="3375" y="2014"/>
                  <a:pt x="3373" y="2014"/>
                  <a:pt x="3372" y="2015"/>
                </a:cubicBezTo>
                <a:cubicBezTo>
                  <a:pt x="3370" y="2016"/>
                  <a:pt x="3368" y="2017"/>
                  <a:pt x="3366" y="2017"/>
                </a:cubicBezTo>
                <a:cubicBezTo>
                  <a:pt x="3364" y="2018"/>
                  <a:pt x="3362" y="2019"/>
                  <a:pt x="3361" y="2020"/>
                </a:cubicBezTo>
                <a:cubicBezTo>
                  <a:pt x="3361" y="2020"/>
                  <a:pt x="3361" y="2020"/>
                  <a:pt x="3361" y="2030"/>
                </a:cubicBezTo>
                <a:cubicBezTo>
                  <a:pt x="3364" y="2029"/>
                  <a:pt x="3367" y="2028"/>
                  <a:pt x="3369" y="2027"/>
                </a:cubicBezTo>
                <a:cubicBezTo>
                  <a:pt x="3371" y="2026"/>
                  <a:pt x="3374" y="2025"/>
                  <a:pt x="3375" y="2023"/>
                </a:cubicBezTo>
                <a:cubicBezTo>
                  <a:pt x="3375" y="2023"/>
                  <a:pt x="3375" y="2023"/>
                  <a:pt x="3375" y="2082"/>
                </a:cubicBezTo>
                <a:cubicBezTo>
                  <a:pt x="3375" y="2082"/>
                  <a:pt x="3375" y="2082"/>
                  <a:pt x="3387" y="2082"/>
                </a:cubicBezTo>
                <a:cubicBezTo>
                  <a:pt x="3387" y="2082"/>
                  <a:pt x="3387" y="2082"/>
                  <a:pt x="3387" y="2009"/>
                </a:cubicBezTo>
                <a:close/>
                <a:moveTo>
                  <a:pt x="2144" y="2009"/>
                </a:moveTo>
                <a:cubicBezTo>
                  <a:pt x="2144" y="2009"/>
                  <a:pt x="2144" y="2009"/>
                  <a:pt x="2144" y="2009"/>
                </a:cubicBezTo>
                <a:cubicBezTo>
                  <a:pt x="2139" y="2009"/>
                  <a:pt x="2139" y="2009"/>
                  <a:pt x="2139" y="2009"/>
                </a:cubicBezTo>
                <a:cubicBezTo>
                  <a:pt x="2137" y="2010"/>
                  <a:pt x="2136" y="2012"/>
                  <a:pt x="2134" y="2012"/>
                </a:cubicBezTo>
                <a:cubicBezTo>
                  <a:pt x="2132" y="2014"/>
                  <a:pt x="2130" y="2014"/>
                  <a:pt x="2129" y="2015"/>
                </a:cubicBezTo>
                <a:cubicBezTo>
                  <a:pt x="2127" y="2017"/>
                  <a:pt x="2125" y="2017"/>
                  <a:pt x="2123" y="2018"/>
                </a:cubicBezTo>
                <a:cubicBezTo>
                  <a:pt x="2121" y="2019"/>
                  <a:pt x="2120" y="2020"/>
                  <a:pt x="2118" y="2020"/>
                </a:cubicBezTo>
                <a:cubicBezTo>
                  <a:pt x="2118" y="2020"/>
                  <a:pt x="2118" y="2020"/>
                  <a:pt x="2118" y="2030"/>
                </a:cubicBezTo>
                <a:cubicBezTo>
                  <a:pt x="2121" y="2029"/>
                  <a:pt x="2123" y="2028"/>
                  <a:pt x="2126" y="2027"/>
                </a:cubicBezTo>
                <a:cubicBezTo>
                  <a:pt x="2129" y="2026"/>
                  <a:pt x="2131" y="2025"/>
                  <a:pt x="2133" y="2023"/>
                </a:cubicBezTo>
                <a:cubicBezTo>
                  <a:pt x="2133" y="2023"/>
                  <a:pt x="2133" y="2023"/>
                  <a:pt x="2133" y="2082"/>
                </a:cubicBezTo>
                <a:cubicBezTo>
                  <a:pt x="2133" y="2082"/>
                  <a:pt x="2133" y="2082"/>
                  <a:pt x="2144" y="2082"/>
                </a:cubicBezTo>
                <a:cubicBezTo>
                  <a:pt x="2144" y="2082"/>
                  <a:pt x="2144" y="2082"/>
                  <a:pt x="2144" y="2009"/>
                </a:cubicBezTo>
                <a:close/>
                <a:moveTo>
                  <a:pt x="2192" y="2009"/>
                </a:moveTo>
                <a:cubicBezTo>
                  <a:pt x="2192" y="2009"/>
                  <a:pt x="2192" y="2009"/>
                  <a:pt x="2192" y="2009"/>
                </a:cubicBezTo>
                <a:cubicBezTo>
                  <a:pt x="2186" y="2009"/>
                  <a:pt x="2186" y="2009"/>
                  <a:pt x="2186" y="2009"/>
                </a:cubicBezTo>
                <a:cubicBezTo>
                  <a:pt x="2185" y="2010"/>
                  <a:pt x="2183" y="2012"/>
                  <a:pt x="2181" y="2012"/>
                </a:cubicBezTo>
                <a:cubicBezTo>
                  <a:pt x="2179" y="2014"/>
                  <a:pt x="2177" y="2014"/>
                  <a:pt x="2175" y="2015"/>
                </a:cubicBezTo>
                <a:cubicBezTo>
                  <a:pt x="2174" y="2017"/>
                  <a:pt x="2172" y="2017"/>
                  <a:pt x="2170" y="2018"/>
                </a:cubicBezTo>
                <a:cubicBezTo>
                  <a:pt x="2168" y="2019"/>
                  <a:pt x="2166" y="2020"/>
                  <a:pt x="2164" y="2020"/>
                </a:cubicBezTo>
                <a:cubicBezTo>
                  <a:pt x="2164" y="2020"/>
                  <a:pt x="2164" y="2020"/>
                  <a:pt x="2164" y="2030"/>
                </a:cubicBezTo>
                <a:cubicBezTo>
                  <a:pt x="2167" y="2029"/>
                  <a:pt x="2170" y="2028"/>
                  <a:pt x="2173" y="2027"/>
                </a:cubicBezTo>
                <a:cubicBezTo>
                  <a:pt x="2175" y="2026"/>
                  <a:pt x="2177" y="2025"/>
                  <a:pt x="2180" y="2023"/>
                </a:cubicBezTo>
                <a:cubicBezTo>
                  <a:pt x="2180" y="2023"/>
                  <a:pt x="2180" y="2023"/>
                  <a:pt x="2180" y="2082"/>
                </a:cubicBezTo>
                <a:cubicBezTo>
                  <a:pt x="2180" y="2082"/>
                  <a:pt x="2180" y="2082"/>
                  <a:pt x="2192" y="2082"/>
                </a:cubicBezTo>
                <a:cubicBezTo>
                  <a:pt x="2192" y="2082"/>
                  <a:pt x="2192" y="2082"/>
                  <a:pt x="2192" y="2009"/>
                </a:cubicBezTo>
                <a:close/>
                <a:moveTo>
                  <a:pt x="2237" y="2009"/>
                </a:moveTo>
                <a:cubicBezTo>
                  <a:pt x="2237" y="2009"/>
                  <a:pt x="2237" y="2009"/>
                  <a:pt x="2237" y="2009"/>
                </a:cubicBezTo>
                <a:cubicBezTo>
                  <a:pt x="2233" y="2009"/>
                  <a:pt x="2233" y="2009"/>
                  <a:pt x="2233" y="2009"/>
                </a:cubicBezTo>
                <a:cubicBezTo>
                  <a:pt x="2231" y="2010"/>
                  <a:pt x="2229" y="2012"/>
                  <a:pt x="2227" y="2012"/>
                </a:cubicBezTo>
                <a:cubicBezTo>
                  <a:pt x="2226" y="2014"/>
                  <a:pt x="2223" y="2014"/>
                  <a:pt x="2222" y="2015"/>
                </a:cubicBezTo>
                <a:cubicBezTo>
                  <a:pt x="2220" y="2016"/>
                  <a:pt x="2218" y="2017"/>
                  <a:pt x="2216" y="2017"/>
                </a:cubicBezTo>
                <a:cubicBezTo>
                  <a:pt x="2215" y="2018"/>
                  <a:pt x="2213" y="2019"/>
                  <a:pt x="2211" y="2020"/>
                </a:cubicBezTo>
                <a:cubicBezTo>
                  <a:pt x="2211" y="2020"/>
                  <a:pt x="2211" y="2020"/>
                  <a:pt x="2211" y="2030"/>
                </a:cubicBezTo>
                <a:cubicBezTo>
                  <a:pt x="2214" y="2029"/>
                  <a:pt x="2217" y="2028"/>
                  <a:pt x="2219" y="2027"/>
                </a:cubicBezTo>
                <a:cubicBezTo>
                  <a:pt x="2221" y="2026"/>
                  <a:pt x="2224" y="2025"/>
                  <a:pt x="2226" y="2023"/>
                </a:cubicBezTo>
                <a:cubicBezTo>
                  <a:pt x="2226" y="2023"/>
                  <a:pt x="2226" y="2023"/>
                  <a:pt x="2226" y="2082"/>
                </a:cubicBezTo>
                <a:cubicBezTo>
                  <a:pt x="2226" y="2082"/>
                  <a:pt x="2226" y="2082"/>
                  <a:pt x="2237" y="2082"/>
                </a:cubicBezTo>
                <a:cubicBezTo>
                  <a:pt x="2237" y="2082"/>
                  <a:pt x="2237" y="2082"/>
                  <a:pt x="2237" y="2009"/>
                </a:cubicBezTo>
                <a:close/>
                <a:moveTo>
                  <a:pt x="2374" y="2041"/>
                </a:moveTo>
                <a:cubicBezTo>
                  <a:pt x="2374" y="2041"/>
                  <a:pt x="2374" y="2041"/>
                  <a:pt x="2374" y="2041"/>
                </a:cubicBezTo>
                <a:cubicBezTo>
                  <a:pt x="2373" y="2049"/>
                  <a:pt x="2373" y="2049"/>
                  <a:pt x="2373" y="2049"/>
                </a:cubicBezTo>
                <a:cubicBezTo>
                  <a:pt x="2380" y="2050"/>
                  <a:pt x="2380" y="2053"/>
                  <a:pt x="2380" y="2055"/>
                </a:cubicBezTo>
                <a:cubicBezTo>
                  <a:pt x="2380" y="2057"/>
                  <a:pt x="2380" y="2060"/>
                  <a:pt x="2380" y="2062"/>
                </a:cubicBezTo>
                <a:cubicBezTo>
                  <a:pt x="2380" y="2065"/>
                  <a:pt x="2379" y="2067"/>
                  <a:pt x="2379" y="2069"/>
                </a:cubicBezTo>
                <a:cubicBezTo>
                  <a:pt x="2379" y="2079"/>
                  <a:pt x="2385" y="2082"/>
                  <a:pt x="2394" y="2082"/>
                </a:cubicBezTo>
                <a:cubicBezTo>
                  <a:pt x="2394" y="2082"/>
                  <a:pt x="2394" y="2082"/>
                  <a:pt x="2397" y="2082"/>
                </a:cubicBezTo>
                <a:cubicBezTo>
                  <a:pt x="2397" y="2082"/>
                  <a:pt x="2397" y="2082"/>
                  <a:pt x="2397" y="2073"/>
                </a:cubicBezTo>
                <a:cubicBezTo>
                  <a:pt x="2397" y="2073"/>
                  <a:pt x="2397" y="2073"/>
                  <a:pt x="2396" y="2073"/>
                </a:cubicBezTo>
                <a:cubicBezTo>
                  <a:pt x="2392" y="2073"/>
                  <a:pt x="2391" y="2071"/>
                  <a:pt x="2391" y="2067"/>
                </a:cubicBezTo>
                <a:cubicBezTo>
                  <a:pt x="2391" y="2066"/>
                  <a:pt x="2391" y="2064"/>
                  <a:pt x="2392" y="2062"/>
                </a:cubicBezTo>
                <a:cubicBezTo>
                  <a:pt x="2392" y="2061"/>
                  <a:pt x="2392" y="2059"/>
                  <a:pt x="2392" y="2056"/>
                </a:cubicBezTo>
                <a:cubicBezTo>
                  <a:pt x="2392" y="2049"/>
                  <a:pt x="2389" y="2046"/>
                  <a:pt x="2383" y="2045"/>
                </a:cubicBezTo>
                <a:cubicBezTo>
                  <a:pt x="2383" y="2045"/>
                  <a:pt x="2383" y="2045"/>
                  <a:pt x="2383" y="2045"/>
                </a:cubicBezTo>
                <a:cubicBezTo>
                  <a:pt x="2389" y="2044"/>
                  <a:pt x="2392" y="2041"/>
                  <a:pt x="2392" y="2034"/>
                </a:cubicBezTo>
                <a:cubicBezTo>
                  <a:pt x="2392" y="2031"/>
                  <a:pt x="2392" y="2029"/>
                  <a:pt x="2392" y="2028"/>
                </a:cubicBezTo>
                <a:cubicBezTo>
                  <a:pt x="2391" y="2026"/>
                  <a:pt x="2391" y="2024"/>
                  <a:pt x="2391" y="2023"/>
                </a:cubicBezTo>
                <a:cubicBezTo>
                  <a:pt x="2391" y="2019"/>
                  <a:pt x="2392" y="2017"/>
                  <a:pt x="2396" y="2017"/>
                </a:cubicBezTo>
                <a:cubicBezTo>
                  <a:pt x="2396" y="2017"/>
                  <a:pt x="2396" y="2017"/>
                  <a:pt x="2397" y="2017"/>
                </a:cubicBezTo>
                <a:cubicBezTo>
                  <a:pt x="2397" y="2017"/>
                  <a:pt x="2397" y="2017"/>
                  <a:pt x="2397" y="2008"/>
                </a:cubicBezTo>
                <a:cubicBezTo>
                  <a:pt x="2397" y="2008"/>
                  <a:pt x="2397" y="2008"/>
                  <a:pt x="2394" y="2008"/>
                </a:cubicBezTo>
                <a:cubicBezTo>
                  <a:pt x="2385" y="2008"/>
                  <a:pt x="2379" y="2012"/>
                  <a:pt x="2379" y="2020"/>
                </a:cubicBezTo>
                <a:cubicBezTo>
                  <a:pt x="2379" y="2023"/>
                  <a:pt x="2380" y="2025"/>
                  <a:pt x="2380" y="2028"/>
                </a:cubicBezTo>
                <a:cubicBezTo>
                  <a:pt x="2380" y="2030"/>
                  <a:pt x="2380" y="2033"/>
                  <a:pt x="2380" y="2035"/>
                </a:cubicBezTo>
                <a:cubicBezTo>
                  <a:pt x="2380" y="2037"/>
                  <a:pt x="2380" y="2041"/>
                  <a:pt x="2374" y="2041"/>
                </a:cubicBezTo>
                <a:close/>
                <a:moveTo>
                  <a:pt x="2428" y="2049"/>
                </a:moveTo>
                <a:cubicBezTo>
                  <a:pt x="2428" y="2049"/>
                  <a:pt x="2428" y="2049"/>
                  <a:pt x="2428" y="2049"/>
                </a:cubicBezTo>
                <a:cubicBezTo>
                  <a:pt x="2428" y="2041"/>
                  <a:pt x="2428" y="2041"/>
                  <a:pt x="2428" y="2041"/>
                </a:cubicBezTo>
                <a:cubicBezTo>
                  <a:pt x="2422" y="2041"/>
                  <a:pt x="2422" y="2037"/>
                  <a:pt x="2422" y="2035"/>
                </a:cubicBezTo>
                <a:cubicBezTo>
                  <a:pt x="2422" y="2033"/>
                  <a:pt x="2422" y="2030"/>
                  <a:pt x="2422" y="2028"/>
                </a:cubicBezTo>
                <a:cubicBezTo>
                  <a:pt x="2422" y="2025"/>
                  <a:pt x="2422" y="2023"/>
                  <a:pt x="2422" y="2020"/>
                </a:cubicBezTo>
                <a:cubicBezTo>
                  <a:pt x="2422" y="2012"/>
                  <a:pt x="2417" y="2008"/>
                  <a:pt x="2408" y="2008"/>
                </a:cubicBezTo>
                <a:cubicBezTo>
                  <a:pt x="2408" y="2008"/>
                  <a:pt x="2408" y="2008"/>
                  <a:pt x="2404" y="2008"/>
                </a:cubicBezTo>
                <a:cubicBezTo>
                  <a:pt x="2404" y="2008"/>
                  <a:pt x="2404" y="2008"/>
                  <a:pt x="2404" y="2017"/>
                </a:cubicBezTo>
                <a:cubicBezTo>
                  <a:pt x="2404" y="2017"/>
                  <a:pt x="2404" y="2017"/>
                  <a:pt x="2406" y="2017"/>
                </a:cubicBezTo>
                <a:cubicBezTo>
                  <a:pt x="2409" y="2017"/>
                  <a:pt x="2411" y="2019"/>
                  <a:pt x="2411" y="2023"/>
                </a:cubicBezTo>
                <a:cubicBezTo>
                  <a:pt x="2411" y="2024"/>
                  <a:pt x="2410" y="2026"/>
                  <a:pt x="2410" y="2028"/>
                </a:cubicBezTo>
                <a:cubicBezTo>
                  <a:pt x="2410" y="2029"/>
                  <a:pt x="2410" y="2031"/>
                  <a:pt x="2410" y="2034"/>
                </a:cubicBezTo>
                <a:cubicBezTo>
                  <a:pt x="2410" y="2041"/>
                  <a:pt x="2413" y="2044"/>
                  <a:pt x="2419" y="2045"/>
                </a:cubicBezTo>
                <a:cubicBezTo>
                  <a:pt x="2419" y="2045"/>
                  <a:pt x="2419" y="2045"/>
                  <a:pt x="2419" y="2045"/>
                </a:cubicBezTo>
                <a:cubicBezTo>
                  <a:pt x="2413" y="2046"/>
                  <a:pt x="2410" y="2049"/>
                  <a:pt x="2410" y="2056"/>
                </a:cubicBezTo>
                <a:cubicBezTo>
                  <a:pt x="2410" y="2059"/>
                  <a:pt x="2410" y="2061"/>
                  <a:pt x="2410" y="2062"/>
                </a:cubicBezTo>
                <a:cubicBezTo>
                  <a:pt x="2410" y="2064"/>
                  <a:pt x="2411" y="2066"/>
                  <a:pt x="2411" y="2067"/>
                </a:cubicBezTo>
                <a:cubicBezTo>
                  <a:pt x="2411" y="2071"/>
                  <a:pt x="2410" y="2073"/>
                  <a:pt x="2406" y="2073"/>
                </a:cubicBezTo>
                <a:cubicBezTo>
                  <a:pt x="2406" y="2073"/>
                  <a:pt x="2406" y="2073"/>
                  <a:pt x="2404" y="2073"/>
                </a:cubicBezTo>
                <a:cubicBezTo>
                  <a:pt x="2404" y="2073"/>
                  <a:pt x="2404" y="2073"/>
                  <a:pt x="2404" y="2082"/>
                </a:cubicBezTo>
                <a:cubicBezTo>
                  <a:pt x="2404" y="2082"/>
                  <a:pt x="2404" y="2082"/>
                  <a:pt x="2408" y="2082"/>
                </a:cubicBezTo>
                <a:cubicBezTo>
                  <a:pt x="2417" y="2082"/>
                  <a:pt x="2422" y="2079"/>
                  <a:pt x="2422" y="2069"/>
                </a:cubicBezTo>
                <a:cubicBezTo>
                  <a:pt x="2422" y="2067"/>
                  <a:pt x="2422" y="2065"/>
                  <a:pt x="2422" y="2062"/>
                </a:cubicBezTo>
                <a:cubicBezTo>
                  <a:pt x="2422" y="2060"/>
                  <a:pt x="2422" y="2057"/>
                  <a:pt x="2422" y="2055"/>
                </a:cubicBezTo>
                <a:cubicBezTo>
                  <a:pt x="2422" y="2053"/>
                  <a:pt x="2422" y="2050"/>
                  <a:pt x="2428" y="2049"/>
                </a:cubicBezTo>
                <a:close/>
                <a:moveTo>
                  <a:pt x="2475" y="2009"/>
                </a:moveTo>
                <a:cubicBezTo>
                  <a:pt x="2475" y="2009"/>
                  <a:pt x="2475" y="2009"/>
                  <a:pt x="2475" y="2009"/>
                </a:cubicBezTo>
                <a:cubicBezTo>
                  <a:pt x="2470" y="2009"/>
                  <a:pt x="2470" y="2009"/>
                  <a:pt x="2470" y="2009"/>
                </a:cubicBezTo>
                <a:cubicBezTo>
                  <a:pt x="2468" y="2010"/>
                  <a:pt x="2466" y="2012"/>
                  <a:pt x="2464" y="2012"/>
                </a:cubicBezTo>
                <a:cubicBezTo>
                  <a:pt x="2463" y="2014"/>
                  <a:pt x="2461" y="2014"/>
                  <a:pt x="2459" y="2015"/>
                </a:cubicBezTo>
                <a:cubicBezTo>
                  <a:pt x="2457" y="2016"/>
                  <a:pt x="2456" y="2017"/>
                  <a:pt x="2454" y="2017"/>
                </a:cubicBezTo>
                <a:cubicBezTo>
                  <a:pt x="2452" y="2018"/>
                  <a:pt x="2451" y="2019"/>
                  <a:pt x="2448" y="2020"/>
                </a:cubicBezTo>
                <a:cubicBezTo>
                  <a:pt x="2448" y="2020"/>
                  <a:pt x="2448" y="2020"/>
                  <a:pt x="2448" y="2030"/>
                </a:cubicBezTo>
                <a:cubicBezTo>
                  <a:pt x="2451" y="2029"/>
                  <a:pt x="2454" y="2028"/>
                  <a:pt x="2456" y="2027"/>
                </a:cubicBezTo>
                <a:cubicBezTo>
                  <a:pt x="2459" y="2026"/>
                  <a:pt x="2461" y="2025"/>
                  <a:pt x="2464" y="2023"/>
                </a:cubicBezTo>
                <a:cubicBezTo>
                  <a:pt x="2464" y="2023"/>
                  <a:pt x="2464" y="2023"/>
                  <a:pt x="2464" y="2082"/>
                </a:cubicBezTo>
                <a:cubicBezTo>
                  <a:pt x="2464" y="2082"/>
                  <a:pt x="2464" y="2082"/>
                  <a:pt x="2475" y="2082"/>
                </a:cubicBezTo>
                <a:cubicBezTo>
                  <a:pt x="2475" y="2082"/>
                  <a:pt x="2475" y="2082"/>
                  <a:pt x="2475" y="2009"/>
                </a:cubicBezTo>
                <a:close/>
                <a:moveTo>
                  <a:pt x="2521" y="2009"/>
                </a:moveTo>
                <a:cubicBezTo>
                  <a:pt x="2521" y="2009"/>
                  <a:pt x="2521" y="2009"/>
                  <a:pt x="2521" y="2009"/>
                </a:cubicBezTo>
                <a:cubicBezTo>
                  <a:pt x="2516" y="2009"/>
                  <a:pt x="2516" y="2009"/>
                  <a:pt x="2516" y="2009"/>
                </a:cubicBezTo>
                <a:cubicBezTo>
                  <a:pt x="2514" y="2010"/>
                  <a:pt x="2513" y="2012"/>
                  <a:pt x="2511" y="2012"/>
                </a:cubicBezTo>
                <a:cubicBezTo>
                  <a:pt x="2509" y="2014"/>
                  <a:pt x="2507" y="2014"/>
                  <a:pt x="2506" y="2015"/>
                </a:cubicBezTo>
                <a:cubicBezTo>
                  <a:pt x="2504" y="2017"/>
                  <a:pt x="2502" y="2017"/>
                  <a:pt x="2501" y="2018"/>
                </a:cubicBezTo>
                <a:cubicBezTo>
                  <a:pt x="2498" y="2019"/>
                  <a:pt x="2497" y="2020"/>
                  <a:pt x="2495" y="2020"/>
                </a:cubicBezTo>
                <a:cubicBezTo>
                  <a:pt x="2495" y="2020"/>
                  <a:pt x="2495" y="2020"/>
                  <a:pt x="2495" y="2030"/>
                </a:cubicBezTo>
                <a:cubicBezTo>
                  <a:pt x="2498" y="2029"/>
                  <a:pt x="2501" y="2028"/>
                  <a:pt x="2503" y="2027"/>
                </a:cubicBezTo>
                <a:cubicBezTo>
                  <a:pt x="2506" y="2026"/>
                  <a:pt x="2508" y="2025"/>
                  <a:pt x="2510" y="2023"/>
                </a:cubicBezTo>
                <a:cubicBezTo>
                  <a:pt x="2510" y="2023"/>
                  <a:pt x="2510" y="2023"/>
                  <a:pt x="2510" y="2082"/>
                </a:cubicBezTo>
                <a:cubicBezTo>
                  <a:pt x="2510" y="2082"/>
                  <a:pt x="2510" y="2082"/>
                  <a:pt x="2521" y="2082"/>
                </a:cubicBezTo>
                <a:cubicBezTo>
                  <a:pt x="2521" y="2082"/>
                  <a:pt x="2521" y="2082"/>
                  <a:pt x="2521" y="2009"/>
                </a:cubicBezTo>
                <a:close/>
                <a:moveTo>
                  <a:pt x="2567" y="2009"/>
                </a:moveTo>
                <a:cubicBezTo>
                  <a:pt x="2567" y="2009"/>
                  <a:pt x="2567" y="2009"/>
                  <a:pt x="2567" y="2009"/>
                </a:cubicBezTo>
                <a:cubicBezTo>
                  <a:pt x="2563" y="2009"/>
                  <a:pt x="2563" y="2009"/>
                  <a:pt x="2563" y="2009"/>
                </a:cubicBezTo>
                <a:cubicBezTo>
                  <a:pt x="2561" y="2010"/>
                  <a:pt x="2559" y="2012"/>
                  <a:pt x="2557" y="2012"/>
                </a:cubicBezTo>
                <a:cubicBezTo>
                  <a:pt x="2556" y="2014"/>
                  <a:pt x="2554" y="2014"/>
                  <a:pt x="2552" y="2015"/>
                </a:cubicBezTo>
                <a:cubicBezTo>
                  <a:pt x="2550" y="2017"/>
                  <a:pt x="2549" y="2017"/>
                  <a:pt x="2546" y="2018"/>
                </a:cubicBezTo>
                <a:cubicBezTo>
                  <a:pt x="2545" y="2019"/>
                  <a:pt x="2543" y="2020"/>
                  <a:pt x="2541" y="2020"/>
                </a:cubicBezTo>
                <a:cubicBezTo>
                  <a:pt x="2541" y="2020"/>
                  <a:pt x="2541" y="2020"/>
                  <a:pt x="2541" y="2030"/>
                </a:cubicBezTo>
                <a:cubicBezTo>
                  <a:pt x="2544" y="2029"/>
                  <a:pt x="2547" y="2028"/>
                  <a:pt x="2549" y="2027"/>
                </a:cubicBezTo>
                <a:cubicBezTo>
                  <a:pt x="2552" y="2026"/>
                  <a:pt x="2554" y="2025"/>
                  <a:pt x="2556" y="2023"/>
                </a:cubicBezTo>
                <a:cubicBezTo>
                  <a:pt x="2556" y="2023"/>
                  <a:pt x="2556" y="2023"/>
                  <a:pt x="2556" y="2082"/>
                </a:cubicBezTo>
                <a:cubicBezTo>
                  <a:pt x="2556" y="2082"/>
                  <a:pt x="2556" y="2082"/>
                  <a:pt x="2567" y="2082"/>
                </a:cubicBezTo>
                <a:cubicBezTo>
                  <a:pt x="2567" y="2082"/>
                  <a:pt x="2567" y="2082"/>
                  <a:pt x="2567" y="2009"/>
                </a:cubicBezTo>
                <a:close/>
                <a:moveTo>
                  <a:pt x="2317" y="2056"/>
                </a:moveTo>
                <a:cubicBezTo>
                  <a:pt x="2318" y="2058"/>
                  <a:pt x="2318" y="2059"/>
                  <a:pt x="2319" y="2060"/>
                </a:cubicBezTo>
                <a:cubicBezTo>
                  <a:pt x="2319" y="2062"/>
                  <a:pt x="2319" y="2064"/>
                  <a:pt x="2320" y="2065"/>
                </a:cubicBezTo>
                <a:cubicBezTo>
                  <a:pt x="2320" y="2067"/>
                  <a:pt x="2320" y="2069"/>
                  <a:pt x="2320" y="2070"/>
                </a:cubicBezTo>
                <a:cubicBezTo>
                  <a:pt x="2321" y="2073"/>
                  <a:pt x="2320" y="2075"/>
                  <a:pt x="2317" y="2075"/>
                </a:cubicBezTo>
                <a:cubicBezTo>
                  <a:pt x="2314" y="2075"/>
                  <a:pt x="2311" y="2075"/>
                  <a:pt x="2308" y="2075"/>
                </a:cubicBezTo>
                <a:cubicBezTo>
                  <a:pt x="2308" y="2075"/>
                  <a:pt x="2307" y="2075"/>
                  <a:pt x="2307" y="2075"/>
                </a:cubicBezTo>
                <a:cubicBezTo>
                  <a:pt x="2305" y="2077"/>
                  <a:pt x="2304" y="2078"/>
                  <a:pt x="2303" y="2079"/>
                </a:cubicBezTo>
                <a:cubicBezTo>
                  <a:pt x="2301" y="2082"/>
                  <a:pt x="2297" y="2082"/>
                  <a:pt x="2295" y="2080"/>
                </a:cubicBezTo>
                <a:cubicBezTo>
                  <a:pt x="2293" y="2078"/>
                  <a:pt x="2292" y="2075"/>
                  <a:pt x="2290" y="2073"/>
                </a:cubicBezTo>
                <a:cubicBezTo>
                  <a:pt x="2290" y="2071"/>
                  <a:pt x="2290" y="2069"/>
                  <a:pt x="2292" y="2068"/>
                </a:cubicBezTo>
                <a:cubicBezTo>
                  <a:pt x="2290" y="2068"/>
                  <a:pt x="2288" y="2068"/>
                  <a:pt x="2286" y="2068"/>
                </a:cubicBezTo>
                <a:cubicBezTo>
                  <a:pt x="2286" y="2070"/>
                  <a:pt x="2284" y="2072"/>
                  <a:pt x="2284" y="2074"/>
                </a:cubicBezTo>
                <a:cubicBezTo>
                  <a:pt x="2284" y="2075"/>
                  <a:pt x="2283" y="2075"/>
                  <a:pt x="2283" y="2076"/>
                </a:cubicBezTo>
                <a:cubicBezTo>
                  <a:pt x="2283" y="2079"/>
                  <a:pt x="2282" y="2081"/>
                  <a:pt x="2279" y="2080"/>
                </a:cubicBezTo>
                <a:cubicBezTo>
                  <a:pt x="2276" y="2080"/>
                  <a:pt x="2273" y="2079"/>
                  <a:pt x="2270" y="2078"/>
                </a:cubicBezTo>
                <a:cubicBezTo>
                  <a:pt x="2268" y="2077"/>
                  <a:pt x="2267" y="2076"/>
                  <a:pt x="2268" y="2074"/>
                </a:cubicBezTo>
                <a:cubicBezTo>
                  <a:pt x="2268" y="2073"/>
                  <a:pt x="2268" y="2072"/>
                  <a:pt x="2269" y="2072"/>
                </a:cubicBezTo>
                <a:cubicBezTo>
                  <a:pt x="2266" y="2071"/>
                  <a:pt x="2264" y="2070"/>
                  <a:pt x="2262" y="2069"/>
                </a:cubicBezTo>
                <a:cubicBezTo>
                  <a:pt x="2261" y="2068"/>
                  <a:pt x="2260" y="2066"/>
                  <a:pt x="2259" y="2064"/>
                </a:cubicBezTo>
                <a:cubicBezTo>
                  <a:pt x="2258" y="2062"/>
                  <a:pt x="2258" y="2061"/>
                  <a:pt x="2260" y="2059"/>
                </a:cubicBezTo>
                <a:cubicBezTo>
                  <a:pt x="2263" y="2057"/>
                  <a:pt x="2264" y="2054"/>
                  <a:pt x="2263" y="2050"/>
                </a:cubicBezTo>
                <a:cubicBezTo>
                  <a:pt x="2263" y="2048"/>
                  <a:pt x="2263" y="2046"/>
                  <a:pt x="2263" y="2044"/>
                </a:cubicBezTo>
                <a:cubicBezTo>
                  <a:pt x="2262" y="2043"/>
                  <a:pt x="2260" y="2043"/>
                  <a:pt x="2259" y="2042"/>
                </a:cubicBezTo>
                <a:cubicBezTo>
                  <a:pt x="2258" y="2040"/>
                  <a:pt x="2257" y="2038"/>
                  <a:pt x="2257" y="2036"/>
                </a:cubicBezTo>
                <a:cubicBezTo>
                  <a:pt x="2257" y="2033"/>
                  <a:pt x="2260" y="2031"/>
                  <a:pt x="2263" y="2030"/>
                </a:cubicBezTo>
                <a:cubicBezTo>
                  <a:pt x="2264" y="2031"/>
                  <a:pt x="2264" y="2031"/>
                  <a:pt x="2264" y="2032"/>
                </a:cubicBezTo>
                <a:cubicBezTo>
                  <a:pt x="2264" y="2033"/>
                  <a:pt x="2264" y="2034"/>
                  <a:pt x="2264" y="2035"/>
                </a:cubicBezTo>
                <a:cubicBezTo>
                  <a:pt x="2264" y="2035"/>
                  <a:pt x="2263" y="2035"/>
                  <a:pt x="2263" y="2035"/>
                </a:cubicBezTo>
                <a:cubicBezTo>
                  <a:pt x="2262" y="2036"/>
                  <a:pt x="2262" y="2037"/>
                  <a:pt x="2261" y="2039"/>
                </a:cubicBezTo>
                <a:cubicBezTo>
                  <a:pt x="2262" y="2039"/>
                  <a:pt x="2263" y="2039"/>
                  <a:pt x="2264" y="2039"/>
                </a:cubicBezTo>
                <a:cubicBezTo>
                  <a:pt x="2265" y="2037"/>
                  <a:pt x="2265" y="2037"/>
                  <a:pt x="2266" y="2035"/>
                </a:cubicBezTo>
                <a:cubicBezTo>
                  <a:pt x="2271" y="2029"/>
                  <a:pt x="2277" y="2025"/>
                  <a:pt x="2284" y="2023"/>
                </a:cubicBezTo>
                <a:cubicBezTo>
                  <a:pt x="2288" y="2023"/>
                  <a:pt x="2291" y="2022"/>
                  <a:pt x="2293" y="2019"/>
                </a:cubicBezTo>
                <a:cubicBezTo>
                  <a:pt x="2293" y="2018"/>
                  <a:pt x="2294" y="2018"/>
                  <a:pt x="2294" y="2018"/>
                </a:cubicBezTo>
                <a:cubicBezTo>
                  <a:pt x="2297" y="2018"/>
                  <a:pt x="2299" y="2015"/>
                  <a:pt x="2301" y="2013"/>
                </a:cubicBezTo>
                <a:cubicBezTo>
                  <a:pt x="2308" y="2006"/>
                  <a:pt x="2320" y="2005"/>
                  <a:pt x="2328" y="2012"/>
                </a:cubicBezTo>
                <a:cubicBezTo>
                  <a:pt x="2330" y="2014"/>
                  <a:pt x="2333" y="2016"/>
                  <a:pt x="2335" y="2018"/>
                </a:cubicBezTo>
                <a:cubicBezTo>
                  <a:pt x="2337" y="2019"/>
                  <a:pt x="2338" y="2021"/>
                  <a:pt x="2339" y="2023"/>
                </a:cubicBezTo>
                <a:cubicBezTo>
                  <a:pt x="2340" y="2024"/>
                  <a:pt x="2341" y="2024"/>
                  <a:pt x="2342" y="2023"/>
                </a:cubicBezTo>
                <a:cubicBezTo>
                  <a:pt x="2343" y="2023"/>
                  <a:pt x="2344" y="2022"/>
                  <a:pt x="2344" y="2021"/>
                </a:cubicBezTo>
                <a:cubicBezTo>
                  <a:pt x="2346" y="2018"/>
                  <a:pt x="2349" y="2018"/>
                  <a:pt x="2351" y="2022"/>
                </a:cubicBezTo>
                <a:cubicBezTo>
                  <a:pt x="2352" y="2025"/>
                  <a:pt x="2353" y="2027"/>
                  <a:pt x="2353" y="2031"/>
                </a:cubicBezTo>
                <a:cubicBezTo>
                  <a:pt x="2354" y="2035"/>
                  <a:pt x="2353" y="2039"/>
                  <a:pt x="2352" y="2044"/>
                </a:cubicBezTo>
                <a:cubicBezTo>
                  <a:pt x="2349" y="2050"/>
                  <a:pt x="2345" y="2054"/>
                  <a:pt x="2338" y="2054"/>
                </a:cubicBezTo>
                <a:cubicBezTo>
                  <a:pt x="2337" y="2054"/>
                  <a:pt x="2337" y="2054"/>
                  <a:pt x="2336" y="2054"/>
                </a:cubicBezTo>
                <a:cubicBezTo>
                  <a:pt x="2334" y="2053"/>
                  <a:pt x="2332" y="2054"/>
                  <a:pt x="2332" y="2056"/>
                </a:cubicBezTo>
                <a:cubicBezTo>
                  <a:pt x="2330" y="2060"/>
                  <a:pt x="2325" y="2062"/>
                  <a:pt x="2321" y="2059"/>
                </a:cubicBezTo>
                <a:cubicBezTo>
                  <a:pt x="2320" y="2058"/>
                  <a:pt x="2319" y="2057"/>
                  <a:pt x="2318" y="2056"/>
                </a:cubicBezTo>
                <a:cubicBezTo>
                  <a:pt x="2318" y="2056"/>
                  <a:pt x="2318" y="2056"/>
                  <a:pt x="2317" y="2056"/>
                </a:cubicBezTo>
                <a:close/>
                <a:moveTo>
                  <a:pt x="2312" y="2052"/>
                </a:moveTo>
                <a:cubicBezTo>
                  <a:pt x="2315" y="2053"/>
                  <a:pt x="2319" y="2054"/>
                  <a:pt x="2321" y="2057"/>
                </a:cubicBezTo>
                <a:cubicBezTo>
                  <a:pt x="2323" y="2059"/>
                  <a:pt x="2325" y="2060"/>
                  <a:pt x="2327" y="2059"/>
                </a:cubicBezTo>
                <a:cubicBezTo>
                  <a:pt x="2330" y="2058"/>
                  <a:pt x="2331" y="2056"/>
                  <a:pt x="2331" y="2053"/>
                </a:cubicBezTo>
                <a:cubicBezTo>
                  <a:pt x="2331" y="2053"/>
                  <a:pt x="2330" y="2053"/>
                  <a:pt x="2330" y="2054"/>
                </a:cubicBezTo>
                <a:cubicBezTo>
                  <a:pt x="2330" y="2055"/>
                  <a:pt x="2329" y="2056"/>
                  <a:pt x="2328" y="2057"/>
                </a:cubicBezTo>
                <a:cubicBezTo>
                  <a:pt x="2327" y="2058"/>
                  <a:pt x="2325" y="2058"/>
                  <a:pt x="2325" y="2058"/>
                </a:cubicBezTo>
                <a:cubicBezTo>
                  <a:pt x="2324" y="2058"/>
                  <a:pt x="2323" y="2056"/>
                  <a:pt x="2323" y="2056"/>
                </a:cubicBezTo>
                <a:cubicBezTo>
                  <a:pt x="2323" y="2053"/>
                  <a:pt x="2324" y="2051"/>
                  <a:pt x="2324" y="2049"/>
                </a:cubicBezTo>
                <a:cubicBezTo>
                  <a:pt x="2327" y="2050"/>
                  <a:pt x="2331" y="2051"/>
                  <a:pt x="2334" y="2052"/>
                </a:cubicBezTo>
                <a:cubicBezTo>
                  <a:pt x="2342" y="2053"/>
                  <a:pt x="2347" y="2051"/>
                  <a:pt x="2351" y="2043"/>
                </a:cubicBezTo>
                <a:cubicBezTo>
                  <a:pt x="2352" y="2038"/>
                  <a:pt x="2352" y="2033"/>
                  <a:pt x="2351" y="2028"/>
                </a:cubicBezTo>
                <a:cubicBezTo>
                  <a:pt x="2351" y="2026"/>
                  <a:pt x="2350" y="2024"/>
                  <a:pt x="2349" y="2022"/>
                </a:cubicBezTo>
                <a:cubicBezTo>
                  <a:pt x="2348" y="2021"/>
                  <a:pt x="2347" y="2020"/>
                  <a:pt x="2346" y="2022"/>
                </a:cubicBezTo>
                <a:cubicBezTo>
                  <a:pt x="2344" y="2024"/>
                  <a:pt x="2343" y="2025"/>
                  <a:pt x="2341" y="2026"/>
                </a:cubicBezTo>
                <a:cubicBezTo>
                  <a:pt x="2340" y="2026"/>
                  <a:pt x="2339" y="2027"/>
                  <a:pt x="2340" y="2028"/>
                </a:cubicBezTo>
                <a:cubicBezTo>
                  <a:pt x="2340" y="2031"/>
                  <a:pt x="2340" y="2035"/>
                  <a:pt x="2338" y="2038"/>
                </a:cubicBezTo>
                <a:cubicBezTo>
                  <a:pt x="2338" y="2036"/>
                  <a:pt x="2339" y="2034"/>
                  <a:pt x="2339" y="2032"/>
                </a:cubicBezTo>
                <a:cubicBezTo>
                  <a:pt x="2339" y="2031"/>
                  <a:pt x="2338" y="2031"/>
                  <a:pt x="2338" y="2031"/>
                </a:cubicBezTo>
                <a:cubicBezTo>
                  <a:pt x="2338" y="2031"/>
                  <a:pt x="2337" y="2031"/>
                  <a:pt x="2337" y="2031"/>
                </a:cubicBezTo>
                <a:cubicBezTo>
                  <a:pt x="2336" y="2033"/>
                  <a:pt x="2335" y="2034"/>
                  <a:pt x="2334" y="2035"/>
                </a:cubicBezTo>
                <a:cubicBezTo>
                  <a:pt x="2334" y="2035"/>
                  <a:pt x="2334" y="2035"/>
                  <a:pt x="2334" y="2035"/>
                </a:cubicBezTo>
                <a:cubicBezTo>
                  <a:pt x="2334" y="2034"/>
                  <a:pt x="2335" y="2032"/>
                  <a:pt x="2335" y="2030"/>
                </a:cubicBezTo>
                <a:cubicBezTo>
                  <a:pt x="2334" y="2031"/>
                  <a:pt x="2334" y="2031"/>
                  <a:pt x="2333" y="2032"/>
                </a:cubicBezTo>
                <a:cubicBezTo>
                  <a:pt x="2332" y="2032"/>
                  <a:pt x="2332" y="2033"/>
                  <a:pt x="2332" y="2034"/>
                </a:cubicBezTo>
                <a:cubicBezTo>
                  <a:pt x="2332" y="2030"/>
                  <a:pt x="2332" y="2030"/>
                  <a:pt x="2338" y="2029"/>
                </a:cubicBezTo>
                <a:cubicBezTo>
                  <a:pt x="2338" y="2029"/>
                  <a:pt x="2337" y="2028"/>
                  <a:pt x="2337" y="2028"/>
                </a:cubicBezTo>
                <a:cubicBezTo>
                  <a:pt x="2334" y="2029"/>
                  <a:pt x="2334" y="2027"/>
                  <a:pt x="2333" y="2025"/>
                </a:cubicBezTo>
                <a:cubicBezTo>
                  <a:pt x="2335" y="2024"/>
                  <a:pt x="2336" y="2024"/>
                  <a:pt x="2338" y="2024"/>
                </a:cubicBezTo>
                <a:cubicBezTo>
                  <a:pt x="2336" y="2021"/>
                  <a:pt x="2335" y="2018"/>
                  <a:pt x="2332" y="2018"/>
                </a:cubicBezTo>
                <a:cubicBezTo>
                  <a:pt x="2331" y="2018"/>
                  <a:pt x="2331" y="2018"/>
                  <a:pt x="2331" y="2017"/>
                </a:cubicBezTo>
                <a:cubicBezTo>
                  <a:pt x="2329" y="2015"/>
                  <a:pt x="2326" y="2013"/>
                  <a:pt x="2323" y="2011"/>
                </a:cubicBezTo>
                <a:cubicBezTo>
                  <a:pt x="2321" y="2010"/>
                  <a:pt x="2318" y="2009"/>
                  <a:pt x="2316" y="2009"/>
                </a:cubicBezTo>
                <a:cubicBezTo>
                  <a:pt x="2313" y="2009"/>
                  <a:pt x="2310" y="2010"/>
                  <a:pt x="2306" y="2011"/>
                </a:cubicBezTo>
                <a:cubicBezTo>
                  <a:pt x="2304" y="2012"/>
                  <a:pt x="2301" y="2014"/>
                  <a:pt x="2299" y="2017"/>
                </a:cubicBezTo>
                <a:cubicBezTo>
                  <a:pt x="2301" y="2017"/>
                  <a:pt x="2302" y="2017"/>
                  <a:pt x="2303" y="2017"/>
                </a:cubicBezTo>
                <a:cubicBezTo>
                  <a:pt x="2303" y="2018"/>
                  <a:pt x="2302" y="2018"/>
                  <a:pt x="2301" y="2018"/>
                </a:cubicBezTo>
                <a:cubicBezTo>
                  <a:pt x="2299" y="2019"/>
                  <a:pt x="2296" y="2018"/>
                  <a:pt x="2294" y="2020"/>
                </a:cubicBezTo>
                <a:cubicBezTo>
                  <a:pt x="2291" y="2024"/>
                  <a:pt x="2287" y="2028"/>
                  <a:pt x="2283" y="2032"/>
                </a:cubicBezTo>
                <a:cubicBezTo>
                  <a:pt x="2282" y="2034"/>
                  <a:pt x="2281" y="2037"/>
                  <a:pt x="2280" y="2039"/>
                </a:cubicBezTo>
                <a:cubicBezTo>
                  <a:pt x="2280" y="2039"/>
                  <a:pt x="2280" y="2040"/>
                  <a:pt x="2280" y="2041"/>
                </a:cubicBezTo>
                <a:cubicBezTo>
                  <a:pt x="2281" y="2043"/>
                  <a:pt x="2282" y="2045"/>
                  <a:pt x="2284" y="2046"/>
                </a:cubicBezTo>
                <a:cubicBezTo>
                  <a:pt x="2285" y="2045"/>
                  <a:pt x="2286" y="2043"/>
                  <a:pt x="2288" y="2042"/>
                </a:cubicBezTo>
                <a:cubicBezTo>
                  <a:pt x="2287" y="2043"/>
                  <a:pt x="2287" y="2045"/>
                  <a:pt x="2286" y="2046"/>
                </a:cubicBezTo>
                <a:cubicBezTo>
                  <a:pt x="2285" y="2047"/>
                  <a:pt x="2284" y="2048"/>
                  <a:pt x="2284" y="2050"/>
                </a:cubicBezTo>
                <a:cubicBezTo>
                  <a:pt x="2284" y="2051"/>
                  <a:pt x="2284" y="2052"/>
                  <a:pt x="2284" y="2053"/>
                </a:cubicBezTo>
                <a:cubicBezTo>
                  <a:pt x="2287" y="2056"/>
                  <a:pt x="2290" y="2056"/>
                  <a:pt x="2294" y="2054"/>
                </a:cubicBezTo>
                <a:cubicBezTo>
                  <a:pt x="2296" y="2053"/>
                  <a:pt x="2299" y="2052"/>
                  <a:pt x="2302" y="2051"/>
                </a:cubicBezTo>
                <a:cubicBezTo>
                  <a:pt x="2303" y="2050"/>
                  <a:pt x="2305" y="2050"/>
                  <a:pt x="2305" y="2048"/>
                </a:cubicBezTo>
                <a:cubicBezTo>
                  <a:pt x="2305" y="2045"/>
                  <a:pt x="2305" y="2041"/>
                  <a:pt x="2305" y="2038"/>
                </a:cubicBezTo>
                <a:cubicBezTo>
                  <a:pt x="2305" y="2035"/>
                  <a:pt x="2305" y="2032"/>
                  <a:pt x="2305" y="2029"/>
                </a:cubicBezTo>
                <a:cubicBezTo>
                  <a:pt x="2305" y="2032"/>
                  <a:pt x="2306" y="2035"/>
                  <a:pt x="2306" y="2037"/>
                </a:cubicBezTo>
                <a:cubicBezTo>
                  <a:pt x="2307" y="2042"/>
                  <a:pt x="2307" y="2046"/>
                  <a:pt x="2306" y="2050"/>
                </a:cubicBezTo>
                <a:cubicBezTo>
                  <a:pt x="2305" y="2051"/>
                  <a:pt x="2305" y="2052"/>
                  <a:pt x="2304" y="2052"/>
                </a:cubicBezTo>
                <a:cubicBezTo>
                  <a:pt x="2301" y="2052"/>
                  <a:pt x="2297" y="2054"/>
                  <a:pt x="2294" y="2056"/>
                </a:cubicBezTo>
                <a:cubicBezTo>
                  <a:pt x="2289" y="2059"/>
                  <a:pt x="2286" y="2057"/>
                  <a:pt x="2282" y="2053"/>
                </a:cubicBezTo>
                <a:cubicBezTo>
                  <a:pt x="2282" y="2053"/>
                  <a:pt x="2282" y="2052"/>
                  <a:pt x="2282" y="2051"/>
                </a:cubicBezTo>
                <a:cubicBezTo>
                  <a:pt x="2283" y="2049"/>
                  <a:pt x="2282" y="2047"/>
                  <a:pt x="2280" y="2045"/>
                </a:cubicBezTo>
                <a:cubicBezTo>
                  <a:pt x="2279" y="2043"/>
                  <a:pt x="2277" y="2041"/>
                  <a:pt x="2278" y="2038"/>
                </a:cubicBezTo>
                <a:cubicBezTo>
                  <a:pt x="2279" y="2036"/>
                  <a:pt x="2280" y="2034"/>
                  <a:pt x="2281" y="2033"/>
                </a:cubicBezTo>
                <a:cubicBezTo>
                  <a:pt x="2283" y="2030"/>
                  <a:pt x="2285" y="2027"/>
                  <a:pt x="2287" y="2025"/>
                </a:cubicBezTo>
                <a:cubicBezTo>
                  <a:pt x="2287" y="2025"/>
                  <a:pt x="2286" y="2025"/>
                  <a:pt x="2286" y="2025"/>
                </a:cubicBezTo>
                <a:cubicBezTo>
                  <a:pt x="2281" y="2026"/>
                  <a:pt x="2277" y="2027"/>
                  <a:pt x="2273" y="2031"/>
                </a:cubicBezTo>
                <a:cubicBezTo>
                  <a:pt x="2268" y="2035"/>
                  <a:pt x="2265" y="2040"/>
                  <a:pt x="2265" y="2047"/>
                </a:cubicBezTo>
                <a:cubicBezTo>
                  <a:pt x="2264" y="2054"/>
                  <a:pt x="2267" y="2060"/>
                  <a:pt x="2270" y="2065"/>
                </a:cubicBezTo>
                <a:cubicBezTo>
                  <a:pt x="2271" y="2066"/>
                  <a:pt x="2271" y="2068"/>
                  <a:pt x="2271" y="2069"/>
                </a:cubicBezTo>
                <a:cubicBezTo>
                  <a:pt x="2271" y="2071"/>
                  <a:pt x="2271" y="2072"/>
                  <a:pt x="2270" y="2073"/>
                </a:cubicBezTo>
                <a:cubicBezTo>
                  <a:pt x="2269" y="2075"/>
                  <a:pt x="2270" y="2076"/>
                  <a:pt x="2271" y="2077"/>
                </a:cubicBezTo>
                <a:cubicBezTo>
                  <a:pt x="2274" y="2077"/>
                  <a:pt x="2277" y="2078"/>
                  <a:pt x="2280" y="2078"/>
                </a:cubicBezTo>
                <a:cubicBezTo>
                  <a:pt x="2280" y="2078"/>
                  <a:pt x="2281" y="2077"/>
                  <a:pt x="2281" y="2077"/>
                </a:cubicBezTo>
                <a:cubicBezTo>
                  <a:pt x="2282" y="2076"/>
                  <a:pt x="2282" y="2074"/>
                  <a:pt x="2282" y="2073"/>
                </a:cubicBezTo>
                <a:cubicBezTo>
                  <a:pt x="2284" y="2071"/>
                  <a:pt x="2284" y="2068"/>
                  <a:pt x="2284" y="2065"/>
                </a:cubicBezTo>
                <a:cubicBezTo>
                  <a:pt x="2284" y="2065"/>
                  <a:pt x="2284" y="2065"/>
                  <a:pt x="2284" y="2064"/>
                </a:cubicBezTo>
                <a:cubicBezTo>
                  <a:pt x="2284" y="2064"/>
                  <a:pt x="2284" y="2064"/>
                  <a:pt x="2284" y="2064"/>
                </a:cubicBezTo>
                <a:cubicBezTo>
                  <a:pt x="2285" y="2066"/>
                  <a:pt x="2286" y="2066"/>
                  <a:pt x="2288" y="2066"/>
                </a:cubicBezTo>
                <a:cubicBezTo>
                  <a:pt x="2289" y="2066"/>
                  <a:pt x="2290" y="2066"/>
                  <a:pt x="2291" y="2066"/>
                </a:cubicBezTo>
                <a:cubicBezTo>
                  <a:pt x="2293" y="2066"/>
                  <a:pt x="2297" y="2067"/>
                  <a:pt x="2297" y="2063"/>
                </a:cubicBezTo>
                <a:cubicBezTo>
                  <a:pt x="2297" y="2065"/>
                  <a:pt x="2297" y="2067"/>
                  <a:pt x="2297" y="2067"/>
                </a:cubicBezTo>
                <a:cubicBezTo>
                  <a:pt x="2296" y="2068"/>
                  <a:pt x="2295" y="2069"/>
                  <a:pt x="2293" y="2069"/>
                </a:cubicBezTo>
                <a:cubicBezTo>
                  <a:pt x="2292" y="2070"/>
                  <a:pt x="2291" y="2072"/>
                  <a:pt x="2292" y="2073"/>
                </a:cubicBezTo>
                <a:cubicBezTo>
                  <a:pt x="2293" y="2075"/>
                  <a:pt x="2295" y="2077"/>
                  <a:pt x="2296" y="2079"/>
                </a:cubicBezTo>
                <a:cubicBezTo>
                  <a:pt x="2298" y="2080"/>
                  <a:pt x="2300" y="2080"/>
                  <a:pt x="2301" y="2078"/>
                </a:cubicBezTo>
                <a:cubicBezTo>
                  <a:pt x="2302" y="2077"/>
                  <a:pt x="2303" y="2077"/>
                  <a:pt x="2303" y="2076"/>
                </a:cubicBezTo>
                <a:cubicBezTo>
                  <a:pt x="2305" y="2075"/>
                  <a:pt x="2306" y="2073"/>
                  <a:pt x="2308" y="2072"/>
                </a:cubicBezTo>
                <a:cubicBezTo>
                  <a:pt x="2312" y="2068"/>
                  <a:pt x="2314" y="2062"/>
                  <a:pt x="2316" y="2056"/>
                </a:cubicBezTo>
                <a:cubicBezTo>
                  <a:pt x="2316" y="2056"/>
                  <a:pt x="2315" y="2055"/>
                  <a:pt x="2315" y="2054"/>
                </a:cubicBezTo>
                <a:cubicBezTo>
                  <a:pt x="2314" y="2053"/>
                  <a:pt x="2313" y="2052"/>
                  <a:pt x="2312" y="2052"/>
                </a:cubicBezTo>
                <a:close/>
                <a:moveTo>
                  <a:pt x="2264" y="2058"/>
                </a:moveTo>
                <a:cubicBezTo>
                  <a:pt x="2264" y="2059"/>
                  <a:pt x="2262" y="2060"/>
                  <a:pt x="2261" y="2061"/>
                </a:cubicBezTo>
                <a:cubicBezTo>
                  <a:pt x="2260" y="2061"/>
                  <a:pt x="2260" y="2062"/>
                  <a:pt x="2260" y="2063"/>
                </a:cubicBezTo>
                <a:cubicBezTo>
                  <a:pt x="2260" y="2065"/>
                  <a:pt x="2264" y="2070"/>
                  <a:pt x="2267" y="2069"/>
                </a:cubicBezTo>
                <a:cubicBezTo>
                  <a:pt x="2269" y="2069"/>
                  <a:pt x="2270" y="2068"/>
                  <a:pt x="2269" y="2067"/>
                </a:cubicBezTo>
                <a:cubicBezTo>
                  <a:pt x="2267" y="2064"/>
                  <a:pt x="2266" y="2061"/>
                  <a:pt x="2264" y="2058"/>
                </a:cubicBezTo>
                <a:close/>
                <a:moveTo>
                  <a:pt x="2317" y="2060"/>
                </a:moveTo>
                <a:cubicBezTo>
                  <a:pt x="2315" y="2065"/>
                  <a:pt x="2312" y="2069"/>
                  <a:pt x="2310" y="2073"/>
                </a:cubicBezTo>
                <a:cubicBezTo>
                  <a:pt x="2313" y="2073"/>
                  <a:pt x="2315" y="2074"/>
                  <a:pt x="2318" y="2073"/>
                </a:cubicBezTo>
                <a:cubicBezTo>
                  <a:pt x="2318" y="2073"/>
                  <a:pt x="2319" y="2072"/>
                  <a:pt x="2319" y="2072"/>
                </a:cubicBezTo>
                <a:cubicBezTo>
                  <a:pt x="2319" y="2069"/>
                  <a:pt x="2319" y="2067"/>
                  <a:pt x="2318" y="2064"/>
                </a:cubicBezTo>
                <a:cubicBezTo>
                  <a:pt x="2318" y="2063"/>
                  <a:pt x="2318" y="2062"/>
                  <a:pt x="2317" y="2060"/>
                </a:cubicBezTo>
                <a:close/>
                <a:moveTo>
                  <a:pt x="2264" y="2040"/>
                </a:moveTo>
                <a:cubicBezTo>
                  <a:pt x="2264" y="2040"/>
                  <a:pt x="2263" y="2041"/>
                  <a:pt x="2262" y="2041"/>
                </a:cubicBezTo>
                <a:cubicBezTo>
                  <a:pt x="2262" y="2041"/>
                  <a:pt x="2261" y="2041"/>
                  <a:pt x="2261" y="2040"/>
                </a:cubicBezTo>
                <a:cubicBezTo>
                  <a:pt x="2260" y="2040"/>
                  <a:pt x="2260" y="2039"/>
                  <a:pt x="2260" y="2038"/>
                </a:cubicBezTo>
                <a:cubicBezTo>
                  <a:pt x="2261" y="2036"/>
                  <a:pt x="2261" y="2034"/>
                  <a:pt x="2262" y="2032"/>
                </a:cubicBezTo>
                <a:cubicBezTo>
                  <a:pt x="2262" y="2032"/>
                  <a:pt x="2262" y="2032"/>
                  <a:pt x="2261" y="2032"/>
                </a:cubicBezTo>
                <a:cubicBezTo>
                  <a:pt x="2260" y="2033"/>
                  <a:pt x="2259" y="2034"/>
                  <a:pt x="2258" y="2035"/>
                </a:cubicBezTo>
                <a:cubicBezTo>
                  <a:pt x="2258" y="2036"/>
                  <a:pt x="2259" y="2041"/>
                  <a:pt x="2261" y="2042"/>
                </a:cubicBezTo>
                <a:cubicBezTo>
                  <a:pt x="2262" y="2043"/>
                  <a:pt x="2264" y="2042"/>
                  <a:pt x="2264" y="2040"/>
                </a:cubicBezTo>
                <a:close/>
                <a:moveTo>
                  <a:pt x="2264" y="2058"/>
                </a:moveTo>
                <a:cubicBezTo>
                  <a:pt x="2264" y="2058"/>
                  <a:pt x="2262" y="2059"/>
                  <a:pt x="2261" y="2060"/>
                </a:cubicBezTo>
                <a:cubicBezTo>
                  <a:pt x="2261" y="2061"/>
                  <a:pt x="2260" y="2062"/>
                  <a:pt x="2260" y="2062"/>
                </a:cubicBezTo>
                <a:cubicBezTo>
                  <a:pt x="2260" y="2065"/>
                  <a:pt x="2264" y="2070"/>
                  <a:pt x="2267" y="2069"/>
                </a:cubicBezTo>
                <a:cubicBezTo>
                  <a:pt x="2269" y="2069"/>
                  <a:pt x="2270" y="2068"/>
                  <a:pt x="2269" y="2066"/>
                </a:cubicBezTo>
                <a:cubicBezTo>
                  <a:pt x="2267" y="2063"/>
                  <a:pt x="2266" y="2060"/>
                  <a:pt x="2264" y="2058"/>
                </a:cubicBezTo>
                <a:close/>
                <a:moveTo>
                  <a:pt x="2317" y="2060"/>
                </a:moveTo>
                <a:cubicBezTo>
                  <a:pt x="2315" y="2064"/>
                  <a:pt x="2312" y="2069"/>
                  <a:pt x="2310" y="2073"/>
                </a:cubicBezTo>
                <a:cubicBezTo>
                  <a:pt x="2313" y="2073"/>
                  <a:pt x="2315" y="2073"/>
                  <a:pt x="2318" y="2073"/>
                </a:cubicBezTo>
                <a:cubicBezTo>
                  <a:pt x="2318" y="2073"/>
                  <a:pt x="2319" y="2072"/>
                  <a:pt x="2319" y="2071"/>
                </a:cubicBezTo>
                <a:cubicBezTo>
                  <a:pt x="2319" y="2069"/>
                  <a:pt x="2319" y="2066"/>
                  <a:pt x="2318" y="2064"/>
                </a:cubicBezTo>
                <a:cubicBezTo>
                  <a:pt x="2318" y="2062"/>
                  <a:pt x="2318" y="2061"/>
                  <a:pt x="2317" y="2060"/>
                </a:cubicBezTo>
                <a:close/>
                <a:moveTo>
                  <a:pt x="2264" y="2040"/>
                </a:moveTo>
                <a:cubicBezTo>
                  <a:pt x="2264" y="2040"/>
                  <a:pt x="2263" y="2040"/>
                  <a:pt x="2263" y="2040"/>
                </a:cubicBezTo>
                <a:cubicBezTo>
                  <a:pt x="2262" y="2040"/>
                  <a:pt x="2261" y="2040"/>
                  <a:pt x="2261" y="2040"/>
                </a:cubicBezTo>
                <a:cubicBezTo>
                  <a:pt x="2261" y="2040"/>
                  <a:pt x="2260" y="2039"/>
                  <a:pt x="2260" y="2038"/>
                </a:cubicBezTo>
                <a:cubicBezTo>
                  <a:pt x="2261" y="2036"/>
                  <a:pt x="2261" y="2034"/>
                  <a:pt x="2262" y="2032"/>
                </a:cubicBezTo>
                <a:cubicBezTo>
                  <a:pt x="2262" y="2032"/>
                  <a:pt x="2262" y="2032"/>
                  <a:pt x="2261" y="2032"/>
                </a:cubicBezTo>
                <a:cubicBezTo>
                  <a:pt x="2261" y="2033"/>
                  <a:pt x="2259" y="2034"/>
                  <a:pt x="2259" y="2035"/>
                </a:cubicBezTo>
                <a:cubicBezTo>
                  <a:pt x="2258" y="2036"/>
                  <a:pt x="2259" y="2041"/>
                  <a:pt x="2261" y="2042"/>
                </a:cubicBezTo>
                <a:cubicBezTo>
                  <a:pt x="2263" y="2043"/>
                  <a:pt x="2264" y="2042"/>
                  <a:pt x="2264" y="2040"/>
                </a:cubicBezTo>
                <a:close/>
                <a:moveTo>
                  <a:pt x="2317" y="2031"/>
                </a:moveTo>
                <a:cubicBezTo>
                  <a:pt x="2320" y="2028"/>
                  <a:pt x="2320" y="2028"/>
                  <a:pt x="2324" y="2026"/>
                </a:cubicBezTo>
                <a:cubicBezTo>
                  <a:pt x="2324" y="2028"/>
                  <a:pt x="2325" y="2030"/>
                  <a:pt x="2326" y="2030"/>
                </a:cubicBezTo>
                <a:cubicBezTo>
                  <a:pt x="2324" y="2031"/>
                  <a:pt x="2322" y="2032"/>
                  <a:pt x="2320" y="2034"/>
                </a:cubicBezTo>
                <a:cubicBezTo>
                  <a:pt x="2320" y="2033"/>
                  <a:pt x="2319" y="2032"/>
                  <a:pt x="2318" y="2031"/>
                </a:cubicBezTo>
                <a:cubicBezTo>
                  <a:pt x="2318" y="2031"/>
                  <a:pt x="2318" y="2031"/>
                  <a:pt x="2317" y="2031"/>
                </a:cubicBezTo>
                <a:close/>
                <a:moveTo>
                  <a:pt x="2323" y="2031"/>
                </a:moveTo>
                <a:cubicBezTo>
                  <a:pt x="2322" y="2030"/>
                  <a:pt x="2321" y="2030"/>
                  <a:pt x="2321" y="2030"/>
                </a:cubicBezTo>
                <a:cubicBezTo>
                  <a:pt x="2320" y="2030"/>
                  <a:pt x="2320" y="2031"/>
                  <a:pt x="2320" y="2031"/>
                </a:cubicBezTo>
                <a:cubicBezTo>
                  <a:pt x="2320" y="2032"/>
                  <a:pt x="2320" y="2032"/>
                  <a:pt x="2320" y="2032"/>
                </a:cubicBezTo>
                <a:cubicBezTo>
                  <a:pt x="2321" y="2032"/>
                  <a:pt x="2321" y="2032"/>
                  <a:pt x="2323" y="2031"/>
                </a:cubicBezTo>
                <a:close/>
                <a:moveTo>
                  <a:pt x="2304" y="2021"/>
                </a:moveTo>
                <a:cubicBezTo>
                  <a:pt x="2297" y="2021"/>
                  <a:pt x="2294" y="2023"/>
                  <a:pt x="2293" y="2031"/>
                </a:cubicBezTo>
                <a:cubicBezTo>
                  <a:pt x="2294" y="2029"/>
                  <a:pt x="2296" y="2026"/>
                  <a:pt x="2297" y="2024"/>
                </a:cubicBezTo>
                <a:cubicBezTo>
                  <a:pt x="2297" y="2024"/>
                  <a:pt x="2297" y="2024"/>
                  <a:pt x="2297" y="2024"/>
                </a:cubicBezTo>
                <a:cubicBezTo>
                  <a:pt x="2297" y="2025"/>
                  <a:pt x="2298" y="2026"/>
                  <a:pt x="2298" y="2027"/>
                </a:cubicBezTo>
                <a:cubicBezTo>
                  <a:pt x="2299" y="2024"/>
                  <a:pt x="2300" y="2022"/>
                  <a:pt x="2304" y="2021"/>
                </a:cubicBezTo>
                <a:close/>
                <a:moveTo>
                  <a:pt x="2348" y="2023"/>
                </a:moveTo>
                <a:cubicBezTo>
                  <a:pt x="2345" y="2024"/>
                  <a:pt x="2343" y="2026"/>
                  <a:pt x="2342" y="2027"/>
                </a:cubicBezTo>
                <a:cubicBezTo>
                  <a:pt x="2344" y="2027"/>
                  <a:pt x="2346" y="2026"/>
                  <a:pt x="2348" y="2023"/>
                </a:cubicBezTo>
                <a:close/>
                <a:moveTo>
                  <a:pt x="2314" y="2025"/>
                </a:moveTo>
                <a:cubicBezTo>
                  <a:pt x="2315" y="2024"/>
                  <a:pt x="2316" y="2022"/>
                  <a:pt x="2317" y="2021"/>
                </a:cubicBezTo>
                <a:cubicBezTo>
                  <a:pt x="2314" y="2022"/>
                  <a:pt x="2313" y="2023"/>
                  <a:pt x="2314" y="2025"/>
                </a:cubicBezTo>
                <a:close/>
                <a:moveTo>
                  <a:pt x="2324" y="2046"/>
                </a:moveTo>
                <a:cubicBezTo>
                  <a:pt x="2322" y="2047"/>
                  <a:pt x="2321" y="2048"/>
                  <a:pt x="2321" y="2049"/>
                </a:cubicBezTo>
                <a:cubicBezTo>
                  <a:pt x="2322" y="2048"/>
                  <a:pt x="2323" y="2047"/>
                  <a:pt x="2324" y="2046"/>
                </a:cubicBezTo>
                <a:close/>
                <a:moveTo>
                  <a:pt x="2323" y="2031"/>
                </a:moveTo>
                <a:cubicBezTo>
                  <a:pt x="2322" y="2031"/>
                  <a:pt x="2321" y="2030"/>
                  <a:pt x="2321" y="2030"/>
                </a:cubicBezTo>
                <a:cubicBezTo>
                  <a:pt x="2320" y="2030"/>
                  <a:pt x="2320" y="2031"/>
                  <a:pt x="2320" y="2031"/>
                </a:cubicBezTo>
                <a:cubicBezTo>
                  <a:pt x="2320" y="2032"/>
                  <a:pt x="2320" y="2032"/>
                  <a:pt x="2320" y="2033"/>
                </a:cubicBezTo>
                <a:cubicBezTo>
                  <a:pt x="2321" y="2032"/>
                  <a:pt x="2321" y="2032"/>
                  <a:pt x="2323" y="2031"/>
                </a:cubicBezTo>
                <a:close/>
                <a:moveTo>
                  <a:pt x="2613" y="2009"/>
                </a:moveTo>
                <a:cubicBezTo>
                  <a:pt x="2613" y="2009"/>
                  <a:pt x="2613" y="2009"/>
                  <a:pt x="2613" y="2009"/>
                </a:cubicBezTo>
                <a:cubicBezTo>
                  <a:pt x="2609" y="2009"/>
                  <a:pt x="2609" y="2009"/>
                  <a:pt x="2609" y="2009"/>
                </a:cubicBezTo>
                <a:cubicBezTo>
                  <a:pt x="2606" y="2010"/>
                  <a:pt x="2605" y="2012"/>
                  <a:pt x="2603" y="2012"/>
                </a:cubicBezTo>
                <a:cubicBezTo>
                  <a:pt x="2601" y="2014"/>
                  <a:pt x="2599" y="2014"/>
                  <a:pt x="2598" y="2015"/>
                </a:cubicBezTo>
                <a:cubicBezTo>
                  <a:pt x="2596" y="2017"/>
                  <a:pt x="2594" y="2017"/>
                  <a:pt x="2592" y="2018"/>
                </a:cubicBezTo>
                <a:cubicBezTo>
                  <a:pt x="2591" y="2019"/>
                  <a:pt x="2588" y="2020"/>
                  <a:pt x="2587" y="2020"/>
                </a:cubicBezTo>
                <a:cubicBezTo>
                  <a:pt x="2587" y="2020"/>
                  <a:pt x="2587" y="2020"/>
                  <a:pt x="2587" y="2030"/>
                </a:cubicBezTo>
                <a:cubicBezTo>
                  <a:pt x="2590" y="2029"/>
                  <a:pt x="2593" y="2028"/>
                  <a:pt x="2595" y="2027"/>
                </a:cubicBezTo>
                <a:cubicBezTo>
                  <a:pt x="2597" y="2026"/>
                  <a:pt x="2600" y="2025"/>
                  <a:pt x="2601" y="2023"/>
                </a:cubicBezTo>
                <a:cubicBezTo>
                  <a:pt x="2601" y="2023"/>
                  <a:pt x="2601" y="2023"/>
                  <a:pt x="2601" y="2082"/>
                </a:cubicBezTo>
                <a:cubicBezTo>
                  <a:pt x="2601" y="2082"/>
                  <a:pt x="2601" y="2082"/>
                  <a:pt x="2613" y="2082"/>
                </a:cubicBezTo>
                <a:cubicBezTo>
                  <a:pt x="2613" y="2082"/>
                  <a:pt x="2613" y="2082"/>
                  <a:pt x="2613" y="2009"/>
                </a:cubicBezTo>
                <a:close/>
                <a:moveTo>
                  <a:pt x="2734" y="2009"/>
                </a:moveTo>
                <a:cubicBezTo>
                  <a:pt x="2734" y="2009"/>
                  <a:pt x="2734" y="2009"/>
                  <a:pt x="2734" y="2009"/>
                </a:cubicBezTo>
                <a:cubicBezTo>
                  <a:pt x="2729" y="2009"/>
                  <a:pt x="2729" y="2009"/>
                  <a:pt x="2729" y="2009"/>
                </a:cubicBezTo>
                <a:cubicBezTo>
                  <a:pt x="2727" y="2010"/>
                  <a:pt x="2726" y="2012"/>
                  <a:pt x="2724" y="2012"/>
                </a:cubicBezTo>
                <a:cubicBezTo>
                  <a:pt x="2722" y="2014"/>
                  <a:pt x="2721" y="2014"/>
                  <a:pt x="2718" y="2015"/>
                </a:cubicBezTo>
                <a:cubicBezTo>
                  <a:pt x="2717" y="2017"/>
                  <a:pt x="2715" y="2017"/>
                  <a:pt x="2713" y="2018"/>
                </a:cubicBezTo>
                <a:cubicBezTo>
                  <a:pt x="2711" y="2019"/>
                  <a:pt x="2710" y="2020"/>
                  <a:pt x="2708" y="2020"/>
                </a:cubicBezTo>
                <a:cubicBezTo>
                  <a:pt x="2708" y="2020"/>
                  <a:pt x="2708" y="2020"/>
                  <a:pt x="2708" y="2030"/>
                </a:cubicBezTo>
                <a:cubicBezTo>
                  <a:pt x="2710" y="2029"/>
                  <a:pt x="2713" y="2028"/>
                  <a:pt x="2716" y="2027"/>
                </a:cubicBezTo>
                <a:cubicBezTo>
                  <a:pt x="2718" y="2026"/>
                  <a:pt x="2721" y="2025"/>
                  <a:pt x="2723" y="2023"/>
                </a:cubicBezTo>
                <a:cubicBezTo>
                  <a:pt x="2723" y="2023"/>
                  <a:pt x="2723" y="2023"/>
                  <a:pt x="2723" y="2082"/>
                </a:cubicBezTo>
                <a:cubicBezTo>
                  <a:pt x="2723" y="2082"/>
                  <a:pt x="2723" y="2082"/>
                  <a:pt x="2734" y="2082"/>
                </a:cubicBezTo>
                <a:cubicBezTo>
                  <a:pt x="2734" y="2082"/>
                  <a:pt x="2734" y="2082"/>
                  <a:pt x="2734" y="2009"/>
                </a:cubicBezTo>
                <a:close/>
                <a:moveTo>
                  <a:pt x="2781" y="2009"/>
                </a:moveTo>
                <a:cubicBezTo>
                  <a:pt x="2781" y="2009"/>
                  <a:pt x="2781" y="2009"/>
                  <a:pt x="2781" y="2009"/>
                </a:cubicBezTo>
                <a:cubicBezTo>
                  <a:pt x="2776" y="2009"/>
                  <a:pt x="2776" y="2009"/>
                  <a:pt x="2776" y="2009"/>
                </a:cubicBezTo>
                <a:cubicBezTo>
                  <a:pt x="2774" y="2010"/>
                  <a:pt x="2773" y="2012"/>
                  <a:pt x="2771" y="2012"/>
                </a:cubicBezTo>
                <a:cubicBezTo>
                  <a:pt x="2769" y="2014"/>
                  <a:pt x="2767" y="2014"/>
                  <a:pt x="2765" y="2015"/>
                </a:cubicBezTo>
                <a:cubicBezTo>
                  <a:pt x="2764" y="2017"/>
                  <a:pt x="2762" y="2017"/>
                  <a:pt x="2760" y="2018"/>
                </a:cubicBezTo>
                <a:cubicBezTo>
                  <a:pt x="2758" y="2019"/>
                  <a:pt x="2757" y="2020"/>
                  <a:pt x="2755" y="2020"/>
                </a:cubicBezTo>
                <a:cubicBezTo>
                  <a:pt x="2755" y="2020"/>
                  <a:pt x="2755" y="2020"/>
                  <a:pt x="2755" y="2030"/>
                </a:cubicBezTo>
                <a:cubicBezTo>
                  <a:pt x="2757" y="2029"/>
                  <a:pt x="2760" y="2028"/>
                  <a:pt x="2763" y="2027"/>
                </a:cubicBezTo>
                <a:cubicBezTo>
                  <a:pt x="2765" y="2026"/>
                  <a:pt x="2768" y="2025"/>
                  <a:pt x="2770" y="2023"/>
                </a:cubicBezTo>
                <a:cubicBezTo>
                  <a:pt x="2770" y="2023"/>
                  <a:pt x="2770" y="2023"/>
                  <a:pt x="2770" y="2082"/>
                </a:cubicBezTo>
                <a:cubicBezTo>
                  <a:pt x="2770" y="2082"/>
                  <a:pt x="2770" y="2082"/>
                  <a:pt x="2781" y="2082"/>
                </a:cubicBezTo>
                <a:cubicBezTo>
                  <a:pt x="2781" y="2082"/>
                  <a:pt x="2781" y="2082"/>
                  <a:pt x="2781" y="2009"/>
                </a:cubicBezTo>
                <a:close/>
                <a:moveTo>
                  <a:pt x="2827" y="2009"/>
                </a:moveTo>
                <a:cubicBezTo>
                  <a:pt x="2827" y="2009"/>
                  <a:pt x="2827" y="2009"/>
                  <a:pt x="2827" y="2009"/>
                </a:cubicBezTo>
                <a:cubicBezTo>
                  <a:pt x="2823" y="2009"/>
                  <a:pt x="2823" y="2009"/>
                  <a:pt x="2823" y="2009"/>
                </a:cubicBezTo>
                <a:cubicBezTo>
                  <a:pt x="2821" y="2010"/>
                  <a:pt x="2819" y="2012"/>
                  <a:pt x="2817" y="2012"/>
                </a:cubicBezTo>
                <a:cubicBezTo>
                  <a:pt x="2816" y="2014"/>
                  <a:pt x="2813" y="2014"/>
                  <a:pt x="2812" y="2015"/>
                </a:cubicBezTo>
                <a:cubicBezTo>
                  <a:pt x="2810" y="2016"/>
                  <a:pt x="2808" y="2017"/>
                  <a:pt x="2806" y="2017"/>
                </a:cubicBezTo>
                <a:cubicBezTo>
                  <a:pt x="2805" y="2018"/>
                  <a:pt x="2803" y="2019"/>
                  <a:pt x="2801" y="2020"/>
                </a:cubicBezTo>
                <a:cubicBezTo>
                  <a:pt x="2801" y="2020"/>
                  <a:pt x="2801" y="2020"/>
                  <a:pt x="2801" y="2030"/>
                </a:cubicBezTo>
                <a:cubicBezTo>
                  <a:pt x="2804" y="2029"/>
                  <a:pt x="2807" y="2028"/>
                  <a:pt x="2809" y="2027"/>
                </a:cubicBezTo>
                <a:cubicBezTo>
                  <a:pt x="2811" y="2026"/>
                  <a:pt x="2814" y="2025"/>
                  <a:pt x="2816" y="2023"/>
                </a:cubicBezTo>
                <a:cubicBezTo>
                  <a:pt x="2816" y="2023"/>
                  <a:pt x="2816" y="2023"/>
                  <a:pt x="2816" y="2082"/>
                </a:cubicBezTo>
                <a:cubicBezTo>
                  <a:pt x="2816" y="2082"/>
                  <a:pt x="2816" y="2082"/>
                  <a:pt x="2827" y="2082"/>
                </a:cubicBezTo>
                <a:cubicBezTo>
                  <a:pt x="2827" y="2082"/>
                  <a:pt x="2827" y="2082"/>
                  <a:pt x="2827" y="2009"/>
                </a:cubicBezTo>
                <a:close/>
                <a:moveTo>
                  <a:pt x="2633" y="2041"/>
                </a:moveTo>
                <a:cubicBezTo>
                  <a:pt x="2633" y="2041"/>
                  <a:pt x="2633" y="2041"/>
                  <a:pt x="2633" y="2041"/>
                </a:cubicBezTo>
                <a:cubicBezTo>
                  <a:pt x="2633" y="2049"/>
                  <a:pt x="2633" y="2049"/>
                  <a:pt x="2633" y="2049"/>
                </a:cubicBezTo>
                <a:cubicBezTo>
                  <a:pt x="2639" y="2050"/>
                  <a:pt x="2640" y="2053"/>
                  <a:pt x="2640" y="2055"/>
                </a:cubicBezTo>
                <a:cubicBezTo>
                  <a:pt x="2640" y="2057"/>
                  <a:pt x="2639" y="2060"/>
                  <a:pt x="2639" y="2062"/>
                </a:cubicBezTo>
                <a:cubicBezTo>
                  <a:pt x="2639" y="2065"/>
                  <a:pt x="2639" y="2067"/>
                  <a:pt x="2639" y="2069"/>
                </a:cubicBezTo>
                <a:cubicBezTo>
                  <a:pt x="2639" y="2079"/>
                  <a:pt x="2645" y="2082"/>
                  <a:pt x="2653" y="2082"/>
                </a:cubicBezTo>
                <a:cubicBezTo>
                  <a:pt x="2653" y="2082"/>
                  <a:pt x="2653" y="2082"/>
                  <a:pt x="2657" y="2082"/>
                </a:cubicBezTo>
                <a:cubicBezTo>
                  <a:pt x="2657" y="2082"/>
                  <a:pt x="2657" y="2082"/>
                  <a:pt x="2657" y="2073"/>
                </a:cubicBezTo>
                <a:cubicBezTo>
                  <a:pt x="2657" y="2073"/>
                  <a:pt x="2657" y="2073"/>
                  <a:pt x="2656" y="2073"/>
                </a:cubicBezTo>
                <a:cubicBezTo>
                  <a:pt x="2652" y="2073"/>
                  <a:pt x="2651" y="2071"/>
                  <a:pt x="2651" y="2067"/>
                </a:cubicBezTo>
                <a:cubicBezTo>
                  <a:pt x="2651" y="2066"/>
                  <a:pt x="2651" y="2064"/>
                  <a:pt x="2651" y="2062"/>
                </a:cubicBezTo>
                <a:cubicBezTo>
                  <a:pt x="2651" y="2061"/>
                  <a:pt x="2651" y="2059"/>
                  <a:pt x="2651" y="2056"/>
                </a:cubicBezTo>
                <a:cubicBezTo>
                  <a:pt x="2651" y="2049"/>
                  <a:pt x="2648" y="2046"/>
                  <a:pt x="2643" y="2045"/>
                </a:cubicBezTo>
                <a:cubicBezTo>
                  <a:pt x="2643" y="2045"/>
                  <a:pt x="2643" y="2045"/>
                  <a:pt x="2643" y="2045"/>
                </a:cubicBezTo>
                <a:cubicBezTo>
                  <a:pt x="2648" y="2044"/>
                  <a:pt x="2651" y="2041"/>
                  <a:pt x="2651" y="2034"/>
                </a:cubicBezTo>
                <a:cubicBezTo>
                  <a:pt x="2651" y="2031"/>
                  <a:pt x="2651" y="2029"/>
                  <a:pt x="2651" y="2028"/>
                </a:cubicBezTo>
                <a:cubicBezTo>
                  <a:pt x="2651" y="2026"/>
                  <a:pt x="2651" y="2024"/>
                  <a:pt x="2651" y="2023"/>
                </a:cubicBezTo>
                <a:cubicBezTo>
                  <a:pt x="2651" y="2019"/>
                  <a:pt x="2652" y="2017"/>
                  <a:pt x="2656" y="2017"/>
                </a:cubicBezTo>
                <a:cubicBezTo>
                  <a:pt x="2656" y="2017"/>
                  <a:pt x="2656" y="2017"/>
                  <a:pt x="2657" y="2017"/>
                </a:cubicBezTo>
                <a:cubicBezTo>
                  <a:pt x="2657" y="2017"/>
                  <a:pt x="2657" y="2017"/>
                  <a:pt x="2657" y="2008"/>
                </a:cubicBezTo>
                <a:cubicBezTo>
                  <a:pt x="2657" y="2008"/>
                  <a:pt x="2657" y="2008"/>
                  <a:pt x="2653" y="2008"/>
                </a:cubicBezTo>
                <a:cubicBezTo>
                  <a:pt x="2644" y="2008"/>
                  <a:pt x="2639" y="2012"/>
                  <a:pt x="2639" y="2020"/>
                </a:cubicBezTo>
                <a:cubicBezTo>
                  <a:pt x="2639" y="2023"/>
                  <a:pt x="2639" y="2025"/>
                  <a:pt x="2639" y="2028"/>
                </a:cubicBezTo>
                <a:cubicBezTo>
                  <a:pt x="2639" y="2030"/>
                  <a:pt x="2640" y="2033"/>
                  <a:pt x="2640" y="2035"/>
                </a:cubicBezTo>
                <a:cubicBezTo>
                  <a:pt x="2640" y="2037"/>
                  <a:pt x="2639" y="2041"/>
                  <a:pt x="2633" y="2041"/>
                </a:cubicBezTo>
                <a:close/>
                <a:moveTo>
                  <a:pt x="2688" y="2049"/>
                </a:moveTo>
                <a:cubicBezTo>
                  <a:pt x="2688" y="2049"/>
                  <a:pt x="2688" y="2049"/>
                  <a:pt x="2688" y="2049"/>
                </a:cubicBezTo>
                <a:cubicBezTo>
                  <a:pt x="2688" y="2041"/>
                  <a:pt x="2688" y="2041"/>
                  <a:pt x="2688" y="2041"/>
                </a:cubicBezTo>
                <a:cubicBezTo>
                  <a:pt x="2682" y="2041"/>
                  <a:pt x="2681" y="2037"/>
                  <a:pt x="2681" y="2035"/>
                </a:cubicBezTo>
                <a:cubicBezTo>
                  <a:pt x="2681" y="2033"/>
                  <a:pt x="2681" y="2030"/>
                  <a:pt x="2682" y="2028"/>
                </a:cubicBezTo>
                <a:cubicBezTo>
                  <a:pt x="2682" y="2025"/>
                  <a:pt x="2682" y="2023"/>
                  <a:pt x="2682" y="2020"/>
                </a:cubicBezTo>
                <a:cubicBezTo>
                  <a:pt x="2682" y="2012"/>
                  <a:pt x="2677" y="2008"/>
                  <a:pt x="2668" y="2008"/>
                </a:cubicBezTo>
                <a:cubicBezTo>
                  <a:pt x="2668" y="2008"/>
                  <a:pt x="2668" y="2008"/>
                  <a:pt x="2664" y="2008"/>
                </a:cubicBezTo>
                <a:cubicBezTo>
                  <a:pt x="2664" y="2008"/>
                  <a:pt x="2664" y="2008"/>
                  <a:pt x="2664" y="2017"/>
                </a:cubicBezTo>
                <a:cubicBezTo>
                  <a:pt x="2664" y="2017"/>
                  <a:pt x="2664" y="2017"/>
                  <a:pt x="2665" y="2017"/>
                </a:cubicBezTo>
                <a:cubicBezTo>
                  <a:pt x="2669" y="2017"/>
                  <a:pt x="2670" y="2019"/>
                  <a:pt x="2670" y="2023"/>
                </a:cubicBezTo>
                <a:cubicBezTo>
                  <a:pt x="2670" y="2024"/>
                  <a:pt x="2670" y="2026"/>
                  <a:pt x="2670" y="2028"/>
                </a:cubicBezTo>
                <a:cubicBezTo>
                  <a:pt x="2670" y="2029"/>
                  <a:pt x="2670" y="2031"/>
                  <a:pt x="2670" y="2034"/>
                </a:cubicBezTo>
                <a:cubicBezTo>
                  <a:pt x="2670" y="2041"/>
                  <a:pt x="2672" y="2044"/>
                  <a:pt x="2678" y="2045"/>
                </a:cubicBezTo>
                <a:cubicBezTo>
                  <a:pt x="2678" y="2045"/>
                  <a:pt x="2678" y="2045"/>
                  <a:pt x="2678" y="2045"/>
                </a:cubicBezTo>
                <a:cubicBezTo>
                  <a:pt x="2672" y="2046"/>
                  <a:pt x="2670" y="2049"/>
                  <a:pt x="2670" y="2056"/>
                </a:cubicBezTo>
                <a:cubicBezTo>
                  <a:pt x="2670" y="2059"/>
                  <a:pt x="2670" y="2061"/>
                  <a:pt x="2670" y="2062"/>
                </a:cubicBezTo>
                <a:cubicBezTo>
                  <a:pt x="2670" y="2064"/>
                  <a:pt x="2670" y="2066"/>
                  <a:pt x="2670" y="2067"/>
                </a:cubicBezTo>
                <a:cubicBezTo>
                  <a:pt x="2670" y="2071"/>
                  <a:pt x="2669" y="2073"/>
                  <a:pt x="2665" y="2073"/>
                </a:cubicBezTo>
                <a:cubicBezTo>
                  <a:pt x="2665" y="2073"/>
                  <a:pt x="2665" y="2073"/>
                  <a:pt x="2664" y="2073"/>
                </a:cubicBezTo>
                <a:cubicBezTo>
                  <a:pt x="2664" y="2073"/>
                  <a:pt x="2664" y="2073"/>
                  <a:pt x="2664" y="2082"/>
                </a:cubicBezTo>
                <a:cubicBezTo>
                  <a:pt x="2664" y="2082"/>
                  <a:pt x="2664" y="2082"/>
                  <a:pt x="2668" y="2082"/>
                </a:cubicBezTo>
                <a:cubicBezTo>
                  <a:pt x="2676" y="2082"/>
                  <a:pt x="2682" y="2079"/>
                  <a:pt x="2682" y="2069"/>
                </a:cubicBezTo>
                <a:cubicBezTo>
                  <a:pt x="2682" y="2067"/>
                  <a:pt x="2682" y="2065"/>
                  <a:pt x="2682" y="2062"/>
                </a:cubicBezTo>
                <a:cubicBezTo>
                  <a:pt x="2681" y="2060"/>
                  <a:pt x="2681" y="2057"/>
                  <a:pt x="2681" y="2055"/>
                </a:cubicBezTo>
                <a:cubicBezTo>
                  <a:pt x="2681" y="2053"/>
                  <a:pt x="2682" y="2050"/>
                  <a:pt x="2688" y="2049"/>
                </a:cubicBezTo>
                <a:close/>
                <a:moveTo>
                  <a:pt x="2871" y="2082"/>
                </a:moveTo>
                <a:cubicBezTo>
                  <a:pt x="2864" y="2082"/>
                  <a:pt x="2857" y="2079"/>
                  <a:pt x="2853" y="2073"/>
                </a:cubicBezTo>
                <a:cubicBezTo>
                  <a:pt x="2849" y="2067"/>
                  <a:pt x="2847" y="2058"/>
                  <a:pt x="2847" y="2045"/>
                </a:cubicBezTo>
                <a:cubicBezTo>
                  <a:pt x="2847" y="2032"/>
                  <a:pt x="2849" y="2023"/>
                  <a:pt x="2853" y="2016"/>
                </a:cubicBezTo>
                <a:cubicBezTo>
                  <a:pt x="2858" y="2009"/>
                  <a:pt x="2864" y="2006"/>
                  <a:pt x="2873" y="2006"/>
                </a:cubicBezTo>
                <a:cubicBezTo>
                  <a:pt x="2890" y="2006"/>
                  <a:pt x="2898" y="2018"/>
                  <a:pt x="2898" y="2044"/>
                </a:cubicBezTo>
                <a:cubicBezTo>
                  <a:pt x="2898" y="2056"/>
                  <a:pt x="2895" y="2066"/>
                  <a:pt x="2890" y="2073"/>
                </a:cubicBezTo>
                <a:cubicBezTo>
                  <a:pt x="2886" y="2079"/>
                  <a:pt x="2879" y="2082"/>
                  <a:pt x="2871" y="2082"/>
                </a:cubicBezTo>
                <a:close/>
                <a:moveTo>
                  <a:pt x="2873" y="2015"/>
                </a:moveTo>
                <a:cubicBezTo>
                  <a:pt x="2863" y="2015"/>
                  <a:pt x="2859" y="2026"/>
                  <a:pt x="2859" y="2045"/>
                </a:cubicBezTo>
                <a:cubicBezTo>
                  <a:pt x="2859" y="2064"/>
                  <a:pt x="2863" y="2073"/>
                  <a:pt x="2872" y="2073"/>
                </a:cubicBezTo>
                <a:cubicBezTo>
                  <a:pt x="2881" y="2073"/>
                  <a:pt x="2885" y="2064"/>
                  <a:pt x="2885" y="2045"/>
                </a:cubicBezTo>
                <a:cubicBezTo>
                  <a:pt x="2885" y="2025"/>
                  <a:pt x="2881" y="2015"/>
                  <a:pt x="2873" y="2015"/>
                </a:cubicBezTo>
                <a:close/>
                <a:moveTo>
                  <a:pt x="2941" y="2082"/>
                </a:moveTo>
                <a:cubicBezTo>
                  <a:pt x="2934" y="2082"/>
                  <a:pt x="2928" y="2079"/>
                  <a:pt x="2924" y="2073"/>
                </a:cubicBezTo>
                <a:cubicBezTo>
                  <a:pt x="2919" y="2067"/>
                  <a:pt x="2917" y="2058"/>
                  <a:pt x="2917" y="2045"/>
                </a:cubicBezTo>
                <a:cubicBezTo>
                  <a:pt x="2917" y="2032"/>
                  <a:pt x="2919" y="2023"/>
                  <a:pt x="2924" y="2016"/>
                </a:cubicBezTo>
                <a:cubicBezTo>
                  <a:pt x="2928" y="2009"/>
                  <a:pt x="2935" y="2006"/>
                  <a:pt x="2944" y="2006"/>
                </a:cubicBezTo>
                <a:cubicBezTo>
                  <a:pt x="2960" y="2006"/>
                  <a:pt x="2968" y="2018"/>
                  <a:pt x="2968" y="2044"/>
                </a:cubicBezTo>
                <a:cubicBezTo>
                  <a:pt x="2968" y="2056"/>
                  <a:pt x="2966" y="2066"/>
                  <a:pt x="2961" y="2073"/>
                </a:cubicBezTo>
                <a:cubicBezTo>
                  <a:pt x="2956" y="2079"/>
                  <a:pt x="2950" y="2082"/>
                  <a:pt x="2941" y="2082"/>
                </a:cubicBezTo>
                <a:close/>
                <a:moveTo>
                  <a:pt x="2943" y="2015"/>
                </a:moveTo>
                <a:cubicBezTo>
                  <a:pt x="2934" y="2015"/>
                  <a:pt x="2929" y="2026"/>
                  <a:pt x="2929" y="2045"/>
                </a:cubicBezTo>
                <a:cubicBezTo>
                  <a:pt x="2929" y="2064"/>
                  <a:pt x="2933" y="2073"/>
                  <a:pt x="2942" y="2073"/>
                </a:cubicBezTo>
                <a:cubicBezTo>
                  <a:pt x="2951" y="2073"/>
                  <a:pt x="2955" y="2064"/>
                  <a:pt x="2955" y="2045"/>
                </a:cubicBezTo>
                <a:cubicBezTo>
                  <a:pt x="2955" y="2025"/>
                  <a:pt x="2951" y="2015"/>
                  <a:pt x="2943" y="2015"/>
                </a:cubicBezTo>
                <a:close/>
                <a:moveTo>
                  <a:pt x="3015" y="2009"/>
                </a:moveTo>
                <a:cubicBezTo>
                  <a:pt x="3015" y="2009"/>
                  <a:pt x="3015" y="2009"/>
                  <a:pt x="3015" y="2009"/>
                </a:cubicBezTo>
                <a:cubicBezTo>
                  <a:pt x="3010" y="2009"/>
                  <a:pt x="3010" y="2009"/>
                  <a:pt x="3010" y="2009"/>
                </a:cubicBezTo>
                <a:cubicBezTo>
                  <a:pt x="3007" y="2010"/>
                  <a:pt x="3006" y="2012"/>
                  <a:pt x="3004" y="2012"/>
                </a:cubicBezTo>
                <a:cubicBezTo>
                  <a:pt x="3002" y="2014"/>
                  <a:pt x="3001" y="2014"/>
                  <a:pt x="2998" y="2015"/>
                </a:cubicBezTo>
                <a:cubicBezTo>
                  <a:pt x="2997" y="2017"/>
                  <a:pt x="2995" y="2017"/>
                  <a:pt x="2993" y="2018"/>
                </a:cubicBezTo>
                <a:cubicBezTo>
                  <a:pt x="2991" y="2019"/>
                  <a:pt x="2990" y="2020"/>
                  <a:pt x="2987" y="2020"/>
                </a:cubicBezTo>
                <a:cubicBezTo>
                  <a:pt x="2987" y="2020"/>
                  <a:pt x="2987" y="2020"/>
                  <a:pt x="2987" y="2030"/>
                </a:cubicBezTo>
                <a:cubicBezTo>
                  <a:pt x="2990" y="2029"/>
                  <a:pt x="2993" y="2028"/>
                  <a:pt x="2996" y="2027"/>
                </a:cubicBezTo>
                <a:cubicBezTo>
                  <a:pt x="2998" y="2026"/>
                  <a:pt x="3001" y="2025"/>
                  <a:pt x="3003" y="2023"/>
                </a:cubicBezTo>
                <a:cubicBezTo>
                  <a:pt x="3003" y="2023"/>
                  <a:pt x="3003" y="2023"/>
                  <a:pt x="3003" y="2082"/>
                </a:cubicBezTo>
                <a:cubicBezTo>
                  <a:pt x="3003" y="2082"/>
                  <a:pt x="3003" y="2082"/>
                  <a:pt x="3015" y="2082"/>
                </a:cubicBezTo>
                <a:cubicBezTo>
                  <a:pt x="3015" y="2082"/>
                  <a:pt x="3015" y="2082"/>
                  <a:pt x="3015" y="2009"/>
                </a:cubicBezTo>
                <a:close/>
                <a:moveTo>
                  <a:pt x="3061" y="2009"/>
                </a:moveTo>
                <a:cubicBezTo>
                  <a:pt x="3061" y="2009"/>
                  <a:pt x="3061" y="2009"/>
                  <a:pt x="3061" y="2009"/>
                </a:cubicBezTo>
                <a:cubicBezTo>
                  <a:pt x="3056" y="2009"/>
                  <a:pt x="3056" y="2009"/>
                  <a:pt x="3056" y="2009"/>
                </a:cubicBezTo>
                <a:cubicBezTo>
                  <a:pt x="3054" y="2010"/>
                  <a:pt x="3053" y="2012"/>
                  <a:pt x="3050" y="2012"/>
                </a:cubicBezTo>
                <a:cubicBezTo>
                  <a:pt x="3049" y="2014"/>
                  <a:pt x="3047" y="2014"/>
                  <a:pt x="3045" y="2015"/>
                </a:cubicBezTo>
                <a:cubicBezTo>
                  <a:pt x="3044" y="2017"/>
                  <a:pt x="3042" y="2017"/>
                  <a:pt x="3040" y="2018"/>
                </a:cubicBezTo>
                <a:cubicBezTo>
                  <a:pt x="3038" y="2019"/>
                  <a:pt x="3037" y="2020"/>
                  <a:pt x="3034" y="2020"/>
                </a:cubicBezTo>
                <a:cubicBezTo>
                  <a:pt x="3034" y="2020"/>
                  <a:pt x="3034" y="2020"/>
                  <a:pt x="3034" y="2030"/>
                </a:cubicBezTo>
                <a:cubicBezTo>
                  <a:pt x="3037" y="2029"/>
                  <a:pt x="3040" y="2028"/>
                  <a:pt x="3042" y="2027"/>
                </a:cubicBezTo>
                <a:cubicBezTo>
                  <a:pt x="3045" y="2026"/>
                  <a:pt x="3047" y="2025"/>
                  <a:pt x="3050" y="2023"/>
                </a:cubicBezTo>
                <a:cubicBezTo>
                  <a:pt x="3050" y="2023"/>
                  <a:pt x="3050" y="2023"/>
                  <a:pt x="3050" y="2082"/>
                </a:cubicBezTo>
                <a:cubicBezTo>
                  <a:pt x="3050" y="2082"/>
                  <a:pt x="3050" y="2082"/>
                  <a:pt x="3061" y="2082"/>
                </a:cubicBezTo>
                <a:cubicBezTo>
                  <a:pt x="3061" y="2082"/>
                  <a:pt x="3061" y="2082"/>
                  <a:pt x="3061" y="2009"/>
                </a:cubicBezTo>
                <a:close/>
                <a:moveTo>
                  <a:pt x="3107" y="2009"/>
                </a:moveTo>
                <a:cubicBezTo>
                  <a:pt x="3107" y="2009"/>
                  <a:pt x="3107" y="2009"/>
                  <a:pt x="3107" y="2009"/>
                </a:cubicBezTo>
                <a:cubicBezTo>
                  <a:pt x="3103" y="2009"/>
                  <a:pt x="3103" y="2009"/>
                  <a:pt x="3103" y="2009"/>
                </a:cubicBezTo>
                <a:cubicBezTo>
                  <a:pt x="3100" y="2010"/>
                  <a:pt x="3099" y="2012"/>
                  <a:pt x="3097" y="2012"/>
                </a:cubicBezTo>
                <a:cubicBezTo>
                  <a:pt x="3095" y="2014"/>
                  <a:pt x="3093" y="2014"/>
                  <a:pt x="3092" y="2015"/>
                </a:cubicBezTo>
                <a:cubicBezTo>
                  <a:pt x="3090" y="2016"/>
                  <a:pt x="3088" y="2017"/>
                  <a:pt x="3086" y="2017"/>
                </a:cubicBezTo>
                <a:cubicBezTo>
                  <a:pt x="3085" y="2018"/>
                  <a:pt x="3082" y="2019"/>
                  <a:pt x="3081" y="2020"/>
                </a:cubicBezTo>
                <a:cubicBezTo>
                  <a:pt x="3081" y="2020"/>
                  <a:pt x="3081" y="2020"/>
                  <a:pt x="3081" y="2030"/>
                </a:cubicBezTo>
                <a:cubicBezTo>
                  <a:pt x="3084" y="2029"/>
                  <a:pt x="3087" y="2028"/>
                  <a:pt x="3089" y="2027"/>
                </a:cubicBezTo>
                <a:cubicBezTo>
                  <a:pt x="3091" y="2026"/>
                  <a:pt x="3094" y="2025"/>
                  <a:pt x="3095" y="2023"/>
                </a:cubicBezTo>
                <a:cubicBezTo>
                  <a:pt x="3095" y="2023"/>
                  <a:pt x="3095" y="2023"/>
                  <a:pt x="3095" y="2082"/>
                </a:cubicBezTo>
                <a:cubicBezTo>
                  <a:pt x="3095" y="2082"/>
                  <a:pt x="3095" y="2082"/>
                  <a:pt x="3107" y="2082"/>
                </a:cubicBezTo>
                <a:cubicBezTo>
                  <a:pt x="3107" y="2082"/>
                  <a:pt x="3107" y="2082"/>
                  <a:pt x="3107" y="2009"/>
                </a:cubicBezTo>
                <a:close/>
                <a:moveTo>
                  <a:pt x="2916" y="1973"/>
                </a:moveTo>
                <a:cubicBezTo>
                  <a:pt x="2909" y="1973"/>
                  <a:pt x="2902" y="1970"/>
                  <a:pt x="2898" y="1964"/>
                </a:cubicBezTo>
                <a:cubicBezTo>
                  <a:pt x="2894" y="1958"/>
                  <a:pt x="2892" y="1949"/>
                  <a:pt x="2892" y="1937"/>
                </a:cubicBezTo>
                <a:cubicBezTo>
                  <a:pt x="2892" y="1924"/>
                  <a:pt x="2894" y="1914"/>
                  <a:pt x="2898" y="1908"/>
                </a:cubicBezTo>
                <a:cubicBezTo>
                  <a:pt x="2903" y="1901"/>
                  <a:pt x="2909" y="1897"/>
                  <a:pt x="2918" y="1897"/>
                </a:cubicBezTo>
                <a:cubicBezTo>
                  <a:pt x="2934" y="1897"/>
                  <a:pt x="2942" y="1910"/>
                  <a:pt x="2942" y="1935"/>
                </a:cubicBezTo>
                <a:cubicBezTo>
                  <a:pt x="2942" y="1948"/>
                  <a:pt x="2940" y="1957"/>
                  <a:pt x="2935" y="1964"/>
                </a:cubicBezTo>
                <a:cubicBezTo>
                  <a:pt x="2931" y="1970"/>
                  <a:pt x="2924" y="1973"/>
                  <a:pt x="2916" y="1973"/>
                </a:cubicBezTo>
                <a:close/>
                <a:moveTo>
                  <a:pt x="2917" y="1907"/>
                </a:moveTo>
                <a:cubicBezTo>
                  <a:pt x="2908" y="1907"/>
                  <a:pt x="2904" y="1917"/>
                  <a:pt x="2904" y="1937"/>
                </a:cubicBezTo>
                <a:cubicBezTo>
                  <a:pt x="2904" y="1955"/>
                  <a:pt x="2908" y="1964"/>
                  <a:pt x="2917" y="1964"/>
                </a:cubicBezTo>
                <a:cubicBezTo>
                  <a:pt x="2925" y="1964"/>
                  <a:pt x="2930" y="1955"/>
                  <a:pt x="2930" y="1936"/>
                </a:cubicBezTo>
                <a:cubicBezTo>
                  <a:pt x="2930" y="1916"/>
                  <a:pt x="2925" y="1907"/>
                  <a:pt x="2917" y="1907"/>
                </a:cubicBezTo>
                <a:close/>
                <a:moveTo>
                  <a:pt x="2990" y="1900"/>
                </a:moveTo>
                <a:cubicBezTo>
                  <a:pt x="2990" y="1900"/>
                  <a:pt x="2990" y="1900"/>
                  <a:pt x="2990" y="1900"/>
                </a:cubicBezTo>
                <a:cubicBezTo>
                  <a:pt x="2985" y="1900"/>
                  <a:pt x="2985" y="1900"/>
                  <a:pt x="2985" y="1900"/>
                </a:cubicBezTo>
                <a:cubicBezTo>
                  <a:pt x="2983" y="1901"/>
                  <a:pt x="2981" y="1903"/>
                  <a:pt x="2979" y="1903"/>
                </a:cubicBezTo>
                <a:cubicBezTo>
                  <a:pt x="2978" y="1905"/>
                  <a:pt x="2975" y="1906"/>
                  <a:pt x="2974" y="1906"/>
                </a:cubicBezTo>
                <a:cubicBezTo>
                  <a:pt x="2972" y="1907"/>
                  <a:pt x="2970" y="1908"/>
                  <a:pt x="2969" y="1908"/>
                </a:cubicBezTo>
                <a:cubicBezTo>
                  <a:pt x="2967" y="1909"/>
                  <a:pt x="2965" y="1910"/>
                  <a:pt x="2963" y="1911"/>
                </a:cubicBezTo>
                <a:cubicBezTo>
                  <a:pt x="2963" y="1911"/>
                  <a:pt x="2963" y="1911"/>
                  <a:pt x="2963" y="1921"/>
                </a:cubicBezTo>
                <a:cubicBezTo>
                  <a:pt x="2966" y="1920"/>
                  <a:pt x="2969" y="1919"/>
                  <a:pt x="2971" y="1918"/>
                </a:cubicBezTo>
                <a:cubicBezTo>
                  <a:pt x="2974" y="1917"/>
                  <a:pt x="2976" y="1916"/>
                  <a:pt x="2978" y="1914"/>
                </a:cubicBezTo>
                <a:cubicBezTo>
                  <a:pt x="2978" y="1914"/>
                  <a:pt x="2978" y="1914"/>
                  <a:pt x="2978" y="1973"/>
                </a:cubicBezTo>
                <a:cubicBezTo>
                  <a:pt x="2978" y="1973"/>
                  <a:pt x="2978" y="1973"/>
                  <a:pt x="2990" y="1973"/>
                </a:cubicBezTo>
                <a:cubicBezTo>
                  <a:pt x="2990" y="1973"/>
                  <a:pt x="2990" y="1973"/>
                  <a:pt x="2990" y="1900"/>
                </a:cubicBezTo>
                <a:close/>
                <a:moveTo>
                  <a:pt x="3037" y="1900"/>
                </a:moveTo>
                <a:cubicBezTo>
                  <a:pt x="3037" y="1900"/>
                  <a:pt x="3037" y="1900"/>
                  <a:pt x="3037" y="1900"/>
                </a:cubicBezTo>
                <a:cubicBezTo>
                  <a:pt x="3032" y="1900"/>
                  <a:pt x="3032" y="1900"/>
                  <a:pt x="3032" y="1900"/>
                </a:cubicBezTo>
                <a:cubicBezTo>
                  <a:pt x="3030" y="1901"/>
                  <a:pt x="3029" y="1903"/>
                  <a:pt x="3026" y="1903"/>
                </a:cubicBezTo>
                <a:cubicBezTo>
                  <a:pt x="3025" y="1905"/>
                  <a:pt x="3023" y="1906"/>
                  <a:pt x="3021" y="1906"/>
                </a:cubicBezTo>
                <a:cubicBezTo>
                  <a:pt x="3020" y="1908"/>
                  <a:pt x="3018" y="1908"/>
                  <a:pt x="3016" y="1909"/>
                </a:cubicBezTo>
                <a:cubicBezTo>
                  <a:pt x="3014" y="1910"/>
                  <a:pt x="3013" y="1911"/>
                  <a:pt x="3010" y="1911"/>
                </a:cubicBezTo>
                <a:cubicBezTo>
                  <a:pt x="3010" y="1911"/>
                  <a:pt x="3010" y="1911"/>
                  <a:pt x="3010" y="1921"/>
                </a:cubicBezTo>
                <a:cubicBezTo>
                  <a:pt x="3013" y="1920"/>
                  <a:pt x="3016" y="1919"/>
                  <a:pt x="3018" y="1918"/>
                </a:cubicBezTo>
                <a:cubicBezTo>
                  <a:pt x="3021" y="1917"/>
                  <a:pt x="3023" y="1916"/>
                  <a:pt x="3026" y="1914"/>
                </a:cubicBezTo>
                <a:cubicBezTo>
                  <a:pt x="3026" y="1914"/>
                  <a:pt x="3026" y="1914"/>
                  <a:pt x="3026" y="1973"/>
                </a:cubicBezTo>
                <a:cubicBezTo>
                  <a:pt x="3026" y="1973"/>
                  <a:pt x="3026" y="1973"/>
                  <a:pt x="3037" y="1973"/>
                </a:cubicBezTo>
                <a:cubicBezTo>
                  <a:pt x="3037" y="1973"/>
                  <a:pt x="3037" y="1973"/>
                  <a:pt x="3037" y="1900"/>
                </a:cubicBezTo>
                <a:close/>
                <a:moveTo>
                  <a:pt x="3084" y="1900"/>
                </a:moveTo>
                <a:cubicBezTo>
                  <a:pt x="3084" y="1900"/>
                  <a:pt x="3084" y="1900"/>
                  <a:pt x="3084" y="1900"/>
                </a:cubicBezTo>
                <a:cubicBezTo>
                  <a:pt x="3079" y="1900"/>
                  <a:pt x="3079" y="1900"/>
                  <a:pt x="3079" y="1900"/>
                </a:cubicBezTo>
                <a:cubicBezTo>
                  <a:pt x="3077" y="1901"/>
                  <a:pt x="3076" y="1903"/>
                  <a:pt x="3074" y="1903"/>
                </a:cubicBezTo>
                <a:cubicBezTo>
                  <a:pt x="3072" y="1905"/>
                  <a:pt x="3070" y="1906"/>
                  <a:pt x="3068" y="1906"/>
                </a:cubicBezTo>
                <a:cubicBezTo>
                  <a:pt x="3066" y="1908"/>
                  <a:pt x="3065" y="1908"/>
                  <a:pt x="3063" y="1909"/>
                </a:cubicBezTo>
                <a:cubicBezTo>
                  <a:pt x="3061" y="1910"/>
                  <a:pt x="3059" y="1911"/>
                  <a:pt x="3057" y="1911"/>
                </a:cubicBezTo>
                <a:cubicBezTo>
                  <a:pt x="3057" y="1911"/>
                  <a:pt x="3057" y="1911"/>
                  <a:pt x="3057" y="1921"/>
                </a:cubicBezTo>
                <a:cubicBezTo>
                  <a:pt x="3060" y="1920"/>
                  <a:pt x="3063" y="1919"/>
                  <a:pt x="3066" y="1918"/>
                </a:cubicBezTo>
                <a:cubicBezTo>
                  <a:pt x="3068" y="1917"/>
                  <a:pt x="3071" y="1916"/>
                  <a:pt x="3072" y="1914"/>
                </a:cubicBezTo>
                <a:cubicBezTo>
                  <a:pt x="3072" y="1914"/>
                  <a:pt x="3072" y="1914"/>
                  <a:pt x="3072" y="1973"/>
                </a:cubicBezTo>
                <a:cubicBezTo>
                  <a:pt x="3072" y="1973"/>
                  <a:pt x="3072" y="1973"/>
                  <a:pt x="3084" y="1973"/>
                </a:cubicBezTo>
                <a:cubicBezTo>
                  <a:pt x="3084" y="1973"/>
                  <a:pt x="3084" y="1973"/>
                  <a:pt x="3084" y="1900"/>
                </a:cubicBezTo>
                <a:close/>
                <a:moveTo>
                  <a:pt x="3131" y="1900"/>
                </a:moveTo>
                <a:cubicBezTo>
                  <a:pt x="3131" y="1900"/>
                  <a:pt x="3131" y="1900"/>
                  <a:pt x="3131" y="1900"/>
                </a:cubicBezTo>
                <a:cubicBezTo>
                  <a:pt x="3126" y="1900"/>
                  <a:pt x="3126" y="1900"/>
                  <a:pt x="3126" y="1900"/>
                </a:cubicBezTo>
                <a:cubicBezTo>
                  <a:pt x="3124" y="1901"/>
                  <a:pt x="3123" y="1903"/>
                  <a:pt x="3120" y="1903"/>
                </a:cubicBezTo>
                <a:cubicBezTo>
                  <a:pt x="3119" y="1905"/>
                  <a:pt x="3117" y="1906"/>
                  <a:pt x="3115" y="1906"/>
                </a:cubicBezTo>
                <a:cubicBezTo>
                  <a:pt x="3114" y="1908"/>
                  <a:pt x="3111" y="1908"/>
                  <a:pt x="3110" y="1909"/>
                </a:cubicBezTo>
                <a:cubicBezTo>
                  <a:pt x="3108" y="1910"/>
                  <a:pt x="3106" y="1911"/>
                  <a:pt x="3104" y="1911"/>
                </a:cubicBezTo>
                <a:cubicBezTo>
                  <a:pt x="3104" y="1911"/>
                  <a:pt x="3104" y="1911"/>
                  <a:pt x="3104" y="1921"/>
                </a:cubicBezTo>
                <a:cubicBezTo>
                  <a:pt x="3107" y="1920"/>
                  <a:pt x="3110" y="1919"/>
                  <a:pt x="3112" y="1918"/>
                </a:cubicBezTo>
                <a:cubicBezTo>
                  <a:pt x="3115" y="1917"/>
                  <a:pt x="3117" y="1916"/>
                  <a:pt x="3120" y="1914"/>
                </a:cubicBezTo>
                <a:cubicBezTo>
                  <a:pt x="3120" y="1914"/>
                  <a:pt x="3120" y="1914"/>
                  <a:pt x="3120" y="1973"/>
                </a:cubicBezTo>
                <a:cubicBezTo>
                  <a:pt x="3120" y="1973"/>
                  <a:pt x="3120" y="1973"/>
                  <a:pt x="3131" y="1973"/>
                </a:cubicBezTo>
                <a:cubicBezTo>
                  <a:pt x="3131" y="1973"/>
                  <a:pt x="3131" y="1973"/>
                  <a:pt x="3131" y="1900"/>
                </a:cubicBezTo>
                <a:close/>
                <a:moveTo>
                  <a:pt x="3254" y="1900"/>
                </a:moveTo>
                <a:cubicBezTo>
                  <a:pt x="3254" y="1900"/>
                  <a:pt x="3254" y="1900"/>
                  <a:pt x="3254" y="1900"/>
                </a:cubicBezTo>
                <a:cubicBezTo>
                  <a:pt x="3249" y="1900"/>
                  <a:pt x="3249" y="1900"/>
                  <a:pt x="3249" y="1900"/>
                </a:cubicBezTo>
                <a:cubicBezTo>
                  <a:pt x="3247" y="1901"/>
                  <a:pt x="3246" y="1903"/>
                  <a:pt x="3243" y="1903"/>
                </a:cubicBezTo>
                <a:cubicBezTo>
                  <a:pt x="3242" y="1905"/>
                  <a:pt x="3240" y="1906"/>
                  <a:pt x="3238" y="1906"/>
                </a:cubicBezTo>
                <a:cubicBezTo>
                  <a:pt x="3237" y="1908"/>
                  <a:pt x="3235" y="1908"/>
                  <a:pt x="3233" y="1909"/>
                </a:cubicBezTo>
                <a:cubicBezTo>
                  <a:pt x="3231" y="1910"/>
                  <a:pt x="3230" y="1911"/>
                  <a:pt x="3227" y="1911"/>
                </a:cubicBezTo>
                <a:cubicBezTo>
                  <a:pt x="3227" y="1911"/>
                  <a:pt x="3227" y="1911"/>
                  <a:pt x="3227" y="1921"/>
                </a:cubicBezTo>
                <a:cubicBezTo>
                  <a:pt x="3230" y="1920"/>
                  <a:pt x="3233" y="1919"/>
                  <a:pt x="3236" y="1918"/>
                </a:cubicBezTo>
                <a:cubicBezTo>
                  <a:pt x="3238" y="1917"/>
                  <a:pt x="3240" y="1916"/>
                  <a:pt x="3243" y="1914"/>
                </a:cubicBezTo>
                <a:cubicBezTo>
                  <a:pt x="3243" y="1914"/>
                  <a:pt x="3243" y="1914"/>
                  <a:pt x="3243" y="1973"/>
                </a:cubicBezTo>
                <a:cubicBezTo>
                  <a:pt x="3243" y="1973"/>
                  <a:pt x="3243" y="1973"/>
                  <a:pt x="3254" y="1973"/>
                </a:cubicBezTo>
                <a:cubicBezTo>
                  <a:pt x="3254" y="1973"/>
                  <a:pt x="3254" y="1973"/>
                  <a:pt x="3254" y="1900"/>
                </a:cubicBezTo>
                <a:close/>
                <a:moveTo>
                  <a:pt x="3302" y="1900"/>
                </a:moveTo>
                <a:cubicBezTo>
                  <a:pt x="3302" y="1900"/>
                  <a:pt x="3302" y="1900"/>
                  <a:pt x="3302" y="1900"/>
                </a:cubicBezTo>
                <a:cubicBezTo>
                  <a:pt x="3297" y="1900"/>
                  <a:pt x="3297" y="1900"/>
                  <a:pt x="3297" y="1900"/>
                </a:cubicBezTo>
                <a:cubicBezTo>
                  <a:pt x="3295" y="1901"/>
                  <a:pt x="3293" y="1903"/>
                  <a:pt x="3291" y="1903"/>
                </a:cubicBezTo>
                <a:cubicBezTo>
                  <a:pt x="3290" y="1905"/>
                  <a:pt x="3287" y="1906"/>
                  <a:pt x="3286" y="1906"/>
                </a:cubicBezTo>
                <a:cubicBezTo>
                  <a:pt x="3285" y="1908"/>
                  <a:pt x="3282" y="1908"/>
                  <a:pt x="3281" y="1909"/>
                </a:cubicBezTo>
                <a:cubicBezTo>
                  <a:pt x="3279" y="1910"/>
                  <a:pt x="3277" y="1911"/>
                  <a:pt x="3275" y="1911"/>
                </a:cubicBezTo>
                <a:cubicBezTo>
                  <a:pt x="3275" y="1911"/>
                  <a:pt x="3275" y="1911"/>
                  <a:pt x="3275" y="1921"/>
                </a:cubicBezTo>
                <a:cubicBezTo>
                  <a:pt x="3278" y="1920"/>
                  <a:pt x="3281" y="1919"/>
                  <a:pt x="3283" y="1918"/>
                </a:cubicBezTo>
                <a:cubicBezTo>
                  <a:pt x="3286" y="1917"/>
                  <a:pt x="3288" y="1916"/>
                  <a:pt x="3290" y="1914"/>
                </a:cubicBezTo>
                <a:cubicBezTo>
                  <a:pt x="3290" y="1914"/>
                  <a:pt x="3290" y="1914"/>
                  <a:pt x="3290" y="1973"/>
                </a:cubicBezTo>
                <a:cubicBezTo>
                  <a:pt x="3290" y="1973"/>
                  <a:pt x="3290" y="1973"/>
                  <a:pt x="3302" y="1973"/>
                </a:cubicBezTo>
                <a:cubicBezTo>
                  <a:pt x="3302" y="1973"/>
                  <a:pt x="3302" y="1973"/>
                  <a:pt x="3302" y="1900"/>
                </a:cubicBezTo>
                <a:close/>
                <a:moveTo>
                  <a:pt x="3350" y="1900"/>
                </a:moveTo>
                <a:cubicBezTo>
                  <a:pt x="3350" y="1900"/>
                  <a:pt x="3350" y="1900"/>
                  <a:pt x="3350" y="1900"/>
                </a:cubicBezTo>
                <a:cubicBezTo>
                  <a:pt x="3345" y="1900"/>
                  <a:pt x="3345" y="1900"/>
                  <a:pt x="3345" y="1900"/>
                </a:cubicBezTo>
                <a:cubicBezTo>
                  <a:pt x="3343" y="1901"/>
                  <a:pt x="3341" y="1903"/>
                  <a:pt x="3339" y="1903"/>
                </a:cubicBezTo>
                <a:cubicBezTo>
                  <a:pt x="3337" y="1905"/>
                  <a:pt x="3336" y="1906"/>
                  <a:pt x="3334" y="1906"/>
                </a:cubicBezTo>
                <a:cubicBezTo>
                  <a:pt x="3332" y="1908"/>
                  <a:pt x="3330" y="1908"/>
                  <a:pt x="3328" y="1909"/>
                </a:cubicBezTo>
                <a:cubicBezTo>
                  <a:pt x="3326" y="1910"/>
                  <a:pt x="3325" y="1911"/>
                  <a:pt x="3322" y="1911"/>
                </a:cubicBezTo>
                <a:cubicBezTo>
                  <a:pt x="3322" y="1911"/>
                  <a:pt x="3322" y="1911"/>
                  <a:pt x="3322" y="1921"/>
                </a:cubicBezTo>
                <a:cubicBezTo>
                  <a:pt x="3325" y="1920"/>
                  <a:pt x="3328" y="1919"/>
                  <a:pt x="3331" y="1918"/>
                </a:cubicBezTo>
                <a:cubicBezTo>
                  <a:pt x="3334" y="1917"/>
                  <a:pt x="3336" y="1916"/>
                  <a:pt x="3338" y="1914"/>
                </a:cubicBezTo>
                <a:cubicBezTo>
                  <a:pt x="3338" y="1914"/>
                  <a:pt x="3338" y="1914"/>
                  <a:pt x="3338" y="1973"/>
                </a:cubicBezTo>
                <a:cubicBezTo>
                  <a:pt x="3338" y="1973"/>
                  <a:pt x="3338" y="1973"/>
                  <a:pt x="3350" y="1973"/>
                </a:cubicBezTo>
                <a:cubicBezTo>
                  <a:pt x="3350" y="1973"/>
                  <a:pt x="3350" y="1973"/>
                  <a:pt x="3350" y="1900"/>
                </a:cubicBezTo>
                <a:close/>
                <a:moveTo>
                  <a:pt x="3396" y="1900"/>
                </a:moveTo>
                <a:cubicBezTo>
                  <a:pt x="3396" y="1900"/>
                  <a:pt x="3396" y="1900"/>
                  <a:pt x="3396" y="1900"/>
                </a:cubicBezTo>
                <a:cubicBezTo>
                  <a:pt x="3392" y="1900"/>
                  <a:pt x="3392" y="1900"/>
                  <a:pt x="3392" y="1900"/>
                </a:cubicBezTo>
                <a:cubicBezTo>
                  <a:pt x="3390" y="1901"/>
                  <a:pt x="3388" y="1903"/>
                  <a:pt x="3386" y="1903"/>
                </a:cubicBezTo>
                <a:cubicBezTo>
                  <a:pt x="3385" y="1905"/>
                  <a:pt x="3383" y="1906"/>
                  <a:pt x="3381" y="1906"/>
                </a:cubicBezTo>
                <a:cubicBezTo>
                  <a:pt x="3379" y="1907"/>
                  <a:pt x="3378" y="1908"/>
                  <a:pt x="3375" y="1908"/>
                </a:cubicBezTo>
                <a:cubicBezTo>
                  <a:pt x="3374" y="1909"/>
                  <a:pt x="3372" y="1910"/>
                  <a:pt x="3370" y="1911"/>
                </a:cubicBezTo>
                <a:cubicBezTo>
                  <a:pt x="3370" y="1911"/>
                  <a:pt x="3370" y="1911"/>
                  <a:pt x="3370" y="1921"/>
                </a:cubicBezTo>
                <a:cubicBezTo>
                  <a:pt x="3373" y="1920"/>
                  <a:pt x="3376" y="1919"/>
                  <a:pt x="3378" y="1918"/>
                </a:cubicBezTo>
                <a:cubicBezTo>
                  <a:pt x="3380" y="1917"/>
                  <a:pt x="3383" y="1916"/>
                  <a:pt x="3385" y="1914"/>
                </a:cubicBezTo>
                <a:cubicBezTo>
                  <a:pt x="3385" y="1914"/>
                  <a:pt x="3385" y="1914"/>
                  <a:pt x="3385" y="1973"/>
                </a:cubicBezTo>
                <a:cubicBezTo>
                  <a:pt x="3385" y="1973"/>
                  <a:pt x="3385" y="1973"/>
                  <a:pt x="3396" y="1973"/>
                </a:cubicBezTo>
                <a:cubicBezTo>
                  <a:pt x="3396" y="1973"/>
                  <a:pt x="3396" y="1973"/>
                  <a:pt x="3396" y="1900"/>
                </a:cubicBezTo>
                <a:close/>
                <a:moveTo>
                  <a:pt x="3152" y="1932"/>
                </a:moveTo>
                <a:cubicBezTo>
                  <a:pt x="3152" y="1932"/>
                  <a:pt x="3152" y="1932"/>
                  <a:pt x="3152" y="1932"/>
                </a:cubicBezTo>
                <a:cubicBezTo>
                  <a:pt x="3152" y="1940"/>
                  <a:pt x="3152" y="1940"/>
                  <a:pt x="3152" y="1940"/>
                </a:cubicBezTo>
                <a:cubicBezTo>
                  <a:pt x="3158" y="1941"/>
                  <a:pt x="3159" y="1944"/>
                  <a:pt x="3159" y="1946"/>
                </a:cubicBezTo>
                <a:cubicBezTo>
                  <a:pt x="3159" y="1948"/>
                  <a:pt x="3159" y="1951"/>
                  <a:pt x="3159" y="1953"/>
                </a:cubicBezTo>
                <a:cubicBezTo>
                  <a:pt x="3158" y="1956"/>
                  <a:pt x="3158" y="1958"/>
                  <a:pt x="3158" y="1960"/>
                </a:cubicBezTo>
                <a:cubicBezTo>
                  <a:pt x="3158" y="1970"/>
                  <a:pt x="3164" y="1973"/>
                  <a:pt x="3172" y="1973"/>
                </a:cubicBezTo>
                <a:cubicBezTo>
                  <a:pt x="3172" y="1973"/>
                  <a:pt x="3172" y="1973"/>
                  <a:pt x="3176" y="1973"/>
                </a:cubicBezTo>
                <a:cubicBezTo>
                  <a:pt x="3176" y="1973"/>
                  <a:pt x="3176" y="1973"/>
                  <a:pt x="3176" y="1964"/>
                </a:cubicBezTo>
                <a:cubicBezTo>
                  <a:pt x="3176" y="1964"/>
                  <a:pt x="3176" y="1964"/>
                  <a:pt x="3175" y="1964"/>
                </a:cubicBezTo>
                <a:cubicBezTo>
                  <a:pt x="3171" y="1964"/>
                  <a:pt x="3170" y="1962"/>
                  <a:pt x="3170" y="1958"/>
                </a:cubicBezTo>
                <a:cubicBezTo>
                  <a:pt x="3170" y="1957"/>
                  <a:pt x="3170" y="1955"/>
                  <a:pt x="3170" y="1953"/>
                </a:cubicBezTo>
                <a:cubicBezTo>
                  <a:pt x="3170" y="1952"/>
                  <a:pt x="3170" y="1950"/>
                  <a:pt x="3170" y="1947"/>
                </a:cubicBezTo>
                <a:cubicBezTo>
                  <a:pt x="3170" y="1940"/>
                  <a:pt x="3168" y="1937"/>
                  <a:pt x="3162" y="1936"/>
                </a:cubicBezTo>
                <a:cubicBezTo>
                  <a:pt x="3162" y="1936"/>
                  <a:pt x="3162" y="1936"/>
                  <a:pt x="3162" y="1936"/>
                </a:cubicBezTo>
                <a:cubicBezTo>
                  <a:pt x="3168" y="1935"/>
                  <a:pt x="3170" y="1932"/>
                  <a:pt x="3170" y="1925"/>
                </a:cubicBezTo>
                <a:cubicBezTo>
                  <a:pt x="3170" y="1922"/>
                  <a:pt x="3170" y="1920"/>
                  <a:pt x="3170" y="1919"/>
                </a:cubicBezTo>
                <a:cubicBezTo>
                  <a:pt x="3170" y="1917"/>
                  <a:pt x="3170" y="1915"/>
                  <a:pt x="3170" y="1914"/>
                </a:cubicBezTo>
                <a:cubicBezTo>
                  <a:pt x="3170" y="1910"/>
                  <a:pt x="3171" y="1908"/>
                  <a:pt x="3175" y="1908"/>
                </a:cubicBezTo>
                <a:cubicBezTo>
                  <a:pt x="3175" y="1908"/>
                  <a:pt x="3175" y="1908"/>
                  <a:pt x="3176" y="1908"/>
                </a:cubicBezTo>
                <a:cubicBezTo>
                  <a:pt x="3176" y="1908"/>
                  <a:pt x="3176" y="1908"/>
                  <a:pt x="3176" y="1899"/>
                </a:cubicBezTo>
                <a:cubicBezTo>
                  <a:pt x="3176" y="1899"/>
                  <a:pt x="3176" y="1899"/>
                  <a:pt x="3172" y="1899"/>
                </a:cubicBezTo>
                <a:cubicBezTo>
                  <a:pt x="3163" y="1899"/>
                  <a:pt x="3158" y="1903"/>
                  <a:pt x="3158" y="1911"/>
                </a:cubicBezTo>
                <a:cubicBezTo>
                  <a:pt x="3158" y="1914"/>
                  <a:pt x="3158" y="1916"/>
                  <a:pt x="3158" y="1919"/>
                </a:cubicBezTo>
                <a:cubicBezTo>
                  <a:pt x="3159" y="1921"/>
                  <a:pt x="3159" y="1924"/>
                  <a:pt x="3159" y="1926"/>
                </a:cubicBezTo>
                <a:cubicBezTo>
                  <a:pt x="3159" y="1928"/>
                  <a:pt x="3158" y="1932"/>
                  <a:pt x="3152" y="1932"/>
                </a:cubicBezTo>
                <a:close/>
                <a:moveTo>
                  <a:pt x="3207" y="1940"/>
                </a:moveTo>
                <a:cubicBezTo>
                  <a:pt x="3207" y="1940"/>
                  <a:pt x="3207" y="1940"/>
                  <a:pt x="3207" y="1940"/>
                </a:cubicBezTo>
                <a:cubicBezTo>
                  <a:pt x="3207" y="1932"/>
                  <a:pt x="3207" y="1932"/>
                  <a:pt x="3207" y="1932"/>
                </a:cubicBezTo>
                <a:cubicBezTo>
                  <a:pt x="3200" y="1932"/>
                  <a:pt x="3200" y="1928"/>
                  <a:pt x="3200" y="1926"/>
                </a:cubicBezTo>
                <a:cubicBezTo>
                  <a:pt x="3200" y="1924"/>
                  <a:pt x="3200" y="1921"/>
                  <a:pt x="3200" y="1919"/>
                </a:cubicBezTo>
                <a:cubicBezTo>
                  <a:pt x="3201" y="1916"/>
                  <a:pt x="3201" y="1914"/>
                  <a:pt x="3201" y="1911"/>
                </a:cubicBezTo>
                <a:cubicBezTo>
                  <a:pt x="3201" y="1903"/>
                  <a:pt x="3196" y="1899"/>
                  <a:pt x="3186" y="1899"/>
                </a:cubicBezTo>
                <a:cubicBezTo>
                  <a:pt x="3186" y="1899"/>
                  <a:pt x="3186" y="1899"/>
                  <a:pt x="3183" y="1899"/>
                </a:cubicBezTo>
                <a:cubicBezTo>
                  <a:pt x="3183" y="1899"/>
                  <a:pt x="3183" y="1899"/>
                  <a:pt x="3183" y="1908"/>
                </a:cubicBezTo>
                <a:cubicBezTo>
                  <a:pt x="3183" y="1908"/>
                  <a:pt x="3183" y="1908"/>
                  <a:pt x="3184" y="1908"/>
                </a:cubicBezTo>
                <a:cubicBezTo>
                  <a:pt x="3188" y="1908"/>
                  <a:pt x="3189" y="1910"/>
                  <a:pt x="3189" y="1914"/>
                </a:cubicBezTo>
                <a:cubicBezTo>
                  <a:pt x="3189" y="1915"/>
                  <a:pt x="3189" y="1917"/>
                  <a:pt x="3189" y="1919"/>
                </a:cubicBezTo>
                <a:cubicBezTo>
                  <a:pt x="3189" y="1920"/>
                  <a:pt x="3189" y="1922"/>
                  <a:pt x="3189" y="1925"/>
                </a:cubicBezTo>
                <a:cubicBezTo>
                  <a:pt x="3189" y="1932"/>
                  <a:pt x="3191" y="1935"/>
                  <a:pt x="3197" y="1936"/>
                </a:cubicBezTo>
                <a:cubicBezTo>
                  <a:pt x="3197" y="1936"/>
                  <a:pt x="3197" y="1936"/>
                  <a:pt x="3197" y="1936"/>
                </a:cubicBezTo>
                <a:cubicBezTo>
                  <a:pt x="3191" y="1937"/>
                  <a:pt x="3189" y="1940"/>
                  <a:pt x="3189" y="1947"/>
                </a:cubicBezTo>
                <a:cubicBezTo>
                  <a:pt x="3189" y="1950"/>
                  <a:pt x="3189" y="1952"/>
                  <a:pt x="3189" y="1953"/>
                </a:cubicBezTo>
                <a:cubicBezTo>
                  <a:pt x="3189" y="1955"/>
                  <a:pt x="3189" y="1957"/>
                  <a:pt x="3189" y="1958"/>
                </a:cubicBezTo>
                <a:cubicBezTo>
                  <a:pt x="3189" y="1962"/>
                  <a:pt x="3188" y="1964"/>
                  <a:pt x="3184" y="1964"/>
                </a:cubicBezTo>
                <a:cubicBezTo>
                  <a:pt x="3184" y="1964"/>
                  <a:pt x="3184" y="1964"/>
                  <a:pt x="3183" y="1964"/>
                </a:cubicBezTo>
                <a:cubicBezTo>
                  <a:pt x="3183" y="1964"/>
                  <a:pt x="3183" y="1964"/>
                  <a:pt x="3183" y="1973"/>
                </a:cubicBezTo>
                <a:cubicBezTo>
                  <a:pt x="3183" y="1973"/>
                  <a:pt x="3183" y="1973"/>
                  <a:pt x="3186" y="1973"/>
                </a:cubicBezTo>
                <a:cubicBezTo>
                  <a:pt x="3195" y="1973"/>
                  <a:pt x="3201" y="1970"/>
                  <a:pt x="3201" y="1960"/>
                </a:cubicBezTo>
                <a:cubicBezTo>
                  <a:pt x="3201" y="1958"/>
                  <a:pt x="3201" y="1956"/>
                  <a:pt x="3200" y="1953"/>
                </a:cubicBezTo>
                <a:cubicBezTo>
                  <a:pt x="3200" y="1951"/>
                  <a:pt x="3200" y="1948"/>
                  <a:pt x="3200" y="1946"/>
                </a:cubicBezTo>
                <a:cubicBezTo>
                  <a:pt x="3200" y="1944"/>
                  <a:pt x="3200" y="1941"/>
                  <a:pt x="3207" y="1940"/>
                </a:cubicBezTo>
                <a:close/>
                <a:moveTo>
                  <a:pt x="3534" y="1932"/>
                </a:moveTo>
                <a:cubicBezTo>
                  <a:pt x="3534" y="1932"/>
                  <a:pt x="3534" y="1932"/>
                  <a:pt x="3534" y="1932"/>
                </a:cubicBezTo>
                <a:cubicBezTo>
                  <a:pt x="3534" y="1940"/>
                  <a:pt x="3534" y="1940"/>
                  <a:pt x="3534" y="1940"/>
                </a:cubicBezTo>
                <a:cubicBezTo>
                  <a:pt x="3540" y="1941"/>
                  <a:pt x="3541" y="1944"/>
                  <a:pt x="3541" y="1946"/>
                </a:cubicBezTo>
                <a:cubicBezTo>
                  <a:pt x="3541" y="1948"/>
                  <a:pt x="3541" y="1951"/>
                  <a:pt x="3541" y="1953"/>
                </a:cubicBezTo>
                <a:cubicBezTo>
                  <a:pt x="3540" y="1956"/>
                  <a:pt x="3540" y="1958"/>
                  <a:pt x="3540" y="1960"/>
                </a:cubicBezTo>
                <a:cubicBezTo>
                  <a:pt x="3540" y="1970"/>
                  <a:pt x="3546" y="1973"/>
                  <a:pt x="3554" y="1973"/>
                </a:cubicBezTo>
                <a:cubicBezTo>
                  <a:pt x="3554" y="1973"/>
                  <a:pt x="3554" y="1973"/>
                  <a:pt x="3558" y="1973"/>
                </a:cubicBezTo>
                <a:cubicBezTo>
                  <a:pt x="3558" y="1973"/>
                  <a:pt x="3558" y="1973"/>
                  <a:pt x="3558" y="1964"/>
                </a:cubicBezTo>
                <a:cubicBezTo>
                  <a:pt x="3558" y="1964"/>
                  <a:pt x="3558" y="1964"/>
                  <a:pt x="3557" y="1964"/>
                </a:cubicBezTo>
                <a:cubicBezTo>
                  <a:pt x="3553" y="1964"/>
                  <a:pt x="3552" y="1962"/>
                  <a:pt x="3552" y="1958"/>
                </a:cubicBezTo>
                <a:cubicBezTo>
                  <a:pt x="3552" y="1957"/>
                  <a:pt x="3552" y="1955"/>
                  <a:pt x="3552" y="1953"/>
                </a:cubicBezTo>
                <a:cubicBezTo>
                  <a:pt x="3552" y="1952"/>
                  <a:pt x="3553" y="1950"/>
                  <a:pt x="3553" y="1947"/>
                </a:cubicBezTo>
                <a:cubicBezTo>
                  <a:pt x="3553" y="1940"/>
                  <a:pt x="3550" y="1937"/>
                  <a:pt x="3544" y="1936"/>
                </a:cubicBezTo>
                <a:cubicBezTo>
                  <a:pt x="3544" y="1936"/>
                  <a:pt x="3544" y="1936"/>
                  <a:pt x="3544" y="1936"/>
                </a:cubicBezTo>
                <a:cubicBezTo>
                  <a:pt x="3550" y="1935"/>
                  <a:pt x="3553" y="1932"/>
                  <a:pt x="3553" y="1925"/>
                </a:cubicBezTo>
                <a:cubicBezTo>
                  <a:pt x="3553" y="1922"/>
                  <a:pt x="3552" y="1920"/>
                  <a:pt x="3552" y="1919"/>
                </a:cubicBezTo>
                <a:cubicBezTo>
                  <a:pt x="3552" y="1917"/>
                  <a:pt x="3552" y="1915"/>
                  <a:pt x="3552" y="1914"/>
                </a:cubicBezTo>
                <a:cubicBezTo>
                  <a:pt x="3552" y="1910"/>
                  <a:pt x="3553" y="1908"/>
                  <a:pt x="3557" y="1908"/>
                </a:cubicBezTo>
                <a:cubicBezTo>
                  <a:pt x="3557" y="1908"/>
                  <a:pt x="3557" y="1908"/>
                  <a:pt x="3558" y="1908"/>
                </a:cubicBezTo>
                <a:cubicBezTo>
                  <a:pt x="3558" y="1908"/>
                  <a:pt x="3558" y="1908"/>
                  <a:pt x="3558" y="1899"/>
                </a:cubicBezTo>
                <a:cubicBezTo>
                  <a:pt x="3558" y="1899"/>
                  <a:pt x="3558" y="1899"/>
                  <a:pt x="3554" y="1899"/>
                </a:cubicBezTo>
                <a:cubicBezTo>
                  <a:pt x="3546" y="1899"/>
                  <a:pt x="3540" y="1903"/>
                  <a:pt x="3540" y="1911"/>
                </a:cubicBezTo>
                <a:cubicBezTo>
                  <a:pt x="3540" y="1914"/>
                  <a:pt x="3540" y="1916"/>
                  <a:pt x="3540" y="1919"/>
                </a:cubicBezTo>
                <a:cubicBezTo>
                  <a:pt x="3541" y="1921"/>
                  <a:pt x="3541" y="1924"/>
                  <a:pt x="3541" y="1926"/>
                </a:cubicBezTo>
                <a:cubicBezTo>
                  <a:pt x="3541" y="1928"/>
                  <a:pt x="3540" y="1932"/>
                  <a:pt x="3534" y="1932"/>
                </a:cubicBezTo>
                <a:close/>
                <a:moveTo>
                  <a:pt x="3589" y="1940"/>
                </a:moveTo>
                <a:cubicBezTo>
                  <a:pt x="3589" y="1940"/>
                  <a:pt x="3589" y="1940"/>
                  <a:pt x="3589" y="1940"/>
                </a:cubicBezTo>
                <a:cubicBezTo>
                  <a:pt x="3589" y="1932"/>
                  <a:pt x="3589" y="1932"/>
                  <a:pt x="3589" y="1932"/>
                </a:cubicBezTo>
                <a:cubicBezTo>
                  <a:pt x="3583" y="1932"/>
                  <a:pt x="3582" y="1928"/>
                  <a:pt x="3582" y="1926"/>
                </a:cubicBezTo>
                <a:cubicBezTo>
                  <a:pt x="3582" y="1924"/>
                  <a:pt x="3582" y="1921"/>
                  <a:pt x="3583" y="1919"/>
                </a:cubicBezTo>
                <a:cubicBezTo>
                  <a:pt x="3583" y="1916"/>
                  <a:pt x="3583" y="1914"/>
                  <a:pt x="3583" y="1911"/>
                </a:cubicBezTo>
                <a:cubicBezTo>
                  <a:pt x="3583" y="1903"/>
                  <a:pt x="3578" y="1899"/>
                  <a:pt x="3569" y="1899"/>
                </a:cubicBezTo>
                <a:cubicBezTo>
                  <a:pt x="3569" y="1899"/>
                  <a:pt x="3569" y="1899"/>
                  <a:pt x="3565" y="1899"/>
                </a:cubicBezTo>
                <a:cubicBezTo>
                  <a:pt x="3565" y="1899"/>
                  <a:pt x="3565" y="1899"/>
                  <a:pt x="3565" y="1908"/>
                </a:cubicBezTo>
                <a:cubicBezTo>
                  <a:pt x="3565" y="1908"/>
                  <a:pt x="3565" y="1908"/>
                  <a:pt x="3566" y="1908"/>
                </a:cubicBezTo>
                <a:cubicBezTo>
                  <a:pt x="3570" y="1908"/>
                  <a:pt x="3571" y="1910"/>
                  <a:pt x="3571" y="1914"/>
                </a:cubicBezTo>
                <a:cubicBezTo>
                  <a:pt x="3571" y="1915"/>
                  <a:pt x="3571" y="1917"/>
                  <a:pt x="3571" y="1919"/>
                </a:cubicBezTo>
                <a:cubicBezTo>
                  <a:pt x="3571" y="1920"/>
                  <a:pt x="3571" y="1922"/>
                  <a:pt x="3571" y="1925"/>
                </a:cubicBezTo>
                <a:cubicBezTo>
                  <a:pt x="3571" y="1932"/>
                  <a:pt x="3573" y="1935"/>
                  <a:pt x="3579" y="1936"/>
                </a:cubicBezTo>
                <a:cubicBezTo>
                  <a:pt x="3579" y="1936"/>
                  <a:pt x="3579" y="1936"/>
                  <a:pt x="3579" y="1936"/>
                </a:cubicBezTo>
                <a:cubicBezTo>
                  <a:pt x="3573" y="1937"/>
                  <a:pt x="3571" y="1940"/>
                  <a:pt x="3571" y="1947"/>
                </a:cubicBezTo>
                <a:cubicBezTo>
                  <a:pt x="3571" y="1950"/>
                  <a:pt x="3571" y="1952"/>
                  <a:pt x="3571" y="1953"/>
                </a:cubicBezTo>
                <a:cubicBezTo>
                  <a:pt x="3571" y="1955"/>
                  <a:pt x="3571" y="1957"/>
                  <a:pt x="3571" y="1958"/>
                </a:cubicBezTo>
                <a:cubicBezTo>
                  <a:pt x="3571" y="1962"/>
                  <a:pt x="3570" y="1964"/>
                  <a:pt x="3566" y="1964"/>
                </a:cubicBezTo>
                <a:cubicBezTo>
                  <a:pt x="3566" y="1964"/>
                  <a:pt x="3566" y="1964"/>
                  <a:pt x="3565" y="1964"/>
                </a:cubicBezTo>
                <a:cubicBezTo>
                  <a:pt x="3565" y="1964"/>
                  <a:pt x="3565" y="1964"/>
                  <a:pt x="3565" y="1973"/>
                </a:cubicBezTo>
                <a:cubicBezTo>
                  <a:pt x="3565" y="1973"/>
                  <a:pt x="3565" y="1973"/>
                  <a:pt x="3569" y="1973"/>
                </a:cubicBezTo>
                <a:cubicBezTo>
                  <a:pt x="3577" y="1973"/>
                  <a:pt x="3583" y="1970"/>
                  <a:pt x="3583" y="1960"/>
                </a:cubicBezTo>
                <a:cubicBezTo>
                  <a:pt x="3583" y="1958"/>
                  <a:pt x="3583" y="1956"/>
                  <a:pt x="3583" y="1953"/>
                </a:cubicBezTo>
                <a:cubicBezTo>
                  <a:pt x="3582" y="1951"/>
                  <a:pt x="3582" y="1948"/>
                  <a:pt x="3582" y="1946"/>
                </a:cubicBezTo>
                <a:cubicBezTo>
                  <a:pt x="3582" y="1944"/>
                  <a:pt x="3583" y="1941"/>
                  <a:pt x="3589" y="1940"/>
                </a:cubicBezTo>
                <a:close/>
                <a:moveTo>
                  <a:pt x="3637" y="1900"/>
                </a:moveTo>
                <a:cubicBezTo>
                  <a:pt x="3637" y="1900"/>
                  <a:pt x="3637" y="1900"/>
                  <a:pt x="3637" y="1900"/>
                </a:cubicBezTo>
                <a:cubicBezTo>
                  <a:pt x="3632" y="1900"/>
                  <a:pt x="3632" y="1900"/>
                  <a:pt x="3632" y="1900"/>
                </a:cubicBezTo>
                <a:cubicBezTo>
                  <a:pt x="3629" y="1901"/>
                  <a:pt x="3628" y="1903"/>
                  <a:pt x="3626" y="1903"/>
                </a:cubicBezTo>
                <a:cubicBezTo>
                  <a:pt x="3624" y="1905"/>
                  <a:pt x="3622" y="1906"/>
                  <a:pt x="3621" y="1906"/>
                </a:cubicBezTo>
                <a:cubicBezTo>
                  <a:pt x="3618" y="1907"/>
                  <a:pt x="3617" y="1908"/>
                  <a:pt x="3615" y="1908"/>
                </a:cubicBezTo>
                <a:cubicBezTo>
                  <a:pt x="3613" y="1909"/>
                  <a:pt x="3612" y="1910"/>
                  <a:pt x="3609" y="1911"/>
                </a:cubicBezTo>
                <a:cubicBezTo>
                  <a:pt x="3609" y="1911"/>
                  <a:pt x="3609" y="1911"/>
                  <a:pt x="3609" y="1921"/>
                </a:cubicBezTo>
                <a:cubicBezTo>
                  <a:pt x="3612" y="1920"/>
                  <a:pt x="3615" y="1919"/>
                  <a:pt x="3618" y="1918"/>
                </a:cubicBezTo>
                <a:cubicBezTo>
                  <a:pt x="3621" y="1917"/>
                  <a:pt x="3623" y="1916"/>
                  <a:pt x="3625" y="1914"/>
                </a:cubicBezTo>
                <a:cubicBezTo>
                  <a:pt x="3625" y="1914"/>
                  <a:pt x="3625" y="1914"/>
                  <a:pt x="3625" y="1973"/>
                </a:cubicBezTo>
                <a:cubicBezTo>
                  <a:pt x="3625" y="1973"/>
                  <a:pt x="3625" y="1973"/>
                  <a:pt x="3637" y="1973"/>
                </a:cubicBezTo>
                <a:cubicBezTo>
                  <a:pt x="3637" y="1973"/>
                  <a:pt x="3637" y="1973"/>
                  <a:pt x="3637" y="1900"/>
                </a:cubicBezTo>
                <a:close/>
                <a:moveTo>
                  <a:pt x="3684" y="1900"/>
                </a:moveTo>
                <a:cubicBezTo>
                  <a:pt x="3684" y="1900"/>
                  <a:pt x="3684" y="1900"/>
                  <a:pt x="3684" y="1900"/>
                </a:cubicBezTo>
                <a:cubicBezTo>
                  <a:pt x="3679" y="1900"/>
                  <a:pt x="3679" y="1900"/>
                  <a:pt x="3679" y="1900"/>
                </a:cubicBezTo>
                <a:cubicBezTo>
                  <a:pt x="3677" y="1901"/>
                  <a:pt x="3675" y="1903"/>
                  <a:pt x="3673" y="1903"/>
                </a:cubicBezTo>
                <a:cubicBezTo>
                  <a:pt x="3672" y="1905"/>
                  <a:pt x="3669" y="1906"/>
                  <a:pt x="3668" y="1906"/>
                </a:cubicBezTo>
                <a:cubicBezTo>
                  <a:pt x="3666" y="1908"/>
                  <a:pt x="3664" y="1908"/>
                  <a:pt x="3663" y="1909"/>
                </a:cubicBezTo>
                <a:cubicBezTo>
                  <a:pt x="3661" y="1910"/>
                  <a:pt x="3659" y="1911"/>
                  <a:pt x="3657" y="1911"/>
                </a:cubicBezTo>
                <a:cubicBezTo>
                  <a:pt x="3657" y="1911"/>
                  <a:pt x="3657" y="1911"/>
                  <a:pt x="3657" y="1921"/>
                </a:cubicBezTo>
                <a:cubicBezTo>
                  <a:pt x="3660" y="1920"/>
                  <a:pt x="3663" y="1919"/>
                  <a:pt x="3665" y="1918"/>
                </a:cubicBezTo>
                <a:cubicBezTo>
                  <a:pt x="3668" y="1917"/>
                  <a:pt x="3670" y="1916"/>
                  <a:pt x="3672" y="1914"/>
                </a:cubicBezTo>
                <a:cubicBezTo>
                  <a:pt x="3672" y="1914"/>
                  <a:pt x="3672" y="1914"/>
                  <a:pt x="3672" y="1973"/>
                </a:cubicBezTo>
                <a:cubicBezTo>
                  <a:pt x="3672" y="1973"/>
                  <a:pt x="3672" y="1973"/>
                  <a:pt x="3684" y="1973"/>
                </a:cubicBezTo>
                <a:cubicBezTo>
                  <a:pt x="3684" y="1973"/>
                  <a:pt x="3684" y="1973"/>
                  <a:pt x="3684" y="1900"/>
                </a:cubicBezTo>
                <a:close/>
                <a:moveTo>
                  <a:pt x="3730" y="1900"/>
                </a:moveTo>
                <a:cubicBezTo>
                  <a:pt x="3730" y="1900"/>
                  <a:pt x="3730" y="1900"/>
                  <a:pt x="3730" y="1900"/>
                </a:cubicBezTo>
                <a:cubicBezTo>
                  <a:pt x="3726" y="1900"/>
                  <a:pt x="3726" y="1900"/>
                  <a:pt x="3726" y="1900"/>
                </a:cubicBezTo>
                <a:cubicBezTo>
                  <a:pt x="3724" y="1901"/>
                  <a:pt x="3722" y="1903"/>
                  <a:pt x="3720" y="1903"/>
                </a:cubicBezTo>
                <a:cubicBezTo>
                  <a:pt x="3719" y="1905"/>
                  <a:pt x="3716" y="1906"/>
                  <a:pt x="3715" y="1906"/>
                </a:cubicBezTo>
                <a:cubicBezTo>
                  <a:pt x="3713" y="1908"/>
                  <a:pt x="3711" y="1908"/>
                  <a:pt x="3709" y="1909"/>
                </a:cubicBezTo>
                <a:cubicBezTo>
                  <a:pt x="3708" y="1910"/>
                  <a:pt x="3705" y="1911"/>
                  <a:pt x="3704" y="1911"/>
                </a:cubicBezTo>
                <a:cubicBezTo>
                  <a:pt x="3704" y="1911"/>
                  <a:pt x="3704" y="1911"/>
                  <a:pt x="3704" y="1921"/>
                </a:cubicBezTo>
                <a:cubicBezTo>
                  <a:pt x="3707" y="1920"/>
                  <a:pt x="3710" y="1919"/>
                  <a:pt x="3712" y="1918"/>
                </a:cubicBezTo>
                <a:cubicBezTo>
                  <a:pt x="3714" y="1917"/>
                  <a:pt x="3717" y="1916"/>
                  <a:pt x="3719" y="1914"/>
                </a:cubicBezTo>
                <a:cubicBezTo>
                  <a:pt x="3719" y="1914"/>
                  <a:pt x="3719" y="1914"/>
                  <a:pt x="3719" y="1973"/>
                </a:cubicBezTo>
                <a:cubicBezTo>
                  <a:pt x="3719" y="1973"/>
                  <a:pt x="3719" y="1973"/>
                  <a:pt x="3730" y="1973"/>
                </a:cubicBezTo>
                <a:cubicBezTo>
                  <a:pt x="3730" y="1973"/>
                  <a:pt x="3730" y="1973"/>
                  <a:pt x="3730" y="1900"/>
                </a:cubicBezTo>
                <a:close/>
                <a:moveTo>
                  <a:pt x="3853" y="1900"/>
                </a:moveTo>
                <a:cubicBezTo>
                  <a:pt x="3853" y="1900"/>
                  <a:pt x="3853" y="1900"/>
                  <a:pt x="3853" y="1900"/>
                </a:cubicBezTo>
                <a:cubicBezTo>
                  <a:pt x="3848" y="1900"/>
                  <a:pt x="3848" y="1900"/>
                  <a:pt x="3848" y="1900"/>
                </a:cubicBezTo>
                <a:cubicBezTo>
                  <a:pt x="3846" y="1901"/>
                  <a:pt x="3845" y="1903"/>
                  <a:pt x="3842" y="1903"/>
                </a:cubicBezTo>
                <a:cubicBezTo>
                  <a:pt x="3841" y="1905"/>
                  <a:pt x="3839" y="1906"/>
                  <a:pt x="3837" y="1906"/>
                </a:cubicBezTo>
                <a:cubicBezTo>
                  <a:pt x="3836" y="1908"/>
                  <a:pt x="3834" y="1908"/>
                  <a:pt x="3832" y="1909"/>
                </a:cubicBezTo>
                <a:cubicBezTo>
                  <a:pt x="3830" y="1910"/>
                  <a:pt x="3829" y="1911"/>
                  <a:pt x="3826" y="1911"/>
                </a:cubicBezTo>
                <a:cubicBezTo>
                  <a:pt x="3826" y="1911"/>
                  <a:pt x="3826" y="1911"/>
                  <a:pt x="3826" y="1921"/>
                </a:cubicBezTo>
                <a:cubicBezTo>
                  <a:pt x="3829" y="1920"/>
                  <a:pt x="3832" y="1919"/>
                  <a:pt x="3835" y="1918"/>
                </a:cubicBezTo>
                <a:cubicBezTo>
                  <a:pt x="3837" y="1917"/>
                  <a:pt x="3839" y="1916"/>
                  <a:pt x="3842" y="1914"/>
                </a:cubicBezTo>
                <a:cubicBezTo>
                  <a:pt x="3842" y="1914"/>
                  <a:pt x="3842" y="1914"/>
                  <a:pt x="3842" y="1973"/>
                </a:cubicBezTo>
                <a:cubicBezTo>
                  <a:pt x="3842" y="1973"/>
                  <a:pt x="3842" y="1973"/>
                  <a:pt x="3853" y="1973"/>
                </a:cubicBezTo>
                <a:cubicBezTo>
                  <a:pt x="3853" y="1973"/>
                  <a:pt x="3853" y="1973"/>
                  <a:pt x="3853" y="1900"/>
                </a:cubicBezTo>
                <a:close/>
                <a:moveTo>
                  <a:pt x="3751" y="1932"/>
                </a:moveTo>
                <a:cubicBezTo>
                  <a:pt x="3751" y="1932"/>
                  <a:pt x="3751" y="1932"/>
                  <a:pt x="3751" y="1932"/>
                </a:cubicBezTo>
                <a:cubicBezTo>
                  <a:pt x="3751" y="1940"/>
                  <a:pt x="3751" y="1940"/>
                  <a:pt x="3751" y="1940"/>
                </a:cubicBezTo>
                <a:cubicBezTo>
                  <a:pt x="3757" y="1941"/>
                  <a:pt x="3758" y="1944"/>
                  <a:pt x="3758" y="1946"/>
                </a:cubicBezTo>
                <a:cubicBezTo>
                  <a:pt x="3758" y="1948"/>
                  <a:pt x="3757" y="1951"/>
                  <a:pt x="3757" y="1953"/>
                </a:cubicBezTo>
                <a:cubicBezTo>
                  <a:pt x="3757" y="1956"/>
                  <a:pt x="3757" y="1958"/>
                  <a:pt x="3757" y="1960"/>
                </a:cubicBezTo>
                <a:cubicBezTo>
                  <a:pt x="3757" y="1970"/>
                  <a:pt x="3763" y="1973"/>
                  <a:pt x="3771" y="1973"/>
                </a:cubicBezTo>
                <a:cubicBezTo>
                  <a:pt x="3771" y="1973"/>
                  <a:pt x="3771" y="1973"/>
                  <a:pt x="3775" y="1973"/>
                </a:cubicBezTo>
                <a:cubicBezTo>
                  <a:pt x="3775" y="1973"/>
                  <a:pt x="3775" y="1973"/>
                  <a:pt x="3775" y="1964"/>
                </a:cubicBezTo>
                <a:cubicBezTo>
                  <a:pt x="3775" y="1964"/>
                  <a:pt x="3775" y="1964"/>
                  <a:pt x="3774" y="1964"/>
                </a:cubicBezTo>
                <a:cubicBezTo>
                  <a:pt x="3770" y="1964"/>
                  <a:pt x="3769" y="1962"/>
                  <a:pt x="3769" y="1958"/>
                </a:cubicBezTo>
                <a:cubicBezTo>
                  <a:pt x="3769" y="1957"/>
                  <a:pt x="3769" y="1955"/>
                  <a:pt x="3769" y="1953"/>
                </a:cubicBezTo>
                <a:cubicBezTo>
                  <a:pt x="3769" y="1952"/>
                  <a:pt x="3769" y="1950"/>
                  <a:pt x="3769" y="1947"/>
                </a:cubicBezTo>
                <a:cubicBezTo>
                  <a:pt x="3769" y="1940"/>
                  <a:pt x="3766" y="1937"/>
                  <a:pt x="3761" y="1936"/>
                </a:cubicBezTo>
                <a:cubicBezTo>
                  <a:pt x="3761" y="1936"/>
                  <a:pt x="3761" y="1936"/>
                  <a:pt x="3761" y="1936"/>
                </a:cubicBezTo>
                <a:cubicBezTo>
                  <a:pt x="3766" y="1935"/>
                  <a:pt x="3769" y="1932"/>
                  <a:pt x="3769" y="1925"/>
                </a:cubicBezTo>
                <a:cubicBezTo>
                  <a:pt x="3769" y="1922"/>
                  <a:pt x="3769" y="1920"/>
                  <a:pt x="3769" y="1919"/>
                </a:cubicBezTo>
                <a:cubicBezTo>
                  <a:pt x="3769" y="1917"/>
                  <a:pt x="3769" y="1915"/>
                  <a:pt x="3769" y="1914"/>
                </a:cubicBezTo>
                <a:cubicBezTo>
                  <a:pt x="3769" y="1910"/>
                  <a:pt x="3770" y="1908"/>
                  <a:pt x="3774" y="1908"/>
                </a:cubicBezTo>
                <a:cubicBezTo>
                  <a:pt x="3774" y="1908"/>
                  <a:pt x="3774" y="1908"/>
                  <a:pt x="3775" y="1908"/>
                </a:cubicBezTo>
                <a:cubicBezTo>
                  <a:pt x="3775" y="1908"/>
                  <a:pt x="3775" y="1908"/>
                  <a:pt x="3775" y="1899"/>
                </a:cubicBezTo>
                <a:cubicBezTo>
                  <a:pt x="3775" y="1899"/>
                  <a:pt x="3775" y="1899"/>
                  <a:pt x="3771" y="1899"/>
                </a:cubicBezTo>
                <a:cubicBezTo>
                  <a:pt x="3762" y="1899"/>
                  <a:pt x="3757" y="1903"/>
                  <a:pt x="3757" y="1911"/>
                </a:cubicBezTo>
                <a:cubicBezTo>
                  <a:pt x="3757" y="1914"/>
                  <a:pt x="3757" y="1916"/>
                  <a:pt x="3757" y="1919"/>
                </a:cubicBezTo>
                <a:cubicBezTo>
                  <a:pt x="3757" y="1921"/>
                  <a:pt x="3758" y="1924"/>
                  <a:pt x="3758" y="1926"/>
                </a:cubicBezTo>
                <a:cubicBezTo>
                  <a:pt x="3758" y="1928"/>
                  <a:pt x="3757" y="1932"/>
                  <a:pt x="3751" y="1932"/>
                </a:cubicBezTo>
                <a:close/>
                <a:moveTo>
                  <a:pt x="3806" y="1940"/>
                </a:moveTo>
                <a:cubicBezTo>
                  <a:pt x="3806" y="1940"/>
                  <a:pt x="3806" y="1940"/>
                  <a:pt x="3806" y="1940"/>
                </a:cubicBezTo>
                <a:cubicBezTo>
                  <a:pt x="3806" y="1932"/>
                  <a:pt x="3806" y="1932"/>
                  <a:pt x="3806" y="1932"/>
                </a:cubicBezTo>
                <a:cubicBezTo>
                  <a:pt x="3799" y="1932"/>
                  <a:pt x="3799" y="1928"/>
                  <a:pt x="3799" y="1926"/>
                </a:cubicBezTo>
                <a:cubicBezTo>
                  <a:pt x="3799" y="1924"/>
                  <a:pt x="3799" y="1921"/>
                  <a:pt x="3799" y="1919"/>
                </a:cubicBezTo>
                <a:cubicBezTo>
                  <a:pt x="3800" y="1916"/>
                  <a:pt x="3800" y="1914"/>
                  <a:pt x="3800" y="1911"/>
                </a:cubicBezTo>
                <a:cubicBezTo>
                  <a:pt x="3800" y="1903"/>
                  <a:pt x="3795" y="1899"/>
                  <a:pt x="3785" y="1899"/>
                </a:cubicBezTo>
                <a:cubicBezTo>
                  <a:pt x="3785" y="1899"/>
                  <a:pt x="3785" y="1899"/>
                  <a:pt x="3782" y="1899"/>
                </a:cubicBezTo>
                <a:cubicBezTo>
                  <a:pt x="3782" y="1899"/>
                  <a:pt x="3782" y="1899"/>
                  <a:pt x="3782" y="1908"/>
                </a:cubicBezTo>
                <a:cubicBezTo>
                  <a:pt x="3782" y="1908"/>
                  <a:pt x="3782" y="1908"/>
                  <a:pt x="3783" y="1908"/>
                </a:cubicBezTo>
                <a:cubicBezTo>
                  <a:pt x="3787" y="1908"/>
                  <a:pt x="3788" y="1910"/>
                  <a:pt x="3788" y="1914"/>
                </a:cubicBezTo>
                <a:cubicBezTo>
                  <a:pt x="3788" y="1915"/>
                  <a:pt x="3788" y="1917"/>
                  <a:pt x="3788" y="1919"/>
                </a:cubicBezTo>
                <a:cubicBezTo>
                  <a:pt x="3788" y="1920"/>
                  <a:pt x="3788" y="1922"/>
                  <a:pt x="3788" y="1925"/>
                </a:cubicBezTo>
                <a:cubicBezTo>
                  <a:pt x="3788" y="1932"/>
                  <a:pt x="3790" y="1935"/>
                  <a:pt x="3796" y="1936"/>
                </a:cubicBezTo>
                <a:cubicBezTo>
                  <a:pt x="3796" y="1936"/>
                  <a:pt x="3796" y="1936"/>
                  <a:pt x="3796" y="1936"/>
                </a:cubicBezTo>
                <a:cubicBezTo>
                  <a:pt x="3790" y="1937"/>
                  <a:pt x="3788" y="1940"/>
                  <a:pt x="3788" y="1947"/>
                </a:cubicBezTo>
                <a:cubicBezTo>
                  <a:pt x="3788" y="1950"/>
                  <a:pt x="3788" y="1952"/>
                  <a:pt x="3788" y="1953"/>
                </a:cubicBezTo>
                <a:cubicBezTo>
                  <a:pt x="3788" y="1955"/>
                  <a:pt x="3788" y="1957"/>
                  <a:pt x="3788" y="1958"/>
                </a:cubicBezTo>
                <a:cubicBezTo>
                  <a:pt x="3788" y="1962"/>
                  <a:pt x="3787" y="1964"/>
                  <a:pt x="3783" y="1964"/>
                </a:cubicBezTo>
                <a:cubicBezTo>
                  <a:pt x="3783" y="1964"/>
                  <a:pt x="3783" y="1964"/>
                  <a:pt x="3782" y="1964"/>
                </a:cubicBezTo>
                <a:cubicBezTo>
                  <a:pt x="3782" y="1964"/>
                  <a:pt x="3782" y="1964"/>
                  <a:pt x="3782" y="1973"/>
                </a:cubicBezTo>
                <a:cubicBezTo>
                  <a:pt x="3782" y="1973"/>
                  <a:pt x="3782" y="1973"/>
                  <a:pt x="3785" y="1973"/>
                </a:cubicBezTo>
                <a:cubicBezTo>
                  <a:pt x="3794" y="1973"/>
                  <a:pt x="3800" y="1970"/>
                  <a:pt x="3800" y="1960"/>
                </a:cubicBezTo>
                <a:cubicBezTo>
                  <a:pt x="3800" y="1958"/>
                  <a:pt x="3800" y="1956"/>
                  <a:pt x="3799" y="1953"/>
                </a:cubicBezTo>
                <a:cubicBezTo>
                  <a:pt x="3799" y="1951"/>
                  <a:pt x="3799" y="1948"/>
                  <a:pt x="3799" y="1946"/>
                </a:cubicBezTo>
                <a:cubicBezTo>
                  <a:pt x="3799" y="1944"/>
                  <a:pt x="3799" y="1941"/>
                  <a:pt x="3806" y="1940"/>
                </a:cubicBezTo>
                <a:close/>
                <a:moveTo>
                  <a:pt x="2947" y="1851"/>
                </a:moveTo>
                <a:cubicBezTo>
                  <a:pt x="2947" y="1853"/>
                  <a:pt x="2948" y="1854"/>
                  <a:pt x="2949" y="1856"/>
                </a:cubicBezTo>
                <a:cubicBezTo>
                  <a:pt x="2949" y="1857"/>
                  <a:pt x="2949" y="1859"/>
                  <a:pt x="2950" y="1861"/>
                </a:cubicBezTo>
                <a:cubicBezTo>
                  <a:pt x="2950" y="1862"/>
                  <a:pt x="2950" y="1864"/>
                  <a:pt x="2950" y="1865"/>
                </a:cubicBezTo>
                <a:cubicBezTo>
                  <a:pt x="2951" y="1869"/>
                  <a:pt x="2950" y="1870"/>
                  <a:pt x="2947" y="1870"/>
                </a:cubicBezTo>
                <a:cubicBezTo>
                  <a:pt x="2944" y="1870"/>
                  <a:pt x="2941" y="1870"/>
                  <a:pt x="2938" y="1870"/>
                </a:cubicBezTo>
                <a:cubicBezTo>
                  <a:pt x="2938" y="1870"/>
                  <a:pt x="2937" y="1870"/>
                  <a:pt x="2937" y="1870"/>
                </a:cubicBezTo>
                <a:cubicBezTo>
                  <a:pt x="2935" y="1872"/>
                  <a:pt x="2934" y="1873"/>
                  <a:pt x="2933" y="1874"/>
                </a:cubicBezTo>
                <a:cubicBezTo>
                  <a:pt x="2931" y="1877"/>
                  <a:pt x="2927" y="1877"/>
                  <a:pt x="2925" y="1875"/>
                </a:cubicBezTo>
                <a:cubicBezTo>
                  <a:pt x="2923" y="1873"/>
                  <a:pt x="2922" y="1870"/>
                  <a:pt x="2920" y="1868"/>
                </a:cubicBezTo>
                <a:cubicBezTo>
                  <a:pt x="2920" y="1866"/>
                  <a:pt x="2920" y="1865"/>
                  <a:pt x="2922" y="1863"/>
                </a:cubicBezTo>
                <a:cubicBezTo>
                  <a:pt x="2920" y="1863"/>
                  <a:pt x="2918" y="1863"/>
                  <a:pt x="2916" y="1863"/>
                </a:cubicBezTo>
                <a:cubicBezTo>
                  <a:pt x="2916" y="1865"/>
                  <a:pt x="2915" y="1867"/>
                  <a:pt x="2914" y="1869"/>
                </a:cubicBezTo>
                <a:cubicBezTo>
                  <a:pt x="2914" y="1870"/>
                  <a:pt x="2913" y="1870"/>
                  <a:pt x="2913" y="1871"/>
                </a:cubicBezTo>
                <a:cubicBezTo>
                  <a:pt x="2913" y="1874"/>
                  <a:pt x="2912" y="1876"/>
                  <a:pt x="2909" y="1875"/>
                </a:cubicBezTo>
                <a:cubicBezTo>
                  <a:pt x="2906" y="1875"/>
                  <a:pt x="2903" y="1874"/>
                  <a:pt x="2900" y="1873"/>
                </a:cubicBezTo>
                <a:cubicBezTo>
                  <a:pt x="2898" y="1872"/>
                  <a:pt x="2898" y="1871"/>
                  <a:pt x="2898" y="1869"/>
                </a:cubicBezTo>
                <a:cubicBezTo>
                  <a:pt x="2898" y="1868"/>
                  <a:pt x="2898" y="1867"/>
                  <a:pt x="2899" y="1867"/>
                </a:cubicBezTo>
                <a:cubicBezTo>
                  <a:pt x="2896" y="1866"/>
                  <a:pt x="2894" y="1865"/>
                  <a:pt x="2892" y="1864"/>
                </a:cubicBezTo>
                <a:cubicBezTo>
                  <a:pt x="2891" y="1863"/>
                  <a:pt x="2890" y="1861"/>
                  <a:pt x="2889" y="1859"/>
                </a:cubicBezTo>
                <a:cubicBezTo>
                  <a:pt x="2888" y="1857"/>
                  <a:pt x="2888" y="1856"/>
                  <a:pt x="2890" y="1854"/>
                </a:cubicBezTo>
                <a:cubicBezTo>
                  <a:pt x="2893" y="1852"/>
                  <a:pt x="2894" y="1849"/>
                  <a:pt x="2893" y="1845"/>
                </a:cubicBezTo>
                <a:cubicBezTo>
                  <a:pt x="2893" y="1843"/>
                  <a:pt x="2893" y="1841"/>
                  <a:pt x="2893" y="1839"/>
                </a:cubicBezTo>
                <a:cubicBezTo>
                  <a:pt x="2892" y="1839"/>
                  <a:pt x="2890" y="1838"/>
                  <a:pt x="2889" y="1837"/>
                </a:cubicBezTo>
                <a:cubicBezTo>
                  <a:pt x="2888" y="1835"/>
                  <a:pt x="2887" y="1833"/>
                  <a:pt x="2887" y="1832"/>
                </a:cubicBezTo>
                <a:cubicBezTo>
                  <a:pt x="2887" y="1829"/>
                  <a:pt x="2891" y="1826"/>
                  <a:pt x="2893" y="1825"/>
                </a:cubicBezTo>
                <a:cubicBezTo>
                  <a:pt x="2894" y="1826"/>
                  <a:pt x="2894" y="1827"/>
                  <a:pt x="2894" y="1828"/>
                </a:cubicBezTo>
                <a:cubicBezTo>
                  <a:pt x="2894" y="1829"/>
                  <a:pt x="2894" y="1830"/>
                  <a:pt x="2895" y="1831"/>
                </a:cubicBezTo>
                <a:cubicBezTo>
                  <a:pt x="2894" y="1830"/>
                  <a:pt x="2893" y="1830"/>
                  <a:pt x="2893" y="1830"/>
                </a:cubicBezTo>
                <a:cubicBezTo>
                  <a:pt x="2893" y="1832"/>
                  <a:pt x="2892" y="1833"/>
                  <a:pt x="2891" y="1835"/>
                </a:cubicBezTo>
                <a:cubicBezTo>
                  <a:pt x="2893" y="1834"/>
                  <a:pt x="2893" y="1834"/>
                  <a:pt x="2894" y="1834"/>
                </a:cubicBezTo>
                <a:cubicBezTo>
                  <a:pt x="2895" y="1833"/>
                  <a:pt x="2896" y="1832"/>
                  <a:pt x="2896" y="1831"/>
                </a:cubicBezTo>
                <a:cubicBezTo>
                  <a:pt x="2901" y="1824"/>
                  <a:pt x="2907" y="1820"/>
                  <a:pt x="2915" y="1819"/>
                </a:cubicBezTo>
                <a:cubicBezTo>
                  <a:pt x="2918" y="1818"/>
                  <a:pt x="2921" y="1817"/>
                  <a:pt x="2923" y="1814"/>
                </a:cubicBezTo>
                <a:cubicBezTo>
                  <a:pt x="2923" y="1814"/>
                  <a:pt x="2924" y="1813"/>
                  <a:pt x="2924" y="1813"/>
                </a:cubicBezTo>
                <a:cubicBezTo>
                  <a:pt x="2927" y="1813"/>
                  <a:pt x="2929" y="1811"/>
                  <a:pt x="2931" y="1809"/>
                </a:cubicBezTo>
                <a:cubicBezTo>
                  <a:pt x="2938" y="1801"/>
                  <a:pt x="2950" y="1801"/>
                  <a:pt x="2958" y="1808"/>
                </a:cubicBezTo>
                <a:cubicBezTo>
                  <a:pt x="2960" y="1809"/>
                  <a:pt x="2963" y="1811"/>
                  <a:pt x="2965" y="1813"/>
                </a:cubicBezTo>
                <a:cubicBezTo>
                  <a:pt x="2967" y="1815"/>
                  <a:pt x="2968" y="1816"/>
                  <a:pt x="2969" y="1818"/>
                </a:cubicBezTo>
                <a:cubicBezTo>
                  <a:pt x="2970" y="1820"/>
                  <a:pt x="2971" y="1820"/>
                  <a:pt x="2972" y="1819"/>
                </a:cubicBezTo>
                <a:cubicBezTo>
                  <a:pt x="2973" y="1818"/>
                  <a:pt x="2973" y="1817"/>
                  <a:pt x="2974" y="1817"/>
                </a:cubicBezTo>
                <a:cubicBezTo>
                  <a:pt x="2976" y="1814"/>
                  <a:pt x="2979" y="1814"/>
                  <a:pt x="2980" y="1817"/>
                </a:cubicBezTo>
                <a:cubicBezTo>
                  <a:pt x="2982" y="1820"/>
                  <a:pt x="2982" y="1823"/>
                  <a:pt x="2983" y="1826"/>
                </a:cubicBezTo>
                <a:cubicBezTo>
                  <a:pt x="2984" y="1830"/>
                  <a:pt x="2983" y="1835"/>
                  <a:pt x="2982" y="1839"/>
                </a:cubicBezTo>
                <a:cubicBezTo>
                  <a:pt x="2979" y="1845"/>
                  <a:pt x="2975" y="1849"/>
                  <a:pt x="2968" y="1849"/>
                </a:cubicBezTo>
                <a:cubicBezTo>
                  <a:pt x="2967" y="1849"/>
                  <a:pt x="2967" y="1849"/>
                  <a:pt x="2966" y="1849"/>
                </a:cubicBezTo>
                <a:cubicBezTo>
                  <a:pt x="2964" y="1848"/>
                  <a:pt x="2962" y="1849"/>
                  <a:pt x="2962" y="1851"/>
                </a:cubicBezTo>
                <a:cubicBezTo>
                  <a:pt x="2960" y="1856"/>
                  <a:pt x="2955" y="1857"/>
                  <a:pt x="2951" y="1854"/>
                </a:cubicBezTo>
                <a:cubicBezTo>
                  <a:pt x="2950" y="1853"/>
                  <a:pt x="2949" y="1852"/>
                  <a:pt x="2948" y="1851"/>
                </a:cubicBezTo>
                <a:cubicBezTo>
                  <a:pt x="2947" y="1851"/>
                  <a:pt x="2947" y="1851"/>
                  <a:pt x="2947" y="1851"/>
                </a:cubicBezTo>
                <a:close/>
                <a:moveTo>
                  <a:pt x="2942" y="1847"/>
                </a:moveTo>
                <a:cubicBezTo>
                  <a:pt x="2945" y="1848"/>
                  <a:pt x="2949" y="1850"/>
                  <a:pt x="2951" y="1852"/>
                </a:cubicBezTo>
                <a:cubicBezTo>
                  <a:pt x="2953" y="1854"/>
                  <a:pt x="2955" y="1855"/>
                  <a:pt x="2957" y="1854"/>
                </a:cubicBezTo>
                <a:cubicBezTo>
                  <a:pt x="2960" y="1853"/>
                  <a:pt x="2961" y="1851"/>
                  <a:pt x="2961" y="1848"/>
                </a:cubicBezTo>
                <a:cubicBezTo>
                  <a:pt x="2961" y="1848"/>
                  <a:pt x="2960" y="1848"/>
                  <a:pt x="2960" y="1849"/>
                </a:cubicBezTo>
                <a:cubicBezTo>
                  <a:pt x="2960" y="1850"/>
                  <a:pt x="2958" y="1851"/>
                  <a:pt x="2958" y="1852"/>
                </a:cubicBezTo>
                <a:cubicBezTo>
                  <a:pt x="2956" y="1854"/>
                  <a:pt x="2955" y="1853"/>
                  <a:pt x="2955" y="1853"/>
                </a:cubicBezTo>
                <a:cubicBezTo>
                  <a:pt x="2954" y="1853"/>
                  <a:pt x="2953" y="1852"/>
                  <a:pt x="2953" y="1851"/>
                </a:cubicBezTo>
                <a:cubicBezTo>
                  <a:pt x="2953" y="1848"/>
                  <a:pt x="2954" y="1846"/>
                  <a:pt x="2954" y="1845"/>
                </a:cubicBezTo>
                <a:cubicBezTo>
                  <a:pt x="2957" y="1845"/>
                  <a:pt x="2960" y="1846"/>
                  <a:pt x="2964" y="1847"/>
                </a:cubicBezTo>
                <a:cubicBezTo>
                  <a:pt x="2971" y="1848"/>
                  <a:pt x="2977" y="1846"/>
                  <a:pt x="2980" y="1838"/>
                </a:cubicBezTo>
                <a:cubicBezTo>
                  <a:pt x="2982" y="1833"/>
                  <a:pt x="2982" y="1828"/>
                  <a:pt x="2981" y="1823"/>
                </a:cubicBezTo>
                <a:cubicBezTo>
                  <a:pt x="2980" y="1821"/>
                  <a:pt x="2980" y="1820"/>
                  <a:pt x="2979" y="1818"/>
                </a:cubicBezTo>
                <a:cubicBezTo>
                  <a:pt x="2978" y="1816"/>
                  <a:pt x="2977" y="1816"/>
                  <a:pt x="2976" y="1817"/>
                </a:cubicBezTo>
                <a:cubicBezTo>
                  <a:pt x="2974" y="1819"/>
                  <a:pt x="2973" y="1821"/>
                  <a:pt x="2971" y="1821"/>
                </a:cubicBezTo>
                <a:cubicBezTo>
                  <a:pt x="2970" y="1822"/>
                  <a:pt x="2969" y="1822"/>
                  <a:pt x="2969" y="1824"/>
                </a:cubicBezTo>
                <a:cubicBezTo>
                  <a:pt x="2970" y="1827"/>
                  <a:pt x="2969" y="1830"/>
                  <a:pt x="2968" y="1833"/>
                </a:cubicBezTo>
                <a:cubicBezTo>
                  <a:pt x="2968" y="1831"/>
                  <a:pt x="2969" y="1829"/>
                  <a:pt x="2969" y="1828"/>
                </a:cubicBezTo>
                <a:cubicBezTo>
                  <a:pt x="2969" y="1827"/>
                  <a:pt x="2968" y="1826"/>
                  <a:pt x="2968" y="1826"/>
                </a:cubicBezTo>
                <a:cubicBezTo>
                  <a:pt x="2967" y="1826"/>
                  <a:pt x="2967" y="1826"/>
                  <a:pt x="2967" y="1827"/>
                </a:cubicBezTo>
                <a:cubicBezTo>
                  <a:pt x="2966" y="1828"/>
                  <a:pt x="2965" y="1830"/>
                  <a:pt x="2964" y="1831"/>
                </a:cubicBezTo>
                <a:cubicBezTo>
                  <a:pt x="2964" y="1831"/>
                  <a:pt x="2964" y="1831"/>
                  <a:pt x="2964" y="1831"/>
                </a:cubicBezTo>
                <a:cubicBezTo>
                  <a:pt x="2964" y="1829"/>
                  <a:pt x="2965" y="1828"/>
                  <a:pt x="2965" y="1825"/>
                </a:cubicBezTo>
                <a:cubicBezTo>
                  <a:pt x="2964" y="1826"/>
                  <a:pt x="2964" y="1826"/>
                  <a:pt x="2963" y="1827"/>
                </a:cubicBezTo>
                <a:cubicBezTo>
                  <a:pt x="2962" y="1828"/>
                  <a:pt x="2962" y="1828"/>
                  <a:pt x="2962" y="1829"/>
                </a:cubicBezTo>
                <a:cubicBezTo>
                  <a:pt x="2962" y="1826"/>
                  <a:pt x="2962" y="1826"/>
                  <a:pt x="2968" y="1824"/>
                </a:cubicBezTo>
                <a:cubicBezTo>
                  <a:pt x="2968" y="1824"/>
                  <a:pt x="2967" y="1823"/>
                  <a:pt x="2967" y="1823"/>
                </a:cubicBezTo>
                <a:cubicBezTo>
                  <a:pt x="2964" y="1824"/>
                  <a:pt x="2964" y="1822"/>
                  <a:pt x="2963" y="1820"/>
                </a:cubicBezTo>
                <a:cubicBezTo>
                  <a:pt x="2965" y="1820"/>
                  <a:pt x="2966" y="1819"/>
                  <a:pt x="2968" y="1819"/>
                </a:cubicBezTo>
                <a:cubicBezTo>
                  <a:pt x="2966" y="1817"/>
                  <a:pt x="2965" y="1814"/>
                  <a:pt x="2962" y="1813"/>
                </a:cubicBezTo>
                <a:cubicBezTo>
                  <a:pt x="2961" y="1813"/>
                  <a:pt x="2961" y="1813"/>
                  <a:pt x="2961" y="1813"/>
                </a:cubicBezTo>
                <a:cubicBezTo>
                  <a:pt x="2958" y="1811"/>
                  <a:pt x="2956" y="1808"/>
                  <a:pt x="2953" y="1806"/>
                </a:cubicBezTo>
                <a:cubicBezTo>
                  <a:pt x="2951" y="1805"/>
                  <a:pt x="2948" y="1804"/>
                  <a:pt x="2946" y="1804"/>
                </a:cubicBezTo>
                <a:cubicBezTo>
                  <a:pt x="2943" y="1805"/>
                  <a:pt x="2940" y="1806"/>
                  <a:pt x="2936" y="1807"/>
                </a:cubicBezTo>
                <a:cubicBezTo>
                  <a:pt x="2934" y="1808"/>
                  <a:pt x="2931" y="1809"/>
                  <a:pt x="2929" y="1813"/>
                </a:cubicBezTo>
                <a:cubicBezTo>
                  <a:pt x="2931" y="1813"/>
                  <a:pt x="2932" y="1813"/>
                  <a:pt x="2933" y="1813"/>
                </a:cubicBezTo>
                <a:cubicBezTo>
                  <a:pt x="2933" y="1813"/>
                  <a:pt x="2932" y="1813"/>
                  <a:pt x="2931" y="1813"/>
                </a:cubicBezTo>
                <a:cubicBezTo>
                  <a:pt x="2929" y="1814"/>
                  <a:pt x="2926" y="1813"/>
                  <a:pt x="2924" y="1816"/>
                </a:cubicBezTo>
                <a:cubicBezTo>
                  <a:pt x="2921" y="1820"/>
                  <a:pt x="2917" y="1823"/>
                  <a:pt x="2913" y="1828"/>
                </a:cubicBezTo>
                <a:cubicBezTo>
                  <a:pt x="2912" y="1830"/>
                  <a:pt x="2911" y="1832"/>
                  <a:pt x="2910" y="1834"/>
                </a:cubicBezTo>
                <a:cubicBezTo>
                  <a:pt x="2910" y="1835"/>
                  <a:pt x="2910" y="1835"/>
                  <a:pt x="2910" y="1836"/>
                </a:cubicBezTo>
                <a:cubicBezTo>
                  <a:pt x="2911" y="1838"/>
                  <a:pt x="2913" y="1840"/>
                  <a:pt x="2914" y="1842"/>
                </a:cubicBezTo>
                <a:cubicBezTo>
                  <a:pt x="2915" y="1840"/>
                  <a:pt x="2916" y="1839"/>
                  <a:pt x="2918" y="1837"/>
                </a:cubicBezTo>
                <a:cubicBezTo>
                  <a:pt x="2917" y="1839"/>
                  <a:pt x="2917" y="1840"/>
                  <a:pt x="2916" y="1841"/>
                </a:cubicBezTo>
                <a:cubicBezTo>
                  <a:pt x="2915" y="1843"/>
                  <a:pt x="2915" y="1844"/>
                  <a:pt x="2914" y="1845"/>
                </a:cubicBezTo>
                <a:cubicBezTo>
                  <a:pt x="2914" y="1846"/>
                  <a:pt x="2914" y="1847"/>
                  <a:pt x="2915" y="1848"/>
                </a:cubicBezTo>
                <a:cubicBezTo>
                  <a:pt x="2917" y="1852"/>
                  <a:pt x="2920" y="1852"/>
                  <a:pt x="2924" y="1850"/>
                </a:cubicBezTo>
                <a:cubicBezTo>
                  <a:pt x="2926" y="1848"/>
                  <a:pt x="2929" y="1847"/>
                  <a:pt x="2932" y="1846"/>
                </a:cubicBezTo>
                <a:cubicBezTo>
                  <a:pt x="2933" y="1846"/>
                  <a:pt x="2935" y="1845"/>
                  <a:pt x="2935" y="1843"/>
                </a:cubicBezTo>
                <a:cubicBezTo>
                  <a:pt x="2935" y="1840"/>
                  <a:pt x="2935" y="1837"/>
                  <a:pt x="2935" y="1833"/>
                </a:cubicBezTo>
                <a:cubicBezTo>
                  <a:pt x="2935" y="1830"/>
                  <a:pt x="2935" y="1828"/>
                  <a:pt x="2935" y="1824"/>
                </a:cubicBezTo>
                <a:cubicBezTo>
                  <a:pt x="2935" y="1827"/>
                  <a:pt x="2936" y="1830"/>
                  <a:pt x="2936" y="1832"/>
                </a:cubicBezTo>
                <a:cubicBezTo>
                  <a:pt x="2937" y="1837"/>
                  <a:pt x="2937" y="1841"/>
                  <a:pt x="2936" y="1846"/>
                </a:cubicBezTo>
                <a:cubicBezTo>
                  <a:pt x="2935" y="1846"/>
                  <a:pt x="2935" y="1847"/>
                  <a:pt x="2934" y="1847"/>
                </a:cubicBezTo>
                <a:cubicBezTo>
                  <a:pt x="2931" y="1848"/>
                  <a:pt x="2927" y="1850"/>
                  <a:pt x="2924" y="1851"/>
                </a:cubicBezTo>
                <a:cubicBezTo>
                  <a:pt x="2919" y="1854"/>
                  <a:pt x="2916" y="1852"/>
                  <a:pt x="2912" y="1848"/>
                </a:cubicBezTo>
                <a:cubicBezTo>
                  <a:pt x="2912" y="1848"/>
                  <a:pt x="2912" y="1847"/>
                  <a:pt x="2912" y="1846"/>
                </a:cubicBezTo>
                <a:cubicBezTo>
                  <a:pt x="2913" y="1844"/>
                  <a:pt x="2912" y="1842"/>
                  <a:pt x="2911" y="1840"/>
                </a:cubicBezTo>
                <a:cubicBezTo>
                  <a:pt x="2909" y="1838"/>
                  <a:pt x="2907" y="1836"/>
                  <a:pt x="2909" y="1833"/>
                </a:cubicBezTo>
                <a:cubicBezTo>
                  <a:pt x="2909" y="1831"/>
                  <a:pt x="2910" y="1830"/>
                  <a:pt x="2911" y="1828"/>
                </a:cubicBezTo>
                <a:cubicBezTo>
                  <a:pt x="2913" y="1825"/>
                  <a:pt x="2915" y="1823"/>
                  <a:pt x="2917" y="1820"/>
                </a:cubicBezTo>
                <a:cubicBezTo>
                  <a:pt x="2917" y="1820"/>
                  <a:pt x="2916" y="1820"/>
                  <a:pt x="2916" y="1820"/>
                </a:cubicBezTo>
                <a:cubicBezTo>
                  <a:pt x="2911" y="1821"/>
                  <a:pt x="2907" y="1823"/>
                  <a:pt x="2903" y="1826"/>
                </a:cubicBezTo>
                <a:cubicBezTo>
                  <a:pt x="2898" y="1830"/>
                  <a:pt x="2895" y="1835"/>
                  <a:pt x="2895" y="1842"/>
                </a:cubicBezTo>
                <a:cubicBezTo>
                  <a:pt x="2895" y="1849"/>
                  <a:pt x="2897" y="1855"/>
                  <a:pt x="2900" y="1861"/>
                </a:cubicBezTo>
                <a:cubicBezTo>
                  <a:pt x="2901" y="1861"/>
                  <a:pt x="2902" y="1863"/>
                  <a:pt x="2901" y="1864"/>
                </a:cubicBezTo>
                <a:cubicBezTo>
                  <a:pt x="2901" y="1866"/>
                  <a:pt x="2901" y="1867"/>
                  <a:pt x="2900" y="1869"/>
                </a:cubicBezTo>
                <a:cubicBezTo>
                  <a:pt x="2900" y="1870"/>
                  <a:pt x="2900" y="1871"/>
                  <a:pt x="2901" y="1872"/>
                </a:cubicBezTo>
                <a:cubicBezTo>
                  <a:pt x="2904" y="1872"/>
                  <a:pt x="2907" y="1873"/>
                  <a:pt x="2910" y="1873"/>
                </a:cubicBezTo>
                <a:cubicBezTo>
                  <a:pt x="2911" y="1873"/>
                  <a:pt x="2911" y="1872"/>
                  <a:pt x="2911" y="1872"/>
                </a:cubicBezTo>
                <a:cubicBezTo>
                  <a:pt x="2912" y="1871"/>
                  <a:pt x="2912" y="1869"/>
                  <a:pt x="2913" y="1869"/>
                </a:cubicBezTo>
                <a:cubicBezTo>
                  <a:pt x="2915" y="1866"/>
                  <a:pt x="2915" y="1863"/>
                  <a:pt x="2915" y="1861"/>
                </a:cubicBezTo>
                <a:cubicBezTo>
                  <a:pt x="2915" y="1860"/>
                  <a:pt x="2915" y="1860"/>
                  <a:pt x="2915" y="1859"/>
                </a:cubicBezTo>
                <a:cubicBezTo>
                  <a:pt x="2915" y="1859"/>
                  <a:pt x="2915" y="1859"/>
                  <a:pt x="2915" y="1859"/>
                </a:cubicBezTo>
                <a:cubicBezTo>
                  <a:pt x="2915" y="1861"/>
                  <a:pt x="2916" y="1861"/>
                  <a:pt x="2918" y="1861"/>
                </a:cubicBezTo>
                <a:cubicBezTo>
                  <a:pt x="2919" y="1861"/>
                  <a:pt x="2920" y="1861"/>
                  <a:pt x="2921" y="1861"/>
                </a:cubicBezTo>
                <a:cubicBezTo>
                  <a:pt x="2924" y="1861"/>
                  <a:pt x="2927" y="1862"/>
                  <a:pt x="2927" y="1858"/>
                </a:cubicBezTo>
                <a:cubicBezTo>
                  <a:pt x="2927" y="1860"/>
                  <a:pt x="2927" y="1862"/>
                  <a:pt x="2927" y="1863"/>
                </a:cubicBezTo>
                <a:cubicBezTo>
                  <a:pt x="2926" y="1863"/>
                  <a:pt x="2925" y="1864"/>
                  <a:pt x="2924" y="1865"/>
                </a:cubicBezTo>
                <a:cubicBezTo>
                  <a:pt x="2922" y="1865"/>
                  <a:pt x="2922" y="1867"/>
                  <a:pt x="2922" y="1868"/>
                </a:cubicBezTo>
                <a:cubicBezTo>
                  <a:pt x="2924" y="1870"/>
                  <a:pt x="2925" y="1872"/>
                  <a:pt x="2926" y="1874"/>
                </a:cubicBezTo>
                <a:cubicBezTo>
                  <a:pt x="2928" y="1875"/>
                  <a:pt x="2930" y="1875"/>
                  <a:pt x="2931" y="1873"/>
                </a:cubicBezTo>
                <a:cubicBezTo>
                  <a:pt x="2932" y="1872"/>
                  <a:pt x="2933" y="1872"/>
                  <a:pt x="2933" y="1871"/>
                </a:cubicBezTo>
                <a:cubicBezTo>
                  <a:pt x="2935" y="1870"/>
                  <a:pt x="2936" y="1869"/>
                  <a:pt x="2938" y="1867"/>
                </a:cubicBezTo>
                <a:cubicBezTo>
                  <a:pt x="2942" y="1863"/>
                  <a:pt x="2944" y="1857"/>
                  <a:pt x="2946" y="1851"/>
                </a:cubicBezTo>
                <a:cubicBezTo>
                  <a:pt x="2946" y="1851"/>
                  <a:pt x="2945" y="1850"/>
                  <a:pt x="2945" y="1850"/>
                </a:cubicBezTo>
                <a:cubicBezTo>
                  <a:pt x="2944" y="1848"/>
                  <a:pt x="2943" y="1848"/>
                  <a:pt x="2942" y="1847"/>
                </a:cubicBezTo>
                <a:close/>
                <a:moveTo>
                  <a:pt x="2895" y="1853"/>
                </a:moveTo>
                <a:cubicBezTo>
                  <a:pt x="2894" y="1854"/>
                  <a:pt x="2892" y="1855"/>
                  <a:pt x="2891" y="1856"/>
                </a:cubicBezTo>
                <a:cubicBezTo>
                  <a:pt x="2891" y="1856"/>
                  <a:pt x="2890" y="1857"/>
                  <a:pt x="2890" y="1858"/>
                </a:cubicBezTo>
                <a:cubicBezTo>
                  <a:pt x="2890" y="1861"/>
                  <a:pt x="2895" y="1865"/>
                  <a:pt x="2898" y="1865"/>
                </a:cubicBezTo>
                <a:cubicBezTo>
                  <a:pt x="2899" y="1865"/>
                  <a:pt x="2900" y="1863"/>
                  <a:pt x="2899" y="1862"/>
                </a:cubicBezTo>
                <a:cubicBezTo>
                  <a:pt x="2898" y="1859"/>
                  <a:pt x="2896" y="1856"/>
                  <a:pt x="2895" y="1853"/>
                </a:cubicBezTo>
                <a:close/>
                <a:moveTo>
                  <a:pt x="2947" y="1855"/>
                </a:moveTo>
                <a:cubicBezTo>
                  <a:pt x="2945" y="1860"/>
                  <a:pt x="2942" y="1864"/>
                  <a:pt x="2940" y="1869"/>
                </a:cubicBezTo>
                <a:cubicBezTo>
                  <a:pt x="2943" y="1869"/>
                  <a:pt x="2945" y="1869"/>
                  <a:pt x="2948" y="1869"/>
                </a:cubicBezTo>
                <a:cubicBezTo>
                  <a:pt x="2948" y="1869"/>
                  <a:pt x="2949" y="1867"/>
                  <a:pt x="2949" y="1867"/>
                </a:cubicBezTo>
                <a:cubicBezTo>
                  <a:pt x="2949" y="1864"/>
                  <a:pt x="2949" y="1862"/>
                  <a:pt x="2948" y="1859"/>
                </a:cubicBezTo>
                <a:cubicBezTo>
                  <a:pt x="2948" y="1858"/>
                  <a:pt x="2947" y="1857"/>
                  <a:pt x="2947" y="1855"/>
                </a:cubicBezTo>
                <a:close/>
                <a:moveTo>
                  <a:pt x="2895" y="1835"/>
                </a:moveTo>
                <a:cubicBezTo>
                  <a:pt x="2894" y="1835"/>
                  <a:pt x="2893" y="1836"/>
                  <a:pt x="2893" y="1836"/>
                </a:cubicBezTo>
                <a:cubicBezTo>
                  <a:pt x="2892" y="1836"/>
                  <a:pt x="2891" y="1836"/>
                  <a:pt x="2891" y="1835"/>
                </a:cubicBezTo>
                <a:cubicBezTo>
                  <a:pt x="2891" y="1835"/>
                  <a:pt x="2890" y="1834"/>
                  <a:pt x="2890" y="1833"/>
                </a:cubicBezTo>
                <a:cubicBezTo>
                  <a:pt x="2891" y="1832"/>
                  <a:pt x="2891" y="1830"/>
                  <a:pt x="2892" y="1828"/>
                </a:cubicBezTo>
                <a:cubicBezTo>
                  <a:pt x="2892" y="1828"/>
                  <a:pt x="2892" y="1828"/>
                  <a:pt x="2891" y="1828"/>
                </a:cubicBezTo>
                <a:cubicBezTo>
                  <a:pt x="2891" y="1828"/>
                  <a:pt x="2889" y="1829"/>
                  <a:pt x="2889" y="1830"/>
                </a:cubicBezTo>
                <a:cubicBezTo>
                  <a:pt x="2888" y="1832"/>
                  <a:pt x="2889" y="1837"/>
                  <a:pt x="2891" y="1837"/>
                </a:cubicBezTo>
                <a:cubicBezTo>
                  <a:pt x="2893" y="1838"/>
                  <a:pt x="2895" y="1837"/>
                  <a:pt x="2895" y="1835"/>
                </a:cubicBezTo>
                <a:close/>
                <a:moveTo>
                  <a:pt x="2894" y="1853"/>
                </a:moveTo>
                <a:cubicBezTo>
                  <a:pt x="2893" y="1854"/>
                  <a:pt x="2892" y="1855"/>
                  <a:pt x="2891" y="1856"/>
                </a:cubicBezTo>
                <a:cubicBezTo>
                  <a:pt x="2890" y="1856"/>
                  <a:pt x="2890" y="1857"/>
                  <a:pt x="2890" y="1858"/>
                </a:cubicBezTo>
                <a:cubicBezTo>
                  <a:pt x="2890" y="1861"/>
                  <a:pt x="2894" y="1865"/>
                  <a:pt x="2897" y="1865"/>
                </a:cubicBezTo>
                <a:cubicBezTo>
                  <a:pt x="2899" y="1865"/>
                  <a:pt x="2900" y="1864"/>
                  <a:pt x="2899" y="1862"/>
                </a:cubicBezTo>
                <a:cubicBezTo>
                  <a:pt x="2897" y="1859"/>
                  <a:pt x="2896" y="1856"/>
                  <a:pt x="2894" y="1853"/>
                </a:cubicBezTo>
                <a:close/>
                <a:moveTo>
                  <a:pt x="2947" y="1855"/>
                </a:moveTo>
                <a:cubicBezTo>
                  <a:pt x="2945" y="1860"/>
                  <a:pt x="2942" y="1864"/>
                  <a:pt x="2940" y="1869"/>
                </a:cubicBezTo>
                <a:cubicBezTo>
                  <a:pt x="2943" y="1869"/>
                  <a:pt x="2945" y="1869"/>
                  <a:pt x="2948" y="1869"/>
                </a:cubicBezTo>
                <a:cubicBezTo>
                  <a:pt x="2948" y="1869"/>
                  <a:pt x="2948" y="1867"/>
                  <a:pt x="2948" y="1867"/>
                </a:cubicBezTo>
                <a:cubicBezTo>
                  <a:pt x="2948" y="1864"/>
                  <a:pt x="2948" y="1862"/>
                  <a:pt x="2948" y="1859"/>
                </a:cubicBezTo>
                <a:cubicBezTo>
                  <a:pt x="2948" y="1858"/>
                  <a:pt x="2947" y="1857"/>
                  <a:pt x="2947" y="1855"/>
                </a:cubicBezTo>
                <a:close/>
                <a:moveTo>
                  <a:pt x="2894" y="1835"/>
                </a:moveTo>
                <a:cubicBezTo>
                  <a:pt x="2893" y="1835"/>
                  <a:pt x="2893" y="1836"/>
                  <a:pt x="2892" y="1836"/>
                </a:cubicBezTo>
                <a:cubicBezTo>
                  <a:pt x="2891" y="1836"/>
                  <a:pt x="2891" y="1836"/>
                  <a:pt x="2891" y="1835"/>
                </a:cubicBezTo>
                <a:cubicBezTo>
                  <a:pt x="2890" y="1835"/>
                  <a:pt x="2890" y="1834"/>
                  <a:pt x="2890" y="1833"/>
                </a:cubicBezTo>
                <a:cubicBezTo>
                  <a:pt x="2891" y="1831"/>
                  <a:pt x="2891" y="1829"/>
                  <a:pt x="2892" y="1827"/>
                </a:cubicBezTo>
                <a:cubicBezTo>
                  <a:pt x="2891" y="1827"/>
                  <a:pt x="2891" y="1827"/>
                  <a:pt x="2891" y="1827"/>
                </a:cubicBezTo>
                <a:cubicBezTo>
                  <a:pt x="2890" y="1828"/>
                  <a:pt x="2889" y="1829"/>
                  <a:pt x="2888" y="1830"/>
                </a:cubicBezTo>
                <a:cubicBezTo>
                  <a:pt x="2888" y="1831"/>
                  <a:pt x="2889" y="1837"/>
                  <a:pt x="2891" y="1837"/>
                </a:cubicBezTo>
                <a:cubicBezTo>
                  <a:pt x="2892" y="1838"/>
                  <a:pt x="2894" y="1837"/>
                  <a:pt x="2894" y="1835"/>
                </a:cubicBezTo>
                <a:close/>
                <a:moveTo>
                  <a:pt x="2947" y="1827"/>
                </a:moveTo>
                <a:cubicBezTo>
                  <a:pt x="2950" y="1823"/>
                  <a:pt x="2950" y="1823"/>
                  <a:pt x="2953" y="1822"/>
                </a:cubicBezTo>
                <a:cubicBezTo>
                  <a:pt x="2953" y="1824"/>
                  <a:pt x="2955" y="1825"/>
                  <a:pt x="2956" y="1825"/>
                </a:cubicBezTo>
                <a:cubicBezTo>
                  <a:pt x="2954" y="1826"/>
                  <a:pt x="2952" y="1828"/>
                  <a:pt x="2950" y="1829"/>
                </a:cubicBezTo>
                <a:cubicBezTo>
                  <a:pt x="2949" y="1828"/>
                  <a:pt x="2949" y="1828"/>
                  <a:pt x="2948" y="1826"/>
                </a:cubicBezTo>
                <a:cubicBezTo>
                  <a:pt x="2948" y="1826"/>
                  <a:pt x="2947" y="1826"/>
                  <a:pt x="2947" y="1827"/>
                </a:cubicBezTo>
                <a:close/>
                <a:moveTo>
                  <a:pt x="2952" y="1826"/>
                </a:moveTo>
                <a:cubicBezTo>
                  <a:pt x="2952" y="1826"/>
                  <a:pt x="2951" y="1826"/>
                  <a:pt x="2950" y="1826"/>
                </a:cubicBezTo>
                <a:cubicBezTo>
                  <a:pt x="2950" y="1826"/>
                  <a:pt x="2949" y="1826"/>
                  <a:pt x="2949" y="1827"/>
                </a:cubicBezTo>
                <a:cubicBezTo>
                  <a:pt x="2949" y="1827"/>
                  <a:pt x="2950" y="1828"/>
                  <a:pt x="2950" y="1828"/>
                </a:cubicBezTo>
                <a:cubicBezTo>
                  <a:pt x="2951" y="1828"/>
                  <a:pt x="2951" y="1827"/>
                  <a:pt x="2952" y="1826"/>
                </a:cubicBezTo>
                <a:close/>
                <a:moveTo>
                  <a:pt x="2934" y="1817"/>
                </a:moveTo>
                <a:cubicBezTo>
                  <a:pt x="2927" y="1816"/>
                  <a:pt x="2924" y="1819"/>
                  <a:pt x="2923" y="1826"/>
                </a:cubicBezTo>
                <a:cubicBezTo>
                  <a:pt x="2924" y="1824"/>
                  <a:pt x="2925" y="1822"/>
                  <a:pt x="2927" y="1820"/>
                </a:cubicBezTo>
                <a:cubicBezTo>
                  <a:pt x="2927" y="1820"/>
                  <a:pt x="2927" y="1820"/>
                  <a:pt x="2927" y="1820"/>
                </a:cubicBezTo>
                <a:cubicBezTo>
                  <a:pt x="2927" y="1821"/>
                  <a:pt x="2927" y="1822"/>
                  <a:pt x="2927" y="1822"/>
                </a:cubicBezTo>
                <a:cubicBezTo>
                  <a:pt x="2929" y="1819"/>
                  <a:pt x="2930" y="1817"/>
                  <a:pt x="2934" y="1817"/>
                </a:cubicBezTo>
                <a:close/>
                <a:moveTo>
                  <a:pt x="2977" y="1818"/>
                </a:moveTo>
                <a:cubicBezTo>
                  <a:pt x="2975" y="1819"/>
                  <a:pt x="2973" y="1821"/>
                  <a:pt x="2972" y="1822"/>
                </a:cubicBezTo>
                <a:cubicBezTo>
                  <a:pt x="2974" y="1823"/>
                  <a:pt x="2976" y="1821"/>
                  <a:pt x="2977" y="1818"/>
                </a:cubicBezTo>
                <a:close/>
                <a:moveTo>
                  <a:pt x="2944" y="1821"/>
                </a:moveTo>
                <a:cubicBezTo>
                  <a:pt x="2945" y="1819"/>
                  <a:pt x="2946" y="1818"/>
                  <a:pt x="2948" y="1817"/>
                </a:cubicBezTo>
                <a:cubicBezTo>
                  <a:pt x="2944" y="1818"/>
                  <a:pt x="2943" y="1819"/>
                  <a:pt x="2944" y="1821"/>
                </a:cubicBezTo>
                <a:close/>
                <a:moveTo>
                  <a:pt x="2954" y="1842"/>
                </a:moveTo>
                <a:cubicBezTo>
                  <a:pt x="2952" y="1842"/>
                  <a:pt x="2951" y="1843"/>
                  <a:pt x="2951" y="1844"/>
                </a:cubicBezTo>
                <a:cubicBezTo>
                  <a:pt x="2952" y="1843"/>
                  <a:pt x="2953" y="1842"/>
                  <a:pt x="2954" y="1842"/>
                </a:cubicBezTo>
                <a:close/>
                <a:moveTo>
                  <a:pt x="2952" y="1826"/>
                </a:moveTo>
                <a:cubicBezTo>
                  <a:pt x="2952" y="1826"/>
                  <a:pt x="2951" y="1825"/>
                  <a:pt x="2951" y="1825"/>
                </a:cubicBezTo>
                <a:cubicBezTo>
                  <a:pt x="2950" y="1825"/>
                  <a:pt x="2949" y="1826"/>
                  <a:pt x="2949" y="1827"/>
                </a:cubicBezTo>
                <a:cubicBezTo>
                  <a:pt x="2949" y="1827"/>
                  <a:pt x="2950" y="1828"/>
                  <a:pt x="2950" y="1828"/>
                </a:cubicBezTo>
                <a:cubicBezTo>
                  <a:pt x="2951" y="1828"/>
                  <a:pt x="2951" y="1827"/>
                  <a:pt x="2952" y="1826"/>
                </a:cubicBezTo>
                <a:close/>
                <a:moveTo>
                  <a:pt x="3477" y="1947"/>
                </a:moveTo>
                <a:cubicBezTo>
                  <a:pt x="3477" y="1949"/>
                  <a:pt x="3478" y="1950"/>
                  <a:pt x="3479" y="1951"/>
                </a:cubicBezTo>
                <a:cubicBezTo>
                  <a:pt x="3479" y="1953"/>
                  <a:pt x="3479" y="1955"/>
                  <a:pt x="3480" y="1957"/>
                </a:cubicBezTo>
                <a:cubicBezTo>
                  <a:pt x="3480" y="1958"/>
                  <a:pt x="3480" y="1960"/>
                  <a:pt x="3480" y="1961"/>
                </a:cubicBezTo>
                <a:cubicBezTo>
                  <a:pt x="3481" y="1964"/>
                  <a:pt x="3480" y="1966"/>
                  <a:pt x="3477" y="1966"/>
                </a:cubicBezTo>
                <a:cubicBezTo>
                  <a:pt x="3474" y="1966"/>
                  <a:pt x="3471" y="1966"/>
                  <a:pt x="3468" y="1966"/>
                </a:cubicBezTo>
                <a:cubicBezTo>
                  <a:pt x="3468" y="1966"/>
                  <a:pt x="3467" y="1966"/>
                  <a:pt x="3467" y="1966"/>
                </a:cubicBezTo>
                <a:cubicBezTo>
                  <a:pt x="3465" y="1968"/>
                  <a:pt x="3464" y="1969"/>
                  <a:pt x="3462" y="1970"/>
                </a:cubicBezTo>
                <a:cubicBezTo>
                  <a:pt x="3461" y="1973"/>
                  <a:pt x="3457" y="1973"/>
                  <a:pt x="3455" y="1971"/>
                </a:cubicBezTo>
                <a:cubicBezTo>
                  <a:pt x="3453" y="1969"/>
                  <a:pt x="3452" y="1966"/>
                  <a:pt x="3450" y="1964"/>
                </a:cubicBezTo>
                <a:cubicBezTo>
                  <a:pt x="3450" y="1962"/>
                  <a:pt x="3450" y="1960"/>
                  <a:pt x="3452" y="1959"/>
                </a:cubicBezTo>
                <a:cubicBezTo>
                  <a:pt x="3450" y="1959"/>
                  <a:pt x="3448" y="1959"/>
                  <a:pt x="3446" y="1959"/>
                </a:cubicBezTo>
                <a:cubicBezTo>
                  <a:pt x="3446" y="1961"/>
                  <a:pt x="3444" y="1963"/>
                  <a:pt x="3444" y="1965"/>
                </a:cubicBezTo>
                <a:cubicBezTo>
                  <a:pt x="3444" y="1966"/>
                  <a:pt x="3443" y="1966"/>
                  <a:pt x="3443" y="1967"/>
                </a:cubicBezTo>
                <a:cubicBezTo>
                  <a:pt x="3443" y="1970"/>
                  <a:pt x="3442" y="1972"/>
                  <a:pt x="3439" y="1971"/>
                </a:cubicBezTo>
                <a:cubicBezTo>
                  <a:pt x="3436" y="1971"/>
                  <a:pt x="3433" y="1970"/>
                  <a:pt x="3430" y="1969"/>
                </a:cubicBezTo>
                <a:cubicBezTo>
                  <a:pt x="3428" y="1968"/>
                  <a:pt x="3428" y="1967"/>
                  <a:pt x="3428" y="1965"/>
                </a:cubicBezTo>
                <a:cubicBezTo>
                  <a:pt x="3428" y="1964"/>
                  <a:pt x="3428" y="1963"/>
                  <a:pt x="3429" y="1963"/>
                </a:cubicBezTo>
                <a:cubicBezTo>
                  <a:pt x="3426" y="1962"/>
                  <a:pt x="3424" y="1961"/>
                  <a:pt x="3422" y="1960"/>
                </a:cubicBezTo>
                <a:cubicBezTo>
                  <a:pt x="3421" y="1959"/>
                  <a:pt x="3420" y="1957"/>
                  <a:pt x="3419" y="1955"/>
                </a:cubicBezTo>
                <a:cubicBezTo>
                  <a:pt x="3418" y="1953"/>
                  <a:pt x="3418" y="1952"/>
                  <a:pt x="3420" y="1950"/>
                </a:cubicBezTo>
                <a:cubicBezTo>
                  <a:pt x="3423" y="1948"/>
                  <a:pt x="3424" y="1945"/>
                  <a:pt x="3423" y="1941"/>
                </a:cubicBezTo>
                <a:cubicBezTo>
                  <a:pt x="3423" y="1939"/>
                  <a:pt x="3423" y="1937"/>
                  <a:pt x="3423" y="1935"/>
                </a:cubicBezTo>
                <a:cubicBezTo>
                  <a:pt x="3422" y="1934"/>
                  <a:pt x="3420" y="1934"/>
                  <a:pt x="3419" y="1933"/>
                </a:cubicBezTo>
                <a:cubicBezTo>
                  <a:pt x="3418" y="1931"/>
                  <a:pt x="3417" y="1929"/>
                  <a:pt x="3417" y="1927"/>
                </a:cubicBezTo>
                <a:cubicBezTo>
                  <a:pt x="3417" y="1924"/>
                  <a:pt x="3421" y="1922"/>
                  <a:pt x="3423" y="1921"/>
                </a:cubicBezTo>
                <a:cubicBezTo>
                  <a:pt x="3424" y="1922"/>
                  <a:pt x="3424" y="1922"/>
                  <a:pt x="3424" y="1923"/>
                </a:cubicBezTo>
                <a:cubicBezTo>
                  <a:pt x="3424" y="1924"/>
                  <a:pt x="3424" y="1925"/>
                  <a:pt x="3424" y="1926"/>
                </a:cubicBezTo>
                <a:cubicBezTo>
                  <a:pt x="3424" y="1926"/>
                  <a:pt x="3423" y="1926"/>
                  <a:pt x="3423" y="1926"/>
                </a:cubicBezTo>
                <a:cubicBezTo>
                  <a:pt x="3422" y="1927"/>
                  <a:pt x="3422" y="1928"/>
                  <a:pt x="3421" y="1930"/>
                </a:cubicBezTo>
                <a:cubicBezTo>
                  <a:pt x="3422" y="1930"/>
                  <a:pt x="3423" y="1930"/>
                  <a:pt x="3424" y="1930"/>
                </a:cubicBezTo>
                <a:cubicBezTo>
                  <a:pt x="3425" y="1928"/>
                  <a:pt x="3426" y="1928"/>
                  <a:pt x="3426" y="1926"/>
                </a:cubicBezTo>
                <a:cubicBezTo>
                  <a:pt x="3431" y="1920"/>
                  <a:pt x="3437" y="1916"/>
                  <a:pt x="3444" y="1914"/>
                </a:cubicBezTo>
                <a:cubicBezTo>
                  <a:pt x="3448" y="1914"/>
                  <a:pt x="3451" y="1913"/>
                  <a:pt x="3453" y="1910"/>
                </a:cubicBezTo>
                <a:cubicBezTo>
                  <a:pt x="3453" y="1909"/>
                  <a:pt x="3454" y="1909"/>
                  <a:pt x="3454" y="1909"/>
                </a:cubicBezTo>
                <a:cubicBezTo>
                  <a:pt x="3457" y="1909"/>
                  <a:pt x="3459" y="1906"/>
                  <a:pt x="3461" y="1904"/>
                </a:cubicBezTo>
                <a:cubicBezTo>
                  <a:pt x="3468" y="1897"/>
                  <a:pt x="3480" y="1896"/>
                  <a:pt x="3488" y="1903"/>
                </a:cubicBezTo>
                <a:cubicBezTo>
                  <a:pt x="3490" y="1905"/>
                  <a:pt x="3493" y="1907"/>
                  <a:pt x="3495" y="1909"/>
                </a:cubicBezTo>
                <a:cubicBezTo>
                  <a:pt x="3497" y="1910"/>
                  <a:pt x="3498" y="1912"/>
                  <a:pt x="3499" y="1914"/>
                </a:cubicBezTo>
                <a:cubicBezTo>
                  <a:pt x="3500" y="1915"/>
                  <a:pt x="3501" y="1915"/>
                  <a:pt x="3502" y="1914"/>
                </a:cubicBezTo>
                <a:cubicBezTo>
                  <a:pt x="3502" y="1914"/>
                  <a:pt x="3503" y="1913"/>
                  <a:pt x="3504" y="1912"/>
                </a:cubicBezTo>
                <a:cubicBezTo>
                  <a:pt x="3506" y="1909"/>
                  <a:pt x="3509" y="1909"/>
                  <a:pt x="3510" y="1913"/>
                </a:cubicBezTo>
                <a:cubicBezTo>
                  <a:pt x="3511" y="1916"/>
                  <a:pt x="3512" y="1919"/>
                  <a:pt x="3513" y="1922"/>
                </a:cubicBezTo>
                <a:cubicBezTo>
                  <a:pt x="3513" y="1926"/>
                  <a:pt x="3513" y="1930"/>
                  <a:pt x="3511" y="1935"/>
                </a:cubicBezTo>
                <a:cubicBezTo>
                  <a:pt x="3509" y="1941"/>
                  <a:pt x="3504" y="1945"/>
                  <a:pt x="3498" y="1945"/>
                </a:cubicBezTo>
                <a:cubicBezTo>
                  <a:pt x="3497" y="1945"/>
                  <a:pt x="3497" y="1945"/>
                  <a:pt x="3496" y="1945"/>
                </a:cubicBezTo>
                <a:cubicBezTo>
                  <a:pt x="3493" y="1944"/>
                  <a:pt x="3492" y="1945"/>
                  <a:pt x="3491" y="1947"/>
                </a:cubicBezTo>
                <a:cubicBezTo>
                  <a:pt x="3490" y="1951"/>
                  <a:pt x="3484" y="1953"/>
                  <a:pt x="3481" y="1950"/>
                </a:cubicBezTo>
                <a:cubicBezTo>
                  <a:pt x="3480" y="1949"/>
                  <a:pt x="3479" y="1948"/>
                  <a:pt x="3478" y="1947"/>
                </a:cubicBezTo>
                <a:cubicBezTo>
                  <a:pt x="3477" y="1947"/>
                  <a:pt x="3477" y="1947"/>
                  <a:pt x="3477" y="1947"/>
                </a:cubicBezTo>
                <a:close/>
                <a:moveTo>
                  <a:pt x="3471" y="1943"/>
                </a:moveTo>
                <a:cubicBezTo>
                  <a:pt x="3475" y="1944"/>
                  <a:pt x="3479" y="1945"/>
                  <a:pt x="3481" y="1948"/>
                </a:cubicBezTo>
                <a:cubicBezTo>
                  <a:pt x="3483" y="1950"/>
                  <a:pt x="3485" y="1951"/>
                  <a:pt x="3487" y="1950"/>
                </a:cubicBezTo>
                <a:cubicBezTo>
                  <a:pt x="3490" y="1949"/>
                  <a:pt x="3491" y="1947"/>
                  <a:pt x="3491" y="1944"/>
                </a:cubicBezTo>
                <a:cubicBezTo>
                  <a:pt x="3491" y="1944"/>
                  <a:pt x="3490" y="1944"/>
                  <a:pt x="3490" y="1945"/>
                </a:cubicBezTo>
                <a:cubicBezTo>
                  <a:pt x="3490" y="1946"/>
                  <a:pt x="3488" y="1947"/>
                  <a:pt x="3488" y="1948"/>
                </a:cubicBezTo>
                <a:cubicBezTo>
                  <a:pt x="3486" y="1949"/>
                  <a:pt x="3485" y="1949"/>
                  <a:pt x="3484" y="1949"/>
                </a:cubicBezTo>
                <a:cubicBezTo>
                  <a:pt x="3484" y="1949"/>
                  <a:pt x="3483" y="1947"/>
                  <a:pt x="3483" y="1947"/>
                </a:cubicBezTo>
                <a:cubicBezTo>
                  <a:pt x="3483" y="1944"/>
                  <a:pt x="3484" y="1942"/>
                  <a:pt x="3484" y="1940"/>
                </a:cubicBezTo>
                <a:cubicBezTo>
                  <a:pt x="3487" y="1941"/>
                  <a:pt x="3490" y="1942"/>
                  <a:pt x="3494" y="1943"/>
                </a:cubicBezTo>
                <a:cubicBezTo>
                  <a:pt x="3501" y="1944"/>
                  <a:pt x="3507" y="1942"/>
                  <a:pt x="3510" y="1934"/>
                </a:cubicBezTo>
                <a:cubicBezTo>
                  <a:pt x="3512" y="1929"/>
                  <a:pt x="3511" y="1924"/>
                  <a:pt x="3511" y="1919"/>
                </a:cubicBezTo>
                <a:cubicBezTo>
                  <a:pt x="3510" y="1917"/>
                  <a:pt x="3510" y="1915"/>
                  <a:pt x="3509" y="1913"/>
                </a:cubicBezTo>
                <a:cubicBezTo>
                  <a:pt x="3508" y="1912"/>
                  <a:pt x="3507" y="1911"/>
                  <a:pt x="3506" y="1913"/>
                </a:cubicBezTo>
                <a:cubicBezTo>
                  <a:pt x="3504" y="1915"/>
                  <a:pt x="3502" y="1916"/>
                  <a:pt x="3501" y="1917"/>
                </a:cubicBezTo>
                <a:cubicBezTo>
                  <a:pt x="3500" y="1917"/>
                  <a:pt x="3499" y="1918"/>
                  <a:pt x="3499" y="1919"/>
                </a:cubicBezTo>
                <a:cubicBezTo>
                  <a:pt x="3500" y="1922"/>
                  <a:pt x="3499" y="1926"/>
                  <a:pt x="3498" y="1929"/>
                </a:cubicBezTo>
                <a:cubicBezTo>
                  <a:pt x="3498" y="1927"/>
                  <a:pt x="3499" y="1925"/>
                  <a:pt x="3499" y="1923"/>
                </a:cubicBezTo>
                <a:cubicBezTo>
                  <a:pt x="3499" y="1922"/>
                  <a:pt x="3498" y="1922"/>
                  <a:pt x="3498" y="1922"/>
                </a:cubicBezTo>
                <a:cubicBezTo>
                  <a:pt x="3497" y="1922"/>
                  <a:pt x="3497" y="1922"/>
                  <a:pt x="3497" y="1922"/>
                </a:cubicBezTo>
                <a:cubicBezTo>
                  <a:pt x="3496" y="1924"/>
                  <a:pt x="3495" y="1925"/>
                  <a:pt x="3494" y="1926"/>
                </a:cubicBezTo>
                <a:cubicBezTo>
                  <a:pt x="3494" y="1926"/>
                  <a:pt x="3494" y="1926"/>
                  <a:pt x="3494" y="1926"/>
                </a:cubicBezTo>
                <a:cubicBezTo>
                  <a:pt x="3494" y="1925"/>
                  <a:pt x="3495" y="1923"/>
                  <a:pt x="3495" y="1921"/>
                </a:cubicBezTo>
                <a:cubicBezTo>
                  <a:pt x="3494" y="1922"/>
                  <a:pt x="3493" y="1922"/>
                  <a:pt x="3493" y="1923"/>
                </a:cubicBezTo>
                <a:cubicBezTo>
                  <a:pt x="3492" y="1923"/>
                  <a:pt x="3492" y="1924"/>
                  <a:pt x="3491" y="1925"/>
                </a:cubicBezTo>
                <a:cubicBezTo>
                  <a:pt x="3492" y="1921"/>
                  <a:pt x="3492" y="1921"/>
                  <a:pt x="3498" y="1920"/>
                </a:cubicBezTo>
                <a:cubicBezTo>
                  <a:pt x="3498" y="1920"/>
                  <a:pt x="3497" y="1919"/>
                  <a:pt x="3497" y="1919"/>
                </a:cubicBezTo>
                <a:cubicBezTo>
                  <a:pt x="3494" y="1920"/>
                  <a:pt x="3493" y="1918"/>
                  <a:pt x="3493" y="1916"/>
                </a:cubicBezTo>
                <a:cubicBezTo>
                  <a:pt x="3495" y="1915"/>
                  <a:pt x="3496" y="1915"/>
                  <a:pt x="3498" y="1915"/>
                </a:cubicBezTo>
                <a:cubicBezTo>
                  <a:pt x="3496" y="1912"/>
                  <a:pt x="3495" y="1909"/>
                  <a:pt x="3491" y="1909"/>
                </a:cubicBezTo>
                <a:cubicBezTo>
                  <a:pt x="3491" y="1909"/>
                  <a:pt x="3491" y="1909"/>
                  <a:pt x="3491" y="1908"/>
                </a:cubicBezTo>
                <a:cubicBezTo>
                  <a:pt x="3488" y="1906"/>
                  <a:pt x="3486" y="1904"/>
                  <a:pt x="3483" y="1902"/>
                </a:cubicBezTo>
                <a:cubicBezTo>
                  <a:pt x="3481" y="1901"/>
                  <a:pt x="3478" y="1900"/>
                  <a:pt x="3476" y="1900"/>
                </a:cubicBezTo>
                <a:cubicBezTo>
                  <a:pt x="3473" y="1900"/>
                  <a:pt x="3470" y="1902"/>
                  <a:pt x="3466" y="1902"/>
                </a:cubicBezTo>
                <a:cubicBezTo>
                  <a:pt x="3464" y="1903"/>
                  <a:pt x="3461" y="1905"/>
                  <a:pt x="3459" y="1908"/>
                </a:cubicBezTo>
                <a:cubicBezTo>
                  <a:pt x="3461" y="1908"/>
                  <a:pt x="3462" y="1908"/>
                  <a:pt x="3463" y="1908"/>
                </a:cubicBezTo>
                <a:cubicBezTo>
                  <a:pt x="3463" y="1909"/>
                  <a:pt x="3462" y="1909"/>
                  <a:pt x="3461" y="1909"/>
                </a:cubicBezTo>
                <a:cubicBezTo>
                  <a:pt x="3459" y="1910"/>
                  <a:pt x="3456" y="1909"/>
                  <a:pt x="3454" y="1911"/>
                </a:cubicBezTo>
                <a:cubicBezTo>
                  <a:pt x="3451" y="1915"/>
                  <a:pt x="3447" y="1919"/>
                  <a:pt x="3443" y="1923"/>
                </a:cubicBezTo>
                <a:cubicBezTo>
                  <a:pt x="3442" y="1925"/>
                  <a:pt x="3441" y="1928"/>
                  <a:pt x="3440" y="1930"/>
                </a:cubicBezTo>
                <a:cubicBezTo>
                  <a:pt x="3440" y="1930"/>
                  <a:pt x="3440" y="1931"/>
                  <a:pt x="3440" y="1932"/>
                </a:cubicBezTo>
                <a:cubicBezTo>
                  <a:pt x="3441" y="1934"/>
                  <a:pt x="3442" y="1936"/>
                  <a:pt x="3444" y="1938"/>
                </a:cubicBezTo>
                <a:cubicBezTo>
                  <a:pt x="3445" y="1936"/>
                  <a:pt x="3446" y="1934"/>
                  <a:pt x="3448" y="1933"/>
                </a:cubicBezTo>
                <a:cubicBezTo>
                  <a:pt x="3447" y="1934"/>
                  <a:pt x="3447" y="1936"/>
                  <a:pt x="3446" y="1937"/>
                </a:cubicBezTo>
                <a:cubicBezTo>
                  <a:pt x="3445" y="1938"/>
                  <a:pt x="3444" y="1940"/>
                  <a:pt x="3444" y="1941"/>
                </a:cubicBezTo>
                <a:cubicBezTo>
                  <a:pt x="3444" y="1942"/>
                  <a:pt x="3444" y="1943"/>
                  <a:pt x="3444" y="1944"/>
                </a:cubicBezTo>
                <a:cubicBezTo>
                  <a:pt x="3447" y="1947"/>
                  <a:pt x="3450" y="1947"/>
                  <a:pt x="3454" y="1945"/>
                </a:cubicBezTo>
                <a:cubicBezTo>
                  <a:pt x="3456" y="1944"/>
                  <a:pt x="3459" y="1943"/>
                  <a:pt x="3462" y="1942"/>
                </a:cubicBezTo>
                <a:cubicBezTo>
                  <a:pt x="3463" y="1941"/>
                  <a:pt x="3464" y="1941"/>
                  <a:pt x="3464" y="1939"/>
                </a:cubicBezTo>
                <a:cubicBezTo>
                  <a:pt x="3464" y="1936"/>
                  <a:pt x="3464" y="1932"/>
                  <a:pt x="3464" y="1929"/>
                </a:cubicBezTo>
                <a:cubicBezTo>
                  <a:pt x="3464" y="1926"/>
                  <a:pt x="3464" y="1923"/>
                  <a:pt x="3464" y="1920"/>
                </a:cubicBezTo>
                <a:cubicBezTo>
                  <a:pt x="3465" y="1923"/>
                  <a:pt x="3466" y="1926"/>
                  <a:pt x="3466" y="1928"/>
                </a:cubicBezTo>
                <a:cubicBezTo>
                  <a:pt x="3467" y="1933"/>
                  <a:pt x="3467" y="1937"/>
                  <a:pt x="3466" y="1941"/>
                </a:cubicBezTo>
                <a:cubicBezTo>
                  <a:pt x="3465" y="1942"/>
                  <a:pt x="3464" y="1943"/>
                  <a:pt x="3464" y="1943"/>
                </a:cubicBezTo>
                <a:cubicBezTo>
                  <a:pt x="3461" y="1943"/>
                  <a:pt x="3457" y="1945"/>
                  <a:pt x="3454" y="1947"/>
                </a:cubicBezTo>
                <a:cubicBezTo>
                  <a:pt x="3449" y="1950"/>
                  <a:pt x="3446" y="1948"/>
                  <a:pt x="3442" y="1944"/>
                </a:cubicBezTo>
                <a:cubicBezTo>
                  <a:pt x="3442" y="1944"/>
                  <a:pt x="3442" y="1943"/>
                  <a:pt x="3442" y="1942"/>
                </a:cubicBezTo>
                <a:cubicBezTo>
                  <a:pt x="3443" y="1940"/>
                  <a:pt x="3442" y="1938"/>
                  <a:pt x="3441" y="1936"/>
                </a:cubicBezTo>
                <a:cubicBezTo>
                  <a:pt x="3439" y="1934"/>
                  <a:pt x="3437" y="1932"/>
                  <a:pt x="3439" y="1929"/>
                </a:cubicBezTo>
                <a:cubicBezTo>
                  <a:pt x="3439" y="1927"/>
                  <a:pt x="3440" y="1925"/>
                  <a:pt x="3441" y="1924"/>
                </a:cubicBezTo>
                <a:cubicBezTo>
                  <a:pt x="3443" y="1921"/>
                  <a:pt x="3445" y="1919"/>
                  <a:pt x="3447" y="1916"/>
                </a:cubicBezTo>
                <a:cubicBezTo>
                  <a:pt x="3447" y="1916"/>
                  <a:pt x="3446" y="1916"/>
                  <a:pt x="3446" y="1916"/>
                </a:cubicBezTo>
                <a:cubicBezTo>
                  <a:pt x="3441" y="1917"/>
                  <a:pt x="3437" y="1919"/>
                  <a:pt x="3433" y="1922"/>
                </a:cubicBezTo>
                <a:cubicBezTo>
                  <a:pt x="3428" y="1926"/>
                  <a:pt x="3425" y="1931"/>
                  <a:pt x="3425" y="1938"/>
                </a:cubicBezTo>
                <a:cubicBezTo>
                  <a:pt x="3424" y="1945"/>
                  <a:pt x="3427" y="1951"/>
                  <a:pt x="3430" y="1957"/>
                </a:cubicBezTo>
                <a:cubicBezTo>
                  <a:pt x="3431" y="1957"/>
                  <a:pt x="3431" y="1959"/>
                  <a:pt x="3431" y="1960"/>
                </a:cubicBezTo>
                <a:cubicBezTo>
                  <a:pt x="3431" y="1962"/>
                  <a:pt x="3431" y="1963"/>
                  <a:pt x="3430" y="1964"/>
                </a:cubicBezTo>
                <a:cubicBezTo>
                  <a:pt x="3430" y="1966"/>
                  <a:pt x="3430" y="1967"/>
                  <a:pt x="3431" y="1968"/>
                </a:cubicBezTo>
                <a:cubicBezTo>
                  <a:pt x="3434" y="1968"/>
                  <a:pt x="3437" y="1969"/>
                  <a:pt x="3440" y="1969"/>
                </a:cubicBezTo>
                <a:cubicBezTo>
                  <a:pt x="3441" y="1969"/>
                  <a:pt x="3441" y="1968"/>
                  <a:pt x="3441" y="1968"/>
                </a:cubicBezTo>
                <a:cubicBezTo>
                  <a:pt x="3442" y="1967"/>
                  <a:pt x="3442" y="1965"/>
                  <a:pt x="3442" y="1964"/>
                </a:cubicBezTo>
                <a:cubicBezTo>
                  <a:pt x="3444" y="1962"/>
                  <a:pt x="3444" y="1959"/>
                  <a:pt x="3444" y="1957"/>
                </a:cubicBezTo>
                <a:cubicBezTo>
                  <a:pt x="3444" y="1956"/>
                  <a:pt x="3444" y="1956"/>
                  <a:pt x="3444" y="1955"/>
                </a:cubicBezTo>
                <a:cubicBezTo>
                  <a:pt x="3444" y="1955"/>
                  <a:pt x="3444" y="1955"/>
                  <a:pt x="3444" y="1955"/>
                </a:cubicBezTo>
                <a:cubicBezTo>
                  <a:pt x="3445" y="1957"/>
                  <a:pt x="3446" y="1957"/>
                  <a:pt x="3448" y="1957"/>
                </a:cubicBezTo>
                <a:cubicBezTo>
                  <a:pt x="3449" y="1957"/>
                  <a:pt x="3450" y="1957"/>
                  <a:pt x="3451" y="1957"/>
                </a:cubicBezTo>
                <a:cubicBezTo>
                  <a:pt x="3453" y="1957"/>
                  <a:pt x="3457" y="1958"/>
                  <a:pt x="3457" y="1954"/>
                </a:cubicBezTo>
                <a:cubicBezTo>
                  <a:pt x="3457" y="1956"/>
                  <a:pt x="3457" y="1958"/>
                  <a:pt x="3457" y="1959"/>
                </a:cubicBezTo>
                <a:cubicBezTo>
                  <a:pt x="3456" y="1959"/>
                  <a:pt x="3455" y="1960"/>
                  <a:pt x="3453" y="1960"/>
                </a:cubicBezTo>
                <a:cubicBezTo>
                  <a:pt x="3452" y="1961"/>
                  <a:pt x="3451" y="1963"/>
                  <a:pt x="3452" y="1964"/>
                </a:cubicBezTo>
                <a:cubicBezTo>
                  <a:pt x="3453" y="1966"/>
                  <a:pt x="3455" y="1968"/>
                  <a:pt x="3456" y="1970"/>
                </a:cubicBezTo>
                <a:cubicBezTo>
                  <a:pt x="3458" y="1971"/>
                  <a:pt x="3460" y="1971"/>
                  <a:pt x="3461" y="1969"/>
                </a:cubicBezTo>
                <a:cubicBezTo>
                  <a:pt x="3462" y="1968"/>
                  <a:pt x="3462" y="1968"/>
                  <a:pt x="3463" y="1967"/>
                </a:cubicBezTo>
                <a:cubicBezTo>
                  <a:pt x="3465" y="1966"/>
                  <a:pt x="3466" y="1964"/>
                  <a:pt x="3468" y="1963"/>
                </a:cubicBezTo>
                <a:cubicBezTo>
                  <a:pt x="3472" y="1959"/>
                  <a:pt x="3474" y="1953"/>
                  <a:pt x="3476" y="1947"/>
                </a:cubicBezTo>
                <a:cubicBezTo>
                  <a:pt x="3476" y="1947"/>
                  <a:pt x="3475" y="1946"/>
                  <a:pt x="3475" y="1945"/>
                </a:cubicBezTo>
                <a:cubicBezTo>
                  <a:pt x="3474" y="1944"/>
                  <a:pt x="3473" y="1943"/>
                  <a:pt x="3471" y="1943"/>
                </a:cubicBezTo>
                <a:close/>
                <a:moveTo>
                  <a:pt x="3424" y="1949"/>
                </a:moveTo>
                <a:cubicBezTo>
                  <a:pt x="3424" y="1950"/>
                  <a:pt x="3422" y="1951"/>
                  <a:pt x="3421" y="1952"/>
                </a:cubicBezTo>
                <a:cubicBezTo>
                  <a:pt x="3421" y="1952"/>
                  <a:pt x="3420" y="1953"/>
                  <a:pt x="3420" y="1954"/>
                </a:cubicBezTo>
                <a:cubicBezTo>
                  <a:pt x="3420" y="1957"/>
                  <a:pt x="3424" y="1961"/>
                  <a:pt x="3428" y="1960"/>
                </a:cubicBezTo>
                <a:cubicBezTo>
                  <a:pt x="3429" y="1960"/>
                  <a:pt x="3430" y="1959"/>
                  <a:pt x="3429" y="1958"/>
                </a:cubicBezTo>
                <a:cubicBezTo>
                  <a:pt x="3428" y="1955"/>
                  <a:pt x="3426" y="1952"/>
                  <a:pt x="3424" y="1949"/>
                </a:cubicBezTo>
                <a:close/>
                <a:moveTo>
                  <a:pt x="3477" y="1951"/>
                </a:moveTo>
                <a:cubicBezTo>
                  <a:pt x="3475" y="1956"/>
                  <a:pt x="3472" y="1960"/>
                  <a:pt x="3470" y="1964"/>
                </a:cubicBezTo>
                <a:cubicBezTo>
                  <a:pt x="3473" y="1964"/>
                  <a:pt x="3475" y="1965"/>
                  <a:pt x="3478" y="1964"/>
                </a:cubicBezTo>
                <a:cubicBezTo>
                  <a:pt x="3478" y="1964"/>
                  <a:pt x="3479" y="1963"/>
                  <a:pt x="3479" y="1963"/>
                </a:cubicBezTo>
                <a:cubicBezTo>
                  <a:pt x="3479" y="1960"/>
                  <a:pt x="3479" y="1958"/>
                  <a:pt x="3478" y="1955"/>
                </a:cubicBezTo>
                <a:cubicBezTo>
                  <a:pt x="3478" y="1954"/>
                  <a:pt x="3477" y="1953"/>
                  <a:pt x="3477" y="1951"/>
                </a:cubicBezTo>
                <a:close/>
                <a:moveTo>
                  <a:pt x="3424" y="1931"/>
                </a:moveTo>
                <a:cubicBezTo>
                  <a:pt x="3424" y="1931"/>
                  <a:pt x="3423" y="1932"/>
                  <a:pt x="3422" y="1932"/>
                </a:cubicBezTo>
                <a:cubicBezTo>
                  <a:pt x="3422" y="1932"/>
                  <a:pt x="3421" y="1932"/>
                  <a:pt x="3421" y="1931"/>
                </a:cubicBezTo>
                <a:cubicBezTo>
                  <a:pt x="3421" y="1931"/>
                  <a:pt x="3420" y="1930"/>
                  <a:pt x="3420" y="1929"/>
                </a:cubicBezTo>
                <a:cubicBezTo>
                  <a:pt x="3421" y="1927"/>
                  <a:pt x="3421" y="1925"/>
                  <a:pt x="3422" y="1923"/>
                </a:cubicBezTo>
                <a:cubicBezTo>
                  <a:pt x="3422" y="1923"/>
                  <a:pt x="3422" y="1923"/>
                  <a:pt x="3421" y="1923"/>
                </a:cubicBezTo>
                <a:cubicBezTo>
                  <a:pt x="3421" y="1924"/>
                  <a:pt x="3419" y="1925"/>
                  <a:pt x="3419" y="1926"/>
                </a:cubicBezTo>
                <a:cubicBezTo>
                  <a:pt x="3418" y="1927"/>
                  <a:pt x="3419" y="1932"/>
                  <a:pt x="3421" y="1933"/>
                </a:cubicBezTo>
                <a:cubicBezTo>
                  <a:pt x="3422" y="1934"/>
                  <a:pt x="3424" y="1933"/>
                  <a:pt x="3424" y="1931"/>
                </a:cubicBezTo>
                <a:close/>
                <a:moveTo>
                  <a:pt x="3424" y="1949"/>
                </a:moveTo>
                <a:cubicBezTo>
                  <a:pt x="3423" y="1950"/>
                  <a:pt x="3422" y="1951"/>
                  <a:pt x="3421" y="1952"/>
                </a:cubicBezTo>
                <a:cubicBezTo>
                  <a:pt x="3420" y="1952"/>
                  <a:pt x="3420" y="1953"/>
                  <a:pt x="3420" y="1954"/>
                </a:cubicBezTo>
                <a:cubicBezTo>
                  <a:pt x="3420" y="1957"/>
                  <a:pt x="3424" y="1961"/>
                  <a:pt x="3428" y="1961"/>
                </a:cubicBezTo>
                <a:cubicBezTo>
                  <a:pt x="3429" y="1961"/>
                  <a:pt x="3430" y="1960"/>
                  <a:pt x="3429" y="1958"/>
                </a:cubicBezTo>
                <a:cubicBezTo>
                  <a:pt x="3428" y="1955"/>
                  <a:pt x="3426" y="1952"/>
                  <a:pt x="3424" y="1949"/>
                </a:cubicBezTo>
                <a:close/>
                <a:moveTo>
                  <a:pt x="3477" y="1951"/>
                </a:moveTo>
                <a:cubicBezTo>
                  <a:pt x="3474" y="1956"/>
                  <a:pt x="3472" y="1960"/>
                  <a:pt x="3470" y="1965"/>
                </a:cubicBezTo>
                <a:cubicBezTo>
                  <a:pt x="3473" y="1965"/>
                  <a:pt x="3475" y="1965"/>
                  <a:pt x="3478" y="1965"/>
                </a:cubicBezTo>
                <a:cubicBezTo>
                  <a:pt x="3478" y="1965"/>
                  <a:pt x="3478" y="1963"/>
                  <a:pt x="3478" y="1963"/>
                </a:cubicBezTo>
                <a:cubicBezTo>
                  <a:pt x="3478" y="1960"/>
                  <a:pt x="3478" y="1958"/>
                  <a:pt x="3478" y="1955"/>
                </a:cubicBezTo>
                <a:cubicBezTo>
                  <a:pt x="3478" y="1954"/>
                  <a:pt x="3477" y="1953"/>
                  <a:pt x="3477" y="1951"/>
                </a:cubicBezTo>
                <a:close/>
                <a:moveTo>
                  <a:pt x="3424" y="1931"/>
                </a:moveTo>
                <a:cubicBezTo>
                  <a:pt x="3423" y="1931"/>
                  <a:pt x="3423" y="1932"/>
                  <a:pt x="3422" y="1932"/>
                </a:cubicBezTo>
                <a:cubicBezTo>
                  <a:pt x="3421" y="1932"/>
                  <a:pt x="3421" y="1932"/>
                  <a:pt x="3421" y="1931"/>
                </a:cubicBezTo>
                <a:cubicBezTo>
                  <a:pt x="3420" y="1931"/>
                  <a:pt x="3420" y="1930"/>
                  <a:pt x="3420" y="1929"/>
                </a:cubicBezTo>
                <a:cubicBezTo>
                  <a:pt x="3421" y="1927"/>
                  <a:pt x="3421" y="1925"/>
                  <a:pt x="3422" y="1923"/>
                </a:cubicBezTo>
                <a:cubicBezTo>
                  <a:pt x="3421" y="1923"/>
                  <a:pt x="3421" y="1923"/>
                  <a:pt x="3421" y="1923"/>
                </a:cubicBezTo>
                <a:cubicBezTo>
                  <a:pt x="3420" y="1924"/>
                  <a:pt x="3419" y="1925"/>
                  <a:pt x="3418" y="1926"/>
                </a:cubicBezTo>
                <a:cubicBezTo>
                  <a:pt x="3417" y="1927"/>
                  <a:pt x="3419" y="1933"/>
                  <a:pt x="3421" y="1933"/>
                </a:cubicBezTo>
                <a:cubicBezTo>
                  <a:pt x="3422" y="1934"/>
                  <a:pt x="3424" y="1933"/>
                  <a:pt x="3424" y="1931"/>
                </a:cubicBezTo>
                <a:close/>
                <a:moveTo>
                  <a:pt x="3476" y="1923"/>
                </a:moveTo>
                <a:cubicBezTo>
                  <a:pt x="3480" y="1919"/>
                  <a:pt x="3480" y="1919"/>
                  <a:pt x="3483" y="1918"/>
                </a:cubicBezTo>
                <a:cubicBezTo>
                  <a:pt x="3483" y="1920"/>
                  <a:pt x="3485" y="1921"/>
                  <a:pt x="3486" y="1921"/>
                </a:cubicBezTo>
                <a:cubicBezTo>
                  <a:pt x="3484" y="1922"/>
                  <a:pt x="3482" y="1924"/>
                  <a:pt x="3480" y="1925"/>
                </a:cubicBezTo>
                <a:cubicBezTo>
                  <a:pt x="3479" y="1924"/>
                  <a:pt x="3479" y="1924"/>
                  <a:pt x="3478" y="1922"/>
                </a:cubicBezTo>
                <a:cubicBezTo>
                  <a:pt x="3478" y="1922"/>
                  <a:pt x="3477" y="1922"/>
                  <a:pt x="3476" y="1923"/>
                </a:cubicBezTo>
                <a:close/>
                <a:moveTo>
                  <a:pt x="3482" y="1922"/>
                </a:moveTo>
                <a:cubicBezTo>
                  <a:pt x="3481" y="1922"/>
                  <a:pt x="3481" y="1922"/>
                  <a:pt x="3480" y="1922"/>
                </a:cubicBezTo>
                <a:cubicBezTo>
                  <a:pt x="3480" y="1922"/>
                  <a:pt x="3479" y="1922"/>
                  <a:pt x="3479" y="1923"/>
                </a:cubicBezTo>
                <a:cubicBezTo>
                  <a:pt x="3479" y="1923"/>
                  <a:pt x="3480" y="1924"/>
                  <a:pt x="3480" y="1924"/>
                </a:cubicBezTo>
                <a:cubicBezTo>
                  <a:pt x="3481" y="1924"/>
                  <a:pt x="3481" y="1923"/>
                  <a:pt x="3482" y="1922"/>
                </a:cubicBezTo>
                <a:close/>
                <a:moveTo>
                  <a:pt x="3464" y="1913"/>
                </a:moveTo>
                <a:cubicBezTo>
                  <a:pt x="3457" y="1912"/>
                  <a:pt x="3454" y="1915"/>
                  <a:pt x="3453" y="1922"/>
                </a:cubicBezTo>
                <a:cubicBezTo>
                  <a:pt x="3454" y="1920"/>
                  <a:pt x="3455" y="1918"/>
                  <a:pt x="3456" y="1916"/>
                </a:cubicBezTo>
                <a:cubicBezTo>
                  <a:pt x="3457" y="1916"/>
                  <a:pt x="3457" y="1916"/>
                  <a:pt x="3457" y="1916"/>
                </a:cubicBezTo>
                <a:cubicBezTo>
                  <a:pt x="3457" y="1917"/>
                  <a:pt x="3457" y="1918"/>
                  <a:pt x="3457" y="1918"/>
                </a:cubicBezTo>
                <a:cubicBezTo>
                  <a:pt x="3458" y="1915"/>
                  <a:pt x="3460" y="1913"/>
                  <a:pt x="3464" y="1913"/>
                </a:cubicBezTo>
                <a:close/>
                <a:moveTo>
                  <a:pt x="3507" y="1914"/>
                </a:moveTo>
                <a:cubicBezTo>
                  <a:pt x="3505" y="1915"/>
                  <a:pt x="3503" y="1917"/>
                  <a:pt x="3501" y="1918"/>
                </a:cubicBezTo>
                <a:cubicBezTo>
                  <a:pt x="3504" y="1919"/>
                  <a:pt x="3506" y="1917"/>
                  <a:pt x="3507" y="1914"/>
                </a:cubicBezTo>
                <a:close/>
                <a:moveTo>
                  <a:pt x="3474" y="1917"/>
                </a:moveTo>
                <a:cubicBezTo>
                  <a:pt x="3475" y="1915"/>
                  <a:pt x="3476" y="1914"/>
                  <a:pt x="3477" y="1913"/>
                </a:cubicBezTo>
                <a:cubicBezTo>
                  <a:pt x="3474" y="1914"/>
                  <a:pt x="3473" y="1915"/>
                  <a:pt x="3474" y="1917"/>
                </a:cubicBezTo>
                <a:close/>
                <a:moveTo>
                  <a:pt x="3484" y="1938"/>
                </a:moveTo>
                <a:cubicBezTo>
                  <a:pt x="3482" y="1938"/>
                  <a:pt x="3481" y="1939"/>
                  <a:pt x="3481" y="1940"/>
                </a:cubicBezTo>
                <a:cubicBezTo>
                  <a:pt x="3482" y="1939"/>
                  <a:pt x="3483" y="1938"/>
                  <a:pt x="3484" y="1938"/>
                </a:cubicBezTo>
                <a:close/>
                <a:moveTo>
                  <a:pt x="3482" y="1922"/>
                </a:moveTo>
                <a:cubicBezTo>
                  <a:pt x="3482" y="1922"/>
                  <a:pt x="3481" y="1921"/>
                  <a:pt x="3480" y="1921"/>
                </a:cubicBezTo>
                <a:cubicBezTo>
                  <a:pt x="3480" y="1921"/>
                  <a:pt x="3479" y="1922"/>
                  <a:pt x="3479" y="1923"/>
                </a:cubicBezTo>
                <a:cubicBezTo>
                  <a:pt x="3479" y="1923"/>
                  <a:pt x="3480" y="1923"/>
                  <a:pt x="3480" y="1924"/>
                </a:cubicBezTo>
                <a:cubicBezTo>
                  <a:pt x="3481" y="1923"/>
                  <a:pt x="3481" y="1923"/>
                  <a:pt x="3482" y="1922"/>
                </a:cubicBezTo>
                <a:close/>
                <a:moveTo>
                  <a:pt x="3031" y="1804"/>
                </a:moveTo>
                <a:cubicBezTo>
                  <a:pt x="3031" y="1804"/>
                  <a:pt x="3031" y="1804"/>
                  <a:pt x="3031" y="1804"/>
                </a:cubicBezTo>
                <a:cubicBezTo>
                  <a:pt x="3025" y="1804"/>
                  <a:pt x="3025" y="1804"/>
                  <a:pt x="3025" y="1804"/>
                </a:cubicBezTo>
                <a:cubicBezTo>
                  <a:pt x="3023" y="1806"/>
                  <a:pt x="3022" y="1807"/>
                  <a:pt x="3019" y="1808"/>
                </a:cubicBezTo>
                <a:cubicBezTo>
                  <a:pt x="3018" y="1809"/>
                  <a:pt x="3016" y="1810"/>
                  <a:pt x="3014" y="1811"/>
                </a:cubicBezTo>
                <a:cubicBezTo>
                  <a:pt x="3013" y="1812"/>
                  <a:pt x="3011" y="1813"/>
                  <a:pt x="3009" y="1814"/>
                </a:cubicBezTo>
                <a:cubicBezTo>
                  <a:pt x="3007" y="1814"/>
                  <a:pt x="3005" y="1815"/>
                  <a:pt x="3003" y="1815"/>
                </a:cubicBezTo>
                <a:cubicBezTo>
                  <a:pt x="3003" y="1815"/>
                  <a:pt x="3003" y="1815"/>
                  <a:pt x="3003" y="1825"/>
                </a:cubicBezTo>
                <a:cubicBezTo>
                  <a:pt x="3006" y="1824"/>
                  <a:pt x="3009" y="1824"/>
                  <a:pt x="3011" y="1822"/>
                </a:cubicBezTo>
                <a:cubicBezTo>
                  <a:pt x="3014" y="1822"/>
                  <a:pt x="3017" y="1820"/>
                  <a:pt x="3019" y="1819"/>
                </a:cubicBezTo>
                <a:cubicBezTo>
                  <a:pt x="3019" y="1819"/>
                  <a:pt x="3019" y="1819"/>
                  <a:pt x="3019" y="1877"/>
                </a:cubicBezTo>
                <a:cubicBezTo>
                  <a:pt x="3019" y="1877"/>
                  <a:pt x="3019" y="1877"/>
                  <a:pt x="3031" y="1877"/>
                </a:cubicBezTo>
                <a:cubicBezTo>
                  <a:pt x="3031" y="1877"/>
                  <a:pt x="3031" y="1877"/>
                  <a:pt x="3031" y="1804"/>
                </a:cubicBezTo>
                <a:close/>
                <a:moveTo>
                  <a:pt x="3077" y="1804"/>
                </a:moveTo>
                <a:cubicBezTo>
                  <a:pt x="3077" y="1804"/>
                  <a:pt x="3077" y="1804"/>
                  <a:pt x="3077" y="1804"/>
                </a:cubicBezTo>
                <a:cubicBezTo>
                  <a:pt x="3072" y="1804"/>
                  <a:pt x="3072" y="1804"/>
                  <a:pt x="3072" y="1804"/>
                </a:cubicBezTo>
                <a:cubicBezTo>
                  <a:pt x="3071" y="1806"/>
                  <a:pt x="3068" y="1807"/>
                  <a:pt x="3067" y="1808"/>
                </a:cubicBezTo>
                <a:cubicBezTo>
                  <a:pt x="3065" y="1809"/>
                  <a:pt x="3063" y="1810"/>
                  <a:pt x="3061" y="1811"/>
                </a:cubicBezTo>
                <a:cubicBezTo>
                  <a:pt x="3060" y="1812"/>
                  <a:pt x="3058" y="1813"/>
                  <a:pt x="3056" y="1814"/>
                </a:cubicBezTo>
                <a:cubicBezTo>
                  <a:pt x="3054" y="1814"/>
                  <a:pt x="3052" y="1815"/>
                  <a:pt x="3050" y="1815"/>
                </a:cubicBezTo>
                <a:cubicBezTo>
                  <a:pt x="3050" y="1815"/>
                  <a:pt x="3050" y="1815"/>
                  <a:pt x="3050" y="1825"/>
                </a:cubicBezTo>
                <a:cubicBezTo>
                  <a:pt x="3053" y="1824"/>
                  <a:pt x="3056" y="1824"/>
                  <a:pt x="3059" y="1822"/>
                </a:cubicBezTo>
                <a:cubicBezTo>
                  <a:pt x="3061" y="1822"/>
                  <a:pt x="3063" y="1820"/>
                  <a:pt x="3066" y="1819"/>
                </a:cubicBezTo>
                <a:cubicBezTo>
                  <a:pt x="3066" y="1819"/>
                  <a:pt x="3066" y="1819"/>
                  <a:pt x="3066" y="1877"/>
                </a:cubicBezTo>
                <a:cubicBezTo>
                  <a:pt x="3066" y="1877"/>
                  <a:pt x="3066" y="1877"/>
                  <a:pt x="3077" y="1877"/>
                </a:cubicBezTo>
                <a:cubicBezTo>
                  <a:pt x="3077" y="1877"/>
                  <a:pt x="3077" y="1877"/>
                  <a:pt x="3077" y="1804"/>
                </a:cubicBezTo>
                <a:close/>
                <a:moveTo>
                  <a:pt x="3123" y="1804"/>
                </a:moveTo>
                <a:cubicBezTo>
                  <a:pt x="3123" y="1804"/>
                  <a:pt x="3123" y="1804"/>
                  <a:pt x="3123" y="1804"/>
                </a:cubicBezTo>
                <a:cubicBezTo>
                  <a:pt x="3119" y="1804"/>
                  <a:pt x="3119" y="1804"/>
                  <a:pt x="3119" y="1804"/>
                </a:cubicBezTo>
                <a:cubicBezTo>
                  <a:pt x="3117" y="1806"/>
                  <a:pt x="3115" y="1807"/>
                  <a:pt x="3113" y="1808"/>
                </a:cubicBezTo>
                <a:cubicBezTo>
                  <a:pt x="3112" y="1809"/>
                  <a:pt x="3110" y="1810"/>
                  <a:pt x="3108" y="1811"/>
                </a:cubicBezTo>
                <a:cubicBezTo>
                  <a:pt x="3106" y="1811"/>
                  <a:pt x="3104" y="1812"/>
                  <a:pt x="3102" y="1813"/>
                </a:cubicBezTo>
                <a:cubicBezTo>
                  <a:pt x="3101" y="1814"/>
                  <a:pt x="3099" y="1814"/>
                  <a:pt x="3097" y="1815"/>
                </a:cubicBezTo>
                <a:cubicBezTo>
                  <a:pt x="3097" y="1815"/>
                  <a:pt x="3097" y="1815"/>
                  <a:pt x="3097" y="1825"/>
                </a:cubicBezTo>
                <a:cubicBezTo>
                  <a:pt x="3100" y="1824"/>
                  <a:pt x="3103" y="1823"/>
                  <a:pt x="3105" y="1822"/>
                </a:cubicBezTo>
                <a:cubicBezTo>
                  <a:pt x="3107" y="1822"/>
                  <a:pt x="3110" y="1820"/>
                  <a:pt x="3112" y="1819"/>
                </a:cubicBezTo>
                <a:cubicBezTo>
                  <a:pt x="3112" y="1819"/>
                  <a:pt x="3112" y="1819"/>
                  <a:pt x="3112" y="1877"/>
                </a:cubicBezTo>
                <a:cubicBezTo>
                  <a:pt x="3112" y="1877"/>
                  <a:pt x="3112" y="1877"/>
                  <a:pt x="3123" y="1877"/>
                </a:cubicBezTo>
                <a:cubicBezTo>
                  <a:pt x="3123" y="1877"/>
                  <a:pt x="3123" y="1877"/>
                  <a:pt x="3123" y="1804"/>
                </a:cubicBezTo>
                <a:close/>
                <a:moveTo>
                  <a:pt x="3260" y="1836"/>
                </a:moveTo>
                <a:cubicBezTo>
                  <a:pt x="3260" y="1836"/>
                  <a:pt x="3260" y="1836"/>
                  <a:pt x="3260" y="1836"/>
                </a:cubicBezTo>
                <a:cubicBezTo>
                  <a:pt x="3260" y="1844"/>
                  <a:pt x="3260" y="1844"/>
                  <a:pt x="3260" y="1844"/>
                </a:cubicBezTo>
                <a:cubicBezTo>
                  <a:pt x="3266" y="1845"/>
                  <a:pt x="3267" y="1848"/>
                  <a:pt x="3267" y="1850"/>
                </a:cubicBezTo>
                <a:cubicBezTo>
                  <a:pt x="3267" y="1853"/>
                  <a:pt x="3266" y="1855"/>
                  <a:pt x="3266" y="1857"/>
                </a:cubicBezTo>
                <a:cubicBezTo>
                  <a:pt x="3266" y="1860"/>
                  <a:pt x="3265" y="1862"/>
                  <a:pt x="3265" y="1865"/>
                </a:cubicBezTo>
                <a:cubicBezTo>
                  <a:pt x="3265" y="1874"/>
                  <a:pt x="3271" y="1877"/>
                  <a:pt x="3280" y="1877"/>
                </a:cubicBezTo>
                <a:cubicBezTo>
                  <a:pt x="3280" y="1877"/>
                  <a:pt x="3280" y="1877"/>
                  <a:pt x="3284" y="1877"/>
                </a:cubicBezTo>
                <a:cubicBezTo>
                  <a:pt x="3284" y="1877"/>
                  <a:pt x="3284" y="1877"/>
                  <a:pt x="3284" y="1868"/>
                </a:cubicBezTo>
                <a:cubicBezTo>
                  <a:pt x="3284" y="1868"/>
                  <a:pt x="3284" y="1868"/>
                  <a:pt x="3282" y="1868"/>
                </a:cubicBezTo>
                <a:cubicBezTo>
                  <a:pt x="3278" y="1868"/>
                  <a:pt x="3277" y="1866"/>
                  <a:pt x="3277" y="1862"/>
                </a:cubicBezTo>
                <a:cubicBezTo>
                  <a:pt x="3277" y="1861"/>
                  <a:pt x="3277" y="1859"/>
                  <a:pt x="3278" y="1857"/>
                </a:cubicBezTo>
                <a:cubicBezTo>
                  <a:pt x="3278" y="1856"/>
                  <a:pt x="3278" y="1854"/>
                  <a:pt x="3278" y="1852"/>
                </a:cubicBezTo>
                <a:cubicBezTo>
                  <a:pt x="3278" y="1844"/>
                  <a:pt x="3275" y="1842"/>
                  <a:pt x="3270" y="1840"/>
                </a:cubicBezTo>
                <a:cubicBezTo>
                  <a:pt x="3270" y="1840"/>
                  <a:pt x="3270" y="1840"/>
                  <a:pt x="3270" y="1840"/>
                </a:cubicBezTo>
                <a:cubicBezTo>
                  <a:pt x="3275" y="1839"/>
                  <a:pt x="3278" y="1837"/>
                  <a:pt x="3278" y="1829"/>
                </a:cubicBezTo>
                <a:cubicBezTo>
                  <a:pt x="3278" y="1827"/>
                  <a:pt x="3278" y="1825"/>
                  <a:pt x="3278" y="1823"/>
                </a:cubicBezTo>
                <a:cubicBezTo>
                  <a:pt x="3277" y="1821"/>
                  <a:pt x="3277" y="1820"/>
                  <a:pt x="3277" y="1818"/>
                </a:cubicBezTo>
                <a:cubicBezTo>
                  <a:pt x="3277" y="1815"/>
                  <a:pt x="3278" y="1813"/>
                  <a:pt x="3282" y="1813"/>
                </a:cubicBezTo>
                <a:cubicBezTo>
                  <a:pt x="3282" y="1813"/>
                  <a:pt x="3282" y="1813"/>
                  <a:pt x="3284" y="1813"/>
                </a:cubicBezTo>
                <a:cubicBezTo>
                  <a:pt x="3284" y="1813"/>
                  <a:pt x="3284" y="1813"/>
                  <a:pt x="3284" y="1803"/>
                </a:cubicBezTo>
                <a:cubicBezTo>
                  <a:pt x="3284" y="1803"/>
                  <a:pt x="3284" y="1803"/>
                  <a:pt x="3280" y="1803"/>
                </a:cubicBezTo>
                <a:cubicBezTo>
                  <a:pt x="3271" y="1803"/>
                  <a:pt x="3265" y="1807"/>
                  <a:pt x="3265" y="1816"/>
                </a:cubicBezTo>
                <a:cubicBezTo>
                  <a:pt x="3265" y="1818"/>
                  <a:pt x="3266" y="1821"/>
                  <a:pt x="3266" y="1823"/>
                </a:cubicBezTo>
                <a:cubicBezTo>
                  <a:pt x="3266" y="1826"/>
                  <a:pt x="3267" y="1828"/>
                  <a:pt x="3267" y="1830"/>
                </a:cubicBezTo>
                <a:cubicBezTo>
                  <a:pt x="3267" y="1833"/>
                  <a:pt x="3266" y="1836"/>
                  <a:pt x="3260" y="1836"/>
                </a:cubicBezTo>
                <a:close/>
                <a:moveTo>
                  <a:pt x="3315" y="1844"/>
                </a:moveTo>
                <a:cubicBezTo>
                  <a:pt x="3315" y="1844"/>
                  <a:pt x="3315" y="1844"/>
                  <a:pt x="3315" y="1844"/>
                </a:cubicBezTo>
                <a:cubicBezTo>
                  <a:pt x="3315" y="1836"/>
                  <a:pt x="3315" y="1836"/>
                  <a:pt x="3315" y="1836"/>
                </a:cubicBezTo>
                <a:cubicBezTo>
                  <a:pt x="3308" y="1836"/>
                  <a:pt x="3308" y="1833"/>
                  <a:pt x="3308" y="1830"/>
                </a:cubicBezTo>
                <a:cubicBezTo>
                  <a:pt x="3308" y="1828"/>
                  <a:pt x="3308" y="1826"/>
                  <a:pt x="3308" y="1823"/>
                </a:cubicBezTo>
                <a:cubicBezTo>
                  <a:pt x="3309" y="1821"/>
                  <a:pt x="3309" y="1818"/>
                  <a:pt x="3309" y="1816"/>
                </a:cubicBezTo>
                <a:cubicBezTo>
                  <a:pt x="3309" y="1807"/>
                  <a:pt x="3303" y="1803"/>
                  <a:pt x="3294" y="1803"/>
                </a:cubicBezTo>
                <a:cubicBezTo>
                  <a:pt x="3294" y="1803"/>
                  <a:pt x="3294" y="1803"/>
                  <a:pt x="3290" y="1803"/>
                </a:cubicBezTo>
                <a:cubicBezTo>
                  <a:pt x="3290" y="1803"/>
                  <a:pt x="3290" y="1803"/>
                  <a:pt x="3290" y="1813"/>
                </a:cubicBezTo>
                <a:cubicBezTo>
                  <a:pt x="3290" y="1813"/>
                  <a:pt x="3290" y="1813"/>
                  <a:pt x="3292" y="1813"/>
                </a:cubicBezTo>
                <a:cubicBezTo>
                  <a:pt x="3296" y="1813"/>
                  <a:pt x="3297" y="1815"/>
                  <a:pt x="3297" y="1818"/>
                </a:cubicBezTo>
                <a:cubicBezTo>
                  <a:pt x="3297" y="1820"/>
                  <a:pt x="3297" y="1821"/>
                  <a:pt x="3297" y="1823"/>
                </a:cubicBezTo>
                <a:cubicBezTo>
                  <a:pt x="3296" y="1825"/>
                  <a:pt x="3296" y="1827"/>
                  <a:pt x="3296" y="1829"/>
                </a:cubicBezTo>
                <a:cubicBezTo>
                  <a:pt x="3296" y="1837"/>
                  <a:pt x="3299" y="1839"/>
                  <a:pt x="3305" y="1840"/>
                </a:cubicBezTo>
                <a:cubicBezTo>
                  <a:pt x="3305" y="1840"/>
                  <a:pt x="3305" y="1840"/>
                  <a:pt x="3305" y="1840"/>
                </a:cubicBezTo>
                <a:cubicBezTo>
                  <a:pt x="3299" y="1842"/>
                  <a:pt x="3296" y="1844"/>
                  <a:pt x="3296" y="1852"/>
                </a:cubicBezTo>
                <a:cubicBezTo>
                  <a:pt x="3296" y="1854"/>
                  <a:pt x="3296" y="1856"/>
                  <a:pt x="3297" y="1857"/>
                </a:cubicBezTo>
                <a:cubicBezTo>
                  <a:pt x="3297" y="1859"/>
                  <a:pt x="3297" y="1861"/>
                  <a:pt x="3297" y="1862"/>
                </a:cubicBezTo>
                <a:cubicBezTo>
                  <a:pt x="3297" y="1866"/>
                  <a:pt x="3296" y="1868"/>
                  <a:pt x="3292" y="1868"/>
                </a:cubicBezTo>
                <a:cubicBezTo>
                  <a:pt x="3292" y="1868"/>
                  <a:pt x="3292" y="1868"/>
                  <a:pt x="3290" y="1868"/>
                </a:cubicBezTo>
                <a:cubicBezTo>
                  <a:pt x="3290" y="1868"/>
                  <a:pt x="3290" y="1868"/>
                  <a:pt x="3290" y="1877"/>
                </a:cubicBezTo>
                <a:cubicBezTo>
                  <a:pt x="3290" y="1877"/>
                  <a:pt x="3290" y="1877"/>
                  <a:pt x="3294" y="1877"/>
                </a:cubicBezTo>
                <a:cubicBezTo>
                  <a:pt x="3303" y="1877"/>
                  <a:pt x="3309" y="1874"/>
                  <a:pt x="3309" y="1865"/>
                </a:cubicBezTo>
                <a:cubicBezTo>
                  <a:pt x="3309" y="1862"/>
                  <a:pt x="3309" y="1860"/>
                  <a:pt x="3308" y="1857"/>
                </a:cubicBezTo>
                <a:cubicBezTo>
                  <a:pt x="3308" y="1855"/>
                  <a:pt x="3308" y="1853"/>
                  <a:pt x="3308" y="1850"/>
                </a:cubicBezTo>
                <a:cubicBezTo>
                  <a:pt x="3308" y="1848"/>
                  <a:pt x="3308" y="1845"/>
                  <a:pt x="3315" y="1844"/>
                </a:cubicBezTo>
                <a:close/>
                <a:moveTo>
                  <a:pt x="3361" y="1804"/>
                </a:moveTo>
                <a:cubicBezTo>
                  <a:pt x="3361" y="1804"/>
                  <a:pt x="3361" y="1804"/>
                  <a:pt x="3361" y="1804"/>
                </a:cubicBezTo>
                <a:cubicBezTo>
                  <a:pt x="3356" y="1804"/>
                  <a:pt x="3356" y="1804"/>
                  <a:pt x="3356" y="1804"/>
                </a:cubicBezTo>
                <a:cubicBezTo>
                  <a:pt x="3354" y="1806"/>
                  <a:pt x="3353" y="1807"/>
                  <a:pt x="3350" y="1808"/>
                </a:cubicBezTo>
                <a:cubicBezTo>
                  <a:pt x="3349" y="1809"/>
                  <a:pt x="3347" y="1810"/>
                  <a:pt x="3345" y="1811"/>
                </a:cubicBezTo>
                <a:cubicBezTo>
                  <a:pt x="3343" y="1811"/>
                  <a:pt x="3342" y="1812"/>
                  <a:pt x="3340" y="1813"/>
                </a:cubicBezTo>
                <a:cubicBezTo>
                  <a:pt x="3338" y="1814"/>
                  <a:pt x="3337" y="1814"/>
                  <a:pt x="3334" y="1815"/>
                </a:cubicBezTo>
                <a:cubicBezTo>
                  <a:pt x="3334" y="1815"/>
                  <a:pt x="3334" y="1815"/>
                  <a:pt x="3334" y="1825"/>
                </a:cubicBezTo>
                <a:cubicBezTo>
                  <a:pt x="3337" y="1824"/>
                  <a:pt x="3340" y="1823"/>
                  <a:pt x="3342" y="1822"/>
                </a:cubicBezTo>
                <a:cubicBezTo>
                  <a:pt x="3345" y="1822"/>
                  <a:pt x="3347" y="1820"/>
                  <a:pt x="3350" y="1819"/>
                </a:cubicBezTo>
                <a:cubicBezTo>
                  <a:pt x="3350" y="1819"/>
                  <a:pt x="3350" y="1819"/>
                  <a:pt x="3350" y="1877"/>
                </a:cubicBezTo>
                <a:cubicBezTo>
                  <a:pt x="3350" y="1877"/>
                  <a:pt x="3350" y="1877"/>
                  <a:pt x="3361" y="1877"/>
                </a:cubicBezTo>
                <a:cubicBezTo>
                  <a:pt x="3361" y="1877"/>
                  <a:pt x="3361" y="1877"/>
                  <a:pt x="3361" y="1804"/>
                </a:cubicBezTo>
                <a:close/>
                <a:moveTo>
                  <a:pt x="3408" y="1804"/>
                </a:moveTo>
                <a:cubicBezTo>
                  <a:pt x="3408" y="1804"/>
                  <a:pt x="3408" y="1804"/>
                  <a:pt x="3408" y="1804"/>
                </a:cubicBezTo>
                <a:cubicBezTo>
                  <a:pt x="3403" y="1804"/>
                  <a:pt x="3403" y="1804"/>
                  <a:pt x="3403" y="1804"/>
                </a:cubicBezTo>
                <a:cubicBezTo>
                  <a:pt x="3401" y="1806"/>
                  <a:pt x="3399" y="1807"/>
                  <a:pt x="3397" y="1808"/>
                </a:cubicBezTo>
                <a:cubicBezTo>
                  <a:pt x="3396" y="1809"/>
                  <a:pt x="3394" y="1810"/>
                  <a:pt x="3392" y="1811"/>
                </a:cubicBezTo>
                <a:cubicBezTo>
                  <a:pt x="3391" y="1812"/>
                  <a:pt x="3389" y="1813"/>
                  <a:pt x="3387" y="1814"/>
                </a:cubicBezTo>
                <a:cubicBezTo>
                  <a:pt x="3385" y="1814"/>
                  <a:pt x="3384" y="1815"/>
                  <a:pt x="3381" y="1815"/>
                </a:cubicBezTo>
                <a:cubicBezTo>
                  <a:pt x="3381" y="1815"/>
                  <a:pt x="3381" y="1815"/>
                  <a:pt x="3381" y="1825"/>
                </a:cubicBezTo>
                <a:cubicBezTo>
                  <a:pt x="3384" y="1824"/>
                  <a:pt x="3387" y="1824"/>
                  <a:pt x="3389" y="1822"/>
                </a:cubicBezTo>
                <a:cubicBezTo>
                  <a:pt x="3392" y="1822"/>
                  <a:pt x="3394" y="1820"/>
                  <a:pt x="3396" y="1819"/>
                </a:cubicBezTo>
                <a:cubicBezTo>
                  <a:pt x="3396" y="1819"/>
                  <a:pt x="3396" y="1819"/>
                  <a:pt x="3396" y="1877"/>
                </a:cubicBezTo>
                <a:cubicBezTo>
                  <a:pt x="3396" y="1877"/>
                  <a:pt x="3396" y="1877"/>
                  <a:pt x="3408" y="1877"/>
                </a:cubicBezTo>
                <a:cubicBezTo>
                  <a:pt x="3408" y="1877"/>
                  <a:pt x="3408" y="1877"/>
                  <a:pt x="3408" y="1804"/>
                </a:cubicBezTo>
                <a:close/>
                <a:moveTo>
                  <a:pt x="3454" y="1804"/>
                </a:moveTo>
                <a:cubicBezTo>
                  <a:pt x="3454" y="1804"/>
                  <a:pt x="3454" y="1804"/>
                  <a:pt x="3454" y="1804"/>
                </a:cubicBezTo>
                <a:cubicBezTo>
                  <a:pt x="3450" y="1804"/>
                  <a:pt x="3450" y="1804"/>
                  <a:pt x="3450" y="1804"/>
                </a:cubicBezTo>
                <a:cubicBezTo>
                  <a:pt x="3447" y="1806"/>
                  <a:pt x="3446" y="1807"/>
                  <a:pt x="3444" y="1808"/>
                </a:cubicBezTo>
                <a:cubicBezTo>
                  <a:pt x="3442" y="1809"/>
                  <a:pt x="3440" y="1810"/>
                  <a:pt x="3439" y="1811"/>
                </a:cubicBezTo>
                <a:cubicBezTo>
                  <a:pt x="3436" y="1812"/>
                  <a:pt x="3435" y="1813"/>
                  <a:pt x="3433" y="1814"/>
                </a:cubicBezTo>
                <a:cubicBezTo>
                  <a:pt x="3431" y="1814"/>
                  <a:pt x="3429" y="1815"/>
                  <a:pt x="3428" y="1815"/>
                </a:cubicBezTo>
                <a:cubicBezTo>
                  <a:pt x="3428" y="1815"/>
                  <a:pt x="3428" y="1815"/>
                  <a:pt x="3428" y="1825"/>
                </a:cubicBezTo>
                <a:cubicBezTo>
                  <a:pt x="3430" y="1824"/>
                  <a:pt x="3433" y="1824"/>
                  <a:pt x="3436" y="1822"/>
                </a:cubicBezTo>
                <a:cubicBezTo>
                  <a:pt x="3438" y="1822"/>
                  <a:pt x="3441" y="1820"/>
                  <a:pt x="3442" y="1819"/>
                </a:cubicBezTo>
                <a:cubicBezTo>
                  <a:pt x="3442" y="1819"/>
                  <a:pt x="3442" y="1819"/>
                  <a:pt x="3442" y="1877"/>
                </a:cubicBezTo>
                <a:cubicBezTo>
                  <a:pt x="3442" y="1877"/>
                  <a:pt x="3442" y="1877"/>
                  <a:pt x="3454" y="1877"/>
                </a:cubicBezTo>
                <a:cubicBezTo>
                  <a:pt x="3454" y="1877"/>
                  <a:pt x="3454" y="1877"/>
                  <a:pt x="3454" y="1804"/>
                </a:cubicBezTo>
                <a:close/>
                <a:moveTo>
                  <a:pt x="3203" y="1851"/>
                </a:moveTo>
                <a:cubicBezTo>
                  <a:pt x="3204" y="1853"/>
                  <a:pt x="3204" y="1854"/>
                  <a:pt x="3205" y="1856"/>
                </a:cubicBezTo>
                <a:cubicBezTo>
                  <a:pt x="3205" y="1857"/>
                  <a:pt x="3206" y="1859"/>
                  <a:pt x="3206" y="1861"/>
                </a:cubicBezTo>
                <a:cubicBezTo>
                  <a:pt x="3206" y="1862"/>
                  <a:pt x="3206" y="1864"/>
                  <a:pt x="3206" y="1865"/>
                </a:cubicBezTo>
                <a:cubicBezTo>
                  <a:pt x="3207" y="1869"/>
                  <a:pt x="3206" y="1870"/>
                  <a:pt x="3203" y="1870"/>
                </a:cubicBezTo>
                <a:cubicBezTo>
                  <a:pt x="3200" y="1870"/>
                  <a:pt x="3197" y="1870"/>
                  <a:pt x="3195" y="1870"/>
                </a:cubicBezTo>
                <a:cubicBezTo>
                  <a:pt x="3194" y="1870"/>
                  <a:pt x="3193" y="1870"/>
                  <a:pt x="3193" y="1870"/>
                </a:cubicBezTo>
                <a:cubicBezTo>
                  <a:pt x="3191" y="1872"/>
                  <a:pt x="3190" y="1873"/>
                  <a:pt x="3189" y="1874"/>
                </a:cubicBezTo>
                <a:cubicBezTo>
                  <a:pt x="3187" y="1877"/>
                  <a:pt x="3183" y="1877"/>
                  <a:pt x="3181" y="1875"/>
                </a:cubicBezTo>
                <a:cubicBezTo>
                  <a:pt x="3179" y="1873"/>
                  <a:pt x="3178" y="1870"/>
                  <a:pt x="3176" y="1868"/>
                </a:cubicBezTo>
                <a:cubicBezTo>
                  <a:pt x="3176" y="1866"/>
                  <a:pt x="3176" y="1865"/>
                  <a:pt x="3178" y="1863"/>
                </a:cubicBezTo>
                <a:cubicBezTo>
                  <a:pt x="3176" y="1863"/>
                  <a:pt x="3174" y="1863"/>
                  <a:pt x="3172" y="1863"/>
                </a:cubicBezTo>
                <a:cubicBezTo>
                  <a:pt x="3172" y="1865"/>
                  <a:pt x="3170" y="1867"/>
                  <a:pt x="3170" y="1869"/>
                </a:cubicBezTo>
                <a:cubicBezTo>
                  <a:pt x="3170" y="1870"/>
                  <a:pt x="3169" y="1870"/>
                  <a:pt x="3169" y="1871"/>
                </a:cubicBezTo>
                <a:cubicBezTo>
                  <a:pt x="3169" y="1874"/>
                  <a:pt x="3168" y="1876"/>
                  <a:pt x="3165" y="1875"/>
                </a:cubicBezTo>
                <a:cubicBezTo>
                  <a:pt x="3162" y="1875"/>
                  <a:pt x="3159" y="1874"/>
                  <a:pt x="3156" y="1873"/>
                </a:cubicBezTo>
                <a:cubicBezTo>
                  <a:pt x="3154" y="1872"/>
                  <a:pt x="3154" y="1871"/>
                  <a:pt x="3154" y="1869"/>
                </a:cubicBezTo>
                <a:cubicBezTo>
                  <a:pt x="3154" y="1868"/>
                  <a:pt x="3154" y="1867"/>
                  <a:pt x="3155" y="1867"/>
                </a:cubicBezTo>
                <a:cubicBezTo>
                  <a:pt x="3152" y="1866"/>
                  <a:pt x="3150" y="1865"/>
                  <a:pt x="3148" y="1864"/>
                </a:cubicBezTo>
                <a:cubicBezTo>
                  <a:pt x="3147" y="1863"/>
                  <a:pt x="3146" y="1861"/>
                  <a:pt x="3145" y="1859"/>
                </a:cubicBezTo>
                <a:cubicBezTo>
                  <a:pt x="3144" y="1857"/>
                  <a:pt x="3144" y="1856"/>
                  <a:pt x="3146" y="1854"/>
                </a:cubicBezTo>
                <a:cubicBezTo>
                  <a:pt x="3149" y="1852"/>
                  <a:pt x="3150" y="1849"/>
                  <a:pt x="3149" y="1845"/>
                </a:cubicBezTo>
                <a:cubicBezTo>
                  <a:pt x="3149" y="1843"/>
                  <a:pt x="3149" y="1841"/>
                  <a:pt x="3149" y="1839"/>
                </a:cubicBezTo>
                <a:cubicBezTo>
                  <a:pt x="3148" y="1839"/>
                  <a:pt x="3146" y="1838"/>
                  <a:pt x="3145" y="1837"/>
                </a:cubicBezTo>
                <a:cubicBezTo>
                  <a:pt x="3144" y="1835"/>
                  <a:pt x="3143" y="1833"/>
                  <a:pt x="3143" y="1832"/>
                </a:cubicBezTo>
                <a:cubicBezTo>
                  <a:pt x="3143" y="1829"/>
                  <a:pt x="3146" y="1826"/>
                  <a:pt x="3149" y="1825"/>
                </a:cubicBezTo>
                <a:cubicBezTo>
                  <a:pt x="3150" y="1826"/>
                  <a:pt x="3150" y="1827"/>
                  <a:pt x="3150" y="1828"/>
                </a:cubicBezTo>
                <a:cubicBezTo>
                  <a:pt x="3150" y="1829"/>
                  <a:pt x="3150" y="1830"/>
                  <a:pt x="3150" y="1831"/>
                </a:cubicBezTo>
                <a:cubicBezTo>
                  <a:pt x="3150" y="1830"/>
                  <a:pt x="3149" y="1830"/>
                  <a:pt x="3149" y="1830"/>
                </a:cubicBezTo>
                <a:cubicBezTo>
                  <a:pt x="3148" y="1832"/>
                  <a:pt x="3148" y="1833"/>
                  <a:pt x="3147" y="1835"/>
                </a:cubicBezTo>
                <a:cubicBezTo>
                  <a:pt x="3148" y="1834"/>
                  <a:pt x="3149" y="1834"/>
                  <a:pt x="3150" y="1834"/>
                </a:cubicBezTo>
                <a:cubicBezTo>
                  <a:pt x="3151" y="1833"/>
                  <a:pt x="3152" y="1832"/>
                  <a:pt x="3152" y="1831"/>
                </a:cubicBezTo>
                <a:cubicBezTo>
                  <a:pt x="3157" y="1824"/>
                  <a:pt x="3163" y="1820"/>
                  <a:pt x="3170" y="1819"/>
                </a:cubicBezTo>
                <a:cubicBezTo>
                  <a:pt x="3174" y="1818"/>
                  <a:pt x="3177" y="1817"/>
                  <a:pt x="3179" y="1814"/>
                </a:cubicBezTo>
                <a:cubicBezTo>
                  <a:pt x="3179" y="1814"/>
                  <a:pt x="3180" y="1813"/>
                  <a:pt x="3180" y="1813"/>
                </a:cubicBezTo>
                <a:cubicBezTo>
                  <a:pt x="3183" y="1813"/>
                  <a:pt x="3185" y="1811"/>
                  <a:pt x="3187" y="1809"/>
                </a:cubicBezTo>
                <a:cubicBezTo>
                  <a:pt x="3194" y="1801"/>
                  <a:pt x="3206" y="1801"/>
                  <a:pt x="3214" y="1808"/>
                </a:cubicBezTo>
                <a:cubicBezTo>
                  <a:pt x="3216" y="1809"/>
                  <a:pt x="3219" y="1811"/>
                  <a:pt x="3221" y="1813"/>
                </a:cubicBezTo>
                <a:cubicBezTo>
                  <a:pt x="3223" y="1815"/>
                  <a:pt x="3224" y="1816"/>
                  <a:pt x="3225" y="1818"/>
                </a:cubicBezTo>
                <a:cubicBezTo>
                  <a:pt x="3226" y="1820"/>
                  <a:pt x="3227" y="1820"/>
                  <a:pt x="3228" y="1819"/>
                </a:cubicBezTo>
                <a:cubicBezTo>
                  <a:pt x="3229" y="1818"/>
                  <a:pt x="3230" y="1817"/>
                  <a:pt x="3230" y="1817"/>
                </a:cubicBezTo>
                <a:cubicBezTo>
                  <a:pt x="3232" y="1814"/>
                  <a:pt x="3236" y="1814"/>
                  <a:pt x="3237" y="1817"/>
                </a:cubicBezTo>
                <a:cubicBezTo>
                  <a:pt x="3238" y="1820"/>
                  <a:pt x="3239" y="1823"/>
                  <a:pt x="3239" y="1826"/>
                </a:cubicBezTo>
                <a:cubicBezTo>
                  <a:pt x="3240" y="1830"/>
                  <a:pt x="3239" y="1835"/>
                  <a:pt x="3238" y="1839"/>
                </a:cubicBezTo>
                <a:cubicBezTo>
                  <a:pt x="3236" y="1845"/>
                  <a:pt x="3231" y="1849"/>
                  <a:pt x="3224" y="1849"/>
                </a:cubicBezTo>
                <a:cubicBezTo>
                  <a:pt x="3223" y="1849"/>
                  <a:pt x="3223" y="1849"/>
                  <a:pt x="3222" y="1849"/>
                </a:cubicBezTo>
                <a:cubicBezTo>
                  <a:pt x="3220" y="1848"/>
                  <a:pt x="3219" y="1849"/>
                  <a:pt x="3218" y="1851"/>
                </a:cubicBezTo>
                <a:cubicBezTo>
                  <a:pt x="3216" y="1856"/>
                  <a:pt x="3211" y="1857"/>
                  <a:pt x="3207" y="1854"/>
                </a:cubicBezTo>
                <a:cubicBezTo>
                  <a:pt x="3206" y="1853"/>
                  <a:pt x="3205" y="1852"/>
                  <a:pt x="3204" y="1851"/>
                </a:cubicBezTo>
                <a:cubicBezTo>
                  <a:pt x="3204" y="1851"/>
                  <a:pt x="3204" y="1851"/>
                  <a:pt x="3203" y="1851"/>
                </a:cubicBezTo>
                <a:close/>
                <a:moveTo>
                  <a:pt x="3198" y="1847"/>
                </a:moveTo>
                <a:cubicBezTo>
                  <a:pt x="3201" y="1848"/>
                  <a:pt x="3205" y="1850"/>
                  <a:pt x="3208" y="1852"/>
                </a:cubicBezTo>
                <a:cubicBezTo>
                  <a:pt x="3209" y="1854"/>
                  <a:pt x="3211" y="1855"/>
                  <a:pt x="3213" y="1854"/>
                </a:cubicBezTo>
                <a:cubicBezTo>
                  <a:pt x="3216" y="1853"/>
                  <a:pt x="3217" y="1851"/>
                  <a:pt x="3217" y="1848"/>
                </a:cubicBezTo>
                <a:cubicBezTo>
                  <a:pt x="3217" y="1848"/>
                  <a:pt x="3216" y="1848"/>
                  <a:pt x="3216" y="1849"/>
                </a:cubicBezTo>
                <a:cubicBezTo>
                  <a:pt x="3216" y="1850"/>
                  <a:pt x="3215" y="1851"/>
                  <a:pt x="3214" y="1852"/>
                </a:cubicBezTo>
                <a:cubicBezTo>
                  <a:pt x="3213" y="1854"/>
                  <a:pt x="3211" y="1853"/>
                  <a:pt x="3211" y="1853"/>
                </a:cubicBezTo>
                <a:cubicBezTo>
                  <a:pt x="3210" y="1853"/>
                  <a:pt x="3210" y="1852"/>
                  <a:pt x="3210" y="1851"/>
                </a:cubicBezTo>
                <a:cubicBezTo>
                  <a:pt x="3210" y="1848"/>
                  <a:pt x="3210" y="1846"/>
                  <a:pt x="3210" y="1845"/>
                </a:cubicBezTo>
                <a:cubicBezTo>
                  <a:pt x="3213" y="1845"/>
                  <a:pt x="3217" y="1846"/>
                  <a:pt x="3220" y="1847"/>
                </a:cubicBezTo>
                <a:cubicBezTo>
                  <a:pt x="3228" y="1848"/>
                  <a:pt x="3234" y="1846"/>
                  <a:pt x="3237" y="1838"/>
                </a:cubicBezTo>
                <a:cubicBezTo>
                  <a:pt x="3238" y="1833"/>
                  <a:pt x="3238" y="1828"/>
                  <a:pt x="3237" y="1823"/>
                </a:cubicBezTo>
                <a:cubicBezTo>
                  <a:pt x="3237" y="1821"/>
                  <a:pt x="3236" y="1820"/>
                  <a:pt x="3235" y="1818"/>
                </a:cubicBezTo>
                <a:cubicBezTo>
                  <a:pt x="3234" y="1816"/>
                  <a:pt x="3233" y="1816"/>
                  <a:pt x="3232" y="1817"/>
                </a:cubicBezTo>
                <a:cubicBezTo>
                  <a:pt x="3230" y="1819"/>
                  <a:pt x="3229" y="1821"/>
                  <a:pt x="3227" y="1821"/>
                </a:cubicBezTo>
                <a:cubicBezTo>
                  <a:pt x="3226" y="1822"/>
                  <a:pt x="3225" y="1822"/>
                  <a:pt x="3226" y="1824"/>
                </a:cubicBezTo>
                <a:cubicBezTo>
                  <a:pt x="3226" y="1827"/>
                  <a:pt x="3226" y="1830"/>
                  <a:pt x="3224" y="1833"/>
                </a:cubicBezTo>
                <a:cubicBezTo>
                  <a:pt x="3224" y="1831"/>
                  <a:pt x="3225" y="1829"/>
                  <a:pt x="3225" y="1828"/>
                </a:cubicBezTo>
                <a:cubicBezTo>
                  <a:pt x="3225" y="1827"/>
                  <a:pt x="3224" y="1826"/>
                  <a:pt x="3224" y="1826"/>
                </a:cubicBezTo>
                <a:cubicBezTo>
                  <a:pt x="3224" y="1826"/>
                  <a:pt x="3223" y="1826"/>
                  <a:pt x="3223" y="1827"/>
                </a:cubicBezTo>
                <a:cubicBezTo>
                  <a:pt x="3222" y="1828"/>
                  <a:pt x="3221" y="1830"/>
                  <a:pt x="3221" y="1831"/>
                </a:cubicBezTo>
                <a:cubicBezTo>
                  <a:pt x="3220" y="1831"/>
                  <a:pt x="3220" y="1831"/>
                  <a:pt x="3220" y="1831"/>
                </a:cubicBezTo>
                <a:cubicBezTo>
                  <a:pt x="3221" y="1829"/>
                  <a:pt x="3221" y="1828"/>
                  <a:pt x="3221" y="1825"/>
                </a:cubicBezTo>
                <a:cubicBezTo>
                  <a:pt x="3220" y="1826"/>
                  <a:pt x="3220" y="1826"/>
                  <a:pt x="3219" y="1827"/>
                </a:cubicBezTo>
                <a:cubicBezTo>
                  <a:pt x="3219" y="1828"/>
                  <a:pt x="3218" y="1828"/>
                  <a:pt x="3218" y="1829"/>
                </a:cubicBezTo>
                <a:cubicBezTo>
                  <a:pt x="3218" y="1826"/>
                  <a:pt x="3219" y="1826"/>
                  <a:pt x="3224" y="1824"/>
                </a:cubicBezTo>
                <a:cubicBezTo>
                  <a:pt x="3224" y="1824"/>
                  <a:pt x="3223" y="1823"/>
                  <a:pt x="3223" y="1823"/>
                </a:cubicBezTo>
                <a:cubicBezTo>
                  <a:pt x="3221" y="1824"/>
                  <a:pt x="3220" y="1822"/>
                  <a:pt x="3219" y="1820"/>
                </a:cubicBezTo>
                <a:cubicBezTo>
                  <a:pt x="3221" y="1820"/>
                  <a:pt x="3223" y="1819"/>
                  <a:pt x="3224" y="1819"/>
                </a:cubicBezTo>
                <a:cubicBezTo>
                  <a:pt x="3223" y="1817"/>
                  <a:pt x="3221" y="1814"/>
                  <a:pt x="3218" y="1813"/>
                </a:cubicBezTo>
                <a:cubicBezTo>
                  <a:pt x="3217" y="1813"/>
                  <a:pt x="3217" y="1813"/>
                  <a:pt x="3217" y="1813"/>
                </a:cubicBezTo>
                <a:cubicBezTo>
                  <a:pt x="3215" y="1811"/>
                  <a:pt x="3212" y="1808"/>
                  <a:pt x="3210" y="1806"/>
                </a:cubicBezTo>
                <a:cubicBezTo>
                  <a:pt x="3207" y="1805"/>
                  <a:pt x="3204" y="1804"/>
                  <a:pt x="3202" y="1804"/>
                </a:cubicBezTo>
                <a:cubicBezTo>
                  <a:pt x="3199" y="1805"/>
                  <a:pt x="3196" y="1806"/>
                  <a:pt x="3193" y="1807"/>
                </a:cubicBezTo>
                <a:cubicBezTo>
                  <a:pt x="3190" y="1808"/>
                  <a:pt x="3187" y="1809"/>
                  <a:pt x="3185" y="1813"/>
                </a:cubicBezTo>
                <a:cubicBezTo>
                  <a:pt x="3187" y="1813"/>
                  <a:pt x="3188" y="1813"/>
                  <a:pt x="3189" y="1813"/>
                </a:cubicBezTo>
                <a:cubicBezTo>
                  <a:pt x="3189" y="1813"/>
                  <a:pt x="3188" y="1813"/>
                  <a:pt x="3187" y="1813"/>
                </a:cubicBezTo>
                <a:cubicBezTo>
                  <a:pt x="3185" y="1814"/>
                  <a:pt x="3182" y="1813"/>
                  <a:pt x="3180" y="1816"/>
                </a:cubicBezTo>
                <a:cubicBezTo>
                  <a:pt x="3177" y="1820"/>
                  <a:pt x="3173" y="1823"/>
                  <a:pt x="3169" y="1828"/>
                </a:cubicBezTo>
                <a:cubicBezTo>
                  <a:pt x="3168" y="1830"/>
                  <a:pt x="3167" y="1832"/>
                  <a:pt x="3166" y="1834"/>
                </a:cubicBezTo>
                <a:cubicBezTo>
                  <a:pt x="3166" y="1835"/>
                  <a:pt x="3166" y="1835"/>
                  <a:pt x="3166" y="1836"/>
                </a:cubicBezTo>
                <a:cubicBezTo>
                  <a:pt x="3167" y="1838"/>
                  <a:pt x="3169" y="1840"/>
                  <a:pt x="3170" y="1842"/>
                </a:cubicBezTo>
                <a:cubicBezTo>
                  <a:pt x="3171" y="1840"/>
                  <a:pt x="3172" y="1839"/>
                  <a:pt x="3174" y="1837"/>
                </a:cubicBezTo>
                <a:cubicBezTo>
                  <a:pt x="3173" y="1839"/>
                  <a:pt x="3173" y="1840"/>
                  <a:pt x="3172" y="1841"/>
                </a:cubicBezTo>
                <a:cubicBezTo>
                  <a:pt x="3171" y="1843"/>
                  <a:pt x="3170" y="1844"/>
                  <a:pt x="3170" y="1845"/>
                </a:cubicBezTo>
                <a:cubicBezTo>
                  <a:pt x="3170" y="1846"/>
                  <a:pt x="3170" y="1847"/>
                  <a:pt x="3170" y="1848"/>
                </a:cubicBezTo>
                <a:cubicBezTo>
                  <a:pt x="3173" y="1852"/>
                  <a:pt x="3176" y="1852"/>
                  <a:pt x="3180" y="1850"/>
                </a:cubicBezTo>
                <a:cubicBezTo>
                  <a:pt x="3182" y="1848"/>
                  <a:pt x="3185" y="1847"/>
                  <a:pt x="3188" y="1846"/>
                </a:cubicBezTo>
                <a:cubicBezTo>
                  <a:pt x="3189" y="1846"/>
                  <a:pt x="3191" y="1845"/>
                  <a:pt x="3191" y="1843"/>
                </a:cubicBezTo>
                <a:cubicBezTo>
                  <a:pt x="3191" y="1840"/>
                  <a:pt x="3191" y="1837"/>
                  <a:pt x="3191" y="1833"/>
                </a:cubicBezTo>
                <a:cubicBezTo>
                  <a:pt x="3191" y="1830"/>
                  <a:pt x="3191" y="1828"/>
                  <a:pt x="3191" y="1824"/>
                </a:cubicBezTo>
                <a:cubicBezTo>
                  <a:pt x="3191" y="1827"/>
                  <a:pt x="3192" y="1830"/>
                  <a:pt x="3192" y="1832"/>
                </a:cubicBezTo>
                <a:cubicBezTo>
                  <a:pt x="3193" y="1837"/>
                  <a:pt x="3193" y="1841"/>
                  <a:pt x="3192" y="1846"/>
                </a:cubicBezTo>
                <a:cubicBezTo>
                  <a:pt x="3191" y="1846"/>
                  <a:pt x="3191" y="1847"/>
                  <a:pt x="3190" y="1847"/>
                </a:cubicBezTo>
                <a:cubicBezTo>
                  <a:pt x="3187" y="1848"/>
                  <a:pt x="3183" y="1850"/>
                  <a:pt x="3180" y="1851"/>
                </a:cubicBezTo>
                <a:cubicBezTo>
                  <a:pt x="3175" y="1854"/>
                  <a:pt x="3172" y="1852"/>
                  <a:pt x="3168" y="1848"/>
                </a:cubicBezTo>
                <a:cubicBezTo>
                  <a:pt x="3168" y="1848"/>
                  <a:pt x="3168" y="1847"/>
                  <a:pt x="3168" y="1846"/>
                </a:cubicBezTo>
                <a:cubicBezTo>
                  <a:pt x="3169" y="1844"/>
                  <a:pt x="3168" y="1842"/>
                  <a:pt x="3167" y="1840"/>
                </a:cubicBezTo>
                <a:cubicBezTo>
                  <a:pt x="3165" y="1838"/>
                  <a:pt x="3163" y="1836"/>
                  <a:pt x="3165" y="1833"/>
                </a:cubicBezTo>
                <a:cubicBezTo>
                  <a:pt x="3165" y="1831"/>
                  <a:pt x="3166" y="1830"/>
                  <a:pt x="3167" y="1828"/>
                </a:cubicBezTo>
                <a:cubicBezTo>
                  <a:pt x="3169" y="1825"/>
                  <a:pt x="3171" y="1823"/>
                  <a:pt x="3173" y="1820"/>
                </a:cubicBezTo>
                <a:cubicBezTo>
                  <a:pt x="3173" y="1820"/>
                  <a:pt x="3172" y="1820"/>
                  <a:pt x="3172" y="1820"/>
                </a:cubicBezTo>
                <a:cubicBezTo>
                  <a:pt x="3167" y="1821"/>
                  <a:pt x="3163" y="1823"/>
                  <a:pt x="3159" y="1826"/>
                </a:cubicBezTo>
                <a:cubicBezTo>
                  <a:pt x="3154" y="1830"/>
                  <a:pt x="3151" y="1835"/>
                  <a:pt x="3151" y="1842"/>
                </a:cubicBezTo>
                <a:cubicBezTo>
                  <a:pt x="3150" y="1849"/>
                  <a:pt x="3153" y="1855"/>
                  <a:pt x="3156" y="1861"/>
                </a:cubicBezTo>
                <a:cubicBezTo>
                  <a:pt x="3157" y="1861"/>
                  <a:pt x="3157" y="1863"/>
                  <a:pt x="3157" y="1864"/>
                </a:cubicBezTo>
                <a:cubicBezTo>
                  <a:pt x="3157" y="1866"/>
                  <a:pt x="3157" y="1867"/>
                  <a:pt x="3156" y="1869"/>
                </a:cubicBezTo>
                <a:cubicBezTo>
                  <a:pt x="3156" y="1870"/>
                  <a:pt x="3156" y="1871"/>
                  <a:pt x="3157" y="1872"/>
                </a:cubicBezTo>
                <a:cubicBezTo>
                  <a:pt x="3160" y="1872"/>
                  <a:pt x="3163" y="1873"/>
                  <a:pt x="3166" y="1873"/>
                </a:cubicBezTo>
                <a:cubicBezTo>
                  <a:pt x="3167" y="1873"/>
                  <a:pt x="3167" y="1872"/>
                  <a:pt x="3167" y="1872"/>
                </a:cubicBezTo>
                <a:cubicBezTo>
                  <a:pt x="3168" y="1871"/>
                  <a:pt x="3168" y="1869"/>
                  <a:pt x="3169" y="1869"/>
                </a:cubicBezTo>
                <a:cubicBezTo>
                  <a:pt x="3170" y="1866"/>
                  <a:pt x="3170" y="1863"/>
                  <a:pt x="3170" y="1861"/>
                </a:cubicBezTo>
                <a:cubicBezTo>
                  <a:pt x="3170" y="1860"/>
                  <a:pt x="3170" y="1860"/>
                  <a:pt x="3170" y="1859"/>
                </a:cubicBezTo>
                <a:cubicBezTo>
                  <a:pt x="3170" y="1859"/>
                  <a:pt x="3170" y="1859"/>
                  <a:pt x="3170" y="1859"/>
                </a:cubicBezTo>
                <a:cubicBezTo>
                  <a:pt x="3171" y="1861"/>
                  <a:pt x="3172" y="1861"/>
                  <a:pt x="3174" y="1861"/>
                </a:cubicBezTo>
                <a:cubicBezTo>
                  <a:pt x="3175" y="1861"/>
                  <a:pt x="3176" y="1861"/>
                  <a:pt x="3177" y="1861"/>
                </a:cubicBezTo>
                <a:cubicBezTo>
                  <a:pt x="3180" y="1861"/>
                  <a:pt x="3183" y="1862"/>
                  <a:pt x="3183" y="1858"/>
                </a:cubicBezTo>
                <a:cubicBezTo>
                  <a:pt x="3183" y="1860"/>
                  <a:pt x="3183" y="1862"/>
                  <a:pt x="3183" y="1863"/>
                </a:cubicBezTo>
                <a:cubicBezTo>
                  <a:pt x="3182" y="1863"/>
                  <a:pt x="3181" y="1864"/>
                  <a:pt x="3180" y="1865"/>
                </a:cubicBezTo>
                <a:cubicBezTo>
                  <a:pt x="3178" y="1865"/>
                  <a:pt x="3178" y="1867"/>
                  <a:pt x="3178" y="1868"/>
                </a:cubicBezTo>
                <a:cubicBezTo>
                  <a:pt x="3180" y="1870"/>
                  <a:pt x="3181" y="1872"/>
                  <a:pt x="3182" y="1874"/>
                </a:cubicBezTo>
                <a:cubicBezTo>
                  <a:pt x="3184" y="1875"/>
                  <a:pt x="3186" y="1875"/>
                  <a:pt x="3187" y="1873"/>
                </a:cubicBezTo>
                <a:cubicBezTo>
                  <a:pt x="3188" y="1872"/>
                  <a:pt x="3189" y="1872"/>
                  <a:pt x="3189" y="1871"/>
                </a:cubicBezTo>
                <a:cubicBezTo>
                  <a:pt x="3191" y="1870"/>
                  <a:pt x="3193" y="1869"/>
                  <a:pt x="3194" y="1867"/>
                </a:cubicBezTo>
                <a:cubicBezTo>
                  <a:pt x="3198" y="1863"/>
                  <a:pt x="3200" y="1857"/>
                  <a:pt x="3202" y="1851"/>
                </a:cubicBezTo>
                <a:cubicBezTo>
                  <a:pt x="3202" y="1851"/>
                  <a:pt x="3201" y="1850"/>
                  <a:pt x="3201" y="1850"/>
                </a:cubicBezTo>
                <a:cubicBezTo>
                  <a:pt x="3200" y="1848"/>
                  <a:pt x="3199" y="1848"/>
                  <a:pt x="3198" y="1847"/>
                </a:cubicBezTo>
                <a:close/>
                <a:moveTo>
                  <a:pt x="3150" y="1853"/>
                </a:moveTo>
                <a:cubicBezTo>
                  <a:pt x="3150" y="1854"/>
                  <a:pt x="3148" y="1855"/>
                  <a:pt x="3147" y="1856"/>
                </a:cubicBezTo>
                <a:cubicBezTo>
                  <a:pt x="3146" y="1856"/>
                  <a:pt x="3146" y="1857"/>
                  <a:pt x="3146" y="1858"/>
                </a:cubicBezTo>
                <a:cubicBezTo>
                  <a:pt x="3146" y="1861"/>
                  <a:pt x="3150" y="1865"/>
                  <a:pt x="3154" y="1865"/>
                </a:cubicBezTo>
                <a:cubicBezTo>
                  <a:pt x="3155" y="1865"/>
                  <a:pt x="3156" y="1863"/>
                  <a:pt x="3155" y="1862"/>
                </a:cubicBezTo>
                <a:cubicBezTo>
                  <a:pt x="3154" y="1859"/>
                  <a:pt x="3152" y="1856"/>
                  <a:pt x="3150" y="1853"/>
                </a:cubicBezTo>
                <a:close/>
                <a:moveTo>
                  <a:pt x="3203" y="1855"/>
                </a:moveTo>
                <a:cubicBezTo>
                  <a:pt x="3201" y="1860"/>
                  <a:pt x="3198" y="1864"/>
                  <a:pt x="3196" y="1869"/>
                </a:cubicBezTo>
                <a:cubicBezTo>
                  <a:pt x="3199" y="1869"/>
                  <a:pt x="3201" y="1869"/>
                  <a:pt x="3204" y="1869"/>
                </a:cubicBezTo>
                <a:cubicBezTo>
                  <a:pt x="3204" y="1869"/>
                  <a:pt x="3205" y="1867"/>
                  <a:pt x="3205" y="1867"/>
                </a:cubicBezTo>
                <a:cubicBezTo>
                  <a:pt x="3205" y="1864"/>
                  <a:pt x="3205" y="1862"/>
                  <a:pt x="3204" y="1859"/>
                </a:cubicBezTo>
                <a:cubicBezTo>
                  <a:pt x="3204" y="1858"/>
                  <a:pt x="3204" y="1857"/>
                  <a:pt x="3203" y="1855"/>
                </a:cubicBezTo>
                <a:close/>
                <a:moveTo>
                  <a:pt x="3150" y="1835"/>
                </a:moveTo>
                <a:cubicBezTo>
                  <a:pt x="3150" y="1835"/>
                  <a:pt x="3149" y="1836"/>
                  <a:pt x="3148" y="1836"/>
                </a:cubicBezTo>
                <a:cubicBezTo>
                  <a:pt x="3148" y="1836"/>
                  <a:pt x="3147" y="1836"/>
                  <a:pt x="3147" y="1835"/>
                </a:cubicBezTo>
                <a:cubicBezTo>
                  <a:pt x="3146" y="1835"/>
                  <a:pt x="3146" y="1834"/>
                  <a:pt x="3146" y="1833"/>
                </a:cubicBezTo>
                <a:cubicBezTo>
                  <a:pt x="3147" y="1832"/>
                  <a:pt x="3147" y="1830"/>
                  <a:pt x="3148" y="1828"/>
                </a:cubicBezTo>
                <a:cubicBezTo>
                  <a:pt x="3148" y="1828"/>
                  <a:pt x="3148" y="1828"/>
                  <a:pt x="3147" y="1828"/>
                </a:cubicBezTo>
                <a:cubicBezTo>
                  <a:pt x="3146" y="1828"/>
                  <a:pt x="3145" y="1829"/>
                  <a:pt x="3144" y="1830"/>
                </a:cubicBezTo>
                <a:cubicBezTo>
                  <a:pt x="3144" y="1832"/>
                  <a:pt x="3145" y="1837"/>
                  <a:pt x="3147" y="1837"/>
                </a:cubicBezTo>
                <a:cubicBezTo>
                  <a:pt x="3148" y="1838"/>
                  <a:pt x="3150" y="1837"/>
                  <a:pt x="3150" y="1835"/>
                </a:cubicBezTo>
                <a:close/>
                <a:moveTo>
                  <a:pt x="3150" y="1853"/>
                </a:moveTo>
                <a:cubicBezTo>
                  <a:pt x="3150" y="1854"/>
                  <a:pt x="3148" y="1855"/>
                  <a:pt x="3147" y="1856"/>
                </a:cubicBezTo>
                <a:cubicBezTo>
                  <a:pt x="3147" y="1856"/>
                  <a:pt x="3146" y="1857"/>
                  <a:pt x="3146" y="1858"/>
                </a:cubicBezTo>
                <a:cubicBezTo>
                  <a:pt x="3146" y="1861"/>
                  <a:pt x="3150" y="1865"/>
                  <a:pt x="3154" y="1865"/>
                </a:cubicBezTo>
                <a:cubicBezTo>
                  <a:pt x="3155" y="1865"/>
                  <a:pt x="3156" y="1864"/>
                  <a:pt x="3155" y="1862"/>
                </a:cubicBezTo>
                <a:cubicBezTo>
                  <a:pt x="3154" y="1859"/>
                  <a:pt x="3152" y="1856"/>
                  <a:pt x="3150" y="1853"/>
                </a:cubicBezTo>
                <a:close/>
                <a:moveTo>
                  <a:pt x="3203" y="1855"/>
                </a:moveTo>
                <a:cubicBezTo>
                  <a:pt x="3201" y="1860"/>
                  <a:pt x="3199" y="1864"/>
                  <a:pt x="3196" y="1869"/>
                </a:cubicBezTo>
                <a:cubicBezTo>
                  <a:pt x="3199" y="1869"/>
                  <a:pt x="3201" y="1869"/>
                  <a:pt x="3204" y="1869"/>
                </a:cubicBezTo>
                <a:cubicBezTo>
                  <a:pt x="3204" y="1869"/>
                  <a:pt x="3205" y="1867"/>
                  <a:pt x="3205" y="1867"/>
                </a:cubicBezTo>
                <a:cubicBezTo>
                  <a:pt x="3205" y="1864"/>
                  <a:pt x="3205" y="1862"/>
                  <a:pt x="3204" y="1859"/>
                </a:cubicBezTo>
                <a:cubicBezTo>
                  <a:pt x="3204" y="1858"/>
                  <a:pt x="3204" y="1857"/>
                  <a:pt x="3203" y="1855"/>
                </a:cubicBezTo>
                <a:close/>
                <a:moveTo>
                  <a:pt x="3151" y="1835"/>
                </a:moveTo>
                <a:cubicBezTo>
                  <a:pt x="3150" y="1835"/>
                  <a:pt x="3149" y="1836"/>
                  <a:pt x="3149" y="1836"/>
                </a:cubicBezTo>
                <a:cubicBezTo>
                  <a:pt x="3148" y="1836"/>
                  <a:pt x="3147" y="1836"/>
                  <a:pt x="3147" y="1835"/>
                </a:cubicBezTo>
                <a:cubicBezTo>
                  <a:pt x="3147" y="1835"/>
                  <a:pt x="3146" y="1834"/>
                  <a:pt x="3146" y="1833"/>
                </a:cubicBezTo>
                <a:cubicBezTo>
                  <a:pt x="3147" y="1831"/>
                  <a:pt x="3147" y="1829"/>
                  <a:pt x="3148" y="1827"/>
                </a:cubicBezTo>
                <a:cubicBezTo>
                  <a:pt x="3148" y="1827"/>
                  <a:pt x="3148" y="1827"/>
                  <a:pt x="3147" y="1827"/>
                </a:cubicBezTo>
                <a:cubicBezTo>
                  <a:pt x="3147" y="1828"/>
                  <a:pt x="3145" y="1829"/>
                  <a:pt x="3145" y="1830"/>
                </a:cubicBezTo>
                <a:cubicBezTo>
                  <a:pt x="3144" y="1831"/>
                  <a:pt x="3145" y="1837"/>
                  <a:pt x="3147" y="1837"/>
                </a:cubicBezTo>
                <a:cubicBezTo>
                  <a:pt x="3149" y="1838"/>
                  <a:pt x="3151" y="1837"/>
                  <a:pt x="3151" y="1835"/>
                </a:cubicBezTo>
                <a:close/>
                <a:moveTo>
                  <a:pt x="3203" y="1827"/>
                </a:moveTo>
                <a:cubicBezTo>
                  <a:pt x="3206" y="1823"/>
                  <a:pt x="3206" y="1823"/>
                  <a:pt x="3210" y="1822"/>
                </a:cubicBezTo>
                <a:cubicBezTo>
                  <a:pt x="3210" y="1824"/>
                  <a:pt x="3211" y="1825"/>
                  <a:pt x="3212" y="1825"/>
                </a:cubicBezTo>
                <a:cubicBezTo>
                  <a:pt x="3210" y="1826"/>
                  <a:pt x="3208" y="1828"/>
                  <a:pt x="3206" y="1829"/>
                </a:cubicBezTo>
                <a:cubicBezTo>
                  <a:pt x="3206" y="1828"/>
                  <a:pt x="3205" y="1828"/>
                  <a:pt x="3204" y="1826"/>
                </a:cubicBezTo>
                <a:cubicBezTo>
                  <a:pt x="3204" y="1826"/>
                  <a:pt x="3204" y="1826"/>
                  <a:pt x="3203" y="1827"/>
                </a:cubicBezTo>
                <a:close/>
                <a:moveTo>
                  <a:pt x="3209" y="1826"/>
                </a:moveTo>
                <a:cubicBezTo>
                  <a:pt x="3208" y="1826"/>
                  <a:pt x="3207" y="1826"/>
                  <a:pt x="3207" y="1826"/>
                </a:cubicBezTo>
                <a:cubicBezTo>
                  <a:pt x="3206" y="1826"/>
                  <a:pt x="3206" y="1826"/>
                  <a:pt x="3206" y="1827"/>
                </a:cubicBezTo>
                <a:cubicBezTo>
                  <a:pt x="3206" y="1827"/>
                  <a:pt x="3206" y="1828"/>
                  <a:pt x="3206" y="1828"/>
                </a:cubicBezTo>
                <a:cubicBezTo>
                  <a:pt x="3207" y="1828"/>
                  <a:pt x="3208" y="1827"/>
                  <a:pt x="3209" y="1826"/>
                </a:cubicBezTo>
                <a:close/>
                <a:moveTo>
                  <a:pt x="3190" y="1817"/>
                </a:moveTo>
                <a:cubicBezTo>
                  <a:pt x="3183" y="1816"/>
                  <a:pt x="3181" y="1819"/>
                  <a:pt x="3179" y="1826"/>
                </a:cubicBezTo>
                <a:cubicBezTo>
                  <a:pt x="3181" y="1824"/>
                  <a:pt x="3182" y="1822"/>
                  <a:pt x="3183" y="1820"/>
                </a:cubicBezTo>
                <a:cubicBezTo>
                  <a:pt x="3183" y="1820"/>
                  <a:pt x="3183" y="1820"/>
                  <a:pt x="3183" y="1820"/>
                </a:cubicBezTo>
                <a:cubicBezTo>
                  <a:pt x="3183" y="1821"/>
                  <a:pt x="3184" y="1822"/>
                  <a:pt x="3184" y="1822"/>
                </a:cubicBezTo>
                <a:cubicBezTo>
                  <a:pt x="3185" y="1819"/>
                  <a:pt x="3186" y="1817"/>
                  <a:pt x="3190" y="1817"/>
                </a:cubicBezTo>
                <a:close/>
                <a:moveTo>
                  <a:pt x="3234" y="1818"/>
                </a:moveTo>
                <a:cubicBezTo>
                  <a:pt x="3232" y="1819"/>
                  <a:pt x="3229" y="1821"/>
                  <a:pt x="3228" y="1822"/>
                </a:cubicBezTo>
                <a:cubicBezTo>
                  <a:pt x="3230" y="1823"/>
                  <a:pt x="3232" y="1821"/>
                  <a:pt x="3234" y="1818"/>
                </a:cubicBezTo>
                <a:close/>
                <a:moveTo>
                  <a:pt x="3200" y="1821"/>
                </a:moveTo>
                <a:cubicBezTo>
                  <a:pt x="3201" y="1819"/>
                  <a:pt x="3202" y="1818"/>
                  <a:pt x="3203" y="1817"/>
                </a:cubicBezTo>
                <a:cubicBezTo>
                  <a:pt x="3200" y="1818"/>
                  <a:pt x="3200" y="1819"/>
                  <a:pt x="3200" y="1821"/>
                </a:cubicBezTo>
                <a:close/>
                <a:moveTo>
                  <a:pt x="3210" y="1842"/>
                </a:moveTo>
                <a:cubicBezTo>
                  <a:pt x="3208" y="1842"/>
                  <a:pt x="3207" y="1843"/>
                  <a:pt x="3207" y="1844"/>
                </a:cubicBezTo>
                <a:cubicBezTo>
                  <a:pt x="3208" y="1843"/>
                  <a:pt x="3209" y="1842"/>
                  <a:pt x="3210" y="1842"/>
                </a:cubicBezTo>
                <a:close/>
                <a:moveTo>
                  <a:pt x="3209" y="1826"/>
                </a:moveTo>
                <a:cubicBezTo>
                  <a:pt x="3208" y="1826"/>
                  <a:pt x="3207" y="1825"/>
                  <a:pt x="3207" y="1825"/>
                </a:cubicBezTo>
                <a:cubicBezTo>
                  <a:pt x="3206" y="1825"/>
                  <a:pt x="3206" y="1826"/>
                  <a:pt x="3206" y="1827"/>
                </a:cubicBezTo>
                <a:cubicBezTo>
                  <a:pt x="3206" y="1827"/>
                  <a:pt x="3206" y="1828"/>
                  <a:pt x="3206" y="1828"/>
                </a:cubicBezTo>
                <a:cubicBezTo>
                  <a:pt x="3207" y="1828"/>
                  <a:pt x="3208" y="1827"/>
                  <a:pt x="3209" y="1826"/>
                </a:cubicBezTo>
                <a:close/>
                <a:moveTo>
                  <a:pt x="3500" y="1804"/>
                </a:moveTo>
                <a:cubicBezTo>
                  <a:pt x="3500" y="1804"/>
                  <a:pt x="3500" y="1804"/>
                  <a:pt x="3500" y="1804"/>
                </a:cubicBezTo>
                <a:cubicBezTo>
                  <a:pt x="3495" y="1804"/>
                  <a:pt x="3495" y="1804"/>
                  <a:pt x="3495" y="1804"/>
                </a:cubicBezTo>
                <a:cubicBezTo>
                  <a:pt x="3493" y="1806"/>
                  <a:pt x="3492" y="1807"/>
                  <a:pt x="3489" y="1808"/>
                </a:cubicBezTo>
                <a:cubicBezTo>
                  <a:pt x="3488" y="1809"/>
                  <a:pt x="3486" y="1810"/>
                  <a:pt x="3484" y="1811"/>
                </a:cubicBezTo>
                <a:cubicBezTo>
                  <a:pt x="3482" y="1812"/>
                  <a:pt x="3481" y="1813"/>
                  <a:pt x="3479" y="1814"/>
                </a:cubicBezTo>
                <a:cubicBezTo>
                  <a:pt x="3477" y="1814"/>
                  <a:pt x="3475" y="1815"/>
                  <a:pt x="3474" y="1815"/>
                </a:cubicBezTo>
                <a:cubicBezTo>
                  <a:pt x="3474" y="1815"/>
                  <a:pt x="3474" y="1815"/>
                  <a:pt x="3474" y="1825"/>
                </a:cubicBezTo>
                <a:cubicBezTo>
                  <a:pt x="3476" y="1824"/>
                  <a:pt x="3479" y="1824"/>
                  <a:pt x="3482" y="1822"/>
                </a:cubicBezTo>
                <a:cubicBezTo>
                  <a:pt x="3484" y="1822"/>
                  <a:pt x="3487" y="1820"/>
                  <a:pt x="3488" y="1819"/>
                </a:cubicBezTo>
                <a:cubicBezTo>
                  <a:pt x="3488" y="1819"/>
                  <a:pt x="3488" y="1819"/>
                  <a:pt x="3488" y="1877"/>
                </a:cubicBezTo>
                <a:cubicBezTo>
                  <a:pt x="3488" y="1877"/>
                  <a:pt x="3488" y="1877"/>
                  <a:pt x="3500" y="1877"/>
                </a:cubicBezTo>
                <a:cubicBezTo>
                  <a:pt x="3500" y="1877"/>
                  <a:pt x="3500" y="1877"/>
                  <a:pt x="3500" y="1804"/>
                </a:cubicBezTo>
                <a:close/>
                <a:moveTo>
                  <a:pt x="3621" y="1804"/>
                </a:moveTo>
                <a:cubicBezTo>
                  <a:pt x="3621" y="1804"/>
                  <a:pt x="3621" y="1804"/>
                  <a:pt x="3621" y="1804"/>
                </a:cubicBezTo>
                <a:cubicBezTo>
                  <a:pt x="3616" y="1804"/>
                  <a:pt x="3616" y="1804"/>
                  <a:pt x="3616" y="1804"/>
                </a:cubicBezTo>
                <a:cubicBezTo>
                  <a:pt x="3614" y="1806"/>
                  <a:pt x="3613" y="1807"/>
                  <a:pt x="3611" y="1808"/>
                </a:cubicBezTo>
                <a:cubicBezTo>
                  <a:pt x="3609" y="1809"/>
                  <a:pt x="3608" y="1810"/>
                  <a:pt x="3605" y="1811"/>
                </a:cubicBezTo>
                <a:cubicBezTo>
                  <a:pt x="3604" y="1812"/>
                  <a:pt x="3602" y="1813"/>
                  <a:pt x="3600" y="1814"/>
                </a:cubicBezTo>
                <a:cubicBezTo>
                  <a:pt x="3598" y="1814"/>
                  <a:pt x="3597" y="1815"/>
                  <a:pt x="3595" y="1815"/>
                </a:cubicBezTo>
                <a:cubicBezTo>
                  <a:pt x="3595" y="1815"/>
                  <a:pt x="3595" y="1815"/>
                  <a:pt x="3595" y="1825"/>
                </a:cubicBezTo>
                <a:cubicBezTo>
                  <a:pt x="3597" y="1824"/>
                  <a:pt x="3600" y="1824"/>
                  <a:pt x="3603" y="1822"/>
                </a:cubicBezTo>
                <a:cubicBezTo>
                  <a:pt x="3605" y="1822"/>
                  <a:pt x="3608" y="1820"/>
                  <a:pt x="3610" y="1819"/>
                </a:cubicBezTo>
                <a:cubicBezTo>
                  <a:pt x="3610" y="1819"/>
                  <a:pt x="3610" y="1819"/>
                  <a:pt x="3610" y="1877"/>
                </a:cubicBezTo>
                <a:cubicBezTo>
                  <a:pt x="3610" y="1877"/>
                  <a:pt x="3610" y="1877"/>
                  <a:pt x="3621" y="1877"/>
                </a:cubicBezTo>
                <a:cubicBezTo>
                  <a:pt x="3621" y="1877"/>
                  <a:pt x="3621" y="1877"/>
                  <a:pt x="3621" y="1804"/>
                </a:cubicBezTo>
                <a:close/>
                <a:moveTo>
                  <a:pt x="3668" y="1804"/>
                </a:moveTo>
                <a:cubicBezTo>
                  <a:pt x="3668" y="1804"/>
                  <a:pt x="3668" y="1804"/>
                  <a:pt x="3668" y="1804"/>
                </a:cubicBezTo>
                <a:cubicBezTo>
                  <a:pt x="3663" y="1804"/>
                  <a:pt x="3663" y="1804"/>
                  <a:pt x="3663" y="1804"/>
                </a:cubicBezTo>
                <a:cubicBezTo>
                  <a:pt x="3661" y="1806"/>
                  <a:pt x="3660" y="1807"/>
                  <a:pt x="3657" y="1808"/>
                </a:cubicBezTo>
                <a:cubicBezTo>
                  <a:pt x="3656" y="1809"/>
                  <a:pt x="3654" y="1810"/>
                  <a:pt x="3652" y="1811"/>
                </a:cubicBezTo>
                <a:cubicBezTo>
                  <a:pt x="3651" y="1812"/>
                  <a:pt x="3649" y="1813"/>
                  <a:pt x="3647" y="1814"/>
                </a:cubicBezTo>
                <a:cubicBezTo>
                  <a:pt x="3645" y="1814"/>
                  <a:pt x="3643" y="1815"/>
                  <a:pt x="3641" y="1815"/>
                </a:cubicBezTo>
                <a:cubicBezTo>
                  <a:pt x="3641" y="1815"/>
                  <a:pt x="3641" y="1815"/>
                  <a:pt x="3641" y="1825"/>
                </a:cubicBezTo>
                <a:cubicBezTo>
                  <a:pt x="3644" y="1824"/>
                  <a:pt x="3647" y="1824"/>
                  <a:pt x="3649" y="1822"/>
                </a:cubicBezTo>
                <a:cubicBezTo>
                  <a:pt x="3652" y="1822"/>
                  <a:pt x="3654" y="1820"/>
                  <a:pt x="3657" y="1819"/>
                </a:cubicBezTo>
                <a:cubicBezTo>
                  <a:pt x="3657" y="1819"/>
                  <a:pt x="3657" y="1819"/>
                  <a:pt x="3657" y="1877"/>
                </a:cubicBezTo>
                <a:cubicBezTo>
                  <a:pt x="3657" y="1877"/>
                  <a:pt x="3657" y="1877"/>
                  <a:pt x="3668" y="1877"/>
                </a:cubicBezTo>
                <a:cubicBezTo>
                  <a:pt x="3668" y="1877"/>
                  <a:pt x="3668" y="1877"/>
                  <a:pt x="3668" y="1804"/>
                </a:cubicBezTo>
                <a:close/>
                <a:moveTo>
                  <a:pt x="3714" y="1804"/>
                </a:moveTo>
                <a:cubicBezTo>
                  <a:pt x="3714" y="1804"/>
                  <a:pt x="3714" y="1804"/>
                  <a:pt x="3714" y="1804"/>
                </a:cubicBezTo>
                <a:cubicBezTo>
                  <a:pt x="3710" y="1804"/>
                  <a:pt x="3710" y="1804"/>
                  <a:pt x="3710" y="1804"/>
                </a:cubicBezTo>
                <a:cubicBezTo>
                  <a:pt x="3708" y="1806"/>
                  <a:pt x="3706" y="1807"/>
                  <a:pt x="3704" y="1808"/>
                </a:cubicBezTo>
                <a:cubicBezTo>
                  <a:pt x="3703" y="1809"/>
                  <a:pt x="3700" y="1810"/>
                  <a:pt x="3699" y="1811"/>
                </a:cubicBezTo>
                <a:cubicBezTo>
                  <a:pt x="3697" y="1811"/>
                  <a:pt x="3695" y="1812"/>
                  <a:pt x="3693" y="1813"/>
                </a:cubicBezTo>
                <a:cubicBezTo>
                  <a:pt x="3692" y="1814"/>
                  <a:pt x="3690" y="1814"/>
                  <a:pt x="3688" y="1815"/>
                </a:cubicBezTo>
                <a:cubicBezTo>
                  <a:pt x="3688" y="1815"/>
                  <a:pt x="3688" y="1815"/>
                  <a:pt x="3688" y="1825"/>
                </a:cubicBezTo>
                <a:cubicBezTo>
                  <a:pt x="3691" y="1824"/>
                  <a:pt x="3694" y="1823"/>
                  <a:pt x="3696" y="1822"/>
                </a:cubicBezTo>
                <a:cubicBezTo>
                  <a:pt x="3698" y="1822"/>
                  <a:pt x="3701" y="1820"/>
                  <a:pt x="3703" y="1819"/>
                </a:cubicBezTo>
                <a:cubicBezTo>
                  <a:pt x="3703" y="1819"/>
                  <a:pt x="3703" y="1819"/>
                  <a:pt x="3703" y="1877"/>
                </a:cubicBezTo>
                <a:cubicBezTo>
                  <a:pt x="3703" y="1877"/>
                  <a:pt x="3703" y="1877"/>
                  <a:pt x="3714" y="1877"/>
                </a:cubicBezTo>
                <a:cubicBezTo>
                  <a:pt x="3714" y="1877"/>
                  <a:pt x="3714" y="1877"/>
                  <a:pt x="3714" y="1804"/>
                </a:cubicBezTo>
                <a:close/>
                <a:moveTo>
                  <a:pt x="3520" y="1836"/>
                </a:moveTo>
                <a:cubicBezTo>
                  <a:pt x="3520" y="1836"/>
                  <a:pt x="3520" y="1836"/>
                  <a:pt x="3520" y="1836"/>
                </a:cubicBezTo>
                <a:cubicBezTo>
                  <a:pt x="3520" y="1844"/>
                  <a:pt x="3520" y="1844"/>
                  <a:pt x="3520" y="1844"/>
                </a:cubicBezTo>
                <a:cubicBezTo>
                  <a:pt x="3526" y="1845"/>
                  <a:pt x="3527" y="1848"/>
                  <a:pt x="3527" y="1850"/>
                </a:cubicBezTo>
                <a:cubicBezTo>
                  <a:pt x="3527" y="1853"/>
                  <a:pt x="3526" y="1855"/>
                  <a:pt x="3526" y="1857"/>
                </a:cubicBezTo>
                <a:cubicBezTo>
                  <a:pt x="3526" y="1860"/>
                  <a:pt x="3526" y="1862"/>
                  <a:pt x="3526" y="1865"/>
                </a:cubicBezTo>
                <a:cubicBezTo>
                  <a:pt x="3526" y="1874"/>
                  <a:pt x="3532" y="1877"/>
                  <a:pt x="3540" y="1877"/>
                </a:cubicBezTo>
                <a:cubicBezTo>
                  <a:pt x="3540" y="1877"/>
                  <a:pt x="3540" y="1877"/>
                  <a:pt x="3544" y="1877"/>
                </a:cubicBezTo>
                <a:cubicBezTo>
                  <a:pt x="3544" y="1877"/>
                  <a:pt x="3544" y="1877"/>
                  <a:pt x="3544" y="1868"/>
                </a:cubicBezTo>
                <a:cubicBezTo>
                  <a:pt x="3544" y="1868"/>
                  <a:pt x="3544" y="1868"/>
                  <a:pt x="3542" y="1868"/>
                </a:cubicBezTo>
                <a:cubicBezTo>
                  <a:pt x="3539" y="1868"/>
                  <a:pt x="3537" y="1866"/>
                  <a:pt x="3537" y="1862"/>
                </a:cubicBezTo>
                <a:cubicBezTo>
                  <a:pt x="3537" y="1861"/>
                  <a:pt x="3537" y="1859"/>
                  <a:pt x="3538" y="1857"/>
                </a:cubicBezTo>
                <a:cubicBezTo>
                  <a:pt x="3538" y="1856"/>
                  <a:pt x="3538" y="1854"/>
                  <a:pt x="3538" y="1852"/>
                </a:cubicBezTo>
                <a:cubicBezTo>
                  <a:pt x="3538" y="1844"/>
                  <a:pt x="3535" y="1842"/>
                  <a:pt x="3530" y="1840"/>
                </a:cubicBezTo>
                <a:cubicBezTo>
                  <a:pt x="3530" y="1840"/>
                  <a:pt x="3530" y="1840"/>
                  <a:pt x="3530" y="1840"/>
                </a:cubicBezTo>
                <a:cubicBezTo>
                  <a:pt x="3535" y="1839"/>
                  <a:pt x="3538" y="1837"/>
                  <a:pt x="3538" y="1829"/>
                </a:cubicBezTo>
                <a:cubicBezTo>
                  <a:pt x="3538" y="1827"/>
                  <a:pt x="3538" y="1825"/>
                  <a:pt x="3538" y="1823"/>
                </a:cubicBezTo>
                <a:cubicBezTo>
                  <a:pt x="3537" y="1821"/>
                  <a:pt x="3537" y="1820"/>
                  <a:pt x="3537" y="1818"/>
                </a:cubicBezTo>
                <a:cubicBezTo>
                  <a:pt x="3537" y="1815"/>
                  <a:pt x="3539" y="1813"/>
                  <a:pt x="3542" y="1813"/>
                </a:cubicBezTo>
                <a:cubicBezTo>
                  <a:pt x="3542" y="1813"/>
                  <a:pt x="3542" y="1813"/>
                  <a:pt x="3544" y="1813"/>
                </a:cubicBezTo>
                <a:cubicBezTo>
                  <a:pt x="3544" y="1813"/>
                  <a:pt x="3544" y="1813"/>
                  <a:pt x="3544" y="1803"/>
                </a:cubicBezTo>
                <a:cubicBezTo>
                  <a:pt x="3544" y="1803"/>
                  <a:pt x="3544" y="1803"/>
                  <a:pt x="3540" y="1803"/>
                </a:cubicBezTo>
                <a:cubicBezTo>
                  <a:pt x="3531" y="1803"/>
                  <a:pt x="3526" y="1807"/>
                  <a:pt x="3526" y="1816"/>
                </a:cubicBezTo>
                <a:cubicBezTo>
                  <a:pt x="3526" y="1818"/>
                  <a:pt x="3526" y="1821"/>
                  <a:pt x="3526" y="1823"/>
                </a:cubicBezTo>
                <a:cubicBezTo>
                  <a:pt x="3526" y="1826"/>
                  <a:pt x="3527" y="1828"/>
                  <a:pt x="3527" y="1830"/>
                </a:cubicBezTo>
                <a:cubicBezTo>
                  <a:pt x="3527" y="1833"/>
                  <a:pt x="3526" y="1836"/>
                  <a:pt x="3520" y="1836"/>
                </a:cubicBezTo>
                <a:close/>
                <a:moveTo>
                  <a:pt x="3574" y="1844"/>
                </a:moveTo>
                <a:cubicBezTo>
                  <a:pt x="3574" y="1844"/>
                  <a:pt x="3574" y="1844"/>
                  <a:pt x="3574" y="1844"/>
                </a:cubicBezTo>
                <a:cubicBezTo>
                  <a:pt x="3574" y="1836"/>
                  <a:pt x="3574" y="1836"/>
                  <a:pt x="3574" y="1836"/>
                </a:cubicBezTo>
                <a:cubicBezTo>
                  <a:pt x="3568" y="1836"/>
                  <a:pt x="3568" y="1833"/>
                  <a:pt x="3568" y="1830"/>
                </a:cubicBezTo>
                <a:cubicBezTo>
                  <a:pt x="3568" y="1828"/>
                  <a:pt x="3568" y="1826"/>
                  <a:pt x="3568" y="1823"/>
                </a:cubicBezTo>
                <a:cubicBezTo>
                  <a:pt x="3569" y="1821"/>
                  <a:pt x="3569" y="1818"/>
                  <a:pt x="3569" y="1816"/>
                </a:cubicBezTo>
                <a:cubicBezTo>
                  <a:pt x="3569" y="1807"/>
                  <a:pt x="3563" y="1803"/>
                  <a:pt x="3554" y="1803"/>
                </a:cubicBezTo>
                <a:cubicBezTo>
                  <a:pt x="3554" y="1803"/>
                  <a:pt x="3554" y="1803"/>
                  <a:pt x="3550" y="1803"/>
                </a:cubicBezTo>
                <a:cubicBezTo>
                  <a:pt x="3550" y="1803"/>
                  <a:pt x="3550" y="1803"/>
                  <a:pt x="3550" y="1813"/>
                </a:cubicBezTo>
                <a:cubicBezTo>
                  <a:pt x="3550" y="1813"/>
                  <a:pt x="3550" y="1813"/>
                  <a:pt x="3552" y="1813"/>
                </a:cubicBezTo>
                <a:cubicBezTo>
                  <a:pt x="3556" y="1813"/>
                  <a:pt x="3557" y="1815"/>
                  <a:pt x="3557" y="1818"/>
                </a:cubicBezTo>
                <a:cubicBezTo>
                  <a:pt x="3557" y="1820"/>
                  <a:pt x="3557" y="1821"/>
                  <a:pt x="3557" y="1823"/>
                </a:cubicBezTo>
                <a:cubicBezTo>
                  <a:pt x="3556" y="1825"/>
                  <a:pt x="3556" y="1827"/>
                  <a:pt x="3556" y="1829"/>
                </a:cubicBezTo>
                <a:cubicBezTo>
                  <a:pt x="3556" y="1837"/>
                  <a:pt x="3559" y="1839"/>
                  <a:pt x="3565" y="1840"/>
                </a:cubicBezTo>
                <a:cubicBezTo>
                  <a:pt x="3565" y="1840"/>
                  <a:pt x="3565" y="1840"/>
                  <a:pt x="3565" y="1840"/>
                </a:cubicBezTo>
                <a:cubicBezTo>
                  <a:pt x="3559" y="1842"/>
                  <a:pt x="3556" y="1844"/>
                  <a:pt x="3556" y="1852"/>
                </a:cubicBezTo>
                <a:cubicBezTo>
                  <a:pt x="3556" y="1854"/>
                  <a:pt x="3556" y="1856"/>
                  <a:pt x="3557" y="1857"/>
                </a:cubicBezTo>
                <a:cubicBezTo>
                  <a:pt x="3557" y="1859"/>
                  <a:pt x="3557" y="1861"/>
                  <a:pt x="3557" y="1862"/>
                </a:cubicBezTo>
                <a:cubicBezTo>
                  <a:pt x="3557" y="1866"/>
                  <a:pt x="3556" y="1868"/>
                  <a:pt x="3552" y="1868"/>
                </a:cubicBezTo>
                <a:cubicBezTo>
                  <a:pt x="3552" y="1868"/>
                  <a:pt x="3552" y="1868"/>
                  <a:pt x="3550" y="1868"/>
                </a:cubicBezTo>
                <a:cubicBezTo>
                  <a:pt x="3550" y="1868"/>
                  <a:pt x="3550" y="1868"/>
                  <a:pt x="3550" y="1877"/>
                </a:cubicBezTo>
                <a:cubicBezTo>
                  <a:pt x="3550" y="1877"/>
                  <a:pt x="3550" y="1877"/>
                  <a:pt x="3554" y="1877"/>
                </a:cubicBezTo>
                <a:cubicBezTo>
                  <a:pt x="3563" y="1877"/>
                  <a:pt x="3569" y="1874"/>
                  <a:pt x="3569" y="1865"/>
                </a:cubicBezTo>
                <a:cubicBezTo>
                  <a:pt x="3569" y="1862"/>
                  <a:pt x="3569" y="1860"/>
                  <a:pt x="3568" y="1857"/>
                </a:cubicBezTo>
                <a:cubicBezTo>
                  <a:pt x="3568" y="1855"/>
                  <a:pt x="3568" y="1853"/>
                  <a:pt x="3568" y="1850"/>
                </a:cubicBezTo>
                <a:cubicBezTo>
                  <a:pt x="3568" y="1848"/>
                  <a:pt x="3568" y="1845"/>
                  <a:pt x="3574" y="1844"/>
                </a:cubicBezTo>
                <a:close/>
                <a:moveTo>
                  <a:pt x="3758" y="1877"/>
                </a:moveTo>
                <a:cubicBezTo>
                  <a:pt x="3751" y="1877"/>
                  <a:pt x="3744" y="1874"/>
                  <a:pt x="3740" y="1868"/>
                </a:cubicBezTo>
                <a:cubicBezTo>
                  <a:pt x="3736" y="1862"/>
                  <a:pt x="3734" y="1853"/>
                  <a:pt x="3734" y="1841"/>
                </a:cubicBezTo>
                <a:cubicBezTo>
                  <a:pt x="3734" y="1828"/>
                  <a:pt x="3736" y="1818"/>
                  <a:pt x="3741" y="1812"/>
                </a:cubicBezTo>
                <a:cubicBezTo>
                  <a:pt x="3745" y="1805"/>
                  <a:pt x="3752" y="1801"/>
                  <a:pt x="3761" y="1801"/>
                </a:cubicBezTo>
                <a:cubicBezTo>
                  <a:pt x="3777" y="1801"/>
                  <a:pt x="3785" y="1814"/>
                  <a:pt x="3785" y="1839"/>
                </a:cubicBezTo>
                <a:cubicBezTo>
                  <a:pt x="3785" y="1852"/>
                  <a:pt x="3782" y="1861"/>
                  <a:pt x="3777" y="1868"/>
                </a:cubicBezTo>
                <a:cubicBezTo>
                  <a:pt x="3773" y="1874"/>
                  <a:pt x="3766" y="1877"/>
                  <a:pt x="3758" y="1877"/>
                </a:cubicBezTo>
                <a:close/>
                <a:moveTo>
                  <a:pt x="3760" y="1811"/>
                </a:moveTo>
                <a:cubicBezTo>
                  <a:pt x="3750" y="1811"/>
                  <a:pt x="3746" y="1821"/>
                  <a:pt x="3746" y="1841"/>
                </a:cubicBezTo>
                <a:cubicBezTo>
                  <a:pt x="3746" y="1859"/>
                  <a:pt x="3750" y="1868"/>
                  <a:pt x="3759" y="1868"/>
                </a:cubicBezTo>
                <a:cubicBezTo>
                  <a:pt x="3768" y="1868"/>
                  <a:pt x="3772" y="1859"/>
                  <a:pt x="3772" y="1840"/>
                </a:cubicBezTo>
                <a:cubicBezTo>
                  <a:pt x="3772" y="1820"/>
                  <a:pt x="3768" y="1811"/>
                  <a:pt x="3760" y="1811"/>
                </a:cubicBezTo>
                <a:close/>
                <a:moveTo>
                  <a:pt x="3828" y="1877"/>
                </a:moveTo>
                <a:cubicBezTo>
                  <a:pt x="3821" y="1877"/>
                  <a:pt x="3815" y="1874"/>
                  <a:pt x="3811" y="1868"/>
                </a:cubicBezTo>
                <a:cubicBezTo>
                  <a:pt x="3807" y="1862"/>
                  <a:pt x="3804" y="1853"/>
                  <a:pt x="3804" y="1841"/>
                </a:cubicBezTo>
                <a:cubicBezTo>
                  <a:pt x="3804" y="1828"/>
                  <a:pt x="3807" y="1818"/>
                  <a:pt x="3811" y="1812"/>
                </a:cubicBezTo>
                <a:cubicBezTo>
                  <a:pt x="3815" y="1805"/>
                  <a:pt x="3822" y="1801"/>
                  <a:pt x="3831" y="1801"/>
                </a:cubicBezTo>
                <a:cubicBezTo>
                  <a:pt x="3847" y="1801"/>
                  <a:pt x="3855" y="1814"/>
                  <a:pt x="3855" y="1839"/>
                </a:cubicBezTo>
                <a:cubicBezTo>
                  <a:pt x="3855" y="1852"/>
                  <a:pt x="3853" y="1861"/>
                  <a:pt x="3848" y="1868"/>
                </a:cubicBezTo>
                <a:cubicBezTo>
                  <a:pt x="3843" y="1874"/>
                  <a:pt x="3837" y="1877"/>
                  <a:pt x="3828" y="1877"/>
                </a:cubicBezTo>
                <a:close/>
                <a:moveTo>
                  <a:pt x="3830" y="1811"/>
                </a:moveTo>
                <a:cubicBezTo>
                  <a:pt x="3821" y="1811"/>
                  <a:pt x="3816" y="1821"/>
                  <a:pt x="3816" y="1841"/>
                </a:cubicBezTo>
                <a:cubicBezTo>
                  <a:pt x="3816" y="1859"/>
                  <a:pt x="3820" y="1868"/>
                  <a:pt x="3829" y="1868"/>
                </a:cubicBezTo>
                <a:cubicBezTo>
                  <a:pt x="3838" y="1868"/>
                  <a:pt x="3842" y="1859"/>
                  <a:pt x="3842" y="1840"/>
                </a:cubicBezTo>
                <a:cubicBezTo>
                  <a:pt x="3842" y="1820"/>
                  <a:pt x="3838" y="1811"/>
                  <a:pt x="3830" y="1811"/>
                </a:cubicBezTo>
                <a:close/>
                <a:moveTo>
                  <a:pt x="1974" y="1900"/>
                </a:moveTo>
                <a:cubicBezTo>
                  <a:pt x="1974" y="1900"/>
                  <a:pt x="1974" y="1900"/>
                  <a:pt x="1974" y="1900"/>
                </a:cubicBezTo>
                <a:cubicBezTo>
                  <a:pt x="1969" y="1900"/>
                  <a:pt x="1969" y="1900"/>
                  <a:pt x="1969" y="1900"/>
                </a:cubicBezTo>
                <a:cubicBezTo>
                  <a:pt x="1967" y="1901"/>
                  <a:pt x="1965" y="1903"/>
                  <a:pt x="1963" y="1903"/>
                </a:cubicBezTo>
                <a:cubicBezTo>
                  <a:pt x="1962" y="1905"/>
                  <a:pt x="1960" y="1906"/>
                  <a:pt x="1958" y="1906"/>
                </a:cubicBezTo>
                <a:cubicBezTo>
                  <a:pt x="1956" y="1908"/>
                  <a:pt x="1954" y="1908"/>
                  <a:pt x="1953" y="1909"/>
                </a:cubicBezTo>
                <a:cubicBezTo>
                  <a:pt x="1950" y="1910"/>
                  <a:pt x="1949" y="1911"/>
                  <a:pt x="1947" y="1911"/>
                </a:cubicBezTo>
                <a:cubicBezTo>
                  <a:pt x="1947" y="1911"/>
                  <a:pt x="1947" y="1911"/>
                  <a:pt x="1947" y="1921"/>
                </a:cubicBezTo>
                <a:cubicBezTo>
                  <a:pt x="1950" y="1920"/>
                  <a:pt x="1953" y="1919"/>
                  <a:pt x="1956" y="1918"/>
                </a:cubicBezTo>
                <a:cubicBezTo>
                  <a:pt x="1958" y="1917"/>
                  <a:pt x="1960" y="1916"/>
                  <a:pt x="1962" y="1914"/>
                </a:cubicBezTo>
                <a:cubicBezTo>
                  <a:pt x="1962" y="1914"/>
                  <a:pt x="1962" y="1914"/>
                  <a:pt x="1962" y="1973"/>
                </a:cubicBezTo>
                <a:cubicBezTo>
                  <a:pt x="1962" y="1973"/>
                  <a:pt x="1962" y="1973"/>
                  <a:pt x="1974" y="1973"/>
                </a:cubicBezTo>
                <a:cubicBezTo>
                  <a:pt x="1974" y="1973"/>
                  <a:pt x="1974" y="1973"/>
                  <a:pt x="1974" y="1900"/>
                </a:cubicBezTo>
                <a:close/>
                <a:moveTo>
                  <a:pt x="2022" y="1900"/>
                </a:moveTo>
                <a:cubicBezTo>
                  <a:pt x="2022" y="1900"/>
                  <a:pt x="2022" y="1900"/>
                  <a:pt x="2022" y="1900"/>
                </a:cubicBezTo>
                <a:cubicBezTo>
                  <a:pt x="2016" y="1900"/>
                  <a:pt x="2016" y="1900"/>
                  <a:pt x="2016" y="1900"/>
                </a:cubicBezTo>
                <a:cubicBezTo>
                  <a:pt x="2014" y="1901"/>
                  <a:pt x="2013" y="1903"/>
                  <a:pt x="2011" y="1903"/>
                </a:cubicBezTo>
                <a:cubicBezTo>
                  <a:pt x="2009" y="1905"/>
                  <a:pt x="2007" y="1906"/>
                  <a:pt x="2005" y="1906"/>
                </a:cubicBezTo>
                <a:cubicBezTo>
                  <a:pt x="2004" y="1908"/>
                  <a:pt x="2002" y="1908"/>
                  <a:pt x="2000" y="1909"/>
                </a:cubicBezTo>
                <a:cubicBezTo>
                  <a:pt x="1998" y="1910"/>
                  <a:pt x="1996" y="1911"/>
                  <a:pt x="1994" y="1911"/>
                </a:cubicBezTo>
                <a:cubicBezTo>
                  <a:pt x="1994" y="1911"/>
                  <a:pt x="1994" y="1911"/>
                  <a:pt x="1994" y="1921"/>
                </a:cubicBezTo>
                <a:cubicBezTo>
                  <a:pt x="1997" y="1920"/>
                  <a:pt x="2000" y="1919"/>
                  <a:pt x="2002" y="1918"/>
                </a:cubicBezTo>
                <a:cubicBezTo>
                  <a:pt x="2005" y="1917"/>
                  <a:pt x="2008" y="1916"/>
                  <a:pt x="2010" y="1914"/>
                </a:cubicBezTo>
                <a:cubicBezTo>
                  <a:pt x="2010" y="1914"/>
                  <a:pt x="2010" y="1914"/>
                  <a:pt x="2010" y="1973"/>
                </a:cubicBezTo>
                <a:cubicBezTo>
                  <a:pt x="2010" y="1973"/>
                  <a:pt x="2010" y="1973"/>
                  <a:pt x="2022" y="1973"/>
                </a:cubicBezTo>
                <a:cubicBezTo>
                  <a:pt x="2022" y="1973"/>
                  <a:pt x="2022" y="1973"/>
                  <a:pt x="2022" y="1900"/>
                </a:cubicBezTo>
                <a:close/>
                <a:moveTo>
                  <a:pt x="2068" y="1900"/>
                </a:moveTo>
                <a:cubicBezTo>
                  <a:pt x="2068" y="1900"/>
                  <a:pt x="2068" y="1900"/>
                  <a:pt x="2068" y="1900"/>
                </a:cubicBezTo>
                <a:cubicBezTo>
                  <a:pt x="2064" y="1900"/>
                  <a:pt x="2064" y="1900"/>
                  <a:pt x="2064" y="1900"/>
                </a:cubicBezTo>
                <a:cubicBezTo>
                  <a:pt x="2062" y="1901"/>
                  <a:pt x="2060" y="1903"/>
                  <a:pt x="2058" y="1903"/>
                </a:cubicBezTo>
                <a:cubicBezTo>
                  <a:pt x="2057" y="1905"/>
                  <a:pt x="2054" y="1906"/>
                  <a:pt x="2053" y="1906"/>
                </a:cubicBezTo>
                <a:cubicBezTo>
                  <a:pt x="2051" y="1907"/>
                  <a:pt x="2049" y="1908"/>
                  <a:pt x="2047" y="1908"/>
                </a:cubicBezTo>
                <a:cubicBezTo>
                  <a:pt x="2046" y="1909"/>
                  <a:pt x="2044" y="1910"/>
                  <a:pt x="2042" y="1911"/>
                </a:cubicBezTo>
                <a:cubicBezTo>
                  <a:pt x="2042" y="1911"/>
                  <a:pt x="2042" y="1911"/>
                  <a:pt x="2042" y="1921"/>
                </a:cubicBezTo>
                <a:cubicBezTo>
                  <a:pt x="2045" y="1920"/>
                  <a:pt x="2048" y="1919"/>
                  <a:pt x="2050" y="1918"/>
                </a:cubicBezTo>
                <a:cubicBezTo>
                  <a:pt x="2052" y="1917"/>
                  <a:pt x="2055" y="1916"/>
                  <a:pt x="2057" y="1914"/>
                </a:cubicBezTo>
                <a:cubicBezTo>
                  <a:pt x="2057" y="1914"/>
                  <a:pt x="2057" y="1914"/>
                  <a:pt x="2057" y="1973"/>
                </a:cubicBezTo>
                <a:cubicBezTo>
                  <a:pt x="2057" y="1973"/>
                  <a:pt x="2057" y="1973"/>
                  <a:pt x="2068" y="1973"/>
                </a:cubicBezTo>
                <a:cubicBezTo>
                  <a:pt x="2068" y="1973"/>
                  <a:pt x="2068" y="1973"/>
                  <a:pt x="2068" y="1900"/>
                </a:cubicBezTo>
                <a:close/>
                <a:moveTo>
                  <a:pt x="2113" y="1973"/>
                </a:moveTo>
                <a:cubicBezTo>
                  <a:pt x="2106" y="1973"/>
                  <a:pt x="2099" y="1970"/>
                  <a:pt x="2095" y="1964"/>
                </a:cubicBezTo>
                <a:cubicBezTo>
                  <a:pt x="2091" y="1958"/>
                  <a:pt x="2089" y="1949"/>
                  <a:pt x="2089" y="1937"/>
                </a:cubicBezTo>
                <a:cubicBezTo>
                  <a:pt x="2089" y="1924"/>
                  <a:pt x="2091" y="1914"/>
                  <a:pt x="2095" y="1908"/>
                </a:cubicBezTo>
                <a:cubicBezTo>
                  <a:pt x="2100" y="1901"/>
                  <a:pt x="2106" y="1897"/>
                  <a:pt x="2115" y="1897"/>
                </a:cubicBezTo>
                <a:cubicBezTo>
                  <a:pt x="2131" y="1897"/>
                  <a:pt x="2139" y="1910"/>
                  <a:pt x="2139" y="1935"/>
                </a:cubicBezTo>
                <a:cubicBezTo>
                  <a:pt x="2139" y="1948"/>
                  <a:pt x="2137" y="1957"/>
                  <a:pt x="2132" y="1964"/>
                </a:cubicBezTo>
                <a:cubicBezTo>
                  <a:pt x="2128" y="1970"/>
                  <a:pt x="2121" y="1973"/>
                  <a:pt x="2113" y="1973"/>
                </a:cubicBezTo>
                <a:close/>
                <a:moveTo>
                  <a:pt x="2114" y="1907"/>
                </a:moveTo>
                <a:cubicBezTo>
                  <a:pt x="2105" y="1907"/>
                  <a:pt x="2101" y="1917"/>
                  <a:pt x="2101" y="1937"/>
                </a:cubicBezTo>
                <a:cubicBezTo>
                  <a:pt x="2101" y="1955"/>
                  <a:pt x="2105" y="1964"/>
                  <a:pt x="2114" y="1964"/>
                </a:cubicBezTo>
                <a:cubicBezTo>
                  <a:pt x="2122" y="1964"/>
                  <a:pt x="2127" y="1955"/>
                  <a:pt x="2127" y="1936"/>
                </a:cubicBezTo>
                <a:cubicBezTo>
                  <a:pt x="2127" y="1916"/>
                  <a:pt x="2122" y="1907"/>
                  <a:pt x="2114" y="1907"/>
                </a:cubicBezTo>
                <a:close/>
                <a:moveTo>
                  <a:pt x="2184" y="1973"/>
                </a:moveTo>
                <a:cubicBezTo>
                  <a:pt x="2176" y="1973"/>
                  <a:pt x="2170" y="1970"/>
                  <a:pt x="2166" y="1964"/>
                </a:cubicBezTo>
                <a:cubicBezTo>
                  <a:pt x="2162" y="1958"/>
                  <a:pt x="2159" y="1949"/>
                  <a:pt x="2159" y="1937"/>
                </a:cubicBezTo>
                <a:cubicBezTo>
                  <a:pt x="2159" y="1924"/>
                  <a:pt x="2162" y="1914"/>
                  <a:pt x="2166" y="1908"/>
                </a:cubicBezTo>
                <a:cubicBezTo>
                  <a:pt x="2170" y="1901"/>
                  <a:pt x="2177" y="1897"/>
                  <a:pt x="2186" y="1897"/>
                </a:cubicBezTo>
                <a:cubicBezTo>
                  <a:pt x="2202" y="1897"/>
                  <a:pt x="2210" y="1910"/>
                  <a:pt x="2210" y="1935"/>
                </a:cubicBezTo>
                <a:cubicBezTo>
                  <a:pt x="2210" y="1948"/>
                  <a:pt x="2208" y="1957"/>
                  <a:pt x="2204" y="1964"/>
                </a:cubicBezTo>
                <a:cubicBezTo>
                  <a:pt x="2198" y="1970"/>
                  <a:pt x="2193" y="1973"/>
                  <a:pt x="2184" y="1973"/>
                </a:cubicBezTo>
                <a:close/>
                <a:moveTo>
                  <a:pt x="2185" y="1907"/>
                </a:moveTo>
                <a:cubicBezTo>
                  <a:pt x="2176" y="1907"/>
                  <a:pt x="2171" y="1917"/>
                  <a:pt x="2171" y="1937"/>
                </a:cubicBezTo>
                <a:cubicBezTo>
                  <a:pt x="2171" y="1955"/>
                  <a:pt x="2176" y="1964"/>
                  <a:pt x="2184" y="1964"/>
                </a:cubicBezTo>
                <a:cubicBezTo>
                  <a:pt x="2193" y="1964"/>
                  <a:pt x="2198" y="1955"/>
                  <a:pt x="2198" y="1936"/>
                </a:cubicBezTo>
                <a:cubicBezTo>
                  <a:pt x="2198" y="1916"/>
                  <a:pt x="2193" y="1907"/>
                  <a:pt x="2185" y="1907"/>
                </a:cubicBezTo>
                <a:close/>
                <a:moveTo>
                  <a:pt x="2397" y="1973"/>
                </a:moveTo>
                <a:cubicBezTo>
                  <a:pt x="2389" y="1973"/>
                  <a:pt x="2383" y="1970"/>
                  <a:pt x="2379" y="1964"/>
                </a:cubicBezTo>
                <a:cubicBezTo>
                  <a:pt x="2375" y="1958"/>
                  <a:pt x="2372" y="1948"/>
                  <a:pt x="2372" y="1937"/>
                </a:cubicBezTo>
                <a:cubicBezTo>
                  <a:pt x="2372" y="1924"/>
                  <a:pt x="2375" y="1914"/>
                  <a:pt x="2379" y="1907"/>
                </a:cubicBezTo>
                <a:cubicBezTo>
                  <a:pt x="2383" y="1900"/>
                  <a:pt x="2390" y="1897"/>
                  <a:pt x="2399" y="1897"/>
                </a:cubicBezTo>
                <a:cubicBezTo>
                  <a:pt x="2415" y="1897"/>
                  <a:pt x="2423" y="1910"/>
                  <a:pt x="2423" y="1935"/>
                </a:cubicBezTo>
                <a:cubicBezTo>
                  <a:pt x="2423" y="1948"/>
                  <a:pt x="2421" y="1957"/>
                  <a:pt x="2416" y="1964"/>
                </a:cubicBezTo>
                <a:cubicBezTo>
                  <a:pt x="2411" y="1970"/>
                  <a:pt x="2405" y="1973"/>
                  <a:pt x="2397" y="1973"/>
                </a:cubicBezTo>
                <a:close/>
                <a:moveTo>
                  <a:pt x="2398" y="1907"/>
                </a:moveTo>
                <a:cubicBezTo>
                  <a:pt x="2389" y="1907"/>
                  <a:pt x="2385" y="1916"/>
                  <a:pt x="2385" y="1936"/>
                </a:cubicBezTo>
                <a:cubicBezTo>
                  <a:pt x="2385" y="1954"/>
                  <a:pt x="2389" y="1964"/>
                  <a:pt x="2398" y="1964"/>
                </a:cubicBezTo>
                <a:cubicBezTo>
                  <a:pt x="2406" y="1964"/>
                  <a:pt x="2410" y="1954"/>
                  <a:pt x="2410" y="1936"/>
                </a:cubicBezTo>
                <a:cubicBezTo>
                  <a:pt x="2410" y="1916"/>
                  <a:pt x="2407" y="1907"/>
                  <a:pt x="2398" y="1907"/>
                </a:cubicBezTo>
                <a:close/>
                <a:moveTo>
                  <a:pt x="2515" y="1973"/>
                </a:moveTo>
                <a:cubicBezTo>
                  <a:pt x="2507" y="1973"/>
                  <a:pt x="2502" y="1970"/>
                  <a:pt x="2497" y="1964"/>
                </a:cubicBezTo>
                <a:cubicBezTo>
                  <a:pt x="2493" y="1958"/>
                  <a:pt x="2491" y="1948"/>
                  <a:pt x="2491" y="1937"/>
                </a:cubicBezTo>
                <a:cubicBezTo>
                  <a:pt x="2491" y="1924"/>
                  <a:pt x="2493" y="1914"/>
                  <a:pt x="2497" y="1907"/>
                </a:cubicBezTo>
                <a:cubicBezTo>
                  <a:pt x="2502" y="1900"/>
                  <a:pt x="2508" y="1897"/>
                  <a:pt x="2517" y="1897"/>
                </a:cubicBezTo>
                <a:cubicBezTo>
                  <a:pt x="2533" y="1897"/>
                  <a:pt x="2541" y="1910"/>
                  <a:pt x="2541" y="1935"/>
                </a:cubicBezTo>
                <a:cubicBezTo>
                  <a:pt x="2541" y="1948"/>
                  <a:pt x="2539" y="1957"/>
                  <a:pt x="2534" y="1964"/>
                </a:cubicBezTo>
                <a:cubicBezTo>
                  <a:pt x="2529" y="1970"/>
                  <a:pt x="2523" y="1973"/>
                  <a:pt x="2515" y="1973"/>
                </a:cubicBezTo>
                <a:close/>
                <a:moveTo>
                  <a:pt x="2516" y="1907"/>
                </a:moveTo>
                <a:cubicBezTo>
                  <a:pt x="2507" y="1907"/>
                  <a:pt x="2503" y="1916"/>
                  <a:pt x="2503" y="1936"/>
                </a:cubicBezTo>
                <a:cubicBezTo>
                  <a:pt x="2503" y="1954"/>
                  <a:pt x="2507" y="1964"/>
                  <a:pt x="2516" y="1964"/>
                </a:cubicBezTo>
                <a:cubicBezTo>
                  <a:pt x="2524" y="1964"/>
                  <a:pt x="2529" y="1954"/>
                  <a:pt x="2529" y="1936"/>
                </a:cubicBezTo>
                <a:cubicBezTo>
                  <a:pt x="2529" y="1916"/>
                  <a:pt x="2525" y="1907"/>
                  <a:pt x="2516" y="1907"/>
                </a:cubicBezTo>
                <a:close/>
                <a:moveTo>
                  <a:pt x="2470" y="1900"/>
                </a:moveTo>
                <a:cubicBezTo>
                  <a:pt x="2470" y="1900"/>
                  <a:pt x="2470" y="1900"/>
                  <a:pt x="2470" y="1900"/>
                </a:cubicBezTo>
                <a:cubicBezTo>
                  <a:pt x="2465" y="1900"/>
                  <a:pt x="2465" y="1900"/>
                  <a:pt x="2465" y="1900"/>
                </a:cubicBezTo>
                <a:cubicBezTo>
                  <a:pt x="2463" y="1901"/>
                  <a:pt x="2461" y="1903"/>
                  <a:pt x="2459" y="1903"/>
                </a:cubicBezTo>
                <a:cubicBezTo>
                  <a:pt x="2458" y="1905"/>
                  <a:pt x="2456" y="1906"/>
                  <a:pt x="2454" y="1906"/>
                </a:cubicBezTo>
                <a:cubicBezTo>
                  <a:pt x="2453" y="1907"/>
                  <a:pt x="2451" y="1908"/>
                  <a:pt x="2449" y="1908"/>
                </a:cubicBezTo>
                <a:cubicBezTo>
                  <a:pt x="2447" y="1909"/>
                  <a:pt x="2446" y="1910"/>
                  <a:pt x="2444" y="1911"/>
                </a:cubicBezTo>
                <a:cubicBezTo>
                  <a:pt x="2444" y="1911"/>
                  <a:pt x="2444" y="1911"/>
                  <a:pt x="2444" y="1921"/>
                </a:cubicBezTo>
                <a:cubicBezTo>
                  <a:pt x="2446" y="1920"/>
                  <a:pt x="2449" y="1919"/>
                  <a:pt x="2451" y="1918"/>
                </a:cubicBezTo>
                <a:cubicBezTo>
                  <a:pt x="2454" y="1917"/>
                  <a:pt x="2456" y="1916"/>
                  <a:pt x="2459" y="1914"/>
                </a:cubicBezTo>
                <a:cubicBezTo>
                  <a:pt x="2459" y="1914"/>
                  <a:pt x="2459" y="1914"/>
                  <a:pt x="2459" y="1973"/>
                </a:cubicBezTo>
                <a:cubicBezTo>
                  <a:pt x="2459" y="1973"/>
                  <a:pt x="2459" y="1973"/>
                  <a:pt x="2470" y="1973"/>
                </a:cubicBezTo>
                <a:cubicBezTo>
                  <a:pt x="2470" y="1973"/>
                  <a:pt x="2470" y="1973"/>
                  <a:pt x="2470" y="1900"/>
                </a:cubicBezTo>
                <a:close/>
                <a:moveTo>
                  <a:pt x="2586" y="1973"/>
                </a:moveTo>
                <a:cubicBezTo>
                  <a:pt x="2578" y="1973"/>
                  <a:pt x="2572" y="1970"/>
                  <a:pt x="2568" y="1964"/>
                </a:cubicBezTo>
                <a:cubicBezTo>
                  <a:pt x="2564" y="1958"/>
                  <a:pt x="2562" y="1949"/>
                  <a:pt x="2562" y="1937"/>
                </a:cubicBezTo>
                <a:cubicBezTo>
                  <a:pt x="2562" y="1924"/>
                  <a:pt x="2564" y="1914"/>
                  <a:pt x="2568" y="1908"/>
                </a:cubicBezTo>
                <a:cubicBezTo>
                  <a:pt x="2573" y="1901"/>
                  <a:pt x="2579" y="1897"/>
                  <a:pt x="2588" y="1897"/>
                </a:cubicBezTo>
                <a:cubicBezTo>
                  <a:pt x="2604" y="1897"/>
                  <a:pt x="2612" y="1910"/>
                  <a:pt x="2612" y="1935"/>
                </a:cubicBezTo>
                <a:cubicBezTo>
                  <a:pt x="2612" y="1948"/>
                  <a:pt x="2610" y="1957"/>
                  <a:pt x="2605" y="1964"/>
                </a:cubicBezTo>
                <a:cubicBezTo>
                  <a:pt x="2600" y="1970"/>
                  <a:pt x="2594" y="1973"/>
                  <a:pt x="2586" y="1973"/>
                </a:cubicBezTo>
                <a:close/>
                <a:moveTo>
                  <a:pt x="2587" y="1907"/>
                </a:moveTo>
                <a:cubicBezTo>
                  <a:pt x="2578" y="1907"/>
                  <a:pt x="2573" y="1917"/>
                  <a:pt x="2573" y="1937"/>
                </a:cubicBezTo>
                <a:cubicBezTo>
                  <a:pt x="2573" y="1955"/>
                  <a:pt x="2578" y="1964"/>
                  <a:pt x="2586" y="1964"/>
                </a:cubicBezTo>
                <a:cubicBezTo>
                  <a:pt x="2595" y="1964"/>
                  <a:pt x="2600" y="1955"/>
                  <a:pt x="2600" y="1936"/>
                </a:cubicBezTo>
                <a:cubicBezTo>
                  <a:pt x="2600" y="1916"/>
                  <a:pt x="2595" y="1907"/>
                  <a:pt x="2587" y="1907"/>
                </a:cubicBezTo>
                <a:close/>
                <a:moveTo>
                  <a:pt x="2633" y="1932"/>
                </a:moveTo>
                <a:cubicBezTo>
                  <a:pt x="2633" y="1932"/>
                  <a:pt x="2633" y="1932"/>
                  <a:pt x="2633" y="1932"/>
                </a:cubicBezTo>
                <a:cubicBezTo>
                  <a:pt x="2633" y="1940"/>
                  <a:pt x="2633" y="1940"/>
                  <a:pt x="2633" y="1940"/>
                </a:cubicBezTo>
                <a:cubicBezTo>
                  <a:pt x="2639" y="1941"/>
                  <a:pt x="2640" y="1944"/>
                  <a:pt x="2640" y="1946"/>
                </a:cubicBezTo>
                <a:cubicBezTo>
                  <a:pt x="2640" y="1948"/>
                  <a:pt x="2639" y="1951"/>
                  <a:pt x="2639" y="1953"/>
                </a:cubicBezTo>
                <a:cubicBezTo>
                  <a:pt x="2639" y="1956"/>
                  <a:pt x="2639" y="1958"/>
                  <a:pt x="2639" y="1960"/>
                </a:cubicBezTo>
                <a:cubicBezTo>
                  <a:pt x="2639" y="1970"/>
                  <a:pt x="2644" y="1973"/>
                  <a:pt x="2653" y="1973"/>
                </a:cubicBezTo>
                <a:cubicBezTo>
                  <a:pt x="2653" y="1973"/>
                  <a:pt x="2653" y="1973"/>
                  <a:pt x="2657" y="1973"/>
                </a:cubicBezTo>
                <a:cubicBezTo>
                  <a:pt x="2657" y="1973"/>
                  <a:pt x="2657" y="1973"/>
                  <a:pt x="2657" y="1964"/>
                </a:cubicBezTo>
                <a:cubicBezTo>
                  <a:pt x="2657" y="1964"/>
                  <a:pt x="2657" y="1964"/>
                  <a:pt x="2655" y="1964"/>
                </a:cubicBezTo>
                <a:cubicBezTo>
                  <a:pt x="2651" y="1964"/>
                  <a:pt x="2650" y="1962"/>
                  <a:pt x="2650" y="1958"/>
                </a:cubicBezTo>
                <a:cubicBezTo>
                  <a:pt x="2650" y="1957"/>
                  <a:pt x="2650" y="1955"/>
                  <a:pt x="2651" y="1953"/>
                </a:cubicBezTo>
                <a:cubicBezTo>
                  <a:pt x="2651" y="1952"/>
                  <a:pt x="2651" y="1950"/>
                  <a:pt x="2651" y="1947"/>
                </a:cubicBezTo>
                <a:cubicBezTo>
                  <a:pt x="2651" y="1940"/>
                  <a:pt x="2648" y="1937"/>
                  <a:pt x="2643" y="1936"/>
                </a:cubicBezTo>
                <a:cubicBezTo>
                  <a:pt x="2643" y="1936"/>
                  <a:pt x="2643" y="1936"/>
                  <a:pt x="2643" y="1936"/>
                </a:cubicBezTo>
                <a:cubicBezTo>
                  <a:pt x="2648" y="1935"/>
                  <a:pt x="2651" y="1932"/>
                  <a:pt x="2651" y="1925"/>
                </a:cubicBezTo>
                <a:cubicBezTo>
                  <a:pt x="2651" y="1922"/>
                  <a:pt x="2651" y="1920"/>
                  <a:pt x="2651" y="1919"/>
                </a:cubicBezTo>
                <a:cubicBezTo>
                  <a:pt x="2650" y="1917"/>
                  <a:pt x="2650" y="1915"/>
                  <a:pt x="2650" y="1914"/>
                </a:cubicBezTo>
                <a:cubicBezTo>
                  <a:pt x="2650" y="1910"/>
                  <a:pt x="2651" y="1908"/>
                  <a:pt x="2655" y="1908"/>
                </a:cubicBezTo>
                <a:cubicBezTo>
                  <a:pt x="2655" y="1908"/>
                  <a:pt x="2655" y="1908"/>
                  <a:pt x="2657" y="1908"/>
                </a:cubicBezTo>
                <a:cubicBezTo>
                  <a:pt x="2657" y="1908"/>
                  <a:pt x="2657" y="1908"/>
                  <a:pt x="2657" y="1899"/>
                </a:cubicBezTo>
                <a:cubicBezTo>
                  <a:pt x="2657" y="1899"/>
                  <a:pt x="2657" y="1899"/>
                  <a:pt x="2653" y="1899"/>
                </a:cubicBezTo>
                <a:cubicBezTo>
                  <a:pt x="2644" y="1899"/>
                  <a:pt x="2639" y="1903"/>
                  <a:pt x="2639" y="1911"/>
                </a:cubicBezTo>
                <a:cubicBezTo>
                  <a:pt x="2639" y="1914"/>
                  <a:pt x="2639" y="1916"/>
                  <a:pt x="2639" y="1919"/>
                </a:cubicBezTo>
                <a:cubicBezTo>
                  <a:pt x="2639" y="1921"/>
                  <a:pt x="2640" y="1924"/>
                  <a:pt x="2640" y="1926"/>
                </a:cubicBezTo>
                <a:cubicBezTo>
                  <a:pt x="2640" y="1928"/>
                  <a:pt x="2639" y="1932"/>
                  <a:pt x="2633" y="1932"/>
                </a:cubicBezTo>
                <a:close/>
                <a:moveTo>
                  <a:pt x="2687" y="1940"/>
                </a:moveTo>
                <a:cubicBezTo>
                  <a:pt x="2687" y="1940"/>
                  <a:pt x="2687" y="1940"/>
                  <a:pt x="2687" y="1940"/>
                </a:cubicBezTo>
                <a:cubicBezTo>
                  <a:pt x="2687" y="1932"/>
                  <a:pt x="2687" y="1932"/>
                  <a:pt x="2687" y="1932"/>
                </a:cubicBezTo>
                <a:cubicBezTo>
                  <a:pt x="2681" y="1932"/>
                  <a:pt x="2681" y="1928"/>
                  <a:pt x="2681" y="1926"/>
                </a:cubicBezTo>
                <a:cubicBezTo>
                  <a:pt x="2681" y="1924"/>
                  <a:pt x="2681" y="1921"/>
                  <a:pt x="2681" y="1919"/>
                </a:cubicBezTo>
                <a:cubicBezTo>
                  <a:pt x="2681" y="1916"/>
                  <a:pt x="2681" y="1914"/>
                  <a:pt x="2681" y="1911"/>
                </a:cubicBezTo>
                <a:cubicBezTo>
                  <a:pt x="2681" y="1903"/>
                  <a:pt x="2676" y="1899"/>
                  <a:pt x="2667" y="1899"/>
                </a:cubicBezTo>
                <a:cubicBezTo>
                  <a:pt x="2667" y="1899"/>
                  <a:pt x="2667" y="1899"/>
                  <a:pt x="2663" y="1899"/>
                </a:cubicBezTo>
                <a:cubicBezTo>
                  <a:pt x="2663" y="1899"/>
                  <a:pt x="2663" y="1899"/>
                  <a:pt x="2663" y="1908"/>
                </a:cubicBezTo>
                <a:cubicBezTo>
                  <a:pt x="2663" y="1908"/>
                  <a:pt x="2663" y="1908"/>
                  <a:pt x="2665" y="1908"/>
                </a:cubicBezTo>
                <a:cubicBezTo>
                  <a:pt x="2669" y="1908"/>
                  <a:pt x="2670" y="1910"/>
                  <a:pt x="2670" y="1914"/>
                </a:cubicBezTo>
                <a:cubicBezTo>
                  <a:pt x="2670" y="1915"/>
                  <a:pt x="2670" y="1917"/>
                  <a:pt x="2670" y="1919"/>
                </a:cubicBezTo>
                <a:cubicBezTo>
                  <a:pt x="2669" y="1920"/>
                  <a:pt x="2669" y="1922"/>
                  <a:pt x="2669" y="1925"/>
                </a:cubicBezTo>
                <a:cubicBezTo>
                  <a:pt x="2669" y="1932"/>
                  <a:pt x="2672" y="1935"/>
                  <a:pt x="2678" y="1936"/>
                </a:cubicBezTo>
                <a:cubicBezTo>
                  <a:pt x="2678" y="1936"/>
                  <a:pt x="2678" y="1936"/>
                  <a:pt x="2678" y="1936"/>
                </a:cubicBezTo>
                <a:cubicBezTo>
                  <a:pt x="2672" y="1937"/>
                  <a:pt x="2669" y="1940"/>
                  <a:pt x="2669" y="1947"/>
                </a:cubicBezTo>
                <a:cubicBezTo>
                  <a:pt x="2669" y="1950"/>
                  <a:pt x="2669" y="1952"/>
                  <a:pt x="2670" y="1953"/>
                </a:cubicBezTo>
                <a:cubicBezTo>
                  <a:pt x="2670" y="1955"/>
                  <a:pt x="2670" y="1957"/>
                  <a:pt x="2670" y="1958"/>
                </a:cubicBezTo>
                <a:cubicBezTo>
                  <a:pt x="2670" y="1962"/>
                  <a:pt x="2669" y="1964"/>
                  <a:pt x="2665" y="1964"/>
                </a:cubicBezTo>
                <a:cubicBezTo>
                  <a:pt x="2665" y="1964"/>
                  <a:pt x="2665" y="1964"/>
                  <a:pt x="2663" y="1964"/>
                </a:cubicBezTo>
                <a:cubicBezTo>
                  <a:pt x="2663" y="1964"/>
                  <a:pt x="2663" y="1964"/>
                  <a:pt x="2663" y="1973"/>
                </a:cubicBezTo>
                <a:cubicBezTo>
                  <a:pt x="2663" y="1973"/>
                  <a:pt x="2663" y="1973"/>
                  <a:pt x="2667" y="1973"/>
                </a:cubicBezTo>
                <a:cubicBezTo>
                  <a:pt x="2676" y="1973"/>
                  <a:pt x="2681" y="1970"/>
                  <a:pt x="2681" y="1960"/>
                </a:cubicBezTo>
                <a:cubicBezTo>
                  <a:pt x="2681" y="1958"/>
                  <a:pt x="2681" y="1956"/>
                  <a:pt x="2681" y="1953"/>
                </a:cubicBezTo>
                <a:cubicBezTo>
                  <a:pt x="2681" y="1951"/>
                  <a:pt x="2681" y="1948"/>
                  <a:pt x="2681" y="1946"/>
                </a:cubicBezTo>
                <a:cubicBezTo>
                  <a:pt x="2681" y="1944"/>
                  <a:pt x="2681" y="1941"/>
                  <a:pt x="2687" y="1940"/>
                </a:cubicBezTo>
                <a:close/>
                <a:moveTo>
                  <a:pt x="2808" y="1973"/>
                </a:moveTo>
                <a:cubicBezTo>
                  <a:pt x="2801" y="1973"/>
                  <a:pt x="2794" y="1970"/>
                  <a:pt x="2790" y="1964"/>
                </a:cubicBezTo>
                <a:cubicBezTo>
                  <a:pt x="2786" y="1958"/>
                  <a:pt x="2784" y="1949"/>
                  <a:pt x="2784" y="1937"/>
                </a:cubicBezTo>
                <a:cubicBezTo>
                  <a:pt x="2784" y="1924"/>
                  <a:pt x="2786" y="1914"/>
                  <a:pt x="2790" y="1908"/>
                </a:cubicBezTo>
                <a:cubicBezTo>
                  <a:pt x="2795" y="1901"/>
                  <a:pt x="2801" y="1897"/>
                  <a:pt x="2810" y="1897"/>
                </a:cubicBezTo>
                <a:cubicBezTo>
                  <a:pt x="2826" y="1897"/>
                  <a:pt x="2834" y="1910"/>
                  <a:pt x="2834" y="1935"/>
                </a:cubicBezTo>
                <a:cubicBezTo>
                  <a:pt x="2834" y="1948"/>
                  <a:pt x="2832" y="1957"/>
                  <a:pt x="2827" y="1964"/>
                </a:cubicBezTo>
                <a:cubicBezTo>
                  <a:pt x="2823" y="1970"/>
                  <a:pt x="2816" y="1973"/>
                  <a:pt x="2808" y="1973"/>
                </a:cubicBezTo>
                <a:close/>
                <a:moveTo>
                  <a:pt x="2809" y="1907"/>
                </a:moveTo>
                <a:cubicBezTo>
                  <a:pt x="2800" y="1907"/>
                  <a:pt x="2796" y="1917"/>
                  <a:pt x="2796" y="1937"/>
                </a:cubicBezTo>
                <a:cubicBezTo>
                  <a:pt x="2796" y="1955"/>
                  <a:pt x="2800" y="1964"/>
                  <a:pt x="2809" y="1964"/>
                </a:cubicBezTo>
                <a:cubicBezTo>
                  <a:pt x="2817" y="1964"/>
                  <a:pt x="2822" y="1955"/>
                  <a:pt x="2822" y="1936"/>
                </a:cubicBezTo>
                <a:cubicBezTo>
                  <a:pt x="2822" y="1916"/>
                  <a:pt x="2817" y="1907"/>
                  <a:pt x="2809" y="1907"/>
                </a:cubicBezTo>
                <a:close/>
                <a:moveTo>
                  <a:pt x="2882" y="1900"/>
                </a:moveTo>
                <a:cubicBezTo>
                  <a:pt x="2882" y="1900"/>
                  <a:pt x="2882" y="1900"/>
                  <a:pt x="2882" y="1900"/>
                </a:cubicBezTo>
                <a:cubicBezTo>
                  <a:pt x="2877" y="1900"/>
                  <a:pt x="2877" y="1900"/>
                  <a:pt x="2877" y="1900"/>
                </a:cubicBezTo>
                <a:cubicBezTo>
                  <a:pt x="2875" y="1901"/>
                  <a:pt x="2873" y="1903"/>
                  <a:pt x="2871" y="1903"/>
                </a:cubicBezTo>
                <a:cubicBezTo>
                  <a:pt x="2869" y="1905"/>
                  <a:pt x="2867" y="1906"/>
                  <a:pt x="2866" y="1906"/>
                </a:cubicBezTo>
                <a:cubicBezTo>
                  <a:pt x="2864" y="1907"/>
                  <a:pt x="2862" y="1908"/>
                  <a:pt x="2861" y="1908"/>
                </a:cubicBezTo>
                <a:cubicBezTo>
                  <a:pt x="2859" y="1909"/>
                  <a:pt x="2857" y="1910"/>
                  <a:pt x="2855" y="1911"/>
                </a:cubicBezTo>
                <a:cubicBezTo>
                  <a:pt x="2855" y="1911"/>
                  <a:pt x="2855" y="1911"/>
                  <a:pt x="2855" y="1921"/>
                </a:cubicBezTo>
                <a:cubicBezTo>
                  <a:pt x="2858" y="1920"/>
                  <a:pt x="2861" y="1919"/>
                  <a:pt x="2863" y="1918"/>
                </a:cubicBezTo>
                <a:cubicBezTo>
                  <a:pt x="2866" y="1917"/>
                  <a:pt x="2868" y="1916"/>
                  <a:pt x="2870" y="1914"/>
                </a:cubicBezTo>
                <a:cubicBezTo>
                  <a:pt x="2870" y="1914"/>
                  <a:pt x="2870" y="1914"/>
                  <a:pt x="2870" y="1973"/>
                </a:cubicBezTo>
                <a:cubicBezTo>
                  <a:pt x="2870" y="1973"/>
                  <a:pt x="2870" y="1973"/>
                  <a:pt x="2882" y="1973"/>
                </a:cubicBezTo>
                <a:cubicBezTo>
                  <a:pt x="2882" y="1973"/>
                  <a:pt x="2882" y="1973"/>
                  <a:pt x="2882" y="1900"/>
                </a:cubicBezTo>
                <a:close/>
                <a:moveTo>
                  <a:pt x="2714" y="1973"/>
                </a:moveTo>
                <a:cubicBezTo>
                  <a:pt x="2717" y="1954"/>
                  <a:pt x="2717" y="1954"/>
                  <a:pt x="2717" y="1954"/>
                </a:cubicBezTo>
                <a:cubicBezTo>
                  <a:pt x="2708" y="1954"/>
                  <a:pt x="2708" y="1954"/>
                  <a:pt x="2708" y="1954"/>
                </a:cubicBezTo>
                <a:cubicBezTo>
                  <a:pt x="2708" y="1942"/>
                  <a:pt x="2708" y="1942"/>
                  <a:pt x="2708" y="1942"/>
                </a:cubicBezTo>
                <a:cubicBezTo>
                  <a:pt x="2719" y="1942"/>
                  <a:pt x="2719" y="1942"/>
                  <a:pt x="2719" y="1942"/>
                </a:cubicBezTo>
                <a:cubicBezTo>
                  <a:pt x="2720" y="1931"/>
                  <a:pt x="2720" y="1931"/>
                  <a:pt x="2720" y="1931"/>
                </a:cubicBezTo>
                <a:cubicBezTo>
                  <a:pt x="2711" y="1931"/>
                  <a:pt x="2711" y="1931"/>
                  <a:pt x="2711" y="1931"/>
                </a:cubicBezTo>
                <a:cubicBezTo>
                  <a:pt x="2711" y="1919"/>
                  <a:pt x="2711" y="1919"/>
                  <a:pt x="2711" y="1919"/>
                </a:cubicBezTo>
                <a:cubicBezTo>
                  <a:pt x="2722" y="1919"/>
                  <a:pt x="2722" y="1919"/>
                  <a:pt x="2722" y="1919"/>
                </a:cubicBezTo>
                <a:cubicBezTo>
                  <a:pt x="2725" y="1901"/>
                  <a:pt x="2725" y="1901"/>
                  <a:pt x="2725" y="1901"/>
                </a:cubicBezTo>
                <a:cubicBezTo>
                  <a:pt x="2736" y="1901"/>
                  <a:pt x="2736" y="1901"/>
                  <a:pt x="2736" y="1901"/>
                </a:cubicBezTo>
                <a:cubicBezTo>
                  <a:pt x="2733" y="1919"/>
                  <a:pt x="2733" y="1919"/>
                  <a:pt x="2733" y="1919"/>
                </a:cubicBezTo>
                <a:cubicBezTo>
                  <a:pt x="2743" y="1919"/>
                  <a:pt x="2743" y="1919"/>
                  <a:pt x="2743" y="1919"/>
                </a:cubicBezTo>
                <a:cubicBezTo>
                  <a:pt x="2746" y="1901"/>
                  <a:pt x="2746" y="1901"/>
                  <a:pt x="2746" y="1901"/>
                </a:cubicBezTo>
                <a:cubicBezTo>
                  <a:pt x="2757" y="1901"/>
                  <a:pt x="2757" y="1901"/>
                  <a:pt x="2757" y="1901"/>
                </a:cubicBezTo>
                <a:cubicBezTo>
                  <a:pt x="2754" y="1919"/>
                  <a:pt x="2754" y="1919"/>
                  <a:pt x="2754" y="1919"/>
                </a:cubicBezTo>
                <a:cubicBezTo>
                  <a:pt x="2763" y="1919"/>
                  <a:pt x="2763" y="1919"/>
                  <a:pt x="2763" y="1919"/>
                </a:cubicBezTo>
                <a:cubicBezTo>
                  <a:pt x="2763" y="1931"/>
                  <a:pt x="2763" y="1931"/>
                  <a:pt x="2763" y="1931"/>
                </a:cubicBezTo>
                <a:cubicBezTo>
                  <a:pt x="2753" y="1931"/>
                  <a:pt x="2753" y="1931"/>
                  <a:pt x="2753" y="1931"/>
                </a:cubicBezTo>
                <a:cubicBezTo>
                  <a:pt x="2751" y="1942"/>
                  <a:pt x="2751" y="1942"/>
                  <a:pt x="2751" y="1942"/>
                </a:cubicBezTo>
                <a:cubicBezTo>
                  <a:pt x="2760" y="1942"/>
                  <a:pt x="2760" y="1942"/>
                  <a:pt x="2760" y="1942"/>
                </a:cubicBezTo>
                <a:cubicBezTo>
                  <a:pt x="2760" y="1954"/>
                  <a:pt x="2760" y="1954"/>
                  <a:pt x="2760" y="1954"/>
                </a:cubicBezTo>
                <a:cubicBezTo>
                  <a:pt x="2749" y="1954"/>
                  <a:pt x="2749" y="1954"/>
                  <a:pt x="2749" y="1954"/>
                </a:cubicBezTo>
                <a:cubicBezTo>
                  <a:pt x="2746" y="1973"/>
                  <a:pt x="2746" y="1973"/>
                  <a:pt x="2746" y="1973"/>
                </a:cubicBezTo>
                <a:cubicBezTo>
                  <a:pt x="2735" y="1973"/>
                  <a:pt x="2735" y="1973"/>
                  <a:pt x="2735" y="1973"/>
                </a:cubicBezTo>
                <a:cubicBezTo>
                  <a:pt x="2738" y="1954"/>
                  <a:pt x="2738" y="1954"/>
                  <a:pt x="2738" y="1954"/>
                </a:cubicBezTo>
                <a:cubicBezTo>
                  <a:pt x="2728" y="1954"/>
                  <a:pt x="2728" y="1954"/>
                  <a:pt x="2728" y="1954"/>
                </a:cubicBezTo>
                <a:cubicBezTo>
                  <a:pt x="2725" y="1973"/>
                  <a:pt x="2725" y="1973"/>
                  <a:pt x="2725" y="1973"/>
                </a:cubicBezTo>
                <a:cubicBezTo>
                  <a:pt x="2714" y="1973"/>
                  <a:pt x="2714" y="1973"/>
                  <a:pt x="2714" y="1973"/>
                </a:cubicBezTo>
                <a:cubicBezTo>
                  <a:pt x="2714" y="1973"/>
                  <a:pt x="2714" y="1973"/>
                  <a:pt x="2714" y="1973"/>
                </a:cubicBezTo>
                <a:close/>
                <a:moveTo>
                  <a:pt x="2740" y="1942"/>
                </a:moveTo>
                <a:cubicBezTo>
                  <a:pt x="2741" y="1931"/>
                  <a:pt x="2741" y="1931"/>
                  <a:pt x="2741" y="1931"/>
                </a:cubicBezTo>
                <a:cubicBezTo>
                  <a:pt x="2731" y="1931"/>
                  <a:pt x="2731" y="1931"/>
                  <a:pt x="2731" y="1931"/>
                </a:cubicBezTo>
                <a:cubicBezTo>
                  <a:pt x="2730" y="1942"/>
                  <a:pt x="2730" y="1942"/>
                  <a:pt x="2730" y="1942"/>
                </a:cubicBezTo>
                <a:cubicBezTo>
                  <a:pt x="2740" y="1942"/>
                  <a:pt x="2740" y="1942"/>
                  <a:pt x="2740" y="1942"/>
                </a:cubicBezTo>
                <a:cubicBezTo>
                  <a:pt x="2740" y="1942"/>
                  <a:pt x="2740" y="1942"/>
                  <a:pt x="2740" y="1942"/>
                </a:cubicBezTo>
                <a:close/>
                <a:moveTo>
                  <a:pt x="2258" y="1900"/>
                </a:moveTo>
                <a:cubicBezTo>
                  <a:pt x="2258" y="1900"/>
                  <a:pt x="2258" y="1900"/>
                  <a:pt x="2258" y="1900"/>
                </a:cubicBezTo>
                <a:cubicBezTo>
                  <a:pt x="2253" y="1900"/>
                  <a:pt x="2253" y="1900"/>
                  <a:pt x="2253" y="1900"/>
                </a:cubicBezTo>
                <a:cubicBezTo>
                  <a:pt x="2250" y="1901"/>
                  <a:pt x="2249" y="1903"/>
                  <a:pt x="2247" y="1903"/>
                </a:cubicBezTo>
                <a:cubicBezTo>
                  <a:pt x="2245" y="1905"/>
                  <a:pt x="2244" y="1906"/>
                  <a:pt x="2242" y="1906"/>
                </a:cubicBezTo>
                <a:cubicBezTo>
                  <a:pt x="2240" y="1908"/>
                  <a:pt x="2238" y="1908"/>
                  <a:pt x="2236" y="1909"/>
                </a:cubicBezTo>
                <a:cubicBezTo>
                  <a:pt x="2234" y="1910"/>
                  <a:pt x="2233" y="1911"/>
                  <a:pt x="2230" y="1911"/>
                </a:cubicBezTo>
                <a:cubicBezTo>
                  <a:pt x="2230" y="1911"/>
                  <a:pt x="2230" y="1911"/>
                  <a:pt x="2230" y="1921"/>
                </a:cubicBezTo>
                <a:cubicBezTo>
                  <a:pt x="2233" y="1920"/>
                  <a:pt x="2236" y="1919"/>
                  <a:pt x="2239" y="1918"/>
                </a:cubicBezTo>
                <a:cubicBezTo>
                  <a:pt x="2242" y="1917"/>
                  <a:pt x="2244" y="1916"/>
                  <a:pt x="2246" y="1914"/>
                </a:cubicBezTo>
                <a:cubicBezTo>
                  <a:pt x="2246" y="1914"/>
                  <a:pt x="2246" y="1914"/>
                  <a:pt x="2246" y="1973"/>
                </a:cubicBezTo>
                <a:cubicBezTo>
                  <a:pt x="2246" y="1973"/>
                  <a:pt x="2246" y="1973"/>
                  <a:pt x="2258" y="1973"/>
                </a:cubicBezTo>
                <a:cubicBezTo>
                  <a:pt x="2258" y="1973"/>
                  <a:pt x="2258" y="1973"/>
                  <a:pt x="2258" y="1900"/>
                </a:cubicBezTo>
                <a:close/>
                <a:moveTo>
                  <a:pt x="2305" y="1900"/>
                </a:moveTo>
                <a:cubicBezTo>
                  <a:pt x="2305" y="1900"/>
                  <a:pt x="2305" y="1900"/>
                  <a:pt x="2305" y="1900"/>
                </a:cubicBezTo>
                <a:cubicBezTo>
                  <a:pt x="2300" y="1900"/>
                  <a:pt x="2300" y="1900"/>
                  <a:pt x="2300" y="1900"/>
                </a:cubicBezTo>
                <a:cubicBezTo>
                  <a:pt x="2298" y="1901"/>
                  <a:pt x="2297" y="1903"/>
                  <a:pt x="2294" y="1903"/>
                </a:cubicBezTo>
                <a:cubicBezTo>
                  <a:pt x="2293" y="1905"/>
                  <a:pt x="2291" y="1906"/>
                  <a:pt x="2289" y="1906"/>
                </a:cubicBezTo>
                <a:cubicBezTo>
                  <a:pt x="2288" y="1908"/>
                  <a:pt x="2286" y="1908"/>
                  <a:pt x="2284" y="1909"/>
                </a:cubicBezTo>
                <a:cubicBezTo>
                  <a:pt x="2282" y="1910"/>
                  <a:pt x="2281" y="1911"/>
                  <a:pt x="2278" y="1911"/>
                </a:cubicBezTo>
                <a:cubicBezTo>
                  <a:pt x="2278" y="1911"/>
                  <a:pt x="2278" y="1911"/>
                  <a:pt x="2278" y="1921"/>
                </a:cubicBezTo>
                <a:cubicBezTo>
                  <a:pt x="2281" y="1920"/>
                  <a:pt x="2284" y="1919"/>
                  <a:pt x="2286" y="1918"/>
                </a:cubicBezTo>
                <a:cubicBezTo>
                  <a:pt x="2289" y="1917"/>
                  <a:pt x="2291" y="1916"/>
                  <a:pt x="2294" y="1914"/>
                </a:cubicBezTo>
                <a:cubicBezTo>
                  <a:pt x="2294" y="1914"/>
                  <a:pt x="2294" y="1914"/>
                  <a:pt x="2294" y="1973"/>
                </a:cubicBezTo>
                <a:cubicBezTo>
                  <a:pt x="2294" y="1973"/>
                  <a:pt x="2294" y="1973"/>
                  <a:pt x="2305" y="1973"/>
                </a:cubicBezTo>
                <a:cubicBezTo>
                  <a:pt x="2305" y="1973"/>
                  <a:pt x="2305" y="1973"/>
                  <a:pt x="2305" y="1900"/>
                </a:cubicBezTo>
                <a:close/>
                <a:moveTo>
                  <a:pt x="2352" y="1900"/>
                </a:moveTo>
                <a:cubicBezTo>
                  <a:pt x="2352" y="1900"/>
                  <a:pt x="2352" y="1900"/>
                  <a:pt x="2352" y="1900"/>
                </a:cubicBezTo>
                <a:cubicBezTo>
                  <a:pt x="2348" y="1900"/>
                  <a:pt x="2348" y="1900"/>
                  <a:pt x="2348" y="1900"/>
                </a:cubicBezTo>
                <a:cubicBezTo>
                  <a:pt x="2345" y="1901"/>
                  <a:pt x="2344" y="1903"/>
                  <a:pt x="2342" y="1903"/>
                </a:cubicBezTo>
                <a:cubicBezTo>
                  <a:pt x="2340" y="1905"/>
                  <a:pt x="2338" y="1906"/>
                  <a:pt x="2337" y="1906"/>
                </a:cubicBezTo>
                <a:cubicBezTo>
                  <a:pt x="2335" y="1907"/>
                  <a:pt x="2333" y="1908"/>
                  <a:pt x="2331" y="1908"/>
                </a:cubicBezTo>
                <a:cubicBezTo>
                  <a:pt x="2330" y="1909"/>
                  <a:pt x="2327" y="1910"/>
                  <a:pt x="2326" y="1911"/>
                </a:cubicBezTo>
                <a:cubicBezTo>
                  <a:pt x="2326" y="1911"/>
                  <a:pt x="2326" y="1911"/>
                  <a:pt x="2326" y="1921"/>
                </a:cubicBezTo>
                <a:cubicBezTo>
                  <a:pt x="2329" y="1920"/>
                  <a:pt x="2332" y="1919"/>
                  <a:pt x="2334" y="1918"/>
                </a:cubicBezTo>
                <a:cubicBezTo>
                  <a:pt x="2336" y="1917"/>
                  <a:pt x="2339" y="1916"/>
                  <a:pt x="2340" y="1914"/>
                </a:cubicBezTo>
                <a:cubicBezTo>
                  <a:pt x="2340" y="1914"/>
                  <a:pt x="2340" y="1914"/>
                  <a:pt x="2340" y="1973"/>
                </a:cubicBezTo>
                <a:cubicBezTo>
                  <a:pt x="2340" y="1973"/>
                  <a:pt x="2340" y="1973"/>
                  <a:pt x="2352" y="1973"/>
                </a:cubicBezTo>
                <a:cubicBezTo>
                  <a:pt x="2352" y="1973"/>
                  <a:pt x="2352" y="1973"/>
                  <a:pt x="2352" y="1900"/>
                </a:cubicBezTo>
                <a:close/>
                <a:moveTo>
                  <a:pt x="2559" y="1804"/>
                </a:moveTo>
                <a:cubicBezTo>
                  <a:pt x="2559" y="1804"/>
                  <a:pt x="2559" y="1804"/>
                  <a:pt x="2559" y="1804"/>
                </a:cubicBezTo>
                <a:cubicBezTo>
                  <a:pt x="2554" y="1804"/>
                  <a:pt x="2554" y="1804"/>
                  <a:pt x="2554" y="1804"/>
                </a:cubicBezTo>
                <a:cubicBezTo>
                  <a:pt x="2552" y="1806"/>
                  <a:pt x="2550" y="1807"/>
                  <a:pt x="2548" y="1808"/>
                </a:cubicBezTo>
                <a:cubicBezTo>
                  <a:pt x="2547" y="1809"/>
                  <a:pt x="2544" y="1810"/>
                  <a:pt x="2543" y="1811"/>
                </a:cubicBezTo>
                <a:cubicBezTo>
                  <a:pt x="2541" y="1811"/>
                  <a:pt x="2539" y="1812"/>
                  <a:pt x="2538" y="1813"/>
                </a:cubicBezTo>
                <a:cubicBezTo>
                  <a:pt x="2536" y="1814"/>
                  <a:pt x="2534" y="1814"/>
                  <a:pt x="2532" y="1815"/>
                </a:cubicBezTo>
                <a:cubicBezTo>
                  <a:pt x="2532" y="1815"/>
                  <a:pt x="2532" y="1815"/>
                  <a:pt x="2532" y="1825"/>
                </a:cubicBezTo>
                <a:cubicBezTo>
                  <a:pt x="2535" y="1824"/>
                  <a:pt x="2538" y="1823"/>
                  <a:pt x="2540" y="1822"/>
                </a:cubicBezTo>
                <a:cubicBezTo>
                  <a:pt x="2543" y="1822"/>
                  <a:pt x="2545" y="1820"/>
                  <a:pt x="2547" y="1819"/>
                </a:cubicBezTo>
                <a:cubicBezTo>
                  <a:pt x="2547" y="1819"/>
                  <a:pt x="2547" y="1819"/>
                  <a:pt x="2547" y="1877"/>
                </a:cubicBezTo>
                <a:cubicBezTo>
                  <a:pt x="2547" y="1877"/>
                  <a:pt x="2547" y="1877"/>
                  <a:pt x="2559" y="1877"/>
                </a:cubicBezTo>
                <a:cubicBezTo>
                  <a:pt x="2559" y="1877"/>
                  <a:pt x="2559" y="1877"/>
                  <a:pt x="2559" y="1804"/>
                </a:cubicBezTo>
                <a:close/>
                <a:moveTo>
                  <a:pt x="2605" y="1804"/>
                </a:moveTo>
                <a:cubicBezTo>
                  <a:pt x="2605" y="1804"/>
                  <a:pt x="2605" y="1804"/>
                  <a:pt x="2605" y="1804"/>
                </a:cubicBezTo>
                <a:cubicBezTo>
                  <a:pt x="2600" y="1804"/>
                  <a:pt x="2600" y="1804"/>
                  <a:pt x="2600" y="1804"/>
                </a:cubicBezTo>
                <a:cubicBezTo>
                  <a:pt x="2598" y="1806"/>
                  <a:pt x="2597" y="1807"/>
                  <a:pt x="2595" y="1808"/>
                </a:cubicBezTo>
                <a:cubicBezTo>
                  <a:pt x="2593" y="1809"/>
                  <a:pt x="2591" y="1810"/>
                  <a:pt x="2590" y="1811"/>
                </a:cubicBezTo>
                <a:cubicBezTo>
                  <a:pt x="2588" y="1812"/>
                  <a:pt x="2586" y="1813"/>
                  <a:pt x="2585" y="1814"/>
                </a:cubicBezTo>
                <a:cubicBezTo>
                  <a:pt x="2582" y="1814"/>
                  <a:pt x="2581" y="1815"/>
                  <a:pt x="2579" y="1815"/>
                </a:cubicBezTo>
                <a:cubicBezTo>
                  <a:pt x="2579" y="1815"/>
                  <a:pt x="2579" y="1815"/>
                  <a:pt x="2579" y="1825"/>
                </a:cubicBezTo>
                <a:cubicBezTo>
                  <a:pt x="2582" y="1824"/>
                  <a:pt x="2585" y="1824"/>
                  <a:pt x="2587" y="1822"/>
                </a:cubicBezTo>
                <a:cubicBezTo>
                  <a:pt x="2590" y="1822"/>
                  <a:pt x="2592" y="1820"/>
                  <a:pt x="2594" y="1819"/>
                </a:cubicBezTo>
                <a:cubicBezTo>
                  <a:pt x="2594" y="1819"/>
                  <a:pt x="2594" y="1819"/>
                  <a:pt x="2594" y="1877"/>
                </a:cubicBezTo>
                <a:cubicBezTo>
                  <a:pt x="2594" y="1877"/>
                  <a:pt x="2594" y="1877"/>
                  <a:pt x="2605" y="1877"/>
                </a:cubicBezTo>
                <a:cubicBezTo>
                  <a:pt x="2605" y="1877"/>
                  <a:pt x="2605" y="1877"/>
                  <a:pt x="2605" y="1804"/>
                </a:cubicBezTo>
                <a:close/>
                <a:moveTo>
                  <a:pt x="2651" y="1804"/>
                </a:moveTo>
                <a:cubicBezTo>
                  <a:pt x="2651" y="1804"/>
                  <a:pt x="2651" y="1804"/>
                  <a:pt x="2651" y="1804"/>
                </a:cubicBezTo>
                <a:cubicBezTo>
                  <a:pt x="2647" y="1804"/>
                  <a:pt x="2647" y="1804"/>
                  <a:pt x="2647" y="1804"/>
                </a:cubicBezTo>
                <a:cubicBezTo>
                  <a:pt x="2645" y="1806"/>
                  <a:pt x="2643" y="1807"/>
                  <a:pt x="2641" y="1808"/>
                </a:cubicBezTo>
                <a:cubicBezTo>
                  <a:pt x="2640" y="1809"/>
                  <a:pt x="2638" y="1810"/>
                  <a:pt x="2636" y="1811"/>
                </a:cubicBezTo>
                <a:cubicBezTo>
                  <a:pt x="2634" y="1812"/>
                  <a:pt x="2633" y="1813"/>
                  <a:pt x="2630" y="1814"/>
                </a:cubicBezTo>
                <a:cubicBezTo>
                  <a:pt x="2629" y="1814"/>
                  <a:pt x="2627" y="1815"/>
                  <a:pt x="2625" y="1815"/>
                </a:cubicBezTo>
                <a:cubicBezTo>
                  <a:pt x="2625" y="1815"/>
                  <a:pt x="2625" y="1815"/>
                  <a:pt x="2625" y="1825"/>
                </a:cubicBezTo>
                <a:cubicBezTo>
                  <a:pt x="2628" y="1824"/>
                  <a:pt x="2631" y="1824"/>
                  <a:pt x="2633" y="1822"/>
                </a:cubicBezTo>
                <a:cubicBezTo>
                  <a:pt x="2636" y="1822"/>
                  <a:pt x="2638" y="1820"/>
                  <a:pt x="2640" y="1819"/>
                </a:cubicBezTo>
                <a:cubicBezTo>
                  <a:pt x="2640" y="1819"/>
                  <a:pt x="2640" y="1819"/>
                  <a:pt x="2640" y="1877"/>
                </a:cubicBezTo>
                <a:cubicBezTo>
                  <a:pt x="2640" y="1877"/>
                  <a:pt x="2640" y="1877"/>
                  <a:pt x="2651" y="1877"/>
                </a:cubicBezTo>
                <a:cubicBezTo>
                  <a:pt x="2651" y="1877"/>
                  <a:pt x="2651" y="1877"/>
                  <a:pt x="2651" y="1804"/>
                </a:cubicBezTo>
                <a:close/>
                <a:moveTo>
                  <a:pt x="2698" y="1804"/>
                </a:moveTo>
                <a:cubicBezTo>
                  <a:pt x="2698" y="1804"/>
                  <a:pt x="2698" y="1804"/>
                  <a:pt x="2698" y="1804"/>
                </a:cubicBezTo>
                <a:cubicBezTo>
                  <a:pt x="2693" y="1804"/>
                  <a:pt x="2693" y="1804"/>
                  <a:pt x="2693" y="1804"/>
                </a:cubicBezTo>
                <a:cubicBezTo>
                  <a:pt x="2691" y="1806"/>
                  <a:pt x="2690" y="1807"/>
                  <a:pt x="2687" y="1808"/>
                </a:cubicBezTo>
                <a:cubicBezTo>
                  <a:pt x="2686" y="1809"/>
                  <a:pt x="2684" y="1810"/>
                  <a:pt x="2682" y="1811"/>
                </a:cubicBezTo>
                <a:cubicBezTo>
                  <a:pt x="2681" y="1812"/>
                  <a:pt x="2678" y="1813"/>
                  <a:pt x="2677" y="1814"/>
                </a:cubicBezTo>
                <a:cubicBezTo>
                  <a:pt x="2675" y="1814"/>
                  <a:pt x="2673" y="1815"/>
                  <a:pt x="2671" y="1815"/>
                </a:cubicBezTo>
                <a:cubicBezTo>
                  <a:pt x="2671" y="1815"/>
                  <a:pt x="2671" y="1815"/>
                  <a:pt x="2671" y="1825"/>
                </a:cubicBezTo>
                <a:cubicBezTo>
                  <a:pt x="2674" y="1824"/>
                  <a:pt x="2677" y="1824"/>
                  <a:pt x="2679" y="1822"/>
                </a:cubicBezTo>
                <a:cubicBezTo>
                  <a:pt x="2682" y="1822"/>
                  <a:pt x="2684" y="1820"/>
                  <a:pt x="2687" y="1819"/>
                </a:cubicBezTo>
                <a:cubicBezTo>
                  <a:pt x="2687" y="1819"/>
                  <a:pt x="2687" y="1819"/>
                  <a:pt x="2687" y="1877"/>
                </a:cubicBezTo>
                <a:cubicBezTo>
                  <a:pt x="2687" y="1877"/>
                  <a:pt x="2687" y="1877"/>
                  <a:pt x="2698" y="1877"/>
                </a:cubicBezTo>
                <a:cubicBezTo>
                  <a:pt x="2698" y="1877"/>
                  <a:pt x="2698" y="1877"/>
                  <a:pt x="2698" y="1804"/>
                </a:cubicBezTo>
                <a:close/>
                <a:moveTo>
                  <a:pt x="2820" y="1804"/>
                </a:moveTo>
                <a:cubicBezTo>
                  <a:pt x="2820" y="1804"/>
                  <a:pt x="2820" y="1804"/>
                  <a:pt x="2820" y="1804"/>
                </a:cubicBezTo>
                <a:cubicBezTo>
                  <a:pt x="2815" y="1804"/>
                  <a:pt x="2815" y="1804"/>
                  <a:pt x="2815" y="1804"/>
                </a:cubicBezTo>
                <a:cubicBezTo>
                  <a:pt x="2813" y="1806"/>
                  <a:pt x="2811" y="1807"/>
                  <a:pt x="2809" y="1808"/>
                </a:cubicBezTo>
                <a:cubicBezTo>
                  <a:pt x="2808" y="1809"/>
                  <a:pt x="2806" y="1810"/>
                  <a:pt x="2804" y="1811"/>
                </a:cubicBezTo>
                <a:cubicBezTo>
                  <a:pt x="2802" y="1812"/>
                  <a:pt x="2800" y="1813"/>
                  <a:pt x="2799" y="1814"/>
                </a:cubicBezTo>
                <a:cubicBezTo>
                  <a:pt x="2797" y="1814"/>
                  <a:pt x="2795" y="1815"/>
                  <a:pt x="2793" y="1815"/>
                </a:cubicBezTo>
                <a:cubicBezTo>
                  <a:pt x="2793" y="1815"/>
                  <a:pt x="2793" y="1815"/>
                  <a:pt x="2793" y="1825"/>
                </a:cubicBezTo>
                <a:cubicBezTo>
                  <a:pt x="2796" y="1824"/>
                  <a:pt x="2799" y="1824"/>
                  <a:pt x="2802" y="1822"/>
                </a:cubicBezTo>
                <a:cubicBezTo>
                  <a:pt x="2804" y="1822"/>
                  <a:pt x="2806" y="1820"/>
                  <a:pt x="2808" y="1819"/>
                </a:cubicBezTo>
                <a:cubicBezTo>
                  <a:pt x="2808" y="1819"/>
                  <a:pt x="2808" y="1819"/>
                  <a:pt x="2808" y="1877"/>
                </a:cubicBezTo>
                <a:cubicBezTo>
                  <a:pt x="2808" y="1877"/>
                  <a:pt x="2808" y="1877"/>
                  <a:pt x="2820" y="1877"/>
                </a:cubicBezTo>
                <a:cubicBezTo>
                  <a:pt x="2820" y="1877"/>
                  <a:pt x="2820" y="1877"/>
                  <a:pt x="2820" y="1804"/>
                </a:cubicBezTo>
                <a:close/>
                <a:moveTo>
                  <a:pt x="2867" y="1804"/>
                </a:moveTo>
                <a:cubicBezTo>
                  <a:pt x="2867" y="1804"/>
                  <a:pt x="2867" y="1804"/>
                  <a:pt x="2867" y="1804"/>
                </a:cubicBezTo>
                <a:cubicBezTo>
                  <a:pt x="2862" y="1804"/>
                  <a:pt x="2862" y="1804"/>
                  <a:pt x="2862" y="1804"/>
                </a:cubicBezTo>
                <a:cubicBezTo>
                  <a:pt x="2860" y="1806"/>
                  <a:pt x="2858" y="1807"/>
                  <a:pt x="2856" y="1808"/>
                </a:cubicBezTo>
                <a:cubicBezTo>
                  <a:pt x="2855" y="1809"/>
                  <a:pt x="2852" y="1810"/>
                  <a:pt x="2851" y="1811"/>
                </a:cubicBezTo>
                <a:cubicBezTo>
                  <a:pt x="2849" y="1812"/>
                  <a:pt x="2847" y="1813"/>
                  <a:pt x="2846" y="1814"/>
                </a:cubicBezTo>
                <a:cubicBezTo>
                  <a:pt x="2844" y="1814"/>
                  <a:pt x="2842" y="1815"/>
                  <a:pt x="2840" y="1815"/>
                </a:cubicBezTo>
                <a:cubicBezTo>
                  <a:pt x="2840" y="1815"/>
                  <a:pt x="2840" y="1815"/>
                  <a:pt x="2840" y="1825"/>
                </a:cubicBezTo>
                <a:cubicBezTo>
                  <a:pt x="2843" y="1824"/>
                  <a:pt x="2846" y="1824"/>
                  <a:pt x="2848" y="1822"/>
                </a:cubicBezTo>
                <a:cubicBezTo>
                  <a:pt x="2851" y="1822"/>
                  <a:pt x="2853" y="1820"/>
                  <a:pt x="2855" y="1819"/>
                </a:cubicBezTo>
                <a:cubicBezTo>
                  <a:pt x="2855" y="1819"/>
                  <a:pt x="2855" y="1819"/>
                  <a:pt x="2855" y="1877"/>
                </a:cubicBezTo>
                <a:cubicBezTo>
                  <a:pt x="2855" y="1877"/>
                  <a:pt x="2855" y="1877"/>
                  <a:pt x="2867" y="1877"/>
                </a:cubicBezTo>
                <a:cubicBezTo>
                  <a:pt x="2867" y="1877"/>
                  <a:pt x="2867" y="1877"/>
                  <a:pt x="2867" y="1804"/>
                </a:cubicBezTo>
                <a:close/>
                <a:moveTo>
                  <a:pt x="2718" y="1836"/>
                </a:moveTo>
                <a:cubicBezTo>
                  <a:pt x="2718" y="1836"/>
                  <a:pt x="2718" y="1836"/>
                  <a:pt x="2718" y="1836"/>
                </a:cubicBezTo>
                <a:cubicBezTo>
                  <a:pt x="2718" y="1844"/>
                  <a:pt x="2718" y="1844"/>
                  <a:pt x="2718" y="1844"/>
                </a:cubicBezTo>
                <a:cubicBezTo>
                  <a:pt x="2724" y="1845"/>
                  <a:pt x="2725" y="1848"/>
                  <a:pt x="2725" y="1850"/>
                </a:cubicBezTo>
                <a:cubicBezTo>
                  <a:pt x="2725" y="1853"/>
                  <a:pt x="2725" y="1855"/>
                  <a:pt x="2725" y="1857"/>
                </a:cubicBezTo>
                <a:cubicBezTo>
                  <a:pt x="2724" y="1860"/>
                  <a:pt x="2724" y="1862"/>
                  <a:pt x="2724" y="1865"/>
                </a:cubicBezTo>
                <a:cubicBezTo>
                  <a:pt x="2724" y="1874"/>
                  <a:pt x="2730" y="1877"/>
                  <a:pt x="2738" y="1877"/>
                </a:cubicBezTo>
                <a:cubicBezTo>
                  <a:pt x="2738" y="1877"/>
                  <a:pt x="2738" y="1877"/>
                  <a:pt x="2742" y="1877"/>
                </a:cubicBezTo>
                <a:cubicBezTo>
                  <a:pt x="2742" y="1877"/>
                  <a:pt x="2742" y="1877"/>
                  <a:pt x="2742" y="1868"/>
                </a:cubicBezTo>
                <a:cubicBezTo>
                  <a:pt x="2742" y="1868"/>
                  <a:pt x="2742" y="1868"/>
                  <a:pt x="2741" y="1868"/>
                </a:cubicBezTo>
                <a:cubicBezTo>
                  <a:pt x="2737" y="1868"/>
                  <a:pt x="2736" y="1866"/>
                  <a:pt x="2736" y="1862"/>
                </a:cubicBezTo>
                <a:cubicBezTo>
                  <a:pt x="2736" y="1861"/>
                  <a:pt x="2736" y="1859"/>
                  <a:pt x="2736" y="1857"/>
                </a:cubicBezTo>
                <a:cubicBezTo>
                  <a:pt x="2736" y="1856"/>
                  <a:pt x="2737" y="1854"/>
                  <a:pt x="2737" y="1852"/>
                </a:cubicBezTo>
                <a:cubicBezTo>
                  <a:pt x="2737" y="1844"/>
                  <a:pt x="2734" y="1842"/>
                  <a:pt x="2728" y="1840"/>
                </a:cubicBezTo>
                <a:cubicBezTo>
                  <a:pt x="2728" y="1840"/>
                  <a:pt x="2728" y="1840"/>
                  <a:pt x="2728" y="1840"/>
                </a:cubicBezTo>
                <a:cubicBezTo>
                  <a:pt x="2734" y="1839"/>
                  <a:pt x="2737" y="1837"/>
                  <a:pt x="2737" y="1829"/>
                </a:cubicBezTo>
                <a:cubicBezTo>
                  <a:pt x="2737" y="1827"/>
                  <a:pt x="2736" y="1825"/>
                  <a:pt x="2736" y="1823"/>
                </a:cubicBezTo>
                <a:cubicBezTo>
                  <a:pt x="2736" y="1821"/>
                  <a:pt x="2736" y="1820"/>
                  <a:pt x="2736" y="1818"/>
                </a:cubicBezTo>
                <a:cubicBezTo>
                  <a:pt x="2736" y="1815"/>
                  <a:pt x="2737" y="1813"/>
                  <a:pt x="2741" y="1813"/>
                </a:cubicBezTo>
                <a:cubicBezTo>
                  <a:pt x="2741" y="1813"/>
                  <a:pt x="2741" y="1813"/>
                  <a:pt x="2742" y="1813"/>
                </a:cubicBezTo>
                <a:cubicBezTo>
                  <a:pt x="2742" y="1813"/>
                  <a:pt x="2742" y="1813"/>
                  <a:pt x="2742" y="1803"/>
                </a:cubicBezTo>
                <a:cubicBezTo>
                  <a:pt x="2742" y="1803"/>
                  <a:pt x="2742" y="1803"/>
                  <a:pt x="2738" y="1803"/>
                </a:cubicBezTo>
                <a:cubicBezTo>
                  <a:pt x="2730" y="1803"/>
                  <a:pt x="2724" y="1807"/>
                  <a:pt x="2724" y="1816"/>
                </a:cubicBezTo>
                <a:cubicBezTo>
                  <a:pt x="2724" y="1818"/>
                  <a:pt x="2724" y="1821"/>
                  <a:pt x="2724" y="1823"/>
                </a:cubicBezTo>
                <a:cubicBezTo>
                  <a:pt x="2725" y="1826"/>
                  <a:pt x="2725" y="1828"/>
                  <a:pt x="2725" y="1830"/>
                </a:cubicBezTo>
                <a:cubicBezTo>
                  <a:pt x="2725" y="1833"/>
                  <a:pt x="2724" y="1836"/>
                  <a:pt x="2718" y="1836"/>
                </a:cubicBezTo>
                <a:close/>
                <a:moveTo>
                  <a:pt x="2773" y="1844"/>
                </a:moveTo>
                <a:cubicBezTo>
                  <a:pt x="2773" y="1844"/>
                  <a:pt x="2773" y="1844"/>
                  <a:pt x="2773" y="1844"/>
                </a:cubicBezTo>
                <a:cubicBezTo>
                  <a:pt x="2773" y="1836"/>
                  <a:pt x="2773" y="1836"/>
                  <a:pt x="2773" y="1836"/>
                </a:cubicBezTo>
                <a:cubicBezTo>
                  <a:pt x="2767" y="1836"/>
                  <a:pt x="2767" y="1833"/>
                  <a:pt x="2767" y="1830"/>
                </a:cubicBezTo>
                <a:cubicBezTo>
                  <a:pt x="2767" y="1828"/>
                  <a:pt x="2767" y="1826"/>
                  <a:pt x="2767" y="1823"/>
                </a:cubicBezTo>
                <a:cubicBezTo>
                  <a:pt x="2767" y="1821"/>
                  <a:pt x="2767" y="1818"/>
                  <a:pt x="2767" y="1816"/>
                </a:cubicBezTo>
                <a:cubicBezTo>
                  <a:pt x="2767" y="1807"/>
                  <a:pt x="2762" y="1803"/>
                  <a:pt x="2753" y="1803"/>
                </a:cubicBezTo>
                <a:cubicBezTo>
                  <a:pt x="2753" y="1803"/>
                  <a:pt x="2753" y="1803"/>
                  <a:pt x="2749" y="1803"/>
                </a:cubicBezTo>
                <a:cubicBezTo>
                  <a:pt x="2749" y="1803"/>
                  <a:pt x="2749" y="1803"/>
                  <a:pt x="2749" y="1813"/>
                </a:cubicBezTo>
                <a:cubicBezTo>
                  <a:pt x="2749" y="1813"/>
                  <a:pt x="2749" y="1813"/>
                  <a:pt x="2750" y="1813"/>
                </a:cubicBezTo>
                <a:cubicBezTo>
                  <a:pt x="2754" y="1813"/>
                  <a:pt x="2756" y="1815"/>
                  <a:pt x="2756" y="1818"/>
                </a:cubicBezTo>
                <a:cubicBezTo>
                  <a:pt x="2756" y="1820"/>
                  <a:pt x="2755" y="1821"/>
                  <a:pt x="2755" y="1823"/>
                </a:cubicBezTo>
                <a:cubicBezTo>
                  <a:pt x="2755" y="1825"/>
                  <a:pt x="2755" y="1827"/>
                  <a:pt x="2755" y="1829"/>
                </a:cubicBezTo>
                <a:cubicBezTo>
                  <a:pt x="2755" y="1837"/>
                  <a:pt x="2757" y="1839"/>
                  <a:pt x="2764" y="1840"/>
                </a:cubicBezTo>
                <a:cubicBezTo>
                  <a:pt x="2764" y="1840"/>
                  <a:pt x="2764" y="1840"/>
                  <a:pt x="2764" y="1840"/>
                </a:cubicBezTo>
                <a:cubicBezTo>
                  <a:pt x="2757" y="1842"/>
                  <a:pt x="2755" y="1844"/>
                  <a:pt x="2755" y="1852"/>
                </a:cubicBezTo>
                <a:cubicBezTo>
                  <a:pt x="2755" y="1854"/>
                  <a:pt x="2755" y="1856"/>
                  <a:pt x="2755" y="1857"/>
                </a:cubicBezTo>
                <a:cubicBezTo>
                  <a:pt x="2755" y="1859"/>
                  <a:pt x="2756" y="1861"/>
                  <a:pt x="2756" y="1862"/>
                </a:cubicBezTo>
                <a:cubicBezTo>
                  <a:pt x="2756" y="1866"/>
                  <a:pt x="2754" y="1868"/>
                  <a:pt x="2750" y="1868"/>
                </a:cubicBezTo>
                <a:cubicBezTo>
                  <a:pt x="2750" y="1868"/>
                  <a:pt x="2750" y="1868"/>
                  <a:pt x="2749" y="1868"/>
                </a:cubicBezTo>
                <a:cubicBezTo>
                  <a:pt x="2749" y="1868"/>
                  <a:pt x="2749" y="1868"/>
                  <a:pt x="2749" y="1877"/>
                </a:cubicBezTo>
                <a:cubicBezTo>
                  <a:pt x="2749" y="1877"/>
                  <a:pt x="2749" y="1877"/>
                  <a:pt x="2753" y="1877"/>
                </a:cubicBezTo>
                <a:cubicBezTo>
                  <a:pt x="2762" y="1877"/>
                  <a:pt x="2767" y="1874"/>
                  <a:pt x="2767" y="1865"/>
                </a:cubicBezTo>
                <a:cubicBezTo>
                  <a:pt x="2767" y="1862"/>
                  <a:pt x="2767" y="1860"/>
                  <a:pt x="2767" y="1857"/>
                </a:cubicBezTo>
                <a:cubicBezTo>
                  <a:pt x="2767" y="1855"/>
                  <a:pt x="2767" y="1853"/>
                  <a:pt x="2767" y="1850"/>
                </a:cubicBezTo>
                <a:cubicBezTo>
                  <a:pt x="2767" y="1848"/>
                  <a:pt x="2767" y="1845"/>
                  <a:pt x="2773" y="1844"/>
                </a:cubicBezTo>
                <a:close/>
                <a:moveTo>
                  <a:pt x="2159" y="1877"/>
                </a:moveTo>
                <a:cubicBezTo>
                  <a:pt x="2152" y="1877"/>
                  <a:pt x="2145" y="1874"/>
                  <a:pt x="2141" y="1868"/>
                </a:cubicBezTo>
                <a:cubicBezTo>
                  <a:pt x="2137" y="1862"/>
                  <a:pt x="2135" y="1853"/>
                  <a:pt x="2135" y="1841"/>
                </a:cubicBezTo>
                <a:cubicBezTo>
                  <a:pt x="2135" y="1828"/>
                  <a:pt x="2137" y="1818"/>
                  <a:pt x="2141" y="1812"/>
                </a:cubicBezTo>
                <a:cubicBezTo>
                  <a:pt x="2146" y="1805"/>
                  <a:pt x="2152" y="1801"/>
                  <a:pt x="2161" y="1801"/>
                </a:cubicBezTo>
                <a:cubicBezTo>
                  <a:pt x="2177" y="1801"/>
                  <a:pt x="2185" y="1814"/>
                  <a:pt x="2185" y="1839"/>
                </a:cubicBezTo>
                <a:cubicBezTo>
                  <a:pt x="2185" y="1852"/>
                  <a:pt x="2183" y="1861"/>
                  <a:pt x="2178" y="1868"/>
                </a:cubicBezTo>
                <a:cubicBezTo>
                  <a:pt x="2174" y="1874"/>
                  <a:pt x="2167" y="1877"/>
                  <a:pt x="2159" y="1877"/>
                </a:cubicBezTo>
                <a:close/>
                <a:moveTo>
                  <a:pt x="2160" y="1811"/>
                </a:moveTo>
                <a:cubicBezTo>
                  <a:pt x="2151" y="1811"/>
                  <a:pt x="2147" y="1821"/>
                  <a:pt x="2147" y="1841"/>
                </a:cubicBezTo>
                <a:cubicBezTo>
                  <a:pt x="2147" y="1859"/>
                  <a:pt x="2151" y="1868"/>
                  <a:pt x="2160" y="1868"/>
                </a:cubicBezTo>
                <a:cubicBezTo>
                  <a:pt x="2168" y="1868"/>
                  <a:pt x="2173" y="1859"/>
                  <a:pt x="2173" y="1840"/>
                </a:cubicBezTo>
                <a:cubicBezTo>
                  <a:pt x="2173" y="1820"/>
                  <a:pt x="2168" y="1811"/>
                  <a:pt x="2160" y="1811"/>
                </a:cubicBezTo>
                <a:close/>
                <a:moveTo>
                  <a:pt x="2230" y="1877"/>
                </a:moveTo>
                <a:cubicBezTo>
                  <a:pt x="2222" y="1877"/>
                  <a:pt x="2216" y="1874"/>
                  <a:pt x="2212" y="1868"/>
                </a:cubicBezTo>
                <a:cubicBezTo>
                  <a:pt x="2208" y="1862"/>
                  <a:pt x="2205" y="1853"/>
                  <a:pt x="2205" y="1841"/>
                </a:cubicBezTo>
                <a:cubicBezTo>
                  <a:pt x="2205" y="1828"/>
                  <a:pt x="2208" y="1818"/>
                  <a:pt x="2212" y="1812"/>
                </a:cubicBezTo>
                <a:cubicBezTo>
                  <a:pt x="2216" y="1805"/>
                  <a:pt x="2223" y="1801"/>
                  <a:pt x="2232" y="1801"/>
                </a:cubicBezTo>
                <a:cubicBezTo>
                  <a:pt x="2248" y="1801"/>
                  <a:pt x="2256" y="1814"/>
                  <a:pt x="2256" y="1839"/>
                </a:cubicBezTo>
                <a:cubicBezTo>
                  <a:pt x="2256" y="1852"/>
                  <a:pt x="2254" y="1861"/>
                  <a:pt x="2249" y="1868"/>
                </a:cubicBezTo>
                <a:cubicBezTo>
                  <a:pt x="2244" y="1874"/>
                  <a:pt x="2238" y="1877"/>
                  <a:pt x="2230" y="1877"/>
                </a:cubicBezTo>
                <a:close/>
                <a:moveTo>
                  <a:pt x="2231" y="1811"/>
                </a:moveTo>
                <a:cubicBezTo>
                  <a:pt x="2222" y="1811"/>
                  <a:pt x="2217" y="1821"/>
                  <a:pt x="2217" y="1841"/>
                </a:cubicBezTo>
                <a:cubicBezTo>
                  <a:pt x="2217" y="1859"/>
                  <a:pt x="2222" y="1868"/>
                  <a:pt x="2230" y="1868"/>
                </a:cubicBezTo>
                <a:cubicBezTo>
                  <a:pt x="2239" y="1868"/>
                  <a:pt x="2243" y="1859"/>
                  <a:pt x="2243" y="1840"/>
                </a:cubicBezTo>
                <a:cubicBezTo>
                  <a:pt x="2243" y="1820"/>
                  <a:pt x="2239" y="1811"/>
                  <a:pt x="2231" y="1811"/>
                </a:cubicBezTo>
                <a:close/>
                <a:moveTo>
                  <a:pt x="2439" y="1877"/>
                </a:moveTo>
                <a:cubicBezTo>
                  <a:pt x="2432" y="1877"/>
                  <a:pt x="2426" y="1874"/>
                  <a:pt x="2422" y="1868"/>
                </a:cubicBezTo>
                <a:cubicBezTo>
                  <a:pt x="2417" y="1862"/>
                  <a:pt x="2415" y="1852"/>
                  <a:pt x="2415" y="1841"/>
                </a:cubicBezTo>
                <a:cubicBezTo>
                  <a:pt x="2415" y="1828"/>
                  <a:pt x="2417" y="1818"/>
                  <a:pt x="2422" y="1811"/>
                </a:cubicBezTo>
                <a:cubicBezTo>
                  <a:pt x="2426" y="1804"/>
                  <a:pt x="2433" y="1801"/>
                  <a:pt x="2442" y="1801"/>
                </a:cubicBezTo>
                <a:cubicBezTo>
                  <a:pt x="2458" y="1801"/>
                  <a:pt x="2466" y="1814"/>
                  <a:pt x="2466" y="1839"/>
                </a:cubicBezTo>
                <a:cubicBezTo>
                  <a:pt x="2466" y="1852"/>
                  <a:pt x="2463" y="1861"/>
                  <a:pt x="2459" y="1868"/>
                </a:cubicBezTo>
                <a:cubicBezTo>
                  <a:pt x="2454" y="1874"/>
                  <a:pt x="2448" y="1877"/>
                  <a:pt x="2439" y="1877"/>
                </a:cubicBezTo>
                <a:close/>
                <a:moveTo>
                  <a:pt x="2441" y="1811"/>
                </a:moveTo>
                <a:cubicBezTo>
                  <a:pt x="2432" y="1811"/>
                  <a:pt x="2428" y="1820"/>
                  <a:pt x="2428" y="1840"/>
                </a:cubicBezTo>
                <a:cubicBezTo>
                  <a:pt x="2428" y="1858"/>
                  <a:pt x="2432" y="1868"/>
                  <a:pt x="2441" y="1868"/>
                </a:cubicBezTo>
                <a:cubicBezTo>
                  <a:pt x="2449" y="1868"/>
                  <a:pt x="2453" y="1858"/>
                  <a:pt x="2453" y="1840"/>
                </a:cubicBezTo>
                <a:cubicBezTo>
                  <a:pt x="2453" y="1820"/>
                  <a:pt x="2450" y="1811"/>
                  <a:pt x="2441" y="1811"/>
                </a:cubicBezTo>
                <a:close/>
                <a:moveTo>
                  <a:pt x="2512" y="1804"/>
                </a:moveTo>
                <a:cubicBezTo>
                  <a:pt x="2512" y="1804"/>
                  <a:pt x="2512" y="1804"/>
                  <a:pt x="2512" y="1804"/>
                </a:cubicBezTo>
                <a:cubicBezTo>
                  <a:pt x="2507" y="1804"/>
                  <a:pt x="2507" y="1804"/>
                  <a:pt x="2507" y="1804"/>
                </a:cubicBezTo>
                <a:cubicBezTo>
                  <a:pt x="2505" y="1806"/>
                  <a:pt x="2504" y="1807"/>
                  <a:pt x="2501" y="1808"/>
                </a:cubicBezTo>
                <a:cubicBezTo>
                  <a:pt x="2500" y="1809"/>
                  <a:pt x="2498" y="1810"/>
                  <a:pt x="2496" y="1811"/>
                </a:cubicBezTo>
                <a:cubicBezTo>
                  <a:pt x="2495" y="1811"/>
                  <a:pt x="2493" y="1812"/>
                  <a:pt x="2491" y="1813"/>
                </a:cubicBezTo>
                <a:cubicBezTo>
                  <a:pt x="2489" y="1814"/>
                  <a:pt x="2488" y="1814"/>
                  <a:pt x="2486" y="1815"/>
                </a:cubicBezTo>
                <a:cubicBezTo>
                  <a:pt x="2486" y="1815"/>
                  <a:pt x="2486" y="1815"/>
                  <a:pt x="2486" y="1825"/>
                </a:cubicBezTo>
                <a:cubicBezTo>
                  <a:pt x="2489" y="1824"/>
                  <a:pt x="2491" y="1823"/>
                  <a:pt x="2494" y="1822"/>
                </a:cubicBezTo>
                <a:cubicBezTo>
                  <a:pt x="2496" y="1822"/>
                  <a:pt x="2499" y="1820"/>
                  <a:pt x="2501" y="1819"/>
                </a:cubicBezTo>
                <a:cubicBezTo>
                  <a:pt x="2501" y="1819"/>
                  <a:pt x="2501" y="1819"/>
                  <a:pt x="2501" y="1877"/>
                </a:cubicBezTo>
                <a:cubicBezTo>
                  <a:pt x="2501" y="1877"/>
                  <a:pt x="2501" y="1877"/>
                  <a:pt x="2512" y="1877"/>
                </a:cubicBezTo>
                <a:cubicBezTo>
                  <a:pt x="2512" y="1877"/>
                  <a:pt x="2512" y="1877"/>
                  <a:pt x="2512" y="1804"/>
                </a:cubicBezTo>
                <a:close/>
                <a:moveTo>
                  <a:pt x="2303" y="1804"/>
                </a:moveTo>
                <a:cubicBezTo>
                  <a:pt x="2303" y="1804"/>
                  <a:pt x="2303" y="1804"/>
                  <a:pt x="2303" y="1804"/>
                </a:cubicBezTo>
                <a:cubicBezTo>
                  <a:pt x="2298" y="1804"/>
                  <a:pt x="2298" y="1804"/>
                  <a:pt x="2298" y="1804"/>
                </a:cubicBezTo>
                <a:cubicBezTo>
                  <a:pt x="2295" y="1806"/>
                  <a:pt x="2294" y="1807"/>
                  <a:pt x="2292" y="1808"/>
                </a:cubicBezTo>
                <a:cubicBezTo>
                  <a:pt x="2290" y="1809"/>
                  <a:pt x="2289" y="1810"/>
                  <a:pt x="2287" y="1811"/>
                </a:cubicBezTo>
                <a:cubicBezTo>
                  <a:pt x="2285" y="1812"/>
                  <a:pt x="2283" y="1813"/>
                  <a:pt x="2281" y="1814"/>
                </a:cubicBezTo>
                <a:cubicBezTo>
                  <a:pt x="2279" y="1814"/>
                  <a:pt x="2278" y="1815"/>
                  <a:pt x="2276" y="1815"/>
                </a:cubicBezTo>
                <a:cubicBezTo>
                  <a:pt x="2276" y="1815"/>
                  <a:pt x="2276" y="1815"/>
                  <a:pt x="2276" y="1825"/>
                </a:cubicBezTo>
                <a:cubicBezTo>
                  <a:pt x="2278" y="1824"/>
                  <a:pt x="2281" y="1824"/>
                  <a:pt x="2284" y="1822"/>
                </a:cubicBezTo>
                <a:cubicBezTo>
                  <a:pt x="2287" y="1822"/>
                  <a:pt x="2289" y="1820"/>
                  <a:pt x="2291" y="1819"/>
                </a:cubicBezTo>
                <a:cubicBezTo>
                  <a:pt x="2291" y="1819"/>
                  <a:pt x="2291" y="1819"/>
                  <a:pt x="2291" y="1877"/>
                </a:cubicBezTo>
                <a:cubicBezTo>
                  <a:pt x="2291" y="1877"/>
                  <a:pt x="2291" y="1877"/>
                  <a:pt x="2303" y="1877"/>
                </a:cubicBezTo>
                <a:cubicBezTo>
                  <a:pt x="2303" y="1877"/>
                  <a:pt x="2303" y="1877"/>
                  <a:pt x="2303" y="1804"/>
                </a:cubicBezTo>
                <a:close/>
                <a:moveTo>
                  <a:pt x="2349" y="1804"/>
                </a:moveTo>
                <a:cubicBezTo>
                  <a:pt x="2349" y="1804"/>
                  <a:pt x="2349" y="1804"/>
                  <a:pt x="2349" y="1804"/>
                </a:cubicBezTo>
                <a:cubicBezTo>
                  <a:pt x="2344" y="1804"/>
                  <a:pt x="2344" y="1804"/>
                  <a:pt x="2344" y="1804"/>
                </a:cubicBezTo>
                <a:cubicBezTo>
                  <a:pt x="2342" y="1806"/>
                  <a:pt x="2341" y="1807"/>
                  <a:pt x="2339" y="1808"/>
                </a:cubicBezTo>
                <a:cubicBezTo>
                  <a:pt x="2337" y="1809"/>
                  <a:pt x="2335" y="1810"/>
                  <a:pt x="2333" y="1811"/>
                </a:cubicBezTo>
                <a:cubicBezTo>
                  <a:pt x="2332" y="1812"/>
                  <a:pt x="2330" y="1813"/>
                  <a:pt x="2328" y="1814"/>
                </a:cubicBezTo>
                <a:cubicBezTo>
                  <a:pt x="2326" y="1814"/>
                  <a:pt x="2325" y="1815"/>
                  <a:pt x="2323" y="1815"/>
                </a:cubicBezTo>
                <a:cubicBezTo>
                  <a:pt x="2323" y="1815"/>
                  <a:pt x="2323" y="1815"/>
                  <a:pt x="2323" y="1825"/>
                </a:cubicBezTo>
                <a:cubicBezTo>
                  <a:pt x="2325" y="1824"/>
                  <a:pt x="2328" y="1824"/>
                  <a:pt x="2331" y="1822"/>
                </a:cubicBezTo>
                <a:cubicBezTo>
                  <a:pt x="2333" y="1822"/>
                  <a:pt x="2336" y="1820"/>
                  <a:pt x="2338" y="1819"/>
                </a:cubicBezTo>
                <a:cubicBezTo>
                  <a:pt x="2338" y="1819"/>
                  <a:pt x="2338" y="1819"/>
                  <a:pt x="2338" y="1877"/>
                </a:cubicBezTo>
                <a:cubicBezTo>
                  <a:pt x="2338" y="1877"/>
                  <a:pt x="2338" y="1877"/>
                  <a:pt x="2349" y="1877"/>
                </a:cubicBezTo>
                <a:cubicBezTo>
                  <a:pt x="2349" y="1877"/>
                  <a:pt x="2349" y="1877"/>
                  <a:pt x="2349" y="1804"/>
                </a:cubicBezTo>
                <a:close/>
                <a:moveTo>
                  <a:pt x="2396" y="1804"/>
                </a:moveTo>
                <a:cubicBezTo>
                  <a:pt x="2396" y="1804"/>
                  <a:pt x="2396" y="1804"/>
                  <a:pt x="2396" y="1804"/>
                </a:cubicBezTo>
                <a:cubicBezTo>
                  <a:pt x="2391" y="1804"/>
                  <a:pt x="2391" y="1804"/>
                  <a:pt x="2391" y="1804"/>
                </a:cubicBezTo>
                <a:cubicBezTo>
                  <a:pt x="2389" y="1806"/>
                  <a:pt x="2388" y="1807"/>
                  <a:pt x="2385" y="1808"/>
                </a:cubicBezTo>
                <a:cubicBezTo>
                  <a:pt x="2384" y="1809"/>
                  <a:pt x="2382" y="1810"/>
                  <a:pt x="2380" y="1811"/>
                </a:cubicBezTo>
                <a:cubicBezTo>
                  <a:pt x="2378" y="1811"/>
                  <a:pt x="2377" y="1812"/>
                  <a:pt x="2375" y="1813"/>
                </a:cubicBezTo>
                <a:cubicBezTo>
                  <a:pt x="2373" y="1814"/>
                  <a:pt x="2371" y="1814"/>
                  <a:pt x="2370" y="1815"/>
                </a:cubicBezTo>
                <a:cubicBezTo>
                  <a:pt x="2370" y="1815"/>
                  <a:pt x="2370" y="1815"/>
                  <a:pt x="2370" y="1825"/>
                </a:cubicBezTo>
                <a:cubicBezTo>
                  <a:pt x="2372" y="1824"/>
                  <a:pt x="2375" y="1823"/>
                  <a:pt x="2378" y="1822"/>
                </a:cubicBezTo>
                <a:cubicBezTo>
                  <a:pt x="2380" y="1822"/>
                  <a:pt x="2383" y="1820"/>
                  <a:pt x="2384" y="1819"/>
                </a:cubicBezTo>
                <a:cubicBezTo>
                  <a:pt x="2384" y="1819"/>
                  <a:pt x="2384" y="1819"/>
                  <a:pt x="2384" y="1877"/>
                </a:cubicBezTo>
                <a:cubicBezTo>
                  <a:pt x="2384" y="1877"/>
                  <a:pt x="2384" y="1877"/>
                  <a:pt x="2396" y="1877"/>
                </a:cubicBezTo>
                <a:cubicBezTo>
                  <a:pt x="2396" y="1877"/>
                  <a:pt x="2396" y="1877"/>
                  <a:pt x="2396" y="1804"/>
                </a:cubicBezTo>
                <a:close/>
                <a:moveTo>
                  <a:pt x="1961" y="1877"/>
                </a:moveTo>
                <a:cubicBezTo>
                  <a:pt x="1954" y="1877"/>
                  <a:pt x="1947" y="1874"/>
                  <a:pt x="1944" y="1868"/>
                </a:cubicBezTo>
                <a:cubicBezTo>
                  <a:pt x="1939" y="1862"/>
                  <a:pt x="1937" y="1853"/>
                  <a:pt x="1937" y="1841"/>
                </a:cubicBezTo>
                <a:cubicBezTo>
                  <a:pt x="1937" y="1828"/>
                  <a:pt x="1939" y="1818"/>
                  <a:pt x="1944" y="1812"/>
                </a:cubicBezTo>
                <a:cubicBezTo>
                  <a:pt x="1948" y="1805"/>
                  <a:pt x="1955" y="1801"/>
                  <a:pt x="1963" y="1801"/>
                </a:cubicBezTo>
                <a:cubicBezTo>
                  <a:pt x="1979" y="1801"/>
                  <a:pt x="1988" y="1814"/>
                  <a:pt x="1988" y="1839"/>
                </a:cubicBezTo>
                <a:cubicBezTo>
                  <a:pt x="1988" y="1852"/>
                  <a:pt x="1985" y="1861"/>
                  <a:pt x="1981" y="1868"/>
                </a:cubicBezTo>
                <a:cubicBezTo>
                  <a:pt x="1976" y="1874"/>
                  <a:pt x="1970" y="1877"/>
                  <a:pt x="1961" y="1877"/>
                </a:cubicBezTo>
                <a:close/>
                <a:moveTo>
                  <a:pt x="1963" y="1811"/>
                </a:moveTo>
                <a:cubicBezTo>
                  <a:pt x="1954" y="1811"/>
                  <a:pt x="1949" y="1821"/>
                  <a:pt x="1949" y="1841"/>
                </a:cubicBezTo>
                <a:cubicBezTo>
                  <a:pt x="1949" y="1859"/>
                  <a:pt x="1953" y="1868"/>
                  <a:pt x="1962" y="1868"/>
                </a:cubicBezTo>
                <a:cubicBezTo>
                  <a:pt x="1971" y="1868"/>
                  <a:pt x="1975" y="1859"/>
                  <a:pt x="1975" y="1840"/>
                </a:cubicBezTo>
                <a:cubicBezTo>
                  <a:pt x="1975" y="1820"/>
                  <a:pt x="1971" y="1811"/>
                  <a:pt x="1963" y="1811"/>
                </a:cubicBezTo>
                <a:close/>
                <a:moveTo>
                  <a:pt x="2022" y="1804"/>
                </a:moveTo>
                <a:cubicBezTo>
                  <a:pt x="2022" y="1804"/>
                  <a:pt x="2022" y="1804"/>
                  <a:pt x="2022" y="1804"/>
                </a:cubicBezTo>
                <a:cubicBezTo>
                  <a:pt x="2017" y="1804"/>
                  <a:pt x="2017" y="1804"/>
                  <a:pt x="2017" y="1804"/>
                </a:cubicBezTo>
                <a:cubicBezTo>
                  <a:pt x="2015" y="1806"/>
                  <a:pt x="2013" y="1807"/>
                  <a:pt x="2011" y="1808"/>
                </a:cubicBezTo>
                <a:cubicBezTo>
                  <a:pt x="2010" y="1809"/>
                  <a:pt x="2008" y="1810"/>
                  <a:pt x="2006" y="1811"/>
                </a:cubicBezTo>
                <a:cubicBezTo>
                  <a:pt x="2005" y="1812"/>
                  <a:pt x="2002" y="1813"/>
                  <a:pt x="2001" y="1814"/>
                </a:cubicBezTo>
                <a:cubicBezTo>
                  <a:pt x="1999" y="1814"/>
                  <a:pt x="1997" y="1815"/>
                  <a:pt x="1995" y="1815"/>
                </a:cubicBezTo>
                <a:cubicBezTo>
                  <a:pt x="1995" y="1815"/>
                  <a:pt x="1995" y="1815"/>
                  <a:pt x="1995" y="1825"/>
                </a:cubicBezTo>
                <a:cubicBezTo>
                  <a:pt x="1998" y="1824"/>
                  <a:pt x="2001" y="1824"/>
                  <a:pt x="2004" y="1822"/>
                </a:cubicBezTo>
                <a:cubicBezTo>
                  <a:pt x="2006" y="1822"/>
                  <a:pt x="2008" y="1820"/>
                  <a:pt x="2010" y="1819"/>
                </a:cubicBezTo>
                <a:cubicBezTo>
                  <a:pt x="2010" y="1819"/>
                  <a:pt x="2010" y="1819"/>
                  <a:pt x="2010" y="1877"/>
                </a:cubicBezTo>
                <a:cubicBezTo>
                  <a:pt x="2010" y="1877"/>
                  <a:pt x="2010" y="1877"/>
                  <a:pt x="2022" y="1877"/>
                </a:cubicBezTo>
                <a:cubicBezTo>
                  <a:pt x="2022" y="1877"/>
                  <a:pt x="2022" y="1877"/>
                  <a:pt x="2022" y="1804"/>
                </a:cubicBezTo>
                <a:close/>
                <a:moveTo>
                  <a:pt x="2069" y="1804"/>
                </a:moveTo>
                <a:cubicBezTo>
                  <a:pt x="2069" y="1804"/>
                  <a:pt x="2069" y="1804"/>
                  <a:pt x="2069" y="1804"/>
                </a:cubicBezTo>
                <a:cubicBezTo>
                  <a:pt x="2064" y="1804"/>
                  <a:pt x="2064" y="1804"/>
                  <a:pt x="2064" y="1804"/>
                </a:cubicBezTo>
                <a:cubicBezTo>
                  <a:pt x="2062" y="1806"/>
                  <a:pt x="2060" y="1807"/>
                  <a:pt x="2058" y="1808"/>
                </a:cubicBezTo>
                <a:cubicBezTo>
                  <a:pt x="2057" y="1809"/>
                  <a:pt x="2055" y="1810"/>
                  <a:pt x="2053" y="1811"/>
                </a:cubicBezTo>
                <a:cubicBezTo>
                  <a:pt x="2052" y="1812"/>
                  <a:pt x="2050" y="1813"/>
                  <a:pt x="2048" y="1814"/>
                </a:cubicBezTo>
                <a:cubicBezTo>
                  <a:pt x="2046" y="1814"/>
                  <a:pt x="2044" y="1815"/>
                  <a:pt x="2042" y="1815"/>
                </a:cubicBezTo>
                <a:cubicBezTo>
                  <a:pt x="2042" y="1815"/>
                  <a:pt x="2042" y="1815"/>
                  <a:pt x="2042" y="1825"/>
                </a:cubicBezTo>
                <a:cubicBezTo>
                  <a:pt x="2045" y="1824"/>
                  <a:pt x="2048" y="1824"/>
                  <a:pt x="2050" y="1822"/>
                </a:cubicBezTo>
                <a:cubicBezTo>
                  <a:pt x="2053" y="1822"/>
                  <a:pt x="2055" y="1820"/>
                  <a:pt x="2058" y="1819"/>
                </a:cubicBezTo>
                <a:cubicBezTo>
                  <a:pt x="2058" y="1819"/>
                  <a:pt x="2058" y="1819"/>
                  <a:pt x="2058" y="1877"/>
                </a:cubicBezTo>
                <a:cubicBezTo>
                  <a:pt x="2058" y="1877"/>
                  <a:pt x="2058" y="1877"/>
                  <a:pt x="2069" y="1877"/>
                </a:cubicBezTo>
                <a:cubicBezTo>
                  <a:pt x="2069" y="1877"/>
                  <a:pt x="2069" y="1877"/>
                  <a:pt x="2069" y="1804"/>
                </a:cubicBezTo>
                <a:close/>
                <a:moveTo>
                  <a:pt x="2115" y="1804"/>
                </a:moveTo>
                <a:cubicBezTo>
                  <a:pt x="2115" y="1804"/>
                  <a:pt x="2115" y="1804"/>
                  <a:pt x="2115" y="1804"/>
                </a:cubicBezTo>
                <a:cubicBezTo>
                  <a:pt x="2111" y="1804"/>
                  <a:pt x="2111" y="1804"/>
                  <a:pt x="2111" y="1804"/>
                </a:cubicBezTo>
                <a:cubicBezTo>
                  <a:pt x="2109" y="1806"/>
                  <a:pt x="2107" y="1807"/>
                  <a:pt x="2105" y="1808"/>
                </a:cubicBezTo>
                <a:cubicBezTo>
                  <a:pt x="2103" y="1809"/>
                  <a:pt x="2101" y="1810"/>
                  <a:pt x="2100" y="1811"/>
                </a:cubicBezTo>
                <a:cubicBezTo>
                  <a:pt x="2098" y="1811"/>
                  <a:pt x="2096" y="1812"/>
                  <a:pt x="2094" y="1813"/>
                </a:cubicBezTo>
                <a:cubicBezTo>
                  <a:pt x="2092" y="1814"/>
                  <a:pt x="2090" y="1814"/>
                  <a:pt x="2089" y="1815"/>
                </a:cubicBezTo>
                <a:cubicBezTo>
                  <a:pt x="2089" y="1815"/>
                  <a:pt x="2089" y="1815"/>
                  <a:pt x="2089" y="1825"/>
                </a:cubicBezTo>
                <a:cubicBezTo>
                  <a:pt x="2092" y="1824"/>
                  <a:pt x="2095" y="1823"/>
                  <a:pt x="2097" y="1822"/>
                </a:cubicBezTo>
                <a:cubicBezTo>
                  <a:pt x="2099" y="1822"/>
                  <a:pt x="2102" y="1820"/>
                  <a:pt x="2103" y="1819"/>
                </a:cubicBezTo>
                <a:cubicBezTo>
                  <a:pt x="2103" y="1819"/>
                  <a:pt x="2103" y="1819"/>
                  <a:pt x="2103" y="1877"/>
                </a:cubicBezTo>
                <a:cubicBezTo>
                  <a:pt x="2103" y="1877"/>
                  <a:pt x="2103" y="1877"/>
                  <a:pt x="2115" y="1877"/>
                </a:cubicBezTo>
                <a:cubicBezTo>
                  <a:pt x="2115" y="1877"/>
                  <a:pt x="2115" y="1877"/>
                  <a:pt x="2115" y="1804"/>
                </a:cubicBezTo>
                <a:close/>
                <a:moveTo>
                  <a:pt x="1961" y="2177"/>
                </a:moveTo>
                <a:cubicBezTo>
                  <a:pt x="1954" y="2177"/>
                  <a:pt x="1947" y="2174"/>
                  <a:pt x="1944" y="2168"/>
                </a:cubicBezTo>
                <a:cubicBezTo>
                  <a:pt x="1939" y="2162"/>
                  <a:pt x="1937" y="2153"/>
                  <a:pt x="1937" y="2141"/>
                </a:cubicBezTo>
                <a:cubicBezTo>
                  <a:pt x="1937" y="2128"/>
                  <a:pt x="1939" y="2118"/>
                  <a:pt x="1944" y="2112"/>
                </a:cubicBezTo>
                <a:cubicBezTo>
                  <a:pt x="1948" y="2105"/>
                  <a:pt x="1955" y="2101"/>
                  <a:pt x="1963" y="2101"/>
                </a:cubicBezTo>
                <a:cubicBezTo>
                  <a:pt x="1979" y="2101"/>
                  <a:pt x="1988" y="2114"/>
                  <a:pt x="1988" y="2139"/>
                </a:cubicBezTo>
                <a:cubicBezTo>
                  <a:pt x="1988" y="2152"/>
                  <a:pt x="1985" y="2161"/>
                  <a:pt x="1981" y="2168"/>
                </a:cubicBezTo>
                <a:cubicBezTo>
                  <a:pt x="1976" y="2174"/>
                  <a:pt x="1970" y="2177"/>
                  <a:pt x="1961" y="2177"/>
                </a:cubicBezTo>
                <a:close/>
                <a:moveTo>
                  <a:pt x="1963" y="2111"/>
                </a:moveTo>
                <a:cubicBezTo>
                  <a:pt x="1954" y="2111"/>
                  <a:pt x="1949" y="2121"/>
                  <a:pt x="1949" y="2141"/>
                </a:cubicBezTo>
                <a:cubicBezTo>
                  <a:pt x="1949" y="2159"/>
                  <a:pt x="1953" y="2168"/>
                  <a:pt x="1962" y="2168"/>
                </a:cubicBezTo>
                <a:cubicBezTo>
                  <a:pt x="1971" y="2168"/>
                  <a:pt x="1975" y="2159"/>
                  <a:pt x="1975" y="2140"/>
                </a:cubicBezTo>
                <a:cubicBezTo>
                  <a:pt x="1975" y="2120"/>
                  <a:pt x="1971" y="2111"/>
                  <a:pt x="1963" y="2111"/>
                </a:cubicBezTo>
                <a:close/>
                <a:moveTo>
                  <a:pt x="1963" y="2082"/>
                </a:moveTo>
                <a:cubicBezTo>
                  <a:pt x="1956" y="2082"/>
                  <a:pt x="1949" y="2079"/>
                  <a:pt x="1946" y="2073"/>
                </a:cubicBezTo>
                <a:cubicBezTo>
                  <a:pt x="1941" y="2067"/>
                  <a:pt x="1939" y="2058"/>
                  <a:pt x="1939" y="2045"/>
                </a:cubicBezTo>
                <a:cubicBezTo>
                  <a:pt x="1939" y="2032"/>
                  <a:pt x="1941" y="2023"/>
                  <a:pt x="1946" y="2016"/>
                </a:cubicBezTo>
                <a:cubicBezTo>
                  <a:pt x="1950" y="2009"/>
                  <a:pt x="1957" y="2006"/>
                  <a:pt x="1965" y="2006"/>
                </a:cubicBezTo>
                <a:cubicBezTo>
                  <a:pt x="1981" y="2006"/>
                  <a:pt x="1989" y="2018"/>
                  <a:pt x="1989" y="2044"/>
                </a:cubicBezTo>
                <a:cubicBezTo>
                  <a:pt x="1989" y="2056"/>
                  <a:pt x="1987" y="2066"/>
                  <a:pt x="1983" y="2073"/>
                </a:cubicBezTo>
                <a:cubicBezTo>
                  <a:pt x="1978" y="2079"/>
                  <a:pt x="1972" y="2082"/>
                  <a:pt x="1963" y="2082"/>
                </a:cubicBezTo>
                <a:close/>
                <a:moveTo>
                  <a:pt x="1965" y="2015"/>
                </a:moveTo>
                <a:cubicBezTo>
                  <a:pt x="1956" y="2015"/>
                  <a:pt x="1951" y="2026"/>
                  <a:pt x="1951" y="2045"/>
                </a:cubicBezTo>
                <a:cubicBezTo>
                  <a:pt x="1951" y="2064"/>
                  <a:pt x="1955" y="2073"/>
                  <a:pt x="1964" y="2073"/>
                </a:cubicBezTo>
                <a:cubicBezTo>
                  <a:pt x="1973" y="2073"/>
                  <a:pt x="1977" y="2064"/>
                  <a:pt x="1977" y="2045"/>
                </a:cubicBezTo>
                <a:cubicBezTo>
                  <a:pt x="1977" y="2025"/>
                  <a:pt x="1973" y="2015"/>
                  <a:pt x="1965" y="2015"/>
                </a:cubicBezTo>
                <a:close/>
                <a:moveTo>
                  <a:pt x="2030" y="1770"/>
                </a:moveTo>
                <a:cubicBezTo>
                  <a:pt x="2023" y="1770"/>
                  <a:pt x="2016" y="1767"/>
                  <a:pt x="2012" y="1761"/>
                </a:cubicBezTo>
                <a:cubicBezTo>
                  <a:pt x="2008" y="1755"/>
                  <a:pt x="2006" y="1746"/>
                  <a:pt x="2006" y="1733"/>
                </a:cubicBezTo>
                <a:cubicBezTo>
                  <a:pt x="2006" y="1720"/>
                  <a:pt x="2008" y="1711"/>
                  <a:pt x="2012" y="1704"/>
                </a:cubicBezTo>
                <a:cubicBezTo>
                  <a:pt x="2017" y="1697"/>
                  <a:pt x="2023" y="1694"/>
                  <a:pt x="2032" y="1694"/>
                </a:cubicBezTo>
                <a:cubicBezTo>
                  <a:pt x="2048" y="1694"/>
                  <a:pt x="2056" y="1706"/>
                  <a:pt x="2056" y="1732"/>
                </a:cubicBezTo>
                <a:cubicBezTo>
                  <a:pt x="2056" y="1744"/>
                  <a:pt x="2054" y="1754"/>
                  <a:pt x="2049" y="1761"/>
                </a:cubicBezTo>
                <a:cubicBezTo>
                  <a:pt x="2044" y="1767"/>
                  <a:pt x="2038" y="1770"/>
                  <a:pt x="2030" y="1770"/>
                </a:cubicBezTo>
                <a:close/>
                <a:moveTo>
                  <a:pt x="2031" y="1703"/>
                </a:moveTo>
                <a:cubicBezTo>
                  <a:pt x="2022" y="1703"/>
                  <a:pt x="2017" y="1714"/>
                  <a:pt x="2017" y="1733"/>
                </a:cubicBezTo>
                <a:cubicBezTo>
                  <a:pt x="2017" y="1752"/>
                  <a:pt x="2022" y="1761"/>
                  <a:pt x="2031" y="1761"/>
                </a:cubicBezTo>
                <a:cubicBezTo>
                  <a:pt x="2039" y="1761"/>
                  <a:pt x="2044" y="1752"/>
                  <a:pt x="2044" y="1733"/>
                </a:cubicBezTo>
                <a:cubicBezTo>
                  <a:pt x="2044" y="1713"/>
                  <a:pt x="2039" y="1703"/>
                  <a:pt x="2031" y="1703"/>
                </a:cubicBezTo>
                <a:close/>
                <a:moveTo>
                  <a:pt x="2104" y="1697"/>
                </a:moveTo>
                <a:cubicBezTo>
                  <a:pt x="2104" y="1697"/>
                  <a:pt x="2104" y="1697"/>
                  <a:pt x="2104" y="1697"/>
                </a:cubicBezTo>
                <a:cubicBezTo>
                  <a:pt x="2099" y="1697"/>
                  <a:pt x="2099" y="1697"/>
                  <a:pt x="2099" y="1697"/>
                </a:cubicBezTo>
                <a:cubicBezTo>
                  <a:pt x="2096" y="1698"/>
                  <a:pt x="2095" y="1700"/>
                  <a:pt x="2093" y="1700"/>
                </a:cubicBezTo>
                <a:cubicBezTo>
                  <a:pt x="2091" y="1702"/>
                  <a:pt x="2089" y="1702"/>
                  <a:pt x="2088" y="1703"/>
                </a:cubicBezTo>
                <a:cubicBezTo>
                  <a:pt x="2086" y="1704"/>
                  <a:pt x="2084" y="1705"/>
                  <a:pt x="2083" y="1705"/>
                </a:cubicBezTo>
                <a:cubicBezTo>
                  <a:pt x="2080" y="1706"/>
                  <a:pt x="2079" y="1707"/>
                  <a:pt x="2077" y="1708"/>
                </a:cubicBezTo>
                <a:cubicBezTo>
                  <a:pt x="2077" y="1708"/>
                  <a:pt x="2077" y="1708"/>
                  <a:pt x="2077" y="1718"/>
                </a:cubicBezTo>
                <a:cubicBezTo>
                  <a:pt x="2080" y="1717"/>
                  <a:pt x="2083" y="1716"/>
                  <a:pt x="2085" y="1715"/>
                </a:cubicBezTo>
                <a:cubicBezTo>
                  <a:pt x="2088" y="1714"/>
                  <a:pt x="2090" y="1713"/>
                  <a:pt x="2092" y="1711"/>
                </a:cubicBezTo>
                <a:cubicBezTo>
                  <a:pt x="2092" y="1711"/>
                  <a:pt x="2092" y="1711"/>
                  <a:pt x="2092" y="1770"/>
                </a:cubicBezTo>
                <a:cubicBezTo>
                  <a:pt x="2092" y="1770"/>
                  <a:pt x="2092" y="1770"/>
                  <a:pt x="2104" y="1770"/>
                </a:cubicBezTo>
                <a:cubicBezTo>
                  <a:pt x="2104" y="1770"/>
                  <a:pt x="2104" y="1770"/>
                  <a:pt x="2104" y="1697"/>
                </a:cubicBezTo>
                <a:close/>
                <a:moveTo>
                  <a:pt x="2151" y="1697"/>
                </a:moveTo>
                <a:cubicBezTo>
                  <a:pt x="2151" y="1697"/>
                  <a:pt x="2151" y="1697"/>
                  <a:pt x="2151" y="1697"/>
                </a:cubicBezTo>
                <a:cubicBezTo>
                  <a:pt x="2146" y="1697"/>
                  <a:pt x="2146" y="1697"/>
                  <a:pt x="2146" y="1697"/>
                </a:cubicBezTo>
                <a:cubicBezTo>
                  <a:pt x="2144" y="1698"/>
                  <a:pt x="2142" y="1700"/>
                  <a:pt x="2140" y="1700"/>
                </a:cubicBezTo>
                <a:cubicBezTo>
                  <a:pt x="2139" y="1702"/>
                  <a:pt x="2136" y="1702"/>
                  <a:pt x="2135" y="1703"/>
                </a:cubicBezTo>
                <a:cubicBezTo>
                  <a:pt x="2134" y="1705"/>
                  <a:pt x="2131" y="1705"/>
                  <a:pt x="2130" y="1706"/>
                </a:cubicBezTo>
                <a:cubicBezTo>
                  <a:pt x="2128" y="1707"/>
                  <a:pt x="2126" y="1708"/>
                  <a:pt x="2124" y="1708"/>
                </a:cubicBezTo>
                <a:cubicBezTo>
                  <a:pt x="2124" y="1708"/>
                  <a:pt x="2124" y="1708"/>
                  <a:pt x="2124" y="1718"/>
                </a:cubicBezTo>
                <a:cubicBezTo>
                  <a:pt x="2127" y="1717"/>
                  <a:pt x="2130" y="1716"/>
                  <a:pt x="2132" y="1715"/>
                </a:cubicBezTo>
                <a:cubicBezTo>
                  <a:pt x="2135" y="1714"/>
                  <a:pt x="2137" y="1713"/>
                  <a:pt x="2139" y="1711"/>
                </a:cubicBezTo>
                <a:cubicBezTo>
                  <a:pt x="2139" y="1711"/>
                  <a:pt x="2139" y="1711"/>
                  <a:pt x="2139" y="1770"/>
                </a:cubicBezTo>
                <a:cubicBezTo>
                  <a:pt x="2139" y="1770"/>
                  <a:pt x="2139" y="1770"/>
                  <a:pt x="2151" y="1770"/>
                </a:cubicBezTo>
                <a:cubicBezTo>
                  <a:pt x="2151" y="1770"/>
                  <a:pt x="2151" y="1770"/>
                  <a:pt x="2151" y="1697"/>
                </a:cubicBezTo>
                <a:close/>
                <a:moveTo>
                  <a:pt x="2197" y="1697"/>
                </a:moveTo>
                <a:cubicBezTo>
                  <a:pt x="2197" y="1697"/>
                  <a:pt x="2197" y="1697"/>
                  <a:pt x="2197" y="1697"/>
                </a:cubicBezTo>
                <a:cubicBezTo>
                  <a:pt x="2193" y="1697"/>
                  <a:pt x="2193" y="1697"/>
                  <a:pt x="2193" y="1697"/>
                </a:cubicBezTo>
                <a:cubicBezTo>
                  <a:pt x="2191" y="1698"/>
                  <a:pt x="2189" y="1700"/>
                  <a:pt x="2187" y="1700"/>
                </a:cubicBezTo>
                <a:cubicBezTo>
                  <a:pt x="2186" y="1702"/>
                  <a:pt x="2184" y="1702"/>
                  <a:pt x="2182" y="1703"/>
                </a:cubicBezTo>
                <a:cubicBezTo>
                  <a:pt x="2180" y="1705"/>
                  <a:pt x="2179" y="1705"/>
                  <a:pt x="2176" y="1706"/>
                </a:cubicBezTo>
                <a:cubicBezTo>
                  <a:pt x="2175" y="1707"/>
                  <a:pt x="2173" y="1708"/>
                  <a:pt x="2171" y="1708"/>
                </a:cubicBezTo>
                <a:cubicBezTo>
                  <a:pt x="2171" y="1708"/>
                  <a:pt x="2171" y="1708"/>
                  <a:pt x="2171" y="1718"/>
                </a:cubicBezTo>
                <a:cubicBezTo>
                  <a:pt x="2174" y="1717"/>
                  <a:pt x="2177" y="1716"/>
                  <a:pt x="2179" y="1715"/>
                </a:cubicBezTo>
                <a:cubicBezTo>
                  <a:pt x="2181" y="1714"/>
                  <a:pt x="2184" y="1713"/>
                  <a:pt x="2186" y="1711"/>
                </a:cubicBezTo>
                <a:cubicBezTo>
                  <a:pt x="2186" y="1711"/>
                  <a:pt x="2186" y="1711"/>
                  <a:pt x="2186" y="1770"/>
                </a:cubicBezTo>
                <a:cubicBezTo>
                  <a:pt x="2186" y="1770"/>
                  <a:pt x="2186" y="1770"/>
                  <a:pt x="2197" y="1770"/>
                </a:cubicBezTo>
                <a:cubicBezTo>
                  <a:pt x="2197" y="1770"/>
                  <a:pt x="2197" y="1770"/>
                  <a:pt x="2197" y="1697"/>
                </a:cubicBezTo>
                <a:close/>
                <a:moveTo>
                  <a:pt x="2245" y="1697"/>
                </a:moveTo>
                <a:cubicBezTo>
                  <a:pt x="2245" y="1697"/>
                  <a:pt x="2245" y="1697"/>
                  <a:pt x="2245" y="1697"/>
                </a:cubicBezTo>
                <a:cubicBezTo>
                  <a:pt x="2240" y="1697"/>
                  <a:pt x="2240" y="1697"/>
                  <a:pt x="2240" y="1697"/>
                </a:cubicBezTo>
                <a:cubicBezTo>
                  <a:pt x="2238" y="1698"/>
                  <a:pt x="2236" y="1700"/>
                  <a:pt x="2234" y="1700"/>
                </a:cubicBezTo>
                <a:cubicBezTo>
                  <a:pt x="2232" y="1702"/>
                  <a:pt x="2231" y="1702"/>
                  <a:pt x="2229" y="1703"/>
                </a:cubicBezTo>
                <a:cubicBezTo>
                  <a:pt x="2227" y="1705"/>
                  <a:pt x="2225" y="1705"/>
                  <a:pt x="2224" y="1706"/>
                </a:cubicBezTo>
                <a:cubicBezTo>
                  <a:pt x="2222" y="1707"/>
                  <a:pt x="2220" y="1708"/>
                  <a:pt x="2218" y="1708"/>
                </a:cubicBezTo>
                <a:cubicBezTo>
                  <a:pt x="2218" y="1708"/>
                  <a:pt x="2218" y="1708"/>
                  <a:pt x="2218" y="1718"/>
                </a:cubicBezTo>
                <a:cubicBezTo>
                  <a:pt x="2221" y="1717"/>
                  <a:pt x="2224" y="1716"/>
                  <a:pt x="2226" y="1715"/>
                </a:cubicBezTo>
                <a:cubicBezTo>
                  <a:pt x="2229" y="1714"/>
                  <a:pt x="2231" y="1713"/>
                  <a:pt x="2233" y="1711"/>
                </a:cubicBezTo>
                <a:cubicBezTo>
                  <a:pt x="2233" y="1711"/>
                  <a:pt x="2233" y="1711"/>
                  <a:pt x="2233" y="1770"/>
                </a:cubicBezTo>
                <a:cubicBezTo>
                  <a:pt x="2233" y="1770"/>
                  <a:pt x="2233" y="1770"/>
                  <a:pt x="2245" y="1770"/>
                </a:cubicBezTo>
                <a:cubicBezTo>
                  <a:pt x="2245" y="1770"/>
                  <a:pt x="2245" y="1770"/>
                  <a:pt x="2245" y="1697"/>
                </a:cubicBezTo>
                <a:close/>
                <a:moveTo>
                  <a:pt x="2368" y="1697"/>
                </a:moveTo>
                <a:cubicBezTo>
                  <a:pt x="2368" y="1697"/>
                  <a:pt x="2368" y="1697"/>
                  <a:pt x="2368" y="1697"/>
                </a:cubicBezTo>
                <a:cubicBezTo>
                  <a:pt x="2363" y="1697"/>
                  <a:pt x="2363" y="1697"/>
                  <a:pt x="2363" y="1697"/>
                </a:cubicBezTo>
                <a:cubicBezTo>
                  <a:pt x="2360" y="1698"/>
                  <a:pt x="2359" y="1700"/>
                  <a:pt x="2357" y="1700"/>
                </a:cubicBezTo>
                <a:cubicBezTo>
                  <a:pt x="2355" y="1702"/>
                  <a:pt x="2354" y="1702"/>
                  <a:pt x="2352" y="1703"/>
                </a:cubicBezTo>
                <a:cubicBezTo>
                  <a:pt x="2350" y="1705"/>
                  <a:pt x="2348" y="1705"/>
                  <a:pt x="2347" y="1706"/>
                </a:cubicBezTo>
                <a:cubicBezTo>
                  <a:pt x="2344" y="1707"/>
                  <a:pt x="2343" y="1708"/>
                  <a:pt x="2341" y="1708"/>
                </a:cubicBezTo>
                <a:cubicBezTo>
                  <a:pt x="2341" y="1708"/>
                  <a:pt x="2341" y="1708"/>
                  <a:pt x="2341" y="1718"/>
                </a:cubicBezTo>
                <a:cubicBezTo>
                  <a:pt x="2344" y="1717"/>
                  <a:pt x="2347" y="1716"/>
                  <a:pt x="2350" y="1715"/>
                </a:cubicBezTo>
                <a:cubicBezTo>
                  <a:pt x="2352" y="1714"/>
                  <a:pt x="2354" y="1713"/>
                  <a:pt x="2356" y="1711"/>
                </a:cubicBezTo>
                <a:cubicBezTo>
                  <a:pt x="2356" y="1711"/>
                  <a:pt x="2356" y="1711"/>
                  <a:pt x="2356" y="1770"/>
                </a:cubicBezTo>
                <a:cubicBezTo>
                  <a:pt x="2356" y="1770"/>
                  <a:pt x="2356" y="1770"/>
                  <a:pt x="2368" y="1770"/>
                </a:cubicBezTo>
                <a:cubicBezTo>
                  <a:pt x="2368" y="1770"/>
                  <a:pt x="2368" y="1770"/>
                  <a:pt x="2368" y="1697"/>
                </a:cubicBezTo>
                <a:close/>
                <a:moveTo>
                  <a:pt x="2415" y="1697"/>
                </a:moveTo>
                <a:cubicBezTo>
                  <a:pt x="2415" y="1697"/>
                  <a:pt x="2415" y="1697"/>
                  <a:pt x="2415" y="1697"/>
                </a:cubicBezTo>
                <a:cubicBezTo>
                  <a:pt x="2410" y="1697"/>
                  <a:pt x="2410" y="1697"/>
                  <a:pt x="2410" y="1697"/>
                </a:cubicBezTo>
                <a:cubicBezTo>
                  <a:pt x="2408" y="1698"/>
                  <a:pt x="2406" y="1700"/>
                  <a:pt x="2404" y="1700"/>
                </a:cubicBezTo>
                <a:cubicBezTo>
                  <a:pt x="2403" y="1702"/>
                  <a:pt x="2401" y="1702"/>
                  <a:pt x="2399" y="1703"/>
                </a:cubicBezTo>
                <a:cubicBezTo>
                  <a:pt x="2398" y="1705"/>
                  <a:pt x="2396" y="1705"/>
                  <a:pt x="2394" y="1706"/>
                </a:cubicBezTo>
                <a:cubicBezTo>
                  <a:pt x="2392" y="1707"/>
                  <a:pt x="2391" y="1708"/>
                  <a:pt x="2388" y="1708"/>
                </a:cubicBezTo>
                <a:cubicBezTo>
                  <a:pt x="2388" y="1708"/>
                  <a:pt x="2388" y="1708"/>
                  <a:pt x="2388" y="1718"/>
                </a:cubicBezTo>
                <a:cubicBezTo>
                  <a:pt x="2391" y="1717"/>
                  <a:pt x="2394" y="1716"/>
                  <a:pt x="2396" y="1715"/>
                </a:cubicBezTo>
                <a:cubicBezTo>
                  <a:pt x="2399" y="1714"/>
                  <a:pt x="2401" y="1713"/>
                  <a:pt x="2404" y="1711"/>
                </a:cubicBezTo>
                <a:cubicBezTo>
                  <a:pt x="2404" y="1711"/>
                  <a:pt x="2404" y="1711"/>
                  <a:pt x="2404" y="1770"/>
                </a:cubicBezTo>
                <a:cubicBezTo>
                  <a:pt x="2404" y="1770"/>
                  <a:pt x="2404" y="1770"/>
                  <a:pt x="2415" y="1770"/>
                </a:cubicBezTo>
                <a:cubicBezTo>
                  <a:pt x="2415" y="1770"/>
                  <a:pt x="2415" y="1770"/>
                  <a:pt x="2415" y="1697"/>
                </a:cubicBezTo>
                <a:close/>
                <a:moveTo>
                  <a:pt x="2463" y="1697"/>
                </a:moveTo>
                <a:cubicBezTo>
                  <a:pt x="2463" y="1697"/>
                  <a:pt x="2463" y="1697"/>
                  <a:pt x="2463" y="1697"/>
                </a:cubicBezTo>
                <a:cubicBezTo>
                  <a:pt x="2458" y="1697"/>
                  <a:pt x="2458" y="1697"/>
                  <a:pt x="2458" y="1697"/>
                </a:cubicBezTo>
                <a:cubicBezTo>
                  <a:pt x="2456" y="1698"/>
                  <a:pt x="2454" y="1700"/>
                  <a:pt x="2453" y="1700"/>
                </a:cubicBezTo>
                <a:cubicBezTo>
                  <a:pt x="2450" y="1702"/>
                  <a:pt x="2449" y="1702"/>
                  <a:pt x="2447" y="1703"/>
                </a:cubicBezTo>
                <a:cubicBezTo>
                  <a:pt x="2445" y="1705"/>
                  <a:pt x="2443" y="1705"/>
                  <a:pt x="2442" y="1706"/>
                </a:cubicBezTo>
                <a:cubicBezTo>
                  <a:pt x="2439" y="1707"/>
                  <a:pt x="2438" y="1708"/>
                  <a:pt x="2436" y="1708"/>
                </a:cubicBezTo>
                <a:cubicBezTo>
                  <a:pt x="2436" y="1708"/>
                  <a:pt x="2436" y="1708"/>
                  <a:pt x="2436" y="1718"/>
                </a:cubicBezTo>
                <a:cubicBezTo>
                  <a:pt x="2439" y="1717"/>
                  <a:pt x="2442" y="1716"/>
                  <a:pt x="2445" y="1715"/>
                </a:cubicBezTo>
                <a:cubicBezTo>
                  <a:pt x="2447" y="1714"/>
                  <a:pt x="2449" y="1713"/>
                  <a:pt x="2451" y="1711"/>
                </a:cubicBezTo>
                <a:cubicBezTo>
                  <a:pt x="2451" y="1711"/>
                  <a:pt x="2451" y="1711"/>
                  <a:pt x="2451" y="1770"/>
                </a:cubicBezTo>
                <a:cubicBezTo>
                  <a:pt x="2451" y="1770"/>
                  <a:pt x="2451" y="1770"/>
                  <a:pt x="2463" y="1770"/>
                </a:cubicBezTo>
                <a:cubicBezTo>
                  <a:pt x="2463" y="1770"/>
                  <a:pt x="2463" y="1770"/>
                  <a:pt x="2463" y="1697"/>
                </a:cubicBezTo>
                <a:close/>
                <a:moveTo>
                  <a:pt x="2509" y="1697"/>
                </a:moveTo>
                <a:cubicBezTo>
                  <a:pt x="2509" y="1697"/>
                  <a:pt x="2509" y="1697"/>
                  <a:pt x="2509" y="1697"/>
                </a:cubicBezTo>
                <a:cubicBezTo>
                  <a:pt x="2505" y="1697"/>
                  <a:pt x="2505" y="1697"/>
                  <a:pt x="2505" y="1697"/>
                </a:cubicBezTo>
                <a:cubicBezTo>
                  <a:pt x="2503" y="1698"/>
                  <a:pt x="2501" y="1700"/>
                  <a:pt x="2499" y="1700"/>
                </a:cubicBezTo>
                <a:cubicBezTo>
                  <a:pt x="2498" y="1702"/>
                  <a:pt x="2496" y="1702"/>
                  <a:pt x="2494" y="1703"/>
                </a:cubicBezTo>
                <a:cubicBezTo>
                  <a:pt x="2492" y="1704"/>
                  <a:pt x="2491" y="1705"/>
                  <a:pt x="2488" y="1705"/>
                </a:cubicBezTo>
                <a:cubicBezTo>
                  <a:pt x="2487" y="1706"/>
                  <a:pt x="2485" y="1707"/>
                  <a:pt x="2483" y="1708"/>
                </a:cubicBezTo>
                <a:cubicBezTo>
                  <a:pt x="2483" y="1708"/>
                  <a:pt x="2483" y="1708"/>
                  <a:pt x="2483" y="1718"/>
                </a:cubicBezTo>
                <a:cubicBezTo>
                  <a:pt x="2486" y="1717"/>
                  <a:pt x="2489" y="1716"/>
                  <a:pt x="2491" y="1715"/>
                </a:cubicBezTo>
                <a:cubicBezTo>
                  <a:pt x="2493" y="1714"/>
                  <a:pt x="2496" y="1713"/>
                  <a:pt x="2498" y="1711"/>
                </a:cubicBezTo>
                <a:cubicBezTo>
                  <a:pt x="2498" y="1711"/>
                  <a:pt x="2498" y="1711"/>
                  <a:pt x="2498" y="1770"/>
                </a:cubicBezTo>
                <a:cubicBezTo>
                  <a:pt x="2498" y="1770"/>
                  <a:pt x="2498" y="1770"/>
                  <a:pt x="2509" y="1770"/>
                </a:cubicBezTo>
                <a:cubicBezTo>
                  <a:pt x="2509" y="1770"/>
                  <a:pt x="2509" y="1770"/>
                  <a:pt x="2509" y="1697"/>
                </a:cubicBezTo>
                <a:close/>
                <a:moveTo>
                  <a:pt x="2266" y="1729"/>
                </a:moveTo>
                <a:cubicBezTo>
                  <a:pt x="2266" y="1729"/>
                  <a:pt x="2266" y="1729"/>
                  <a:pt x="2266" y="1729"/>
                </a:cubicBezTo>
                <a:cubicBezTo>
                  <a:pt x="2265" y="1737"/>
                  <a:pt x="2265" y="1737"/>
                  <a:pt x="2265" y="1737"/>
                </a:cubicBezTo>
                <a:cubicBezTo>
                  <a:pt x="2272" y="1738"/>
                  <a:pt x="2272" y="1741"/>
                  <a:pt x="2272" y="1743"/>
                </a:cubicBezTo>
                <a:cubicBezTo>
                  <a:pt x="2272" y="1745"/>
                  <a:pt x="2272" y="1748"/>
                  <a:pt x="2272" y="1750"/>
                </a:cubicBezTo>
                <a:cubicBezTo>
                  <a:pt x="2272" y="1753"/>
                  <a:pt x="2271" y="1755"/>
                  <a:pt x="2271" y="1757"/>
                </a:cubicBezTo>
                <a:cubicBezTo>
                  <a:pt x="2271" y="1767"/>
                  <a:pt x="2277" y="1770"/>
                  <a:pt x="2286" y="1770"/>
                </a:cubicBezTo>
                <a:cubicBezTo>
                  <a:pt x="2286" y="1770"/>
                  <a:pt x="2286" y="1770"/>
                  <a:pt x="2289" y="1770"/>
                </a:cubicBezTo>
                <a:cubicBezTo>
                  <a:pt x="2289" y="1770"/>
                  <a:pt x="2289" y="1770"/>
                  <a:pt x="2289" y="1761"/>
                </a:cubicBezTo>
                <a:cubicBezTo>
                  <a:pt x="2289" y="1761"/>
                  <a:pt x="2289" y="1761"/>
                  <a:pt x="2288" y="1761"/>
                </a:cubicBezTo>
                <a:cubicBezTo>
                  <a:pt x="2284" y="1761"/>
                  <a:pt x="2283" y="1759"/>
                  <a:pt x="2283" y="1755"/>
                </a:cubicBezTo>
                <a:cubicBezTo>
                  <a:pt x="2283" y="1754"/>
                  <a:pt x="2283" y="1752"/>
                  <a:pt x="2284" y="1750"/>
                </a:cubicBezTo>
                <a:cubicBezTo>
                  <a:pt x="2284" y="1749"/>
                  <a:pt x="2284" y="1747"/>
                  <a:pt x="2284" y="1744"/>
                </a:cubicBezTo>
                <a:cubicBezTo>
                  <a:pt x="2284" y="1737"/>
                  <a:pt x="2281" y="1734"/>
                  <a:pt x="2275" y="1733"/>
                </a:cubicBezTo>
                <a:cubicBezTo>
                  <a:pt x="2275" y="1733"/>
                  <a:pt x="2275" y="1733"/>
                  <a:pt x="2275" y="1733"/>
                </a:cubicBezTo>
                <a:cubicBezTo>
                  <a:pt x="2281" y="1732"/>
                  <a:pt x="2284" y="1729"/>
                  <a:pt x="2284" y="1722"/>
                </a:cubicBezTo>
                <a:cubicBezTo>
                  <a:pt x="2284" y="1719"/>
                  <a:pt x="2284" y="1717"/>
                  <a:pt x="2284" y="1716"/>
                </a:cubicBezTo>
                <a:cubicBezTo>
                  <a:pt x="2283" y="1714"/>
                  <a:pt x="2283" y="1712"/>
                  <a:pt x="2283" y="1711"/>
                </a:cubicBezTo>
                <a:cubicBezTo>
                  <a:pt x="2283" y="1707"/>
                  <a:pt x="2284" y="1705"/>
                  <a:pt x="2288" y="1705"/>
                </a:cubicBezTo>
                <a:cubicBezTo>
                  <a:pt x="2288" y="1705"/>
                  <a:pt x="2288" y="1705"/>
                  <a:pt x="2289" y="1705"/>
                </a:cubicBezTo>
                <a:cubicBezTo>
                  <a:pt x="2289" y="1705"/>
                  <a:pt x="2289" y="1705"/>
                  <a:pt x="2289" y="1696"/>
                </a:cubicBezTo>
                <a:cubicBezTo>
                  <a:pt x="2289" y="1696"/>
                  <a:pt x="2289" y="1696"/>
                  <a:pt x="2286" y="1696"/>
                </a:cubicBezTo>
                <a:cubicBezTo>
                  <a:pt x="2277" y="1696"/>
                  <a:pt x="2271" y="1700"/>
                  <a:pt x="2271" y="1708"/>
                </a:cubicBezTo>
                <a:cubicBezTo>
                  <a:pt x="2271" y="1711"/>
                  <a:pt x="2272" y="1713"/>
                  <a:pt x="2272" y="1716"/>
                </a:cubicBezTo>
                <a:cubicBezTo>
                  <a:pt x="2272" y="1718"/>
                  <a:pt x="2272" y="1721"/>
                  <a:pt x="2272" y="1723"/>
                </a:cubicBezTo>
                <a:cubicBezTo>
                  <a:pt x="2272" y="1725"/>
                  <a:pt x="2272" y="1729"/>
                  <a:pt x="2266" y="1729"/>
                </a:cubicBezTo>
                <a:close/>
                <a:moveTo>
                  <a:pt x="2320" y="1737"/>
                </a:moveTo>
                <a:cubicBezTo>
                  <a:pt x="2320" y="1737"/>
                  <a:pt x="2320" y="1737"/>
                  <a:pt x="2320" y="1737"/>
                </a:cubicBezTo>
                <a:cubicBezTo>
                  <a:pt x="2320" y="1729"/>
                  <a:pt x="2320" y="1729"/>
                  <a:pt x="2320" y="1729"/>
                </a:cubicBezTo>
                <a:cubicBezTo>
                  <a:pt x="2314" y="1729"/>
                  <a:pt x="2314" y="1725"/>
                  <a:pt x="2314" y="1723"/>
                </a:cubicBezTo>
                <a:cubicBezTo>
                  <a:pt x="2314" y="1721"/>
                  <a:pt x="2314" y="1718"/>
                  <a:pt x="2314" y="1716"/>
                </a:cubicBezTo>
                <a:cubicBezTo>
                  <a:pt x="2314" y="1713"/>
                  <a:pt x="2314" y="1711"/>
                  <a:pt x="2314" y="1708"/>
                </a:cubicBezTo>
                <a:cubicBezTo>
                  <a:pt x="2314" y="1700"/>
                  <a:pt x="2309" y="1696"/>
                  <a:pt x="2300" y="1696"/>
                </a:cubicBezTo>
                <a:cubicBezTo>
                  <a:pt x="2300" y="1696"/>
                  <a:pt x="2300" y="1696"/>
                  <a:pt x="2296" y="1696"/>
                </a:cubicBezTo>
                <a:cubicBezTo>
                  <a:pt x="2296" y="1696"/>
                  <a:pt x="2296" y="1696"/>
                  <a:pt x="2296" y="1705"/>
                </a:cubicBezTo>
                <a:cubicBezTo>
                  <a:pt x="2296" y="1705"/>
                  <a:pt x="2296" y="1705"/>
                  <a:pt x="2298" y="1705"/>
                </a:cubicBezTo>
                <a:cubicBezTo>
                  <a:pt x="2301" y="1705"/>
                  <a:pt x="2303" y="1707"/>
                  <a:pt x="2303" y="1711"/>
                </a:cubicBezTo>
                <a:cubicBezTo>
                  <a:pt x="2303" y="1712"/>
                  <a:pt x="2302" y="1714"/>
                  <a:pt x="2302" y="1716"/>
                </a:cubicBezTo>
                <a:cubicBezTo>
                  <a:pt x="2302" y="1717"/>
                  <a:pt x="2302" y="1719"/>
                  <a:pt x="2302" y="1722"/>
                </a:cubicBezTo>
                <a:cubicBezTo>
                  <a:pt x="2302" y="1729"/>
                  <a:pt x="2305" y="1732"/>
                  <a:pt x="2311" y="1733"/>
                </a:cubicBezTo>
                <a:cubicBezTo>
                  <a:pt x="2311" y="1733"/>
                  <a:pt x="2311" y="1733"/>
                  <a:pt x="2311" y="1733"/>
                </a:cubicBezTo>
                <a:cubicBezTo>
                  <a:pt x="2305" y="1734"/>
                  <a:pt x="2302" y="1737"/>
                  <a:pt x="2302" y="1744"/>
                </a:cubicBezTo>
                <a:cubicBezTo>
                  <a:pt x="2302" y="1747"/>
                  <a:pt x="2302" y="1749"/>
                  <a:pt x="2302" y="1750"/>
                </a:cubicBezTo>
                <a:cubicBezTo>
                  <a:pt x="2302" y="1752"/>
                  <a:pt x="2303" y="1754"/>
                  <a:pt x="2303" y="1755"/>
                </a:cubicBezTo>
                <a:cubicBezTo>
                  <a:pt x="2303" y="1759"/>
                  <a:pt x="2302" y="1761"/>
                  <a:pt x="2298" y="1761"/>
                </a:cubicBezTo>
                <a:cubicBezTo>
                  <a:pt x="2298" y="1761"/>
                  <a:pt x="2298" y="1761"/>
                  <a:pt x="2296" y="1761"/>
                </a:cubicBezTo>
                <a:cubicBezTo>
                  <a:pt x="2296" y="1761"/>
                  <a:pt x="2296" y="1761"/>
                  <a:pt x="2296" y="1770"/>
                </a:cubicBezTo>
                <a:cubicBezTo>
                  <a:pt x="2296" y="1770"/>
                  <a:pt x="2296" y="1770"/>
                  <a:pt x="2300" y="1770"/>
                </a:cubicBezTo>
                <a:cubicBezTo>
                  <a:pt x="2309" y="1770"/>
                  <a:pt x="2314" y="1767"/>
                  <a:pt x="2314" y="1757"/>
                </a:cubicBezTo>
                <a:cubicBezTo>
                  <a:pt x="2314" y="1755"/>
                  <a:pt x="2314" y="1753"/>
                  <a:pt x="2314" y="1750"/>
                </a:cubicBezTo>
                <a:cubicBezTo>
                  <a:pt x="2314" y="1748"/>
                  <a:pt x="2314" y="1745"/>
                  <a:pt x="2314" y="1743"/>
                </a:cubicBezTo>
                <a:cubicBezTo>
                  <a:pt x="2314" y="1741"/>
                  <a:pt x="2314" y="1738"/>
                  <a:pt x="2320" y="1737"/>
                </a:cubicBezTo>
                <a:close/>
                <a:moveTo>
                  <a:pt x="2647" y="1729"/>
                </a:moveTo>
                <a:cubicBezTo>
                  <a:pt x="2647" y="1729"/>
                  <a:pt x="2647" y="1729"/>
                  <a:pt x="2647" y="1729"/>
                </a:cubicBezTo>
                <a:cubicBezTo>
                  <a:pt x="2647" y="1737"/>
                  <a:pt x="2647" y="1737"/>
                  <a:pt x="2647" y="1737"/>
                </a:cubicBezTo>
                <a:cubicBezTo>
                  <a:pt x="2653" y="1738"/>
                  <a:pt x="2654" y="1741"/>
                  <a:pt x="2654" y="1743"/>
                </a:cubicBezTo>
                <a:cubicBezTo>
                  <a:pt x="2654" y="1745"/>
                  <a:pt x="2654" y="1748"/>
                  <a:pt x="2654" y="1750"/>
                </a:cubicBezTo>
                <a:cubicBezTo>
                  <a:pt x="2653" y="1753"/>
                  <a:pt x="2653" y="1755"/>
                  <a:pt x="2653" y="1757"/>
                </a:cubicBezTo>
                <a:cubicBezTo>
                  <a:pt x="2653" y="1767"/>
                  <a:pt x="2659" y="1770"/>
                  <a:pt x="2667" y="1770"/>
                </a:cubicBezTo>
                <a:cubicBezTo>
                  <a:pt x="2667" y="1770"/>
                  <a:pt x="2667" y="1770"/>
                  <a:pt x="2671" y="1770"/>
                </a:cubicBezTo>
                <a:cubicBezTo>
                  <a:pt x="2671" y="1770"/>
                  <a:pt x="2671" y="1770"/>
                  <a:pt x="2671" y="1761"/>
                </a:cubicBezTo>
                <a:cubicBezTo>
                  <a:pt x="2671" y="1761"/>
                  <a:pt x="2671" y="1761"/>
                  <a:pt x="2670" y="1761"/>
                </a:cubicBezTo>
                <a:cubicBezTo>
                  <a:pt x="2666" y="1761"/>
                  <a:pt x="2665" y="1759"/>
                  <a:pt x="2665" y="1755"/>
                </a:cubicBezTo>
                <a:cubicBezTo>
                  <a:pt x="2665" y="1754"/>
                  <a:pt x="2665" y="1752"/>
                  <a:pt x="2665" y="1750"/>
                </a:cubicBezTo>
                <a:cubicBezTo>
                  <a:pt x="2665" y="1749"/>
                  <a:pt x="2666" y="1747"/>
                  <a:pt x="2666" y="1744"/>
                </a:cubicBezTo>
                <a:cubicBezTo>
                  <a:pt x="2666" y="1737"/>
                  <a:pt x="2663" y="1734"/>
                  <a:pt x="2657" y="1733"/>
                </a:cubicBezTo>
                <a:cubicBezTo>
                  <a:pt x="2657" y="1733"/>
                  <a:pt x="2657" y="1733"/>
                  <a:pt x="2657" y="1733"/>
                </a:cubicBezTo>
                <a:cubicBezTo>
                  <a:pt x="2663" y="1732"/>
                  <a:pt x="2666" y="1729"/>
                  <a:pt x="2666" y="1722"/>
                </a:cubicBezTo>
                <a:cubicBezTo>
                  <a:pt x="2666" y="1719"/>
                  <a:pt x="2665" y="1717"/>
                  <a:pt x="2665" y="1716"/>
                </a:cubicBezTo>
                <a:cubicBezTo>
                  <a:pt x="2665" y="1714"/>
                  <a:pt x="2665" y="1712"/>
                  <a:pt x="2665" y="1711"/>
                </a:cubicBezTo>
                <a:cubicBezTo>
                  <a:pt x="2665" y="1707"/>
                  <a:pt x="2666" y="1705"/>
                  <a:pt x="2670" y="1705"/>
                </a:cubicBezTo>
                <a:cubicBezTo>
                  <a:pt x="2670" y="1705"/>
                  <a:pt x="2670" y="1705"/>
                  <a:pt x="2671" y="1705"/>
                </a:cubicBezTo>
                <a:cubicBezTo>
                  <a:pt x="2671" y="1705"/>
                  <a:pt x="2671" y="1705"/>
                  <a:pt x="2671" y="1696"/>
                </a:cubicBezTo>
                <a:cubicBezTo>
                  <a:pt x="2671" y="1696"/>
                  <a:pt x="2671" y="1696"/>
                  <a:pt x="2667" y="1696"/>
                </a:cubicBezTo>
                <a:cubicBezTo>
                  <a:pt x="2658" y="1696"/>
                  <a:pt x="2653" y="1700"/>
                  <a:pt x="2653" y="1708"/>
                </a:cubicBezTo>
                <a:cubicBezTo>
                  <a:pt x="2653" y="1711"/>
                  <a:pt x="2653" y="1713"/>
                  <a:pt x="2653" y="1716"/>
                </a:cubicBezTo>
                <a:cubicBezTo>
                  <a:pt x="2654" y="1718"/>
                  <a:pt x="2654" y="1721"/>
                  <a:pt x="2654" y="1723"/>
                </a:cubicBezTo>
                <a:cubicBezTo>
                  <a:pt x="2654" y="1725"/>
                  <a:pt x="2653" y="1729"/>
                  <a:pt x="2647" y="1729"/>
                </a:cubicBezTo>
                <a:close/>
                <a:moveTo>
                  <a:pt x="2702" y="1737"/>
                </a:moveTo>
                <a:cubicBezTo>
                  <a:pt x="2702" y="1737"/>
                  <a:pt x="2702" y="1737"/>
                  <a:pt x="2702" y="1737"/>
                </a:cubicBezTo>
                <a:cubicBezTo>
                  <a:pt x="2702" y="1729"/>
                  <a:pt x="2702" y="1729"/>
                  <a:pt x="2702" y="1729"/>
                </a:cubicBezTo>
                <a:cubicBezTo>
                  <a:pt x="2696" y="1729"/>
                  <a:pt x="2695" y="1725"/>
                  <a:pt x="2695" y="1723"/>
                </a:cubicBezTo>
                <a:cubicBezTo>
                  <a:pt x="2695" y="1721"/>
                  <a:pt x="2695" y="1718"/>
                  <a:pt x="2696" y="1716"/>
                </a:cubicBezTo>
                <a:cubicBezTo>
                  <a:pt x="2696" y="1713"/>
                  <a:pt x="2696" y="1711"/>
                  <a:pt x="2696" y="1708"/>
                </a:cubicBezTo>
                <a:cubicBezTo>
                  <a:pt x="2696" y="1700"/>
                  <a:pt x="2691" y="1696"/>
                  <a:pt x="2682" y="1696"/>
                </a:cubicBezTo>
                <a:cubicBezTo>
                  <a:pt x="2682" y="1696"/>
                  <a:pt x="2682" y="1696"/>
                  <a:pt x="2678" y="1696"/>
                </a:cubicBezTo>
                <a:cubicBezTo>
                  <a:pt x="2678" y="1696"/>
                  <a:pt x="2678" y="1696"/>
                  <a:pt x="2678" y="1705"/>
                </a:cubicBezTo>
                <a:cubicBezTo>
                  <a:pt x="2678" y="1705"/>
                  <a:pt x="2678" y="1705"/>
                  <a:pt x="2679" y="1705"/>
                </a:cubicBezTo>
                <a:cubicBezTo>
                  <a:pt x="2683" y="1705"/>
                  <a:pt x="2685" y="1707"/>
                  <a:pt x="2685" y="1711"/>
                </a:cubicBezTo>
                <a:cubicBezTo>
                  <a:pt x="2685" y="1712"/>
                  <a:pt x="2684" y="1714"/>
                  <a:pt x="2684" y="1716"/>
                </a:cubicBezTo>
                <a:cubicBezTo>
                  <a:pt x="2684" y="1717"/>
                  <a:pt x="2684" y="1719"/>
                  <a:pt x="2684" y="1722"/>
                </a:cubicBezTo>
                <a:cubicBezTo>
                  <a:pt x="2684" y="1729"/>
                  <a:pt x="2686" y="1732"/>
                  <a:pt x="2692" y="1733"/>
                </a:cubicBezTo>
                <a:cubicBezTo>
                  <a:pt x="2692" y="1733"/>
                  <a:pt x="2692" y="1733"/>
                  <a:pt x="2692" y="1733"/>
                </a:cubicBezTo>
                <a:cubicBezTo>
                  <a:pt x="2686" y="1734"/>
                  <a:pt x="2684" y="1737"/>
                  <a:pt x="2684" y="1744"/>
                </a:cubicBezTo>
                <a:cubicBezTo>
                  <a:pt x="2684" y="1747"/>
                  <a:pt x="2684" y="1749"/>
                  <a:pt x="2684" y="1750"/>
                </a:cubicBezTo>
                <a:cubicBezTo>
                  <a:pt x="2684" y="1752"/>
                  <a:pt x="2685" y="1754"/>
                  <a:pt x="2685" y="1755"/>
                </a:cubicBezTo>
                <a:cubicBezTo>
                  <a:pt x="2685" y="1759"/>
                  <a:pt x="2683" y="1761"/>
                  <a:pt x="2679" y="1761"/>
                </a:cubicBezTo>
                <a:cubicBezTo>
                  <a:pt x="2679" y="1761"/>
                  <a:pt x="2679" y="1761"/>
                  <a:pt x="2678" y="1761"/>
                </a:cubicBezTo>
                <a:cubicBezTo>
                  <a:pt x="2678" y="1761"/>
                  <a:pt x="2678" y="1761"/>
                  <a:pt x="2678" y="1770"/>
                </a:cubicBezTo>
                <a:cubicBezTo>
                  <a:pt x="2678" y="1770"/>
                  <a:pt x="2678" y="1770"/>
                  <a:pt x="2682" y="1770"/>
                </a:cubicBezTo>
                <a:cubicBezTo>
                  <a:pt x="2691" y="1770"/>
                  <a:pt x="2696" y="1767"/>
                  <a:pt x="2696" y="1757"/>
                </a:cubicBezTo>
                <a:cubicBezTo>
                  <a:pt x="2696" y="1755"/>
                  <a:pt x="2696" y="1753"/>
                  <a:pt x="2696" y="1750"/>
                </a:cubicBezTo>
                <a:cubicBezTo>
                  <a:pt x="2695" y="1748"/>
                  <a:pt x="2695" y="1745"/>
                  <a:pt x="2695" y="1743"/>
                </a:cubicBezTo>
                <a:cubicBezTo>
                  <a:pt x="2695" y="1741"/>
                  <a:pt x="2696" y="1738"/>
                  <a:pt x="2702" y="1737"/>
                </a:cubicBezTo>
                <a:close/>
                <a:moveTo>
                  <a:pt x="2750" y="1697"/>
                </a:moveTo>
                <a:cubicBezTo>
                  <a:pt x="2750" y="1697"/>
                  <a:pt x="2750" y="1697"/>
                  <a:pt x="2750" y="1697"/>
                </a:cubicBezTo>
                <a:cubicBezTo>
                  <a:pt x="2745" y="1697"/>
                  <a:pt x="2745" y="1697"/>
                  <a:pt x="2745" y="1697"/>
                </a:cubicBezTo>
                <a:cubicBezTo>
                  <a:pt x="2742" y="1698"/>
                  <a:pt x="2741" y="1700"/>
                  <a:pt x="2739" y="1700"/>
                </a:cubicBezTo>
                <a:cubicBezTo>
                  <a:pt x="2737" y="1702"/>
                  <a:pt x="2735" y="1702"/>
                  <a:pt x="2734" y="1703"/>
                </a:cubicBezTo>
                <a:cubicBezTo>
                  <a:pt x="2731" y="1704"/>
                  <a:pt x="2730" y="1705"/>
                  <a:pt x="2728" y="1705"/>
                </a:cubicBezTo>
                <a:cubicBezTo>
                  <a:pt x="2726" y="1706"/>
                  <a:pt x="2725" y="1707"/>
                  <a:pt x="2722" y="1708"/>
                </a:cubicBezTo>
                <a:cubicBezTo>
                  <a:pt x="2722" y="1708"/>
                  <a:pt x="2722" y="1708"/>
                  <a:pt x="2722" y="1718"/>
                </a:cubicBezTo>
                <a:cubicBezTo>
                  <a:pt x="2725" y="1717"/>
                  <a:pt x="2728" y="1716"/>
                  <a:pt x="2731" y="1715"/>
                </a:cubicBezTo>
                <a:cubicBezTo>
                  <a:pt x="2734" y="1714"/>
                  <a:pt x="2736" y="1713"/>
                  <a:pt x="2738" y="1711"/>
                </a:cubicBezTo>
                <a:cubicBezTo>
                  <a:pt x="2738" y="1711"/>
                  <a:pt x="2738" y="1711"/>
                  <a:pt x="2738" y="1770"/>
                </a:cubicBezTo>
                <a:cubicBezTo>
                  <a:pt x="2738" y="1770"/>
                  <a:pt x="2738" y="1770"/>
                  <a:pt x="2750" y="1770"/>
                </a:cubicBezTo>
                <a:cubicBezTo>
                  <a:pt x="2750" y="1770"/>
                  <a:pt x="2750" y="1770"/>
                  <a:pt x="2750" y="1697"/>
                </a:cubicBezTo>
                <a:close/>
                <a:moveTo>
                  <a:pt x="2796" y="1697"/>
                </a:moveTo>
                <a:cubicBezTo>
                  <a:pt x="2796" y="1697"/>
                  <a:pt x="2796" y="1697"/>
                  <a:pt x="2796" y="1697"/>
                </a:cubicBezTo>
                <a:cubicBezTo>
                  <a:pt x="2791" y="1697"/>
                  <a:pt x="2791" y="1697"/>
                  <a:pt x="2791" y="1697"/>
                </a:cubicBezTo>
                <a:cubicBezTo>
                  <a:pt x="2789" y="1698"/>
                  <a:pt x="2788" y="1700"/>
                  <a:pt x="2786" y="1700"/>
                </a:cubicBezTo>
                <a:cubicBezTo>
                  <a:pt x="2784" y="1702"/>
                  <a:pt x="2782" y="1702"/>
                  <a:pt x="2781" y="1703"/>
                </a:cubicBezTo>
                <a:cubicBezTo>
                  <a:pt x="2779" y="1705"/>
                  <a:pt x="2777" y="1705"/>
                  <a:pt x="2776" y="1706"/>
                </a:cubicBezTo>
                <a:cubicBezTo>
                  <a:pt x="2774" y="1707"/>
                  <a:pt x="2772" y="1708"/>
                  <a:pt x="2770" y="1708"/>
                </a:cubicBezTo>
                <a:cubicBezTo>
                  <a:pt x="2770" y="1708"/>
                  <a:pt x="2770" y="1708"/>
                  <a:pt x="2770" y="1718"/>
                </a:cubicBezTo>
                <a:cubicBezTo>
                  <a:pt x="2773" y="1717"/>
                  <a:pt x="2776" y="1716"/>
                  <a:pt x="2778" y="1715"/>
                </a:cubicBezTo>
                <a:cubicBezTo>
                  <a:pt x="2781" y="1714"/>
                  <a:pt x="2783" y="1713"/>
                  <a:pt x="2785" y="1711"/>
                </a:cubicBezTo>
                <a:cubicBezTo>
                  <a:pt x="2785" y="1711"/>
                  <a:pt x="2785" y="1711"/>
                  <a:pt x="2785" y="1770"/>
                </a:cubicBezTo>
                <a:cubicBezTo>
                  <a:pt x="2785" y="1770"/>
                  <a:pt x="2785" y="1770"/>
                  <a:pt x="2796" y="1770"/>
                </a:cubicBezTo>
                <a:cubicBezTo>
                  <a:pt x="2796" y="1770"/>
                  <a:pt x="2796" y="1770"/>
                  <a:pt x="2796" y="1697"/>
                </a:cubicBezTo>
                <a:close/>
                <a:moveTo>
                  <a:pt x="2843" y="1697"/>
                </a:moveTo>
                <a:cubicBezTo>
                  <a:pt x="2843" y="1697"/>
                  <a:pt x="2843" y="1697"/>
                  <a:pt x="2843" y="1697"/>
                </a:cubicBezTo>
                <a:cubicBezTo>
                  <a:pt x="2839" y="1697"/>
                  <a:pt x="2839" y="1697"/>
                  <a:pt x="2839" y="1697"/>
                </a:cubicBezTo>
                <a:cubicBezTo>
                  <a:pt x="2836" y="1698"/>
                  <a:pt x="2835" y="1700"/>
                  <a:pt x="2833" y="1700"/>
                </a:cubicBezTo>
                <a:cubicBezTo>
                  <a:pt x="2831" y="1702"/>
                  <a:pt x="2829" y="1702"/>
                  <a:pt x="2828" y="1703"/>
                </a:cubicBezTo>
                <a:cubicBezTo>
                  <a:pt x="2826" y="1705"/>
                  <a:pt x="2824" y="1705"/>
                  <a:pt x="2822" y="1706"/>
                </a:cubicBezTo>
                <a:cubicBezTo>
                  <a:pt x="2821" y="1707"/>
                  <a:pt x="2818" y="1708"/>
                  <a:pt x="2817" y="1708"/>
                </a:cubicBezTo>
                <a:cubicBezTo>
                  <a:pt x="2817" y="1708"/>
                  <a:pt x="2817" y="1708"/>
                  <a:pt x="2817" y="1718"/>
                </a:cubicBezTo>
                <a:cubicBezTo>
                  <a:pt x="2820" y="1717"/>
                  <a:pt x="2823" y="1716"/>
                  <a:pt x="2825" y="1715"/>
                </a:cubicBezTo>
                <a:cubicBezTo>
                  <a:pt x="2827" y="1714"/>
                  <a:pt x="2830" y="1713"/>
                  <a:pt x="2831" y="1711"/>
                </a:cubicBezTo>
                <a:cubicBezTo>
                  <a:pt x="2831" y="1711"/>
                  <a:pt x="2831" y="1711"/>
                  <a:pt x="2831" y="1770"/>
                </a:cubicBezTo>
                <a:cubicBezTo>
                  <a:pt x="2831" y="1770"/>
                  <a:pt x="2831" y="1770"/>
                  <a:pt x="2843" y="1770"/>
                </a:cubicBezTo>
                <a:cubicBezTo>
                  <a:pt x="2843" y="1770"/>
                  <a:pt x="2843" y="1770"/>
                  <a:pt x="2843" y="1697"/>
                </a:cubicBezTo>
                <a:close/>
                <a:moveTo>
                  <a:pt x="2966" y="1697"/>
                </a:moveTo>
                <a:cubicBezTo>
                  <a:pt x="2966" y="1697"/>
                  <a:pt x="2966" y="1697"/>
                  <a:pt x="2966" y="1697"/>
                </a:cubicBezTo>
                <a:cubicBezTo>
                  <a:pt x="2961" y="1697"/>
                  <a:pt x="2961" y="1697"/>
                  <a:pt x="2961" y="1697"/>
                </a:cubicBezTo>
                <a:cubicBezTo>
                  <a:pt x="2959" y="1698"/>
                  <a:pt x="2957" y="1700"/>
                  <a:pt x="2955" y="1700"/>
                </a:cubicBezTo>
                <a:cubicBezTo>
                  <a:pt x="2954" y="1702"/>
                  <a:pt x="2952" y="1702"/>
                  <a:pt x="2950" y="1703"/>
                </a:cubicBezTo>
                <a:cubicBezTo>
                  <a:pt x="2949" y="1705"/>
                  <a:pt x="2946" y="1705"/>
                  <a:pt x="2945" y="1706"/>
                </a:cubicBezTo>
                <a:cubicBezTo>
                  <a:pt x="2943" y="1707"/>
                  <a:pt x="2941" y="1708"/>
                  <a:pt x="2939" y="1708"/>
                </a:cubicBezTo>
                <a:cubicBezTo>
                  <a:pt x="2939" y="1708"/>
                  <a:pt x="2939" y="1708"/>
                  <a:pt x="2939" y="1718"/>
                </a:cubicBezTo>
                <a:cubicBezTo>
                  <a:pt x="2942" y="1717"/>
                  <a:pt x="2945" y="1716"/>
                  <a:pt x="2948" y="1715"/>
                </a:cubicBezTo>
                <a:cubicBezTo>
                  <a:pt x="2950" y="1714"/>
                  <a:pt x="2952" y="1713"/>
                  <a:pt x="2954" y="1711"/>
                </a:cubicBezTo>
                <a:cubicBezTo>
                  <a:pt x="2954" y="1711"/>
                  <a:pt x="2954" y="1711"/>
                  <a:pt x="2954" y="1770"/>
                </a:cubicBezTo>
                <a:cubicBezTo>
                  <a:pt x="2954" y="1770"/>
                  <a:pt x="2954" y="1770"/>
                  <a:pt x="2966" y="1770"/>
                </a:cubicBezTo>
                <a:cubicBezTo>
                  <a:pt x="2966" y="1770"/>
                  <a:pt x="2966" y="1770"/>
                  <a:pt x="2966" y="1697"/>
                </a:cubicBezTo>
                <a:close/>
                <a:moveTo>
                  <a:pt x="3014" y="1697"/>
                </a:moveTo>
                <a:cubicBezTo>
                  <a:pt x="3014" y="1697"/>
                  <a:pt x="3014" y="1697"/>
                  <a:pt x="3014" y="1697"/>
                </a:cubicBezTo>
                <a:cubicBezTo>
                  <a:pt x="3009" y="1697"/>
                  <a:pt x="3009" y="1697"/>
                  <a:pt x="3009" y="1697"/>
                </a:cubicBezTo>
                <a:cubicBezTo>
                  <a:pt x="3006" y="1698"/>
                  <a:pt x="3005" y="1700"/>
                  <a:pt x="3003" y="1700"/>
                </a:cubicBezTo>
                <a:cubicBezTo>
                  <a:pt x="3001" y="1702"/>
                  <a:pt x="2999" y="1702"/>
                  <a:pt x="2998" y="1703"/>
                </a:cubicBezTo>
                <a:cubicBezTo>
                  <a:pt x="2996" y="1705"/>
                  <a:pt x="2994" y="1705"/>
                  <a:pt x="2992" y="1706"/>
                </a:cubicBezTo>
                <a:cubicBezTo>
                  <a:pt x="2990" y="1707"/>
                  <a:pt x="2989" y="1708"/>
                  <a:pt x="2986" y="1708"/>
                </a:cubicBezTo>
                <a:cubicBezTo>
                  <a:pt x="2986" y="1708"/>
                  <a:pt x="2986" y="1708"/>
                  <a:pt x="2986" y="1718"/>
                </a:cubicBezTo>
                <a:cubicBezTo>
                  <a:pt x="2989" y="1717"/>
                  <a:pt x="2992" y="1716"/>
                  <a:pt x="2995" y="1715"/>
                </a:cubicBezTo>
                <a:cubicBezTo>
                  <a:pt x="2998" y="1714"/>
                  <a:pt x="3000" y="1713"/>
                  <a:pt x="3002" y="1711"/>
                </a:cubicBezTo>
                <a:cubicBezTo>
                  <a:pt x="3002" y="1711"/>
                  <a:pt x="3002" y="1711"/>
                  <a:pt x="3002" y="1770"/>
                </a:cubicBezTo>
                <a:cubicBezTo>
                  <a:pt x="3002" y="1770"/>
                  <a:pt x="3002" y="1770"/>
                  <a:pt x="3014" y="1770"/>
                </a:cubicBezTo>
                <a:cubicBezTo>
                  <a:pt x="3014" y="1770"/>
                  <a:pt x="3014" y="1770"/>
                  <a:pt x="3014" y="1697"/>
                </a:cubicBezTo>
                <a:close/>
                <a:moveTo>
                  <a:pt x="3060" y="1697"/>
                </a:moveTo>
                <a:cubicBezTo>
                  <a:pt x="3060" y="1697"/>
                  <a:pt x="3060" y="1697"/>
                  <a:pt x="3060" y="1697"/>
                </a:cubicBezTo>
                <a:cubicBezTo>
                  <a:pt x="3056" y="1697"/>
                  <a:pt x="3056" y="1697"/>
                  <a:pt x="3056" y="1697"/>
                </a:cubicBezTo>
                <a:cubicBezTo>
                  <a:pt x="3053" y="1698"/>
                  <a:pt x="3052" y="1700"/>
                  <a:pt x="3050" y="1700"/>
                </a:cubicBezTo>
                <a:cubicBezTo>
                  <a:pt x="3048" y="1702"/>
                  <a:pt x="3046" y="1702"/>
                  <a:pt x="3045" y="1703"/>
                </a:cubicBezTo>
                <a:cubicBezTo>
                  <a:pt x="3043" y="1704"/>
                  <a:pt x="3041" y="1705"/>
                  <a:pt x="3039" y="1705"/>
                </a:cubicBezTo>
                <a:cubicBezTo>
                  <a:pt x="3038" y="1706"/>
                  <a:pt x="3035" y="1707"/>
                  <a:pt x="3034" y="1708"/>
                </a:cubicBezTo>
                <a:cubicBezTo>
                  <a:pt x="3034" y="1708"/>
                  <a:pt x="3034" y="1708"/>
                  <a:pt x="3034" y="1718"/>
                </a:cubicBezTo>
                <a:cubicBezTo>
                  <a:pt x="3037" y="1717"/>
                  <a:pt x="3040" y="1716"/>
                  <a:pt x="3042" y="1715"/>
                </a:cubicBezTo>
                <a:cubicBezTo>
                  <a:pt x="3044" y="1714"/>
                  <a:pt x="3047" y="1713"/>
                  <a:pt x="3048" y="1711"/>
                </a:cubicBezTo>
                <a:cubicBezTo>
                  <a:pt x="3048" y="1711"/>
                  <a:pt x="3048" y="1711"/>
                  <a:pt x="3048" y="1770"/>
                </a:cubicBezTo>
                <a:cubicBezTo>
                  <a:pt x="3048" y="1770"/>
                  <a:pt x="3048" y="1770"/>
                  <a:pt x="3060" y="1770"/>
                </a:cubicBezTo>
                <a:cubicBezTo>
                  <a:pt x="3060" y="1770"/>
                  <a:pt x="3060" y="1770"/>
                  <a:pt x="3060" y="1697"/>
                </a:cubicBezTo>
                <a:close/>
                <a:moveTo>
                  <a:pt x="3105" y="1770"/>
                </a:moveTo>
                <a:cubicBezTo>
                  <a:pt x="3097" y="1770"/>
                  <a:pt x="3091" y="1767"/>
                  <a:pt x="3086" y="1761"/>
                </a:cubicBezTo>
                <a:cubicBezTo>
                  <a:pt x="3083" y="1755"/>
                  <a:pt x="3080" y="1746"/>
                  <a:pt x="3080" y="1733"/>
                </a:cubicBezTo>
                <a:cubicBezTo>
                  <a:pt x="3080" y="1720"/>
                  <a:pt x="3083" y="1711"/>
                  <a:pt x="3087" y="1704"/>
                </a:cubicBezTo>
                <a:cubicBezTo>
                  <a:pt x="3091" y="1697"/>
                  <a:pt x="3098" y="1694"/>
                  <a:pt x="3107" y="1694"/>
                </a:cubicBezTo>
                <a:cubicBezTo>
                  <a:pt x="3123" y="1694"/>
                  <a:pt x="3131" y="1706"/>
                  <a:pt x="3131" y="1732"/>
                </a:cubicBezTo>
                <a:cubicBezTo>
                  <a:pt x="3131" y="1744"/>
                  <a:pt x="3129" y="1754"/>
                  <a:pt x="3124" y="1761"/>
                </a:cubicBezTo>
                <a:cubicBezTo>
                  <a:pt x="3119" y="1767"/>
                  <a:pt x="3113" y="1770"/>
                  <a:pt x="3105" y="1770"/>
                </a:cubicBezTo>
                <a:close/>
                <a:moveTo>
                  <a:pt x="3106" y="1703"/>
                </a:moveTo>
                <a:cubicBezTo>
                  <a:pt x="3097" y="1703"/>
                  <a:pt x="3092" y="1714"/>
                  <a:pt x="3092" y="1733"/>
                </a:cubicBezTo>
                <a:cubicBezTo>
                  <a:pt x="3092" y="1752"/>
                  <a:pt x="3097" y="1761"/>
                  <a:pt x="3105" y="1761"/>
                </a:cubicBezTo>
                <a:cubicBezTo>
                  <a:pt x="3114" y="1761"/>
                  <a:pt x="3118" y="1752"/>
                  <a:pt x="3118" y="1733"/>
                </a:cubicBezTo>
                <a:cubicBezTo>
                  <a:pt x="3118" y="1713"/>
                  <a:pt x="3114" y="1703"/>
                  <a:pt x="3106" y="1703"/>
                </a:cubicBezTo>
                <a:close/>
                <a:moveTo>
                  <a:pt x="3176" y="1770"/>
                </a:moveTo>
                <a:cubicBezTo>
                  <a:pt x="3168" y="1770"/>
                  <a:pt x="3162" y="1767"/>
                  <a:pt x="3158" y="1761"/>
                </a:cubicBezTo>
                <a:cubicBezTo>
                  <a:pt x="3154" y="1755"/>
                  <a:pt x="3152" y="1746"/>
                  <a:pt x="3152" y="1733"/>
                </a:cubicBezTo>
                <a:cubicBezTo>
                  <a:pt x="3152" y="1720"/>
                  <a:pt x="3154" y="1711"/>
                  <a:pt x="3158" y="1704"/>
                </a:cubicBezTo>
                <a:cubicBezTo>
                  <a:pt x="3162" y="1697"/>
                  <a:pt x="3169" y="1694"/>
                  <a:pt x="3178" y="1694"/>
                </a:cubicBezTo>
                <a:cubicBezTo>
                  <a:pt x="3194" y="1694"/>
                  <a:pt x="3202" y="1706"/>
                  <a:pt x="3202" y="1732"/>
                </a:cubicBezTo>
                <a:cubicBezTo>
                  <a:pt x="3202" y="1744"/>
                  <a:pt x="3200" y="1754"/>
                  <a:pt x="3195" y="1761"/>
                </a:cubicBezTo>
                <a:cubicBezTo>
                  <a:pt x="3190" y="1767"/>
                  <a:pt x="3184" y="1770"/>
                  <a:pt x="3176" y="1770"/>
                </a:cubicBezTo>
                <a:close/>
                <a:moveTo>
                  <a:pt x="3177" y="1703"/>
                </a:moveTo>
                <a:cubicBezTo>
                  <a:pt x="3168" y="1703"/>
                  <a:pt x="3163" y="1714"/>
                  <a:pt x="3163" y="1733"/>
                </a:cubicBezTo>
                <a:cubicBezTo>
                  <a:pt x="3163" y="1752"/>
                  <a:pt x="3168" y="1761"/>
                  <a:pt x="3176" y="1761"/>
                </a:cubicBezTo>
                <a:cubicBezTo>
                  <a:pt x="3185" y="1761"/>
                  <a:pt x="3190" y="1752"/>
                  <a:pt x="3190" y="1733"/>
                </a:cubicBezTo>
                <a:cubicBezTo>
                  <a:pt x="3190" y="1713"/>
                  <a:pt x="3185" y="1703"/>
                  <a:pt x="3177" y="1703"/>
                </a:cubicBezTo>
                <a:close/>
                <a:moveTo>
                  <a:pt x="2864" y="1729"/>
                </a:moveTo>
                <a:cubicBezTo>
                  <a:pt x="2864" y="1729"/>
                  <a:pt x="2864" y="1729"/>
                  <a:pt x="2864" y="1729"/>
                </a:cubicBezTo>
                <a:cubicBezTo>
                  <a:pt x="2864" y="1737"/>
                  <a:pt x="2864" y="1737"/>
                  <a:pt x="2864" y="1737"/>
                </a:cubicBezTo>
                <a:cubicBezTo>
                  <a:pt x="2870" y="1738"/>
                  <a:pt x="2871" y="1741"/>
                  <a:pt x="2871" y="1743"/>
                </a:cubicBezTo>
                <a:cubicBezTo>
                  <a:pt x="2871" y="1745"/>
                  <a:pt x="2870" y="1748"/>
                  <a:pt x="2870" y="1750"/>
                </a:cubicBezTo>
                <a:cubicBezTo>
                  <a:pt x="2870" y="1753"/>
                  <a:pt x="2869" y="1755"/>
                  <a:pt x="2869" y="1757"/>
                </a:cubicBezTo>
                <a:cubicBezTo>
                  <a:pt x="2869" y="1767"/>
                  <a:pt x="2875" y="1770"/>
                  <a:pt x="2884" y="1770"/>
                </a:cubicBezTo>
                <a:cubicBezTo>
                  <a:pt x="2884" y="1770"/>
                  <a:pt x="2884" y="1770"/>
                  <a:pt x="2888" y="1770"/>
                </a:cubicBezTo>
                <a:cubicBezTo>
                  <a:pt x="2888" y="1770"/>
                  <a:pt x="2888" y="1770"/>
                  <a:pt x="2888" y="1761"/>
                </a:cubicBezTo>
                <a:cubicBezTo>
                  <a:pt x="2888" y="1761"/>
                  <a:pt x="2888" y="1761"/>
                  <a:pt x="2886" y="1761"/>
                </a:cubicBezTo>
                <a:cubicBezTo>
                  <a:pt x="2882" y="1761"/>
                  <a:pt x="2881" y="1759"/>
                  <a:pt x="2881" y="1755"/>
                </a:cubicBezTo>
                <a:cubicBezTo>
                  <a:pt x="2881" y="1754"/>
                  <a:pt x="2881" y="1752"/>
                  <a:pt x="2882" y="1750"/>
                </a:cubicBezTo>
                <a:cubicBezTo>
                  <a:pt x="2882" y="1749"/>
                  <a:pt x="2882" y="1747"/>
                  <a:pt x="2882" y="1744"/>
                </a:cubicBezTo>
                <a:cubicBezTo>
                  <a:pt x="2882" y="1737"/>
                  <a:pt x="2879" y="1734"/>
                  <a:pt x="2874" y="1733"/>
                </a:cubicBezTo>
                <a:cubicBezTo>
                  <a:pt x="2874" y="1733"/>
                  <a:pt x="2874" y="1733"/>
                  <a:pt x="2874" y="1733"/>
                </a:cubicBezTo>
                <a:cubicBezTo>
                  <a:pt x="2879" y="1732"/>
                  <a:pt x="2882" y="1729"/>
                  <a:pt x="2882" y="1722"/>
                </a:cubicBezTo>
                <a:cubicBezTo>
                  <a:pt x="2882" y="1719"/>
                  <a:pt x="2882" y="1717"/>
                  <a:pt x="2882" y="1716"/>
                </a:cubicBezTo>
                <a:cubicBezTo>
                  <a:pt x="2881" y="1714"/>
                  <a:pt x="2881" y="1712"/>
                  <a:pt x="2881" y="1711"/>
                </a:cubicBezTo>
                <a:cubicBezTo>
                  <a:pt x="2881" y="1707"/>
                  <a:pt x="2882" y="1705"/>
                  <a:pt x="2886" y="1705"/>
                </a:cubicBezTo>
                <a:cubicBezTo>
                  <a:pt x="2886" y="1705"/>
                  <a:pt x="2886" y="1705"/>
                  <a:pt x="2888" y="1705"/>
                </a:cubicBezTo>
                <a:cubicBezTo>
                  <a:pt x="2888" y="1705"/>
                  <a:pt x="2888" y="1705"/>
                  <a:pt x="2888" y="1696"/>
                </a:cubicBezTo>
                <a:cubicBezTo>
                  <a:pt x="2888" y="1696"/>
                  <a:pt x="2888" y="1696"/>
                  <a:pt x="2884" y="1696"/>
                </a:cubicBezTo>
                <a:cubicBezTo>
                  <a:pt x="2875" y="1696"/>
                  <a:pt x="2869" y="1700"/>
                  <a:pt x="2869" y="1708"/>
                </a:cubicBezTo>
                <a:cubicBezTo>
                  <a:pt x="2869" y="1711"/>
                  <a:pt x="2870" y="1713"/>
                  <a:pt x="2870" y="1716"/>
                </a:cubicBezTo>
                <a:cubicBezTo>
                  <a:pt x="2870" y="1718"/>
                  <a:pt x="2871" y="1721"/>
                  <a:pt x="2871" y="1723"/>
                </a:cubicBezTo>
                <a:cubicBezTo>
                  <a:pt x="2871" y="1725"/>
                  <a:pt x="2870" y="1729"/>
                  <a:pt x="2864" y="1729"/>
                </a:cubicBezTo>
                <a:close/>
                <a:moveTo>
                  <a:pt x="2919" y="1737"/>
                </a:moveTo>
                <a:cubicBezTo>
                  <a:pt x="2919" y="1737"/>
                  <a:pt x="2919" y="1737"/>
                  <a:pt x="2919" y="1737"/>
                </a:cubicBezTo>
                <a:cubicBezTo>
                  <a:pt x="2919" y="1729"/>
                  <a:pt x="2919" y="1729"/>
                  <a:pt x="2919" y="1729"/>
                </a:cubicBezTo>
                <a:cubicBezTo>
                  <a:pt x="2912" y="1729"/>
                  <a:pt x="2912" y="1725"/>
                  <a:pt x="2912" y="1723"/>
                </a:cubicBezTo>
                <a:cubicBezTo>
                  <a:pt x="2912" y="1721"/>
                  <a:pt x="2912" y="1718"/>
                  <a:pt x="2912" y="1716"/>
                </a:cubicBezTo>
                <a:cubicBezTo>
                  <a:pt x="2913" y="1713"/>
                  <a:pt x="2913" y="1711"/>
                  <a:pt x="2913" y="1708"/>
                </a:cubicBezTo>
                <a:cubicBezTo>
                  <a:pt x="2913" y="1700"/>
                  <a:pt x="2907" y="1696"/>
                  <a:pt x="2898" y="1696"/>
                </a:cubicBezTo>
                <a:cubicBezTo>
                  <a:pt x="2898" y="1696"/>
                  <a:pt x="2898" y="1696"/>
                  <a:pt x="2894" y="1696"/>
                </a:cubicBezTo>
                <a:cubicBezTo>
                  <a:pt x="2894" y="1696"/>
                  <a:pt x="2894" y="1696"/>
                  <a:pt x="2894" y="1705"/>
                </a:cubicBezTo>
                <a:cubicBezTo>
                  <a:pt x="2894" y="1705"/>
                  <a:pt x="2894" y="1705"/>
                  <a:pt x="2896" y="1705"/>
                </a:cubicBezTo>
                <a:cubicBezTo>
                  <a:pt x="2900" y="1705"/>
                  <a:pt x="2901" y="1707"/>
                  <a:pt x="2901" y="1711"/>
                </a:cubicBezTo>
                <a:cubicBezTo>
                  <a:pt x="2901" y="1712"/>
                  <a:pt x="2901" y="1714"/>
                  <a:pt x="2901" y="1716"/>
                </a:cubicBezTo>
                <a:cubicBezTo>
                  <a:pt x="2900" y="1717"/>
                  <a:pt x="2900" y="1719"/>
                  <a:pt x="2900" y="1722"/>
                </a:cubicBezTo>
                <a:cubicBezTo>
                  <a:pt x="2900" y="1729"/>
                  <a:pt x="2903" y="1732"/>
                  <a:pt x="2909" y="1733"/>
                </a:cubicBezTo>
                <a:cubicBezTo>
                  <a:pt x="2909" y="1733"/>
                  <a:pt x="2909" y="1733"/>
                  <a:pt x="2909" y="1733"/>
                </a:cubicBezTo>
                <a:cubicBezTo>
                  <a:pt x="2903" y="1734"/>
                  <a:pt x="2900" y="1737"/>
                  <a:pt x="2900" y="1744"/>
                </a:cubicBezTo>
                <a:cubicBezTo>
                  <a:pt x="2900" y="1747"/>
                  <a:pt x="2900" y="1749"/>
                  <a:pt x="2901" y="1750"/>
                </a:cubicBezTo>
                <a:cubicBezTo>
                  <a:pt x="2901" y="1752"/>
                  <a:pt x="2901" y="1754"/>
                  <a:pt x="2901" y="1755"/>
                </a:cubicBezTo>
                <a:cubicBezTo>
                  <a:pt x="2901" y="1759"/>
                  <a:pt x="2900" y="1761"/>
                  <a:pt x="2896" y="1761"/>
                </a:cubicBezTo>
                <a:cubicBezTo>
                  <a:pt x="2896" y="1761"/>
                  <a:pt x="2896" y="1761"/>
                  <a:pt x="2894" y="1761"/>
                </a:cubicBezTo>
                <a:cubicBezTo>
                  <a:pt x="2894" y="1761"/>
                  <a:pt x="2894" y="1761"/>
                  <a:pt x="2894" y="1770"/>
                </a:cubicBezTo>
                <a:cubicBezTo>
                  <a:pt x="2894" y="1770"/>
                  <a:pt x="2894" y="1770"/>
                  <a:pt x="2898" y="1770"/>
                </a:cubicBezTo>
                <a:cubicBezTo>
                  <a:pt x="2907" y="1770"/>
                  <a:pt x="2913" y="1767"/>
                  <a:pt x="2913" y="1757"/>
                </a:cubicBezTo>
                <a:cubicBezTo>
                  <a:pt x="2913" y="1755"/>
                  <a:pt x="2913" y="1753"/>
                  <a:pt x="2912" y="1750"/>
                </a:cubicBezTo>
                <a:cubicBezTo>
                  <a:pt x="2912" y="1748"/>
                  <a:pt x="2912" y="1745"/>
                  <a:pt x="2912" y="1743"/>
                </a:cubicBezTo>
                <a:cubicBezTo>
                  <a:pt x="2912" y="1741"/>
                  <a:pt x="2912" y="1738"/>
                  <a:pt x="2919" y="1737"/>
                </a:cubicBezTo>
                <a:close/>
                <a:moveTo>
                  <a:pt x="3388" y="1770"/>
                </a:moveTo>
                <a:cubicBezTo>
                  <a:pt x="3381" y="1770"/>
                  <a:pt x="3375" y="1767"/>
                  <a:pt x="3370" y="1761"/>
                </a:cubicBezTo>
                <a:cubicBezTo>
                  <a:pt x="3366" y="1755"/>
                  <a:pt x="3364" y="1745"/>
                  <a:pt x="3364" y="1733"/>
                </a:cubicBezTo>
                <a:cubicBezTo>
                  <a:pt x="3364" y="1720"/>
                  <a:pt x="3366" y="1711"/>
                  <a:pt x="3370" y="1703"/>
                </a:cubicBezTo>
                <a:cubicBezTo>
                  <a:pt x="3375" y="1697"/>
                  <a:pt x="3381" y="1694"/>
                  <a:pt x="3390" y="1694"/>
                </a:cubicBezTo>
                <a:cubicBezTo>
                  <a:pt x="3406" y="1694"/>
                  <a:pt x="3415" y="1706"/>
                  <a:pt x="3415" y="1731"/>
                </a:cubicBezTo>
                <a:cubicBezTo>
                  <a:pt x="3415" y="1744"/>
                  <a:pt x="3412" y="1754"/>
                  <a:pt x="3408" y="1761"/>
                </a:cubicBezTo>
                <a:cubicBezTo>
                  <a:pt x="3403" y="1767"/>
                  <a:pt x="3397" y="1770"/>
                  <a:pt x="3388" y="1770"/>
                </a:cubicBezTo>
                <a:close/>
                <a:moveTo>
                  <a:pt x="3390" y="1703"/>
                </a:moveTo>
                <a:cubicBezTo>
                  <a:pt x="3381" y="1703"/>
                  <a:pt x="3376" y="1713"/>
                  <a:pt x="3376" y="1733"/>
                </a:cubicBezTo>
                <a:cubicBezTo>
                  <a:pt x="3376" y="1751"/>
                  <a:pt x="3381" y="1761"/>
                  <a:pt x="3390" y="1761"/>
                </a:cubicBezTo>
                <a:cubicBezTo>
                  <a:pt x="3398" y="1761"/>
                  <a:pt x="3402" y="1751"/>
                  <a:pt x="3402" y="1733"/>
                </a:cubicBezTo>
                <a:cubicBezTo>
                  <a:pt x="3402" y="1713"/>
                  <a:pt x="3398" y="1703"/>
                  <a:pt x="3390" y="1703"/>
                </a:cubicBezTo>
                <a:close/>
                <a:moveTo>
                  <a:pt x="3506" y="1770"/>
                </a:moveTo>
                <a:cubicBezTo>
                  <a:pt x="3499" y="1770"/>
                  <a:pt x="3493" y="1767"/>
                  <a:pt x="3488" y="1761"/>
                </a:cubicBezTo>
                <a:cubicBezTo>
                  <a:pt x="3484" y="1755"/>
                  <a:pt x="3482" y="1745"/>
                  <a:pt x="3482" y="1733"/>
                </a:cubicBezTo>
                <a:cubicBezTo>
                  <a:pt x="3482" y="1720"/>
                  <a:pt x="3484" y="1711"/>
                  <a:pt x="3488" y="1703"/>
                </a:cubicBezTo>
                <a:cubicBezTo>
                  <a:pt x="3493" y="1697"/>
                  <a:pt x="3499" y="1694"/>
                  <a:pt x="3508" y="1694"/>
                </a:cubicBezTo>
                <a:cubicBezTo>
                  <a:pt x="3524" y="1694"/>
                  <a:pt x="3532" y="1706"/>
                  <a:pt x="3532" y="1731"/>
                </a:cubicBezTo>
                <a:cubicBezTo>
                  <a:pt x="3532" y="1744"/>
                  <a:pt x="3530" y="1754"/>
                  <a:pt x="3526" y="1761"/>
                </a:cubicBezTo>
                <a:cubicBezTo>
                  <a:pt x="3520" y="1767"/>
                  <a:pt x="3515" y="1770"/>
                  <a:pt x="3506" y="1770"/>
                </a:cubicBezTo>
                <a:close/>
                <a:moveTo>
                  <a:pt x="3507" y="1703"/>
                </a:moveTo>
                <a:cubicBezTo>
                  <a:pt x="3499" y="1703"/>
                  <a:pt x="3494" y="1713"/>
                  <a:pt x="3494" y="1733"/>
                </a:cubicBezTo>
                <a:cubicBezTo>
                  <a:pt x="3494" y="1751"/>
                  <a:pt x="3499" y="1761"/>
                  <a:pt x="3507" y="1761"/>
                </a:cubicBezTo>
                <a:cubicBezTo>
                  <a:pt x="3515" y="1761"/>
                  <a:pt x="3520" y="1751"/>
                  <a:pt x="3520" y="1733"/>
                </a:cubicBezTo>
                <a:cubicBezTo>
                  <a:pt x="3520" y="1713"/>
                  <a:pt x="3516" y="1703"/>
                  <a:pt x="3507" y="1703"/>
                </a:cubicBezTo>
                <a:close/>
                <a:moveTo>
                  <a:pt x="3462" y="1697"/>
                </a:moveTo>
                <a:cubicBezTo>
                  <a:pt x="3462" y="1697"/>
                  <a:pt x="3462" y="1697"/>
                  <a:pt x="3462" y="1697"/>
                </a:cubicBezTo>
                <a:cubicBezTo>
                  <a:pt x="3457" y="1697"/>
                  <a:pt x="3457" y="1697"/>
                  <a:pt x="3457" y="1697"/>
                </a:cubicBezTo>
                <a:cubicBezTo>
                  <a:pt x="3454" y="1698"/>
                  <a:pt x="3453" y="1700"/>
                  <a:pt x="3451" y="1700"/>
                </a:cubicBezTo>
                <a:cubicBezTo>
                  <a:pt x="3449" y="1702"/>
                  <a:pt x="3447" y="1702"/>
                  <a:pt x="3446" y="1703"/>
                </a:cubicBezTo>
                <a:cubicBezTo>
                  <a:pt x="3444" y="1704"/>
                  <a:pt x="3442" y="1705"/>
                  <a:pt x="3441" y="1705"/>
                </a:cubicBezTo>
                <a:cubicBezTo>
                  <a:pt x="3438" y="1706"/>
                  <a:pt x="3437" y="1707"/>
                  <a:pt x="3435" y="1708"/>
                </a:cubicBezTo>
                <a:cubicBezTo>
                  <a:pt x="3435" y="1708"/>
                  <a:pt x="3435" y="1708"/>
                  <a:pt x="3435" y="1718"/>
                </a:cubicBezTo>
                <a:cubicBezTo>
                  <a:pt x="3438" y="1717"/>
                  <a:pt x="3441" y="1716"/>
                  <a:pt x="3443" y="1715"/>
                </a:cubicBezTo>
                <a:cubicBezTo>
                  <a:pt x="3446" y="1714"/>
                  <a:pt x="3448" y="1713"/>
                  <a:pt x="3450" y="1711"/>
                </a:cubicBezTo>
                <a:cubicBezTo>
                  <a:pt x="3450" y="1711"/>
                  <a:pt x="3450" y="1711"/>
                  <a:pt x="3450" y="1770"/>
                </a:cubicBezTo>
                <a:cubicBezTo>
                  <a:pt x="3450" y="1770"/>
                  <a:pt x="3450" y="1770"/>
                  <a:pt x="3462" y="1770"/>
                </a:cubicBezTo>
                <a:cubicBezTo>
                  <a:pt x="3462" y="1770"/>
                  <a:pt x="3462" y="1770"/>
                  <a:pt x="3462" y="1697"/>
                </a:cubicBezTo>
                <a:close/>
                <a:moveTo>
                  <a:pt x="3577" y="1770"/>
                </a:moveTo>
                <a:cubicBezTo>
                  <a:pt x="3570" y="1770"/>
                  <a:pt x="3563" y="1767"/>
                  <a:pt x="3559" y="1761"/>
                </a:cubicBezTo>
                <a:cubicBezTo>
                  <a:pt x="3555" y="1755"/>
                  <a:pt x="3553" y="1746"/>
                  <a:pt x="3553" y="1733"/>
                </a:cubicBezTo>
                <a:cubicBezTo>
                  <a:pt x="3553" y="1720"/>
                  <a:pt x="3555" y="1711"/>
                  <a:pt x="3559" y="1704"/>
                </a:cubicBezTo>
                <a:cubicBezTo>
                  <a:pt x="3564" y="1697"/>
                  <a:pt x="3570" y="1694"/>
                  <a:pt x="3579" y="1694"/>
                </a:cubicBezTo>
                <a:cubicBezTo>
                  <a:pt x="3595" y="1694"/>
                  <a:pt x="3603" y="1706"/>
                  <a:pt x="3603" y="1732"/>
                </a:cubicBezTo>
                <a:cubicBezTo>
                  <a:pt x="3603" y="1744"/>
                  <a:pt x="3601" y="1754"/>
                  <a:pt x="3597" y="1761"/>
                </a:cubicBezTo>
                <a:cubicBezTo>
                  <a:pt x="3592" y="1767"/>
                  <a:pt x="3586" y="1770"/>
                  <a:pt x="3577" y="1770"/>
                </a:cubicBezTo>
                <a:close/>
                <a:moveTo>
                  <a:pt x="3578" y="1703"/>
                </a:moveTo>
                <a:cubicBezTo>
                  <a:pt x="3570" y="1703"/>
                  <a:pt x="3565" y="1714"/>
                  <a:pt x="3565" y="1733"/>
                </a:cubicBezTo>
                <a:cubicBezTo>
                  <a:pt x="3565" y="1752"/>
                  <a:pt x="3569" y="1761"/>
                  <a:pt x="3578" y="1761"/>
                </a:cubicBezTo>
                <a:cubicBezTo>
                  <a:pt x="3586" y="1761"/>
                  <a:pt x="3591" y="1752"/>
                  <a:pt x="3591" y="1733"/>
                </a:cubicBezTo>
                <a:cubicBezTo>
                  <a:pt x="3591" y="1713"/>
                  <a:pt x="3586" y="1703"/>
                  <a:pt x="3578" y="1703"/>
                </a:cubicBezTo>
                <a:close/>
                <a:moveTo>
                  <a:pt x="3624" y="1729"/>
                </a:moveTo>
                <a:cubicBezTo>
                  <a:pt x="3624" y="1729"/>
                  <a:pt x="3624" y="1729"/>
                  <a:pt x="3624" y="1729"/>
                </a:cubicBezTo>
                <a:cubicBezTo>
                  <a:pt x="3624" y="1737"/>
                  <a:pt x="3624" y="1737"/>
                  <a:pt x="3624" y="1737"/>
                </a:cubicBezTo>
                <a:cubicBezTo>
                  <a:pt x="3630" y="1738"/>
                  <a:pt x="3631" y="1741"/>
                  <a:pt x="3631" y="1743"/>
                </a:cubicBezTo>
                <a:cubicBezTo>
                  <a:pt x="3631" y="1745"/>
                  <a:pt x="3630" y="1748"/>
                  <a:pt x="3630" y="1750"/>
                </a:cubicBezTo>
                <a:cubicBezTo>
                  <a:pt x="3630" y="1753"/>
                  <a:pt x="3630" y="1755"/>
                  <a:pt x="3630" y="1757"/>
                </a:cubicBezTo>
                <a:cubicBezTo>
                  <a:pt x="3630" y="1767"/>
                  <a:pt x="3636" y="1770"/>
                  <a:pt x="3644" y="1770"/>
                </a:cubicBezTo>
                <a:cubicBezTo>
                  <a:pt x="3644" y="1770"/>
                  <a:pt x="3644" y="1770"/>
                  <a:pt x="3648" y="1770"/>
                </a:cubicBezTo>
                <a:cubicBezTo>
                  <a:pt x="3648" y="1770"/>
                  <a:pt x="3648" y="1770"/>
                  <a:pt x="3648" y="1761"/>
                </a:cubicBezTo>
                <a:cubicBezTo>
                  <a:pt x="3648" y="1761"/>
                  <a:pt x="3648" y="1761"/>
                  <a:pt x="3646" y="1761"/>
                </a:cubicBezTo>
                <a:cubicBezTo>
                  <a:pt x="3643" y="1761"/>
                  <a:pt x="3642" y="1759"/>
                  <a:pt x="3642" y="1755"/>
                </a:cubicBezTo>
                <a:cubicBezTo>
                  <a:pt x="3642" y="1754"/>
                  <a:pt x="3642" y="1752"/>
                  <a:pt x="3642" y="1750"/>
                </a:cubicBezTo>
                <a:cubicBezTo>
                  <a:pt x="3642" y="1749"/>
                  <a:pt x="3642" y="1747"/>
                  <a:pt x="3642" y="1744"/>
                </a:cubicBezTo>
                <a:cubicBezTo>
                  <a:pt x="3642" y="1737"/>
                  <a:pt x="3639" y="1734"/>
                  <a:pt x="3634" y="1733"/>
                </a:cubicBezTo>
                <a:cubicBezTo>
                  <a:pt x="3634" y="1733"/>
                  <a:pt x="3634" y="1733"/>
                  <a:pt x="3634" y="1733"/>
                </a:cubicBezTo>
                <a:cubicBezTo>
                  <a:pt x="3639" y="1732"/>
                  <a:pt x="3642" y="1729"/>
                  <a:pt x="3642" y="1722"/>
                </a:cubicBezTo>
                <a:cubicBezTo>
                  <a:pt x="3642" y="1719"/>
                  <a:pt x="3642" y="1717"/>
                  <a:pt x="3642" y="1716"/>
                </a:cubicBezTo>
                <a:cubicBezTo>
                  <a:pt x="3642" y="1714"/>
                  <a:pt x="3642" y="1712"/>
                  <a:pt x="3642" y="1711"/>
                </a:cubicBezTo>
                <a:cubicBezTo>
                  <a:pt x="3642" y="1707"/>
                  <a:pt x="3643" y="1705"/>
                  <a:pt x="3646" y="1705"/>
                </a:cubicBezTo>
                <a:cubicBezTo>
                  <a:pt x="3646" y="1705"/>
                  <a:pt x="3646" y="1705"/>
                  <a:pt x="3648" y="1705"/>
                </a:cubicBezTo>
                <a:cubicBezTo>
                  <a:pt x="3648" y="1705"/>
                  <a:pt x="3648" y="1705"/>
                  <a:pt x="3648" y="1696"/>
                </a:cubicBezTo>
                <a:cubicBezTo>
                  <a:pt x="3648" y="1696"/>
                  <a:pt x="3648" y="1696"/>
                  <a:pt x="3644" y="1696"/>
                </a:cubicBezTo>
                <a:cubicBezTo>
                  <a:pt x="3635" y="1696"/>
                  <a:pt x="3630" y="1700"/>
                  <a:pt x="3630" y="1708"/>
                </a:cubicBezTo>
                <a:cubicBezTo>
                  <a:pt x="3630" y="1711"/>
                  <a:pt x="3630" y="1713"/>
                  <a:pt x="3630" y="1716"/>
                </a:cubicBezTo>
                <a:cubicBezTo>
                  <a:pt x="3630" y="1718"/>
                  <a:pt x="3631" y="1721"/>
                  <a:pt x="3631" y="1723"/>
                </a:cubicBezTo>
                <a:cubicBezTo>
                  <a:pt x="3631" y="1725"/>
                  <a:pt x="3630" y="1729"/>
                  <a:pt x="3624" y="1729"/>
                </a:cubicBezTo>
                <a:close/>
                <a:moveTo>
                  <a:pt x="3679" y="1737"/>
                </a:moveTo>
                <a:cubicBezTo>
                  <a:pt x="3679" y="1737"/>
                  <a:pt x="3679" y="1737"/>
                  <a:pt x="3679" y="1737"/>
                </a:cubicBezTo>
                <a:cubicBezTo>
                  <a:pt x="3679" y="1729"/>
                  <a:pt x="3679" y="1729"/>
                  <a:pt x="3679" y="1729"/>
                </a:cubicBezTo>
                <a:cubicBezTo>
                  <a:pt x="3673" y="1729"/>
                  <a:pt x="3672" y="1725"/>
                  <a:pt x="3672" y="1723"/>
                </a:cubicBezTo>
                <a:cubicBezTo>
                  <a:pt x="3672" y="1721"/>
                  <a:pt x="3672" y="1718"/>
                  <a:pt x="3673" y="1716"/>
                </a:cubicBezTo>
                <a:cubicBezTo>
                  <a:pt x="3673" y="1713"/>
                  <a:pt x="3673" y="1711"/>
                  <a:pt x="3673" y="1708"/>
                </a:cubicBezTo>
                <a:cubicBezTo>
                  <a:pt x="3673" y="1700"/>
                  <a:pt x="3668" y="1696"/>
                  <a:pt x="3658" y="1696"/>
                </a:cubicBezTo>
                <a:cubicBezTo>
                  <a:pt x="3658" y="1696"/>
                  <a:pt x="3658" y="1696"/>
                  <a:pt x="3655" y="1696"/>
                </a:cubicBezTo>
                <a:cubicBezTo>
                  <a:pt x="3655" y="1696"/>
                  <a:pt x="3655" y="1696"/>
                  <a:pt x="3655" y="1705"/>
                </a:cubicBezTo>
                <a:cubicBezTo>
                  <a:pt x="3655" y="1705"/>
                  <a:pt x="3655" y="1705"/>
                  <a:pt x="3656" y="1705"/>
                </a:cubicBezTo>
                <a:cubicBezTo>
                  <a:pt x="3660" y="1705"/>
                  <a:pt x="3661" y="1707"/>
                  <a:pt x="3661" y="1711"/>
                </a:cubicBezTo>
                <a:cubicBezTo>
                  <a:pt x="3661" y="1712"/>
                  <a:pt x="3661" y="1714"/>
                  <a:pt x="3661" y="1716"/>
                </a:cubicBezTo>
                <a:cubicBezTo>
                  <a:pt x="3661" y="1717"/>
                  <a:pt x="3661" y="1719"/>
                  <a:pt x="3661" y="1722"/>
                </a:cubicBezTo>
                <a:cubicBezTo>
                  <a:pt x="3661" y="1729"/>
                  <a:pt x="3663" y="1732"/>
                  <a:pt x="3669" y="1733"/>
                </a:cubicBezTo>
                <a:cubicBezTo>
                  <a:pt x="3669" y="1733"/>
                  <a:pt x="3669" y="1733"/>
                  <a:pt x="3669" y="1733"/>
                </a:cubicBezTo>
                <a:cubicBezTo>
                  <a:pt x="3663" y="1734"/>
                  <a:pt x="3661" y="1737"/>
                  <a:pt x="3661" y="1744"/>
                </a:cubicBezTo>
                <a:cubicBezTo>
                  <a:pt x="3661" y="1747"/>
                  <a:pt x="3661" y="1749"/>
                  <a:pt x="3661" y="1750"/>
                </a:cubicBezTo>
                <a:cubicBezTo>
                  <a:pt x="3661" y="1752"/>
                  <a:pt x="3661" y="1754"/>
                  <a:pt x="3661" y="1755"/>
                </a:cubicBezTo>
                <a:cubicBezTo>
                  <a:pt x="3661" y="1759"/>
                  <a:pt x="3660" y="1761"/>
                  <a:pt x="3656" y="1761"/>
                </a:cubicBezTo>
                <a:cubicBezTo>
                  <a:pt x="3656" y="1761"/>
                  <a:pt x="3656" y="1761"/>
                  <a:pt x="3655" y="1761"/>
                </a:cubicBezTo>
                <a:cubicBezTo>
                  <a:pt x="3655" y="1761"/>
                  <a:pt x="3655" y="1761"/>
                  <a:pt x="3655" y="1770"/>
                </a:cubicBezTo>
                <a:cubicBezTo>
                  <a:pt x="3655" y="1770"/>
                  <a:pt x="3655" y="1770"/>
                  <a:pt x="3658" y="1770"/>
                </a:cubicBezTo>
                <a:cubicBezTo>
                  <a:pt x="3667" y="1770"/>
                  <a:pt x="3673" y="1767"/>
                  <a:pt x="3673" y="1757"/>
                </a:cubicBezTo>
                <a:cubicBezTo>
                  <a:pt x="3673" y="1755"/>
                  <a:pt x="3673" y="1753"/>
                  <a:pt x="3673" y="1750"/>
                </a:cubicBezTo>
                <a:cubicBezTo>
                  <a:pt x="3672" y="1748"/>
                  <a:pt x="3672" y="1745"/>
                  <a:pt x="3672" y="1743"/>
                </a:cubicBezTo>
                <a:cubicBezTo>
                  <a:pt x="3672" y="1741"/>
                  <a:pt x="3673" y="1738"/>
                  <a:pt x="3679" y="1737"/>
                </a:cubicBezTo>
                <a:close/>
                <a:moveTo>
                  <a:pt x="3799" y="1770"/>
                </a:moveTo>
                <a:cubicBezTo>
                  <a:pt x="3792" y="1770"/>
                  <a:pt x="3785" y="1767"/>
                  <a:pt x="3781" y="1761"/>
                </a:cubicBezTo>
                <a:cubicBezTo>
                  <a:pt x="3777" y="1755"/>
                  <a:pt x="3775" y="1746"/>
                  <a:pt x="3775" y="1733"/>
                </a:cubicBezTo>
                <a:cubicBezTo>
                  <a:pt x="3775" y="1720"/>
                  <a:pt x="3777" y="1711"/>
                  <a:pt x="3782" y="1704"/>
                </a:cubicBezTo>
                <a:cubicBezTo>
                  <a:pt x="3786" y="1697"/>
                  <a:pt x="3793" y="1694"/>
                  <a:pt x="3801" y="1694"/>
                </a:cubicBezTo>
                <a:cubicBezTo>
                  <a:pt x="3817" y="1694"/>
                  <a:pt x="3825" y="1706"/>
                  <a:pt x="3825" y="1732"/>
                </a:cubicBezTo>
                <a:cubicBezTo>
                  <a:pt x="3825" y="1744"/>
                  <a:pt x="3823" y="1754"/>
                  <a:pt x="3818" y="1761"/>
                </a:cubicBezTo>
                <a:cubicBezTo>
                  <a:pt x="3814" y="1767"/>
                  <a:pt x="3807" y="1770"/>
                  <a:pt x="3799" y="1770"/>
                </a:cubicBezTo>
                <a:close/>
                <a:moveTo>
                  <a:pt x="3801" y="1703"/>
                </a:moveTo>
                <a:cubicBezTo>
                  <a:pt x="3791" y="1703"/>
                  <a:pt x="3787" y="1714"/>
                  <a:pt x="3787" y="1733"/>
                </a:cubicBezTo>
                <a:cubicBezTo>
                  <a:pt x="3787" y="1752"/>
                  <a:pt x="3791" y="1761"/>
                  <a:pt x="3800" y="1761"/>
                </a:cubicBezTo>
                <a:cubicBezTo>
                  <a:pt x="3809" y="1761"/>
                  <a:pt x="3813" y="1752"/>
                  <a:pt x="3813" y="1733"/>
                </a:cubicBezTo>
                <a:cubicBezTo>
                  <a:pt x="3813" y="1713"/>
                  <a:pt x="3809" y="1703"/>
                  <a:pt x="3801" y="1703"/>
                </a:cubicBezTo>
                <a:close/>
                <a:moveTo>
                  <a:pt x="3869" y="1697"/>
                </a:moveTo>
                <a:cubicBezTo>
                  <a:pt x="3869" y="1697"/>
                  <a:pt x="3869" y="1697"/>
                  <a:pt x="3869" y="1697"/>
                </a:cubicBezTo>
                <a:cubicBezTo>
                  <a:pt x="3864" y="1697"/>
                  <a:pt x="3864" y="1697"/>
                  <a:pt x="3864" y="1697"/>
                </a:cubicBezTo>
                <a:cubicBezTo>
                  <a:pt x="3861" y="1698"/>
                  <a:pt x="3860" y="1700"/>
                  <a:pt x="3858" y="1700"/>
                </a:cubicBezTo>
                <a:cubicBezTo>
                  <a:pt x="3856" y="1702"/>
                  <a:pt x="3854" y="1702"/>
                  <a:pt x="3853" y="1703"/>
                </a:cubicBezTo>
                <a:cubicBezTo>
                  <a:pt x="3850" y="1704"/>
                  <a:pt x="3849" y="1705"/>
                  <a:pt x="3848" y="1705"/>
                </a:cubicBezTo>
                <a:cubicBezTo>
                  <a:pt x="3845" y="1706"/>
                  <a:pt x="3844" y="1707"/>
                  <a:pt x="3842" y="1708"/>
                </a:cubicBezTo>
                <a:cubicBezTo>
                  <a:pt x="3842" y="1708"/>
                  <a:pt x="3842" y="1708"/>
                  <a:pt x="3842" y="1718"/>
                </a:cubicBezTo>
                <a:cubicBezTo>
                  <a:pt x="3845" y="1717"/>
                  <a:pt x="3848" y="1716"/>
                  <a:pt x="3850" y="1715"/>
                </a:cubicBezTo>
                <a:cubicBezTo>
                  <a:pt x="3853" y="1714"/>
                  <a:pt x="3855" y="1713"/>
                  <a:pt x="3857" y="1711"/>
                </a:cubicBezTo>
                <a:cubicBezTo>
                  <a:pt x="3857" y="1711"/>
                  <a:pt x="3857" y="1711"/>
                  <a:pt x="3857" y="1770"/>
                </a:cubicBezTo>
                <a:cubicBezTo>
                  <a:pt x="3857" y="1770"/>
                  <a:pt x="3857" y="1770"/>
                  <a:pt x="3869" y="1770"/>
                </a:cubicBezTo>
                <a:cubicBezTo>
                  <a:pt x="3869" y="1770"/>
                  <a:pt x="3869" y="1770"/>
                  <a:pt x="3869" y="1697"/>
                </a:cubicBezTo>
                <a:close/>
                <a:moveTo>
                  <a:pt x="2065" y="1639"/>
                </a:moveTo>
                <a:cubicBezTo>
                  <a:pt x="2066" y="1640"/>
                  <a:pt x="2066" y="1642"/>
                  <a:pt x="2067" y="1643"/>
                </a:cubicBezTo>
                <a:cubicBezTo>
                  <a:pt x="2067" y="1645"/>
                  <a:pt x="2068" y="1647"/>
                  <a:pt x="2068" y="1648"/>
                </a:cubicBezTo>
                <a:cubicBezTo>
                  <a:pt x="2068" y="1650"/>
                  <a:pt x="2068" y="1652"/>
                  <a:pt x="2068" y="1653"/>
                </a:cubicBezTo>
                <a:cubicBezTo>
                  <a:pt x="2069" y="1656"/>
                  <a:pt x="2068" y="1658"/>
                  <a:pt x="2065" y="1658"/>
                </a:cubicBezTo>
                <a:cubicBezTo>
                  <a:pt x="2062" y="1658"/>
                  <a:pt x="2059" y="1657"/>
                  <a:pt x="2057" y="1657"/>
                </a:cubicBezTo>
                <a:cubicBezTo>
                  <a:pt x="2056" y="1657"/>
                  <a:pt x="2055" y="1657"/>
                  <a:pt x="2055" y="1658"/>
                </a:cubicBezTo>
                <a:cubicBezTo>
                  <a:pt x="2054" y="1659"/>
                  <a:pt x="2052" y="1661"/>
                  <a:pt x="2051" y="1662"/>
                </a:cubicBezTo>
                <a:cubicBezTo>
                  <a:pt x="2049" y="1665"/>
                  <a:pt x="2046" y="1665"/>
                  <a:pt x="2043" y="1663"/>
                </a:cubicBezTo>
                <a:cubicBezTo>
                  <a:pt x="2041" y="1661"/>
                  <a:pt x="2040" y="1658"/>
                  <a:pt x="2039" y="1656"/>
                </a:cubicBezTo>
                <a:cubicBezTo>
                  <a:pt x="2038" y="1654"/>
                  <a:pt x="2038" y="1652"/>
                  <a:pt x="2041" y="1651"/>
                </a:cubicBezTo>
                <a:cubicBezTo>
                  <a:pt x="2038" y="1651"/>
                  <a:pt x="2036" y="1651"/>
                  <a:pt x="2035" y="1651"/>
                </a:cubicBezTo>
                <a:cubicBezTo>
                  <a:pt x="2034" y="1653"/>
                  <a:pt x="2033" y="1655"/>
                  <a:pt x="2032" y="1657"/>
                </a:cubicBezTo>
                <a:cubicBezTo>
                  <a:pt x="2032" y="1657"/>
                  <a:pt x="2032" y="1658"/>
                  <a:pt x="2032" y="1659"/>
                </a:cubicBezTo>
                <a:cubicBezTo>
                  <a:pt x="2032" y="1662"/>
                  <a:pt x="2030" y="1663"/>
                  <a:pt x="2027" y="1663"/>
                </a:cubicBezTo>
                <a:cubicBezTo>
                  <a:pt x="2024" y="1663"/>
                  <a:pt x="2021" y="1662"/>
                  <a:pt x="2018" y="1661"/>
                </a:cubicBezTo>
                <a:cubicBezTo>
                  <a:pt x="2016" y="1660"/>
                  <a:pt x="2016" y="1659"/>
                  <a:pt x="2016" y="1657"/>
                </a:cubicBezTo>
                <a:cubicBezTo>
                  <a:pt x="2017" y="1656"/>
                  <a:pt x="2017" y="1655"/>
                  <a:pt x="2017" y="1655"/>
                </a:cubicBezTo>
                <a:cubicBezTo>
                  <a:pt x="2015" y="1654"/>
                  <a:pt x="2012" y="1653"/>
                  <a:pt x="2010" y="1652"/>
                </a:cubicBezTo>
                <a:cubicBezTo>
                  <a:pt x="2009" y="1651"/>
                  <a:pt x="2008" y="1649"/>
                  <a:pt x="2007" y="1647"/>
                </a:cubicBezTo>
                <a:cubicBezTo>
                  <a:pt x="2006" y="1645"/>
                  <a:pt x="2006" y="1644"/>
                  <a:pt x="2008" y="1642"/>
                </a:cubicBezTo>
                <a:cubicBezTo>
                  <a:pt x="2012" y="1640"/>
                  <a:pt x="2012" y="1637"/>
                  <a:pt x="2012" y="1633"/>
                </a:cubicBezTo>
                <a:cubicBezTo>
                  <a:pt x="2012" y="1631"/>
                  <a:pt x="2012" y="1629"/>
                  <a:pt x="2012" y="1627"/>
                </a:cubicBezTo>
                <a:cubicBezTo>
                  <a:pt x="2010" y="1626"/>
                  <a:pt x="2008" y="1626"/>
                  <a:pt x="2008" y="1625"/>
                </a:cubicBezTo>
                <a:cubicBezTo>
                  <a:pt x="2006" y="1623"/>
                  <a:pt x="2006" y="1621"/>
                  <a:pt x="2006" y="1619"/>
                </a:cubicBezTo>
                <a:cubicBezTo>
                  <a:pt x="2005" y="1616"/>
                  <a:pt x="2009" y="1614"/>
                  <a:pt x="2012" y="1613"/>
                </a:cubicBezTo>
                <a:cubicBezTo>
                  <a:pt x="2012" y="1614"/>
                  <a:pt x="2012" y="1614"/>
                  <a:pt x="2012" y="1615"/>
                </a:cubicBezTo>
                <a:cubicBezTo>
                  <a:pt x="2012" y="1616"/>
                  <a:pt x="2012" y="1617"/>
                  <a:pt x="2013" y="1618"/>
                </a:cubicBezTo>
                <a:cubicBezTo>
                  <a:pt x="2012" y="1618"/>
                  <a:pt x="2012" y="1618"/>
                  <a:pt x="2011" y="1618"/>
                </a:cubicBezTo>
                <a:cubicBezTo>
                  <a:pt x="2011" y="1619"/>
                  <a:pt x="2010" y="1620"/>
                  <a:pt x="2010" y="1622"/>
                </a:cubicBezTo>
                <a:cubicBezTo>
                  <a:pt x="2011" y="1622"/>
                  <a:pt x="2012" y="1622"/>
                  <a:pt x="2012" y="1621"/>
                </a:cubicBezTo>
                <a:cubicBezTo>
                  <a:pt x="2013" y="1620"/>
                  <a:pt x="2014" y="1619"/>
                  <a:pt x="2015" y="1618"/>
                </a:cubicBezTo>
                <a:cubicBezTo>
                  <a:pt x="2019" y="1612"/>
                  <a:pt x="2025" y="1608"/>
                  <a:pt x="2033" y="1606"/>
                </a:cubicBezTo>
                <a:cubicBezTo>
                  <a:pt x="2036" y="1606"/>
                  <a:pt x="2039" y="1604"/>
                  <a:pt x="2041" y="1602"/>
                </a:cubicBezTo>
                <a:cubicBezTo>
                  <a:pt x="2041" y="1601"/>
                  <a:pt x="2042" y="1601"/>
                  <a:pt x="2043" y="1601"/>
                </a:cubicBezTo>
                <a:cubicBezTo>
                  <a:pt x="2045" y="1600"/>
                  <a:pt x="2047" y="1598"/>
                  <a:pt x="2049" y="1596"/>
                </a:cubicBezTo>
                <a:cubicBezTo>
                  <a:pt x="2056" y="1589"/>
                  <a:pt x="2068" y="1588"/>
                  <a:pt x="2076" y="1595"/>
                </a:cubicBezTo>
                <a:cubicBezTo>
                  <a:pt x="2078" y="1597"/>
                  <a:pt x="2081" y="1599"/>
                  <a:pt x="2083" y="1601"/>
                </a:cubicBezTo>
                <a:cubicBezTo>
                  <a:pt x="2085" y="1602"/>
                  <a:pt x="2086" y="1604"/>
                  <a:pt x="2087" y="1606"/>
                </a:cubicBezTo>
                <a:cubicBezTo>
                  <a:pt x="2088" y="1607"/>
                  <a:pt x="2089" y="1607"/>
                  <a:pt x="2090" y="1606"/>
                </a:cubicBezTo>
                <a:cubicBezTo>
                  <a:pt x="2091" y="1606"/>
                  <a:pt x="2092" y="1605"/>
                  <a:pt x="2092" y="1604"/>
                </a:cubicBezTo>
                <a:cubicBezTo>
                  <a:pt x="2094" y="1601"/>
                  <a:pt x="2097" y="1601"/>
                  <a:pt x="2099" y="1604"/>
                </a:cubicBezTo>
                <a:cubicBezTo>
                  <a:pt x="2100" y="1608"/>
                  <a:pt x="2101" y="1610"/>
                  <a:pt x="2101" y="1614"/>
                </a:cubicBezTo>
                <a:cubicBezTo>
                  <a:pt x="2102" y="1618"/>
                  <a:pt x="2101" y="1622"/>
                  <a:pt x="2100" y="1627"/>
                </a:cubicBezTo>
                <a:cubicBezTo>
                  <a:pt x="2097" y="1633"/>
                  <a:pt x="2093" y="1636"/>
                  <a:pt x="2086" y="1636"/>
                </a:cubicBezTo>
                <a:cubicBezTo>
                  <a:pt x="2085" y="1636"/>
                  <a:pt x="2085" y="1636"/>
                  <a:pt x="2084" y="1636"/>
                </a:cubicBezTo>
                <a:cubicBezTo>
                  <a:pt x="2082" y="1636"/>
                  <a:pt x="2081" y="1636"/>
                  <a:pt x="2080" y="1639"/>
                </a:cubicBezTo>
                <a:cubicBezTo>
                  <a:pt x="2078" y="1643"/>
                  <a:pt x="2073" y="1645"/>
                  <a:pt x="2069" y="1642"/>
                </a:cubicBezTo>
                <a:cubicBezTo>
                  <a:pt x="2068" y="1640"/>
                  <a:pt x="2067" y="1640"/>
                  <a:pt x="2066" y="1638"/>
                </a:cubicBezTo>
                <a:cubicBezTo>
                  <a:pt x="2066" y="1639"/>
                  <a:pt x="2066" y="1639"/>
                  <a:pt x="2065" y="1639"/>
                </a:cubicBezTo>
                <a:close/>
                <a:moveTo>
                  <a:pt x="2060" y="1635"/>
                </a:moveTo>
                <a:cubicBezTo>
                  <a:pt x="2063" y="1636"/>
                  <a:pt x="2067" y="1637"/>
                  <a:pt x="2070" y="1640"/>
                </a:cubicBezTo>
                <a:cubicBezTo>
                  <a:pt x="2071" y="1642"/>
                  <a:pt x="2073" y="1642"/>
                  <a:pt x="2075" y="1642"/>
                </a:cubicBezTo>
                <a:cubicBezTo>
                  <a:pt x="2078" y="1641"/>
                  <a:pt x="2079" y="1639"/>
                  <a:pt x="2079" y="1636"/>
                </a:cubicBezTo>
                <a:cubicBezTo>
                  <a:pt x="2079" y="1636"/>
                  <a:pt x="2078" y="1636"/>
                  <a:pt x="2078" y="1636"/>
                </a:cubicBezTo>
                <a:cubicBezTo>
                  <a:pt x="2078" y="1638"/>
                  <a:pt x="2077" y="1639"/>
                  <a:pt x="2076" y="1640"/>
                </a:cubicBezTo>
                <a:cubicBezTo>
                  <a:pt x="2075" y="1641"/>
                  <a:pt x="2074" y="1641"/>
                  <a:pt x="2073" y="1640"/>
                </a:cubicBezTo>
                <a:cubicBezTo>
                  <a:pt x="2072" y="1640"/>
                  <a:pt x="2072" y="1639"/>
                  <a:pt x="2072" y="1638"/>
                </a:cubicBezTo>
                <a:cubicBezTo>
                  <a:pt x="2072" y="1636"/>
                  <a:pt x="2072" y="1634"/>
                  <a:pt x="2072" y="1632"/>
                </a:cubicBezTo>
                <a:cubicBezTo>
                  <a:pt x="2075" y="1633"/>
                  <a:pt x="2079" y="1634"/>
                  <a:pt x="2082" y="1635"/>
                </a:cubicBezTo>
                <a:cubicBezTo>
                  <a:pt x="2090" y="1636"/>
                  <a:pt x="2095" y="1634"/>
                  <a:pt x="2099" y="1625"/>
                </a:cubicBezTo>
                <a:cubicBezTo>
                  <a:pt x="2100" y="1621"/>
                  <a:pt x="2100" y="1616"/>
                  <a:pt x="2099" y="1611"/>
                </a:cubicBezTo>
                <a:cubicBezTo>
                  <a:pt x="2099" y="1609"/>
                  <a:pt x="2098" y="1607"/>
                  <a:pt x="2097" y="1605"/>
                </a:cubicBezTo>
                <a:cubicBezTo>
                  <a:pt x="2096" y="1604"/>
                  <a:pt x="2095" y="1603"/>
                  <a:pt x="2094" y="1605"/>
                </a:cubicBezTo>
                <a:cubicBezTo>
                  <a:pt x="2092" y="1606"/>
                  <a:pt x="2091" y="1608"/>
                  <a:pt x="2089" y="1609"/>
                </a:cubicBezTo>
                <a:cubicBezTo>
                  <a:pt x="2088" y="1609"/>
                  <a:pt x="2087" y="1610"/>
                  <a:pt x="2088" y="1611"/>
                </a:cubicBezTo>
                <a:cubicBezTo>
                  <a:pt x="2088" y="1614"/>
                  <a:pt x="2088" y="1617"/>
                  <a:pt x="2086" y="1621"/>
                </a:cubicBezTo>
                <a:cubicBezTo>
                  <a:pt x="2086" y="1619"/>
                  <a:pt x="2087" y="1617"/>
                  <a:pt x="2087" y="1615"/>
                </a:cubicBezTo>
                <a:cubicBezTo>
                  <a:pt x="2087" y="1614"/>
                  <a:pt x="2086" y="1614"/>
                  <a:pt x="2086" y="1614"/>
                </a:cubicBezTo>
                <a:cubicBezTo>
                  <a:pt x="2086" y="1614"/>
                  <a:pt x="2085" y="1614"/>
                  <a:pt x="2085" y="1614"/>
                </a:cubicBezTo>
                <a:cubicBezTo>
                  <a:pt x="2084" y="1616"/>
                  <a:pt x="2083" y="1617"/>
                  <a:pt x="2083" y="1618"/>
                </a:cubicBezTo>
                <a:cubicBezTo>
                  <a:pt x="2082" y="1618"/>
                  <a:pt x="2082" y="1618"/>
                  <a:pt x="2082" y="1618"/>
                </a:cubicBezTo>
                <a:cubicBezTo>
                  <a:pt x="2083" y="1617"/>
                  <a:pt x="2083" y="1615"/>
                  <a:pt x="2083" y="1613"/>
                </a:cubicBezTo>
                <a:cubicBezTo>
                  <a:pt x="2082" y="1614"/>
                  <a:pt x="2082" y="1614"/>
                  <a:pt x="2081" y="1615"/>
                </a:cubicBezTo>
                <a:cubicBezTo>
                  <a:pt x="2081" y="1615"/>
                  <a:pt x="2080" y="1616"/>
                  <a:pt x="2080" y="1617"/>
                </a:cubicBezTo>
                <a:cubicBezTo>
                  <a:pt x="2080" y="1613"/>
                  <a:pt x="2081" y="1613"/>
                  <a:pt x="2086" y="1612"/>
                </a:cubicBezTo>
                <a:cubicBezTo>
                  <a:pt x="2086" y="1612"/>
                  <a:pt x="2085" y="1611"/>
                  <a:pt x="2085" y="1611"/>
                </a:cubicBezTo>
                <a:cubicBezTo>
                  <a:pt x="2083" y="1612"/>
                  <a:pt x="2082" y="1610"/>
                  <a:pt x="2081" y="1608"/>
                </a:cubicBezTo>
                <a:cubicBezTo>
                  <a:pt x="2083" y="1607"/>
                  <a:pt x="2085" y="1607"/>
                  <a:pt x="2086" y="1606"/>
                </a:cubicBezTo>
                <a:cubicBezTo>
                  <a:pt x="2085" y="1604"/>
                  <a:pt x="2083" y="1601"/>
                  <a:pt x="2080" y="1601"/>
                </a:cubicBezTo>
                <a:cubicBezTo>
                  <a:pt x="2079" y="1601"/>
                  <a:pt x="2079" y="1600"/>
                  <a:pt x="2079" y="1600"/>
                </a:cubicBezTo>
                <a:cubicBezTo>
                  <a:pt x="2077" y="1598"/>
                  <a:pt x="2074" y="1596"/>
                  <a:pt x="2072" y="1594"/>
                </a:cubicBezTo>
                <a:cubicBezTo>
                  <a:pt x="2069" y="1593"/>
                  <a:pt x="2066" y="1592"/>
                  <a:pt x="2064" y="1592"/>
                </a:cubicBezTo>
                <a:cubicBezTo>
                  <a:pt x="2061" y="1592"/>
                  <a:pt x="2058" y="1593"/>
                  <a:pt x="2055" y="1594"/>
                </a:cubicBezTo>
                <a:cubicBezTo>
                  <a:pt x="2052" y="1595"/>
                  <a:pt x="2049" y="1597"/>
                  <a:pt x="2048" y="1600"/>
                </a:cubicBezTo>
                <a:cubicBezTo>
                  <a:pt x="2049" y="1600"/>
                  <a:pt x="2050" y="1600"/>
                  <a:pt x="2052" y="1600"/>
                </a:cubicBezTo>
                <a:cubicBezTo>
                  <a:pt x="2051" y="1600"/>
                  <a:pt x="2050" y="1601"/>
                  <a:pt x="2050" y="1601"/>
                </a:cubicBezTo>
                <a:cubicBezTo>
                  <a:pt x="2047" y="1602"/>
                  <a:pt x="2045" y="1601"/>
                  <a:pt x="2043" y="1603"/>
                </a:cubicBezTo>
                <a:cubicBezTo>
                  <a:pt x="2039" y="1607"/>
                  <a:pt x="2035" y="1611"/>
                  <a:pt x="2032" y="1615"/>
                </a:cubicBezTo>
                <a:cubicBezTo>
                  <a:pt x="2030" y="1617"/>
                  <a:pt x="2029" y="1619"/>
                  <a:pt x="2028" y="1622"/>
                </a:cubicBezTo>
                <a:cubicBezTo>
                  <a:pt x="2028" y="1622"/>
                  <a:pt x="2028" y="1623"/>
                  <a:pt x="2028" y="1623"/>
                </a:cubicBezTo>
                <a:cubicBezTo>
                  <a:pt x="2030" y="1625"/>
                  <a:pt x="2031" y="1627"/>
                  <a:pt x="2032" y="1629"/>
                </a:cubicBezTo>
                <a:cubicBezTo>
                  <a:pt x="2034" y="1628"/>
                  <a:pt x="2035" y="1626"/>
                  <a:pt x="2036" y="1625"/>
                </a:cubicBezTo>
                <a:cubicBezTo>
                  <a:pt x="2035" y="1626"/>
                  <a:pt x="2035" y="1627"/>
                  <a:pt x="2034" y="1629"/>
                </a:cubicBezTo>
                <a:cubicBezTo>
                  <a:pt x="2034" y="1630"/>
                  <a:pt x="2033" y="1631"/>
                  <a:pt x="2032" y="1633"/>
                </a:cubicBezTo>
                <a:cubicBezTo>
                  <a:pt x="2032" y="1634"/>
                  <a:pt x="2032" y="1635"/>
                  <a:pt x="2033" y="1636"/>
                </a:cubicBezTo>
                <a:cubicBezTo>
                  <a:pt x="2035" y="1639"/>
                  <a:pt x="2038" y="1639"/>
                  <a:pt x="2042" y="1637"/>
                </a:cubicBezTo>
                <a:cubicBezTo>
                  <a:pt x="2045" y="1636"/>
                  <a:pt x="2047" y="1635"/>
                  <a:pt x="2050" y="1634"/>
                </a:cubicBezTo>
                <a:cubicBezTo>
                  <a:pt x="2052" y="1633"/>
                  <a:pt x="2053" y="1633"/>
                  <a:pt x="2053" y="1631"/>
                </a:cubicBezTo>
                <a:cubicBezTo>
                  <a:pt x="2053" y="1628"/>
                  <a:pt x="2053" y="1624"/>
                  <a:pt x="2053" y="1621"/>
                </a:cubicBezTo>
                <a:cubicBezTo>
                  <a:pt x="2053" y="1618"/>
                  <a:pt x="2053" y="1615"/>
                  <a:pt x="2053" y="1612"/>
                </a:cubicBezTo>
                <a:cubicBezTo>
                  <a:pt x="2054" y="1615"/>
                  <a:pt x="2054" y="1617"/>
                  <a:pt x="2054" y="1620"/>
                </a:cubicBezTo>
                <a:cubicBezTo>
                  <a:pt x="2055" y="1625"/>
                  <a:pt x="2055" y="1629"/>
                  <a:pt x="2054" y="1633"/>
                </a:cubicBezTo>
                <a:cubicBezTo>
                  <a:pt x="2054" y="1634"/>
                  <a:pt x="2053" y="1635"/>
                  <a:pt x="2052" y="1635"/>
                </a:cubicBezTo>
                <a:cubicBezTo>
                  <a:pt x="2049" y="1635"/>
                  <a:pt x="2046" y="1637"/>
                  <a:pt x="2043" y="1639"/>
                </a:cubicBezTo>
                <a:cubicBezTo>
                  <a:pt x="2037" y="1642"/>
                  <a:pt x="2034" y="1640"/>
                  <a:pt x="2030" y="1636"/>
                </a:cubicBezTo>
                <a:cubicBezTo>
                  <a:pt x="2030" y="1636"/>
                  <a:pt x="2030" y="1635"/>
                  <a:pt x="2030" y="1634"/>
                </a:cubicBezTo>
                <a:cubicBezTo>
                  <a:pt x="2032" y="1632"/>
                  <a:pt x="2030" y="1630"/>
                  <a:pt x="2029" y="1628"/>
                </a:cubicBezTo>
                <a:cubicBezTo>
                  <a:pt x="2027" y="1626"/>
                  <a:pt x="2026" y="1623"/>
                  <a:pt x="2027" y="1621"/>
                </a:cubicBezTo>
                <a:cubicBezTo>
                  <a:pt x="2027" y="1619"/>
                  <a:pt x="2028" y="1617"/>
                  <a:pt x="2030" y="1616"/>
                </a:cubicBezTo>
                <a:cubicBezTo>
                  <a:pt x="2031" y="1613"/>
                  <a:pt x="2034" y="1610"/>
                  <a:pt x="2035" y="1608"/>
                </a:cubicBezTo>
                <a:cubicBezTo>
                  <a:pt x="2035" y="1608"/>
                  <a:pt x="2034" y="1608"/>
                  <a:pt x="2034" y="1608"/>
                </a:cubicBezTo>
                <a:cubicBezTo>
                  <a:pt x="2029" y="1609"/>
                  <a:pt x="2025" y="1610"/>
                  <a:pt x="2021" y="1614"/>
                </a:cubicBezTo>
                <a:cubicBezTo>
                  <a:pt x="2016" y="1618"/>
                  <a:pt x="2014" y="1623"/>
                  <a:pt x="2013" y="1630"/>
                </a:cubicBezTo>
                <a:cubicBezTo>
                  <a:pt x="2013" y="1636"/>
                  <a:pt x="2015" y="1642"/>
                  <a:pt x="2019" y="1648"/>
                </a:cubicBezTo>
                <a:cubicBezTo>
                  <a:pt x="2019" y="1649"/>
                  <a:pt x="2020" y="1651"/>
                  <a:pt x="2019" y="1652"/>
                </a:cubicBezTo>
                <a:cubicBezTo>
                  <a:pt x="2019" y="1654"/>
                  <a:pt x="2019" y="1655"/>
                  <a:pt x="2018" y="1656"/>
                </a:cubicBezTo>
                <a:cubicBezTo>
                  <a:pt x="2018" y="1658"/>
                  <a:pt x="2018" y="1659"/>
                  <a:pt x="2019" y="1659"/>
                </a:cubicBezTo>
                <a:cubicBezTo>
                  <a:pt x="2023" y="1660"/>
                  <a:pt x="2025" y="1661"/>
                  <a:pt x="2028" y="1661"/>
                </a:cubicBezTo>
                <a:cubicBezTo>
                  <a:pt x="2029" y="1661"/>
                  <a:pt x="2030" y="1660"/>
                  <a:pt x="2030" y="1660"/>
                </a:cubicBezTo>
                <a:cubicBezTo>
                  <a:pt x="2030" y="1659"/>
                  <a:pt x="2030" y="1657"/>
                  <a:pt x="2031" y="1656"/>
                </a:cubicBezTo>
                <a:cubicBezTo>
                  <a:pt x="2033" y="1654"/>
                  <a:pt x="2033" y="1651"/>
                  <a:pt x="2033" y="1648"/>
                </a:cubicBezTo>
                <a:cubicBezTo>
                  <a:pt x="2033" y="1648"/>
                  <a:pt x="2033" y="1648"/>
                  <a:pt x="2033" y="1647"/>
                </a:cubicBezTo>
                <a:cubicBezTo>
                  <a:pt x="2033" y="1647"/>
                  <a:pt x="2033" y="1647"/>
                  <a:pt x="2033" y="1646"/>
                </a:cubicBezTo>
                <a:cubicBezTo>
                  <a:pt x="2033" y="1649"/>
                  <a:pt x="2035" y="1649"/>
                  <a:pt x="2037" y="1649"/>
                </a:cubicBezTo>
                <a:cubicBezTo>
                  <a:pt x="2037" y="1649"/>
                  <a:pt x="2039" y="1649"/>
                  <a:pt x="2039" y="1649"/>
                </a:cubicBezTo>
                <a:cubicBezTo>
                  <a:pt x="2042" y="1649"/>
                  <a:pt x="2045" y="1650"/>
                  <a:pt x="2046" y="1646"/>
                </a:cubicBezTo>
                <a:cubicBezTo>
                  <a:pt x="2046" y="1648"/>
                  <a:pt x="2046" y="1650"/>
                  <a:pt x="2046" y="1650"/>
                </a:cubicBezTo>
                <a:cubicBezTo>
                  <a:pt x="2044" y="1651"/>
                  <a:pt x="2043" y="1652"/>
                  <a:pt x="2042" y="1652"/>
                </a:cubicBezTo>
                <a:cubicBezTo>
                  <a:pt x="2040" y="1653"/>
                  <a:pt x="2040" y="1655"/>
                  <a:pt x="2041" y="1656"/>
                </a:cubicBezTo>
                <a:cubicBezTo>
                  <a:pt x="2042" y="1658"/>
                  <a:pt x="2043" y="1660"/>
                  <a:pt x="2045" y="1662"/>
                </a:cubicBezTo>
                <a:cubicBezTo>
                  <a:pt x="2046" y="1663"/>
                  <a:pt x="2048" y="1663"/>
                  <a:pt x="2050" y="1661"/>
                </a:cubicBezTo>
                <a:cubicBezTo>
                  <a:pt x="2050" y="1660"/>
                  <a:pt x="2051" y="1659"/>
                  <a:pt x="2052" y="1659"/>
                </a:cubicBezTo>
                <a:cubicBezTo>
                  <a:pt x="2053" y="1657"/>
                  <a:pt x="2055" y="1656"/>
                  <a:pt x="2056" y="1655"/>
                </a:cubicBezTo>
                <a:cubicBezTo>
                  <a:pt x="2061" y="1651"/>
                  <a:pt x="2063" y="1645"/>
                  <a:pt x="2064" y="1639"/>
                </a:cubicBezTo>
                <a:cubicBezTo>
                  <a:pt x="2064" y="1638"/>
                  <a:pt x="2063" y="1638"/>
                  <a:pt x="2063" y="1637"/>
                </a:cubicBezTo>
                <a:cubicBezTo>
                  <a:pt x="2062" y="1636"/>
                  <a:pt x="2061" y="1635"/>
                  <a:pt x="2060" y="1635"/>
                </a:cubicBezTo>
                <a:close/>
                <a:moveTo>
                  <a:pt x="2013" y="1641"/>
                </a:moveTo>
                <a:cubicBezTo>
                  <a:pt x="2012" y="1642"/>
                  <a:pt x="2010" y="1642"/>
                  <a:pt x="2009" y="1644"/>
                </a:cubicBezTo>
                <a:cubicBezTo>
                  <a:pt x="2009" y="1644"/>
                  <a:pt x="2008" y="1645"/>
                  <a:pt x="2008" y="1646"/>
                </a:cubicBezTo>
                <a:cubicBezTo>
                  <a:pt x="2008" y="1648"/>
                  <a:pt x="2013" y="1653"/>
                  <a:pt x="2016" y="1652"/>
                </a:cubicBezTo>
                <a:cubicBezTo>
                  <a:pt x="2017" y="1652"/>
                  <a:pt x="2018" y="1651"/>
                  <a:pt x="2017" y="1650"/>
                </a:cubicBezTo>
                <a:cubicBezTo>
                  <a:pt x="2016" y="1646"/>
                  <a:pt x="2014" y="1644"/>
                  <a:pt x="2013" y="1641"/>
                </a:cubicBezTo>
                <a:close/>
                <a:moveTo>
                  <a:pt x="2065" y="1643"/>
                </a:moveTo>
                <a:cubicBezTo>
                  <a:pt x="2063" y="1648"/>
                  <a:pt x="2061" y="1652"/>
                  <a:pt x="2058" y="1656"/>
                </a:cubicBezTo>
                <a:cubicBezTo>
                  <a:pt x="2061" y="1656"/>
                  <a:pt x="2063" y="1657"/>
                  <a:pt x="2066" y="1656"/>
                </a:cubicBezTo>
                <a:cubicBezTo>
                  <a:pt x="2066" y="1656"/>
                  <a:pt x="2067" y="1655"/>
                  <a:pt x="2067" y="1655"/>
                </a:cubicBezTo>
                <a:cubicBezTo>
                  <a:pt x="2067" y="1652"/>
                  <a:pt x="2067" y="1650"/>
                  <a:pt x="2066" y="1647"/>
                </a:cubicBezTo>
                <a:cubicBezTo>
                  <a:pt x="2066" y="1646"/>
                  <a:pt x="2066" y="1644"/>
                  <a:pt x="2065" y="1643"/>
                </a:cubicBezTo>
                <a:close/>
                <a:moveTo>
                  <a:pt x="2013" y="1623"/>
                </a:moveTo>
                <a:cubicBezTo>
                  <a:pt x="2012" y="1623"/>
                  <a:pt x="2011" y="1623"/>
                  <a:pt x="2011" y="1623"/>
                </a:cubicBezTo>
                <a:cubicBezTo>
                  <a:pt x="2010" y="1623"/>
                  <a:pt x="2009" y="1623"/>
                  <a:pt x="2009" y="1623"/>
                </a:cubicBezTo>
                <a:cubicBezTo>
                  <a:pt x="2009" y="1623"/>
                  <a:pt x="2008" y="1622"/>
                  <a:pt x="2008" y="1621"/>
                </a:cubicBezTo>
                <a:cubicBezTo>
                  <a:pt x="2009" y="1619"/>
                  <a:pt x="2010" y="1617"/>
                  <a:pt x="2010" y="1615"/>
                </a:cubicBezTo>
                <a:cubicBezTo>
                  <a:pt x="2010" y="1615"/>
                  <a:pt x="2010" y="1615"/>
                  <a:pt x="2010" y="1615"/>
                </a:cubicBezTo>
                <a:cubicBezTo>
                  <a:pt x="2009" y="1616"/>
                  <a:pt x="2008" y="1617"/>
                  <a:pt x="2007" y="1618"/>
                </a:cubicBezTo>
                <a:cubicBezTo>
                  <a:pt x="2006" y="1619"/>
                  <a:pt x="2008" y="1624"/>
                  <a:pt x="2009" y="1625"/>
                </a:cubicBezTo>
                <a:cubicBezTo>
                  <a:pt x="2011" y="1626"/>
                  <a:pt x="2013" y="1625"/>
                  <a:pt x="2013" y="1623"/>
                </a:cubicBezTo>
                <a:close/>
                <a:moveTo>
                  <a:pt x="2013" y="1641"/>
                </a:moveTo>
                <a:cubicBezTo>
                  <a:pt x="2012" y="1641"/>
                  <a:pt x="2010" y="1642"/>
                  <a:pt x="2009" y="1643"/>
                </a:cubicBezTo>
                <a:cubicBezTo>
                  <a:pt x="2009" y="1644"/>
                  <a:pt x="2008" y="1645"/>
                  <a:pt x="2008" y="1645"/>
                </a:cubicBezTo>
                <a:cubicBezTo>
                  <a:pt x="2008" y="1648"/>
                  <a:pt x="2013" y="1653"/>
                  <a:pt x="2016" y="1652"/>
                </a:cubicBezTo>
                <a:cubicBezTo>
                  <a:pt x="2017" y="1652"/>
                  <a:pt x="2018" y="1651"/>
                  <a:pt x="2017" y="1649"/>
                </a:cubicBezTo>
                <a:cubicBezTo>
                  <a:pt x="2016" y="1646"/>
                  <a:pt x="2014" y="1643"/>
                  <a:pt x="2013" y="1641"/>
                </a:cubicBezTo>
                <a:close/>
                <a:moveTo>
                  <a:pt x="2065" y="1642"/>
                </a:moveTo>
                <a:cubicBezTo>
                  <a:pt x="2063" y="1647"/>
                  <a:pt x="2060" y="1652"/>
                  <a:pt x="2058" y="1656"/>
                </a:cubicBezTo>
                <a:cubicBezTo>
                  <a:pt x="2061" y="1656"/>
                  <a:pt x="2063" y="1656"/>
                  <a:pt x="2066" y="1656"/>
                </a:cubicBezTo>
                <a:cubicBezTo>
                  <a:pt x="2066" y="1656"/>
                  <a:pt x="2067" y="1655"/>
                  <a:pt x="2067" y="1654"/>
                </a:cubicBezTo>
                <a:cubicBezTo>
                  <a:pt x="2067" y="1652"/>
                  <a:pt x="2067" y="1649"/>
                  <a:pt x="2066" y="1647"/>
                </a:cubicBezTo>
                <a:cubicBezTo>
                  <a:pt x="2066" y="1645"/>
                  <a:pt x="2066" y="1644"/>
                  <a:pt x="2065" y="1642"/>
                </a:cubicBezTo>
                <a:close/>
                <a:moveTo>
                  <a:pt x="2012" y="1623"/>
                </a:moveTo>
                <a:cubicBezTo>
                  <a:pt x="2012" y="1623"/>
                  <a:pt x="2011" y="1623"/>
                  <a:pt x="2011" y="1623"/>
                </a:cubicBezTo>
                <a:cubicBezTo>
                  <a:pt x="2010" y="1623"/>
                  <a:pt x="2009" y="1623"/>
                  <a:pt x="2009" y="1623"/>
                </a:cubicBezTo>
                <a:cubicBezTo>
                  <a:pt x="2009" y="1623"/>
                  <a:pt x="2008" y="1622"/>
                  <a:pt x="2008" y="1621"/>
                </a:cubicBezTo>
                <a:cubicBezTo>
                  <a:pt x="2009" y="1619"/>
                  <a:pt x="2009" y="1617"/>
                  <a:pt x="2010" y="1615"/>
                </a:cubicBezTo>
                <a:cubicBezTo>
                  <a:pt x="2010" y="1615"/>
                  <a:pt x="2010" y="1615"/>
                  <a:pt x="2009" y="1615"/>
                </a:cubicBezTo>
                <a:cubicBezTo>
                  <a:pt x="2009" y="1616"/>
                  <a:pt x="2007" y="1617"/>
                  <a:pt x="2007" y="1618"/>
                </a:cubicBezTo>
                <a:cubicBezTo>
                  <a:pt x="2006" y="1619"/>
                  <a:pt x="2007" y="1624"/>
                  <a:pt x="2009" y="1625"/>
                </a:cubicBezTo>
                <a:cubicBezTo>
                  <a:pt x="2011" y="1626"/>
                  <a:pt x="2012" y="1624"/>
                  <a:pt x="2012" y="1623"/>
                </a:cubicBezTo>
                <a:close/>
                <a:moveTo>
                  <a:pt x="2065" y="1614"/>
                </a:moveTo>
                <a:cubicBezTo>
                  <a:pt x="2068" y="1611"/>
                  <a:pt x="2068" y="1611"/>
                  <a:pt x="2072" y="1609"/>
                </a:cubicBezTo>
                <a:cubicBezTo>
                  <a:pt x="2072" y="1611"/>
                  <a:pt x="2073" y="1613"/>
                  <a:pt x="2074" y="1613"/>
                </a:cubicBezTo>
                <a:cubicBezTo>
                  <a:pt x="2072" y="1614"/>
                  <a:pt x="2070" y="1615"/>
                  <a:pt x="2068" y="1617"/>
                </a:cubicBezTo>
                <a:cubicBezTo>
                  <a:pt x="2068" y="1616"/>
                  <a:pt x="2067" y="1615"/>
                  <a:pt x="2066" y="1614"/>
                </a:cubicBezTo>
                <a:cubicBezTo>
                  <a:pt x="2066" y="1614"/>
                  <a:pt x="2066" y="1614"/>
                  <a:pt x="2065" y="1614"/>
                </a:cubicBezTo>
                <a:close/>
                <a:moveTo>
                  <a:pt x="2071" y="1614"/>
                </a:moveTo>
                <a:cubicBezTo>
                  <a:pt x="2070" y="1613"/>
                  <a:pt x="2069" y="1613"/>
                  <a:pt x="2069" y="1613"/>
                </a:cubicBezTo>
                <a:cubicBezTo>
                  <a:pt x="2068" y="1613"/>
                  <a:pt x="2068" y="1614"/>
                  <a:pt x="2068" y="1614"/>
                </a:cubicBezTo>
                <a:cubicBezTo>
                  <a:pt x="2068" y="1615"/>
                  <a:pt x="2068" y="1615"/>
                  <a:pt x="2068" y="1615"/>
                </a:cubicBezTo>
                <a:cubicBezTo>
                  <a:pt x="2069" y="1615"/>
                  <a:pt x="2069" y="1615"/>
                  <a:pt x="2071" y="1614"/>
                </a:cubicBezTo>
                <a:close/>
                <a:moveTo>
                  <a:pt x="2052" y="1604"/>
                </a:moveTo>
                <a:cubicBezTo>
                  <a:pt x="2045" y="1604"/>
                  <a:pt x="2042" y="1606"/>
                  <a:pt x="2041" y="1614"/>
                </a:cubicBezTo>
                <a:cubicBezTo>
                  <a:pt x="2042" y="1612"/>
                  <a:pt x="2044" y="1609"/>
                  <a:pt x="2045" y="1607"/>
                </a:cubicBezTo>
                <a:cubicBezTo>
                  <a:pt x="2045" y="1607"/>
                  <a:pt x="2045" y="1607"/>
                  <a:pt x="2045" y="1607"/>
                </a:cubicBezTo>
                <a:cubicBezTo>
                  <a:pt x="2045" y="1608"/>
                  <a:pt x="2046" y="1609"/>
                  <a:pt x="2046" y="1610"/>
                </a:cubicBezTo>
                <a:cubicBezTo>
                  <a:pt x="2047" y="1607"/>
                  <a:pt x="2048" y="1605"/>
                  <a:pt x="2052" y="1604"/>
                </a:cubicBezTo>
                <a:close/>
                <a:moveTo>
                  <a:pt x="2096" y="1606"/>
                </a:moveTo>
                <a:cubicBezTo>
                  <a:pt x="2094" y="1607"/>
                  <a:pt x="2092" y="1609"/>
                  <a:pt x="2090" y="1610"/>
                </a:cubicBezTo>
                <a:cubicBezTo>
                  <a:pt x="2092" y="1610"/>
                  <a:pt x="2094" y="1609"/>
                  <a:pt x="2096" y="1606"/>
                </a:cubicBezTo>
                <a:close/>
                <a:moveTo>
                  <a:pt x="2062" y="1608"/>
                </a:moveTo>
                <a:cubicBezTo>
                  <a:pt x="2063" y="1607"/>
                  <a:pt x="2064" y="1605"/>
                  <a:pt x="2066" y="1604"/>
                </a:cubicBezTo>
                <a:cubicBezTo>
                  <a:pt x="2062" y="1605"/>
                  <a:pt x="2061" y="1606"/>
                  <a:pt x="2062" y="1608"/>
                </a:cubicBezTo>
                <a:close/>
                <a:moveTo>
                  <a:pt x="2072" y="1629"/>
                </a:moveTo>
                <a:cubicBezTo>
                  <a:pt x="2070" y="1629"/>
                  <a:pt x="2070" y="1630"/>
                  <a:pt x="2070" y="1631"/>
                </a:cubicBezTo>
                <a:cubicBezTo>
                  <a:pt x="2070" y="1631"/>
                  <a:pt x="2071" y="1630"/>
                  <a:pt x="2072" y="1629"/>
                </a:cubicBezTo>
                <a:close/>
                <a:moveTo>
                  <a:pt x="2071" y="1614"/>
                </a:moveTo>
                <a:cubicBezTo>
                  <a:pt x="2070" y="1613"/>
                  <a:pt x="2069" y="1613"/>
                  <a:pt x="2069" y="1613"/>
                </a:cubicBezTo>
                <a:cubicBezTo>
                  <a:pt x="2068" y="1613"/>
                  <a:pt x="2068" y="1614"/>
                  <a:pt x="2068" y="1614"/>
                </a:cubicBezTo>
                <a:cubicBezTo>
                  <a:pt x="2068" y="1615"/>
                  <a:pt x="2068" y="1615"/>
                  <a:pt x="2068" y="1616"/>
                </a:cubicBezTo>
                <a:cubicBezTo>
                  <a:pt x="2069" y="1615"/>
                  <a:pt x="2069" y="1615"/>
                  <a:pt x="2071" y="1614"/>
                </a:cubicBezTo>
                <a:close/>
                <a:moveTo>
                  <a:pt x="3705" y="1770"/>
                </a:moveTo>
                <a:cubicBezTo>
                  <a:pt x="3708" y="1751"/>
                  <a:pt x="3708" y="1751"/>
                  <a:pt x="3708" y="1751"/>
                </a:cubicBezTo>
                <a:cubicBezTo>
                  <a:pt x="3699" y="1751"/>
                  <a:pt x="3699" y="1751"/>
                  <a:pt x="3699" y="1751"/>
                </a:cubicBezTo>
                <a:cubicBezTo>
                  <a:pt x="3699" y="1739"/>
                  <a:pt x="3699" y="1739"/>
                  <a:pt x="3699" y="1739"/>
                </a:cubicBezTo>
                <a:cubicBezTo>
                  <a:pt x="3710" y="1739"/>
                  <a:pt x="3710" y="1739"/>
                  <a:pt x="3710" y="1739"/>
                </a:cubicBezTo>
                <a:cubicBezTo>
                  <a:pt x="3712" y="1728"/>
                  <a:pt x="3712" y="1728"/>
                  <a:pt x="3712" y="1728"/>
                </a:cubicBezTo>
                <a:cubicBezTo>
                  <a:pt x="3702" y="1728"/>
                  <a:pt x="3702" y="1728"/>
                  <a:pt x="3702" y="1728"/>
                </a:cubicBezTo>
                <a:cubicBezTo>
                  <a:pt x="3702" y="1716"/>
                  <a:pt x="3702" y="1716"/>
                  <a:pt x="3702" y="1716"/>
                </a:cubicBezTo>
                <a:cubicBezTo>
                  <a:pt x="3713" y="1716"/>
                  <a:pt x="3713" y="1716"/>
                  <a:pt x="3713" y="1716"/>
                </a:cubicBezTo>
                <a:cubicBezTo>
                  <a:pt x="3716" y="1698"/>
                  <a:pt x="3716" y="1698"/>
                  <a:pt x="3716" y="1698"/>
                </a:cubicBezTo>
                <a:cubicBezTo>
                  <a:pt x="3728" y="1698"/>
                  <a:pt x="3728" y="1698"/>
                  <a:pt x="3728" y="1698"/>
                </a:cubicBezTo>
                <a:cubicBezTo>
                  <a:pt x="3725" y="1716"/>
                  <a:pt x="3725" y="1716"/>
                  <a:pt x="3725" y="1716"/>
                </a:cubicBezTo>
                <a:cubicBezTo>
                  <a:pt x="3734" y="1716"/>
                  <a:pt x="3734" y="1716"/>
                  <a:pt x="3734" y="1716"/>
                </a:cubicBezTo>
                <a:cubicBezTo>
                  <a:pt x="3737" y="1698"/>
                  <a:pt x="3737" y="1698"/>
                  <a:pt x="3737" y="1698"/>
                </a:cubicBezTo>
                <a:cubicBezTo>
                  <a:pt x="3749" y="1698"/>
                  <a:pt x="3749" y="1698"/>
                  <a:pt x="3749" y="1698"/>
                </a:cubicBezTo>
                <a:cubicBezTo>
                  <a:pt x="3745" y="1716"/>
                  <a:pt x="3745" y="1716"/>
                  <a:pt x="3745" y="1716"/>
                </a:cubicBezTo>
                <a:cubicBezTo>
                  <a:pt x="3754" y="1716"/>
                  <a:pt x="3754" y="1716"/>
                  <a:pt x="3754" y="1716"/>
                </a:cubicBezTo>
                <a:cubicBezTo>
                  <a:pt x="3754" y="1728"/>
                  <a:pt x="3754" y="1728"/>
                  <a:pt x="3754" y="1728"/>
                </a:cubicBezTo>
                <a:cubicBezTo>
                  <a:pt x="3744" y="1728"/>
                  <a:pt x="3744" y="1728"/>
                  <a:pt x="3744" y="1728"/>
                </a:cubicBezTo>
                <a:cubicBezTo>
                  <a:pt x="3742" y="1739"/>
                  <a:pt x="3742" y="1739"/>
                  <a:pt x="3742" y="1739"/>
                </a:cubicBezTo>
                <a:cubicBezTo>
                  <a:pt x="3751" y="1739"/>
                  <a:pt x="3751" y="1739"/>
                  <a:pt x="3751" y="1739"/>
                </a:cubicBezTo>
                <a:cubicBezTo>
                  <a:pt x="3751" y="1751"/>
                  <a:pt x="3751" y="1751"/>
                  <a:pt x="3751" y="1751"/>
                </a:cubicBezTo>
                <a:cubicBezTo>
                  <a:pt x="3740" y="1751"/>
                  <a:pt x="3740" y="1751"/>
                  <a:pt x="3740" y="1751"/>
                </a:cubicBezTo>
                <a:cubicBezTo>
                  <a:pt x="3738" y="1770"/>
                  <a:pt x="3738" y="1770"/>
                  <a:pt x="3738" y="1770"/>
                </a:cubicBezTo>
                <a:cubicBezTo>
                  <a:pt x="3726" y="1770"/>
                  <a:pt x="3726" y="1770"/>
                  <a:pt x="3726" y="1770"/>
                </a:cubicBezTo>
                <a:cubicBezTo>
                  <a:pt x="3729" y="1751"/>
                  <a:pt x="3729" y="1751"/>
                  <a:pt x="3729" y="1751"/>
                </a:cubicBezTo>
                <a:cubicBezTo>
                  <a:pt x="3719" y="1751"/>
                  <a:pt x="3719" y="1751"/>
                  <a:pt x="3719" y="1751"/>
                </a:cubicBezTo>
                <a:cubicBezTo>
                  <a:pt x="3716" y="1770"/>
                  <a:pt x="3716" y="1770"/>
                  <a:pt x="3716" y="1770"/>
                </a:cubicBezTo>
                <a:cubicBezTo>
                  <a:pt x="3705" y="1770"/>
                  <a:pt x="3705" y="1770"/>
                  <a:pt x="3705" y="1770"/>
                </a:cubicBezTo>
                <a:cubicBezTo>
                  <a:pt x="3705" y="1770"/>
                  <a:pt x="3705" y="1770"/>
                  <a:pt x="3705" y="1770"/>
                </a:cubicBezTo>
                <a:close/>
                <a:moveTo>
                  <a:pt x="3731" y="1739"/>
                </a:moveTo>
                <a:cubicBezTo>
                  <a:pt x="3732" y="1728"/>
                  <a:pt x="3732" y="1728"/>
                  <a:pt x="3732" y="1728"/>
                </a:cubicBezTo>
                <a:cubicBezTo>
                  <a:pt x="3723" y="1728"/>
                  <a:pt x="3723" y="1728"/>
                  <a:pt x="3723" y="1728"/>
                </a:cubicBezTo>
                <a:cubicBezTo>
                  <a:pt x="3721" y="1739"/>
                  <a:pt x="3721" y="1739"/>
                  <a:pt x="3721" y="1739"/>
                </a:cubicBezTo>
                <a:cubicBezTo>
                  <a:pt x="3731" y="1739"/>
                  <a:pt x="3731" y="1739"/>
                  <a:pt x="3731" y="1739"/>
                </a:cubicBezTo>
                <a:cubicBezTo>
                  <a:pt x="3731" y="1739"/>
                  <a:pt x="3731" y="1739"/>
                  <a:pt x="3731" y="1739"/>
                </a:cubicBezTo>
                <a:close/>
                <a:moveTo>
                  <a:pt x="2590" y="1744"/>
                </a:moveTo>
                <a:cubicBezTo>
                  <a:pt x="2590" y="1746"/>
                  <a:pt x="2591" y="1747"/>
                  <a:pt x="2592" y="1748"/>
                </a:cubicBezTo>
                <a:cubicBezTo>
                  <a:pt x="2592" y="1750"/>
                  <a:pt x="2592" y="1752"/>
                  <a:pt x="2593" y="1753"/>
                </a:cubicBezTo>
                <a:cubicBezTo>
                  <a:pt x="2593" y="1755"/>
                  <a:pt x="2593" y="1757"/>
                  <a:pt x="2593" y="1758"/>
                </a:cubicBezTo>
                <a:cubicBezTo>
                  <a:pt x="2594" y="1761"/>
                  <a:pt x="2593" y="1763"/>
                  <a:pt x="2590" y="1763"/>
                </a:cubicBezTo>
                <a:cubicBezTo>
                  <a:pt x="2587" y="1763"/>
                  <a:pt x="2584" y="1763"/>
                  <a:pt x="2581" y="1763"/>
                </a:cubicBezTo>
                <a:cubicBezTo>
                  <a:pt x="2581" y="1763"/>
                  <a:pt x="2580" y="1763"/>
                  <a:pt x="2580" y="1763"/>
                </a:cubicBezTo>
                <a:cubicBezTo>
                  <a:pt x="2578" y="1765"/>
                  <a:pt x="2577" y="1766"/>
                  <a:pt x="2575" y="1767"/>
                </a:cubicBezTo>
                <a:cubicBezTo>
                  <a:pt x="2573" y="1770"/>
                  <a:pt x="2570" y="1770"/>
                  <a:pt x="2568" y="1768"/>
                </a:cubicBezTo>
                <a:cubicBezTo>
                  <a:pt x="2566" y="1766"/>
                  <a:pt x="2565" y="1763"/>
                  <a:pt x="2563" y="1761"/>
                </a:cubicBezTo>
                <a:cubicBezTo>
                  <a:pt x="2562" y="1759"/>
                  <a:pt x="2563" y="1757"/>
                  <a:pt x="2565" y="1756"/>
                </a:cubicBezTo>
                <a:cubicBezTo>
                  <a:pt x="2562" y="1756"/>
                  <a:pt x="2561" y="1756"/>
                  <a:pt x="2559" y="1756"/>
                </a:cubicBezTo>
                <a:cubicBezTo>
                  <a:pt x="2559" y="1758"/>
                  <a:pt x="2557" y="1760"/>
                  <a:pt x="2557" y="1762"/>
                </a:cubicBezTo>
                <a:cubicBezTo>
                  <a:pt x="2557" y="1763"/>
                  <a:pt x="2556" y="1763"/>
                  <a:pt x="2556" y="1764"/>
                </a:cubicBezTo>
                <a:cubicBezTo>
                  <a:pt x="2556" y="1767"/>
                  <a:pt x="2555" y="1769"/>
                  <a:pt x="2552" y="1768"/>
                </a:cubicBezTo>
                <a:cubicBezTo>
                  <a:pt x="2549" y="1768"/>
                  <a:pt x="2546" y="1767"/>
                  <a:pt x="2543" y="1766"/>
                </a:cubicBezTo>
                <a:cubicBezTo>
                  <a:pt x="2541" y="1765"/>
                  <a:pt x="2541" y="1764"/>
                  <a:pt x="2541" y="1762"/>
                </a:cubicBezTo>
                <a:cubicBezTo>
                  <a:pt x="2541" y="1761"/>
                  <a:pt x="2541" y="1760"/>
                  <a:pt x="2542" y="1760"/>
                </a:cubicBezTo>
                <a:cubicBezTo>
                  <a:pt x="2539" y="1759"/>
                  <a:pt x="2537" y="1758"/>
                  <a:pt x="2535" y="1757"/>
                </a:cubicBezTo>
                <a:cubicBezTo>
                  <a:pt x="2534" y="1756"/>
                  <a:pt x="2533" y="1754"/>
                  <a:pt x="2532" y="1752"/>
                </a:cubicBezTo>
                <a:cubicBezTo>
                  <a:pt x="2531" y="1750"/>
                  <a:pt x="2531" y="1749"/>
                  <a:pt x="2533" y="1747"/>
                </a:cubicBezTo>
                <a:cubicBezTo>
                  <a:pt x="2536" y="1745"/>
                  <a:pt x="2537" y="1742"/>
                  <a:pt x="2536" y="1738"/>
                </a:cubicBezTo>
                <a:cubicBezTo>
                  <a:pt x="2536" y="1736"/>
                  <a:pt x="2536" y="1734"/>
                  <a:pt x="2536" y="1732"/>
                </a:cubicBezTo>
                <a:cubicBezTo>
                  <a:pt x="2535" y="1731"/>
                  <a:pt x="2533" y="1731"/>
                  <a:pt x="2532" y="1730"/>
                </a:cubicBezTo>
                <a:cubicBezTo>
                  <a:pt x="2531" y="1728"/>
                  <a:pt x="2530" y="1726"/>
                  <a:pt x="2530" y="1724"/>
                </a:cubicBezTo>
                <a:cubicBezTo>
                  <a:pt x="2530" y="1721"/>
                  <a:pt x="2533" y="1719"/>
                  <a:pt x="2536" y="1718"/>
                </a:cubicBezTo>
                <a:cubicBezTo>
                  <a:pt x="2537" y="1719"/>
                  <a:pt x="2537" y="1719"/>
                  <a:pt x="2537" y="1720"/>
                </a:cubicBezTo>
                <a:cubicBezTo>
                  <a:pt x="2537" y="1721"/>
                  <a:pt x="2537" y="1722"/>
                  <a:pt x="2537" y="1723"/>
                </a:cubicBezTo>
                <a:cubicBezTo>
                  <a:pt x="2537" y="1723"/>
                  <a:pt x="2536" y="1723"/>
                  <a:pt x="2536" y="1723"/>
                </a:cubicBezTo>
                <a:cubicBezTo>
                  <a:pt x="2535" y="1724"/>
                  <a:pt x="2535" y="1725"/>
                  <a:pt x="2534" y="1727"/>
                </a:cubicBezTo>
                <a:cubicBezTo>
                  <a:pt x="2535" y="1727"/>
                  <a:pt x="2536" y="1727"/>
                  <a:pt x="2537" y="1727"/>
                </a:cubicBezTo>
                <a:cubicBezTo>
                  <a:pt x="2538" y="1725"/>
                  <a:pt x="2539" y="1725"/>
                  <a:pt x="2539" y="1723"/>
                </a:cubicBezTo>
                <a:cubicBezTo>
                  <a:pt x="2544" y="1717"/>
                  <a:pt x="2550" y="1713"/>
                  <a:pt x="2557" y="1711"/>
                </a:cubicBezTo>
                <a:cubicBezTo>
                  <a:pt x="2561" y="1711"/>
                  <a:pt x="2564" y="1710"/>
                  <a:pt x="2566" y="1707"/>
                </a:cubicBezTo>
                <a:cubicBezTo>
                  <a:pt x="2566" y="1706"/>
                  <a:pt x="2567" y="1706"/>
                  <a:pt x="2567" y="1706"/>
                </a:cubicBezTo>
                <a:cubicBezTo>
                  <a:pt x="2570" y="1706"/>
                  <a:pt x="2572" y="1703"/>
                  <a:pt x="2573" y="1701"/>
                </a:cubicBezTo>
                <a:cubicBezTo>
                  <a:pt x="2581" y="1694"/>
                  <a:pt x="2593" y="1693"/>
                  <a:pt x="2601" y="1700"/>
                </a:cubicBezTo>
                <a:cubicBezTo>
                  <a:pt x="2603" y="1702"/>
                  <a:pt x="2606" y="1704"/>
                  <a:pt x="2608" y="1706"/>
                </a:cubicBezTo>
                <a:cubicBezTo>
                  <a:pt x="2610" y="1707"/>
                  <a:pt x="2611" y="1709"/>
                  <a:pt x="2612" y="1711"/>
                </a:cubicBezTo>
                <a:cubicBezTo>
                  <a:pt x="2613" y="1712"/>
                  <a:pt x="2613" y="1712"/>
                  <a:pt x="2615" y="1711"/>
                </a:cubicBezTo>
                <a:cubicBezTo>
                  <a:pt x="2615" y="1711"/>
                  <a:pt x="2616" y="1710"/>
                  <a:pt x="2617" y="1709"/>
                </a:cubicBezTo>
                <a:cubicBezTo>
                  <a:pt x="2619" y="1706"/>
                  <a:pt x="2622" y="1706"/>
                  <a:pt x="2623" y="1710"/>
                </a:cubicBezTo>
                <a:cubicBezTo>
                  <a:pt x="2624" y="1713"/>
                  <a:pt x="2625" y="1715"/>
                  <a:pt x="2626" y="1719"/>
                </a:cubicBezTo>
                <a:cubicBezTo>
                  <a:pt x="2626" y="1723"/>
                  <a:pt x="2626" y="1727"/>
                  <a:pt x="2624" y="1732"/>
                </a:cubicBezTo>
                <a:cubicBezTo>
                  <a:pt x="2622" y="1738"/>
                  <a:pt x="2617" y="1742"/>
                  <a:pt x="2611" y="1742"/>
                </a:cubicBezTo>
                <a:cubicBezTo>
                  <a:pt x="2610" y="1742"/>
                  <a:pt x="2610" y="1742"/>
                  <a:pt x="2609" y="1742"/>
                </a:cubicBezTo>
                <a:cubicBezTo>
                  <a:pt x="2606" y="1741"/>
                  <a:pt x="2605" y="1742"/>
                  <a:pt x="2604" y="1744"/>
                </a:cubicBezTo>
                <a:cubicBezTo>
                  <a:pt x="2603" y="1748"/>
                  <a:pt x="2597" y="1750"/>
                  <a:pt x="2594" y="1747"/>
                </a:cubicBezTo>
                <a:cubicBezTo>
                  <a:pt x="2593" y="1746"/>
                  <a:pt x="2592" y="1745"/>
                  <a:pt x="2591" y="1744"/>
                </a:cubicBezTo>
                <a:cubicBezTo>
                  <a:pt x="2590" y="1744"/>
                  <a:pt x="2590" y="1744"/>
                  <a:pt x="2590" y="1744"/>
                </a:cubicBezTo>
                <a:close/>
                <a:moveTo>
                  <a:pt x="2584" y="1740"/>
                </a:moveTo>
                <a:cubicBezTo>
                  <a:pt x="2588" y="1741"/>
                  <a:pt x="2592" y="1742"/>
                  <a:pt x="2594" y="1745"/>
                </a:cubicBezTo>
                <a:cubicBezTo>
                  <a:pt x="2596" y="1747"/>
                  <a:pt x="2598" y="1748"/>
                  <a:pt x="2600" y="1747"/>
                </a:cubicBezTo>
                <a:cubicBezTo>
                  <a:pt x="2602" y="1746"/>
                  <a:pt x="2604" y="1744"/>
                  <a:pt x="2604" y="1741"/>
                </a:cubicBezTo>
                <a:cubicBezTo>
                  <a:pt x="2604" y="1741"/>
                  <a:pt x="2603" y="1741"/>
                  <a:pt x="2603" y="1742"/>
                </a:cubicBezTo>
                <a:cubicBezTo>
                  <a:pt x="2602" y="1743"/>
                  <a:pt x="2601" y="1744"/>
                  <a:pt x="2601" y="1745"/>
                </a:cubicBezTo>
                <a:cubicBezTo>
                  <a:pt x="2599" y="1746"/>
                  <a:pt x="2598" y="1746"/>
                  <a:pt x="2597" y="1746"/>
                </a:cubicBezTo>
                <a:cubicBezTo>
                  <a:pt x="2597" y="1746"/>
                  <a:pt x="2596" y="1744"/>
                  <a:pt x="2596" y="1744"/>
                </a:cubicBezTo>
                <a:cubicBezTo>
                  <a:pt x="2596" y="1741"/>
                  <a:pt x="2597" y="1739"/>
                  <a:pt x="2597" y="1737"/>
                </a:cubicBezTo>
                <a:cubicBezTo>
                  <a:pt x="2600" y="1738"/>
                  <a:pt x="2603" y="1739"/>
                  <a:pt x="2607" y="1740"/>
                </a:cubicBezTo>
                <a:cubicBezTo>
                  <a:pt x="2614" y="1741"/>
                  <a:pt x="2620" y="1739"/>
                  <a:pt x="2623" y="1731"/>
                </a:cubicBezTo>
                <a:cubicBezTo>
                  <a:pt x="2625" y="1726"/>
                  <a:pt x="2624" y="1721"/>
                  <a:pt x="2624" y="1716"/>
                </a:cubicBezTo>
                <a:cubicBezTo>
                  <a:pt x="2623" y="1714"/>
                  <a:pt x="2622" y="1712"/>
                  <a:pt x="2622" y="1710"/>
                </a:cubicBezTo>
                <a:cubicBezTo>
                  <a:pt x="2621" y="1709"/>
                  <a:pt x="2620" y="1708"/>
                  <a:pt x="2619" y="1710"/>
                </a:cubicBezTo>
                <a:cubicBezTo>
                  <a:pt x="2617" y="1712"/>
                  <a:pt x="2615" y="1713"/>
                  <a:pt x="2613" y="1714"/>
                </a:cubicBezTo>
                <a:cubicBezTo>
                  <a:pt x="2613" y="1714"/>
                  <a:pt x="2612" y="1715"/>
                  <a:pt x="2612" y="1716"/>
                </a:cubicBezTo>
                <a:cubicBezTo>
                  <a:pt x="2613" y="1719"/>
                  <a:pt x="2612" y="1723"/>
                  <a:pt x="2611" y="1726"/>
                </a:cubicBezTo>
                <a:cubicBezTo>
                  <a:pt x="2611" y="1724"/>
                  <a:pt x="2612" y="1722"/>
                  <a:pt x="2612" y="1720"/>
                </a:cubicBezTo>
                <a:cubicBezTo>
                  <a:pt x="2612" y="1719"/>
                  <a:pt x="2611" y="1719"/>
                  <a:pt x="2611" y="1719"/>
                </a:cubicBezTo>
                <a:cubicBezTo>
                  <a:pt x="2610" y="1719"/>
                  <a:pt x="2610" y="1719"/>
                  <a:pt x="2610" y="1719"/>
                </a:cubicBezTo>
                <a:cubicBezTo>
                  <a:pt x="2609" y="1721"/>
                  <a:pt x="2608" y="1722"/>
                  <a:pt x="2607" y="1723"/>
                </a:cubicBezTo>
                <a:cubicBezTo>
                  <a:pt x="2607" y="1723"/>
                  <a:pt x="2607" y="1723"/>
                  <a:pt x="2607" y="1723"/>
                </a:cubicBezTo>
                <a:cubicBezTo>
                  <a:pt x="2607" y="1722"/>
                  <a:pt x="2608" y="1720"/>
                  <a:pt x="2608" y="1718"/>
                </a:cubicBezTo>
                <a:cubicBezTo>
                  <a:pt x="2607" y="1719"/>
                  <a:pt x="2606" y="1719"/>
                  <a:pt x="2606" y="1720"/>
                </a:cubicBezTo>
                <a:cubicBezTo>
                  <a:pt x="2605" y="1720"/>
                  <a:pt x="2605" y="1721"/>
                  <a:pt x="2604" y="1722"/>
                </a:cubicBezTo>
                <a:cubicBezTo>
                  <a:pt x="2605" y="1718"/>
                  <a:pt x="2605" y="1718"/>
                  <a:pt x="2611" y="1717"/>
                </a:cubicBezTo>
                <a:cubicBezTo>
                  <a:pt x="2611" y="1717"/>
                  <a:pt x="2610" y="1716"/>
                  <a:pt x="2610" y="1716"/>
                </a:cubicBezTo>
                <a:cubicBezTo>
                  <a:pt x="2607" y="1717"/>
                  <a:pt x="2606" y="1715"/>
                  <a:pt x="2606" y="1713"/>
                </a:cubicBezTo>
                <a:cubicBezTo>
                  <a:pt x="2608" y="1712"/>
                  <a:pt x="2609" y="1712"/>
                  <a:pt x="2611" y="1712"/>
                </a:cubicBezTo>
                <a:cubicBezTo>
                  <a:pt x="2609" y="1709"/>
                  <a:pt x="2608" y="1706"/>
                  <a:pt x="2604" y="1706"/>
                </a:cubicBezTo>
                <a:cubicBezTo>
                  <a:pt x="2604" y="1706"/>
                  <a:pt x="2604" y="1706"/>
                  <a:pt x="2604" y="1705"/>
                </a:cubicBezTo>
                <a:cubicBezTo>
                  <a:pt x="2601" y="1703"/>
                  <a:pt x="2599" y="1701"/>
                  <a:pt x="2596" y="1699"/>
                </a:cubicBezTo>
                <a:cubicBezTo>
                  <a:pt x="2594" y="1698"/>
                  <a:pt x="2591" y="1697"/>
                  <a:pt x="2589" y="1697"/>
                </a:cubicBezTo>
                <a:cubicBezTo>
                  <a:pt x="2586" y="1697"/>
                  <a:pt x="2582" y="1698"/>
                  <a:pt x="2579" y="1699"/>
                </a:cubicBezTo>
                <a:cubicBezTo>
                  <a:pt x="2577" y="1700"/>
                  <a:pt x="2574" y="1702"/>
                  <a:pt x="2572" y="1705"/>
                </a:cubicBezTo>
                <a:cubicBezTo>
                  <a:pt x="2574" y="1705"/>
                  <a:pt x="2575" y="1705"/>
                  <a:pt x="2576" y="1705"/>
                </a:cubicBezTo>
                <a:cubicBezTo>
                  <a:pt x="2576" y="1706"/>
                  <a:pt x="2575" y="1706"/>
                  <a:pt x="2574" y="1706"/>
                </a:cubicBezTo>
                <a:cubicBezTo>
                  <a:pt x="2572" y="1707"/>
                  <a:pt x="2569" y="1706"/>
                  <a:pt x="2567" y="1708"/>
                </a:cubicBezTo>
                <a:cubicBezTo>
                  <a:pt x="2564" y="1712"/>
                  <a:pt x="2560" y="1716"/>
                  <a:pt x="2556" y="1720"/>
                </a:cubicBezTo>
                <a:cubicBezTo>
                  <a:pt x="2555" y="1722"/>
                  <a:pt x="2554" y="1725"/>
                  <a:pt x="2553" y="1727"/>
                </a:cubicBezTo>
                <a:cubicBezTo>
                  <a:pt x="2553" y="1727"/>
                  <a:pt x="2553" y="1728"/>
                  <a:pt x="2553" y="1729"/>
                </a:cubicBezTo>
                <a:cubicBezTo>
                  <a:pt x="2554" y="1731"/>
                  <a:pt x="2555" y="1733"/>
                  <a:pt x="2557" y="1734"/>
                </a:cubicBezTo>
                <a:cubicBezTo>
                  <a:pt x="2558" y="1733"/>
                  <a:pt x="2559" y="1731"/>
                  <a:pt x="2561" y="1730"/>
                </a:cubicBezTo>
                <a:cubicBezTo>
                  <a:pt x="2560" y="1731"/>
                  <a:pt x="2560" y="1733"/>
                  <a:pt x="2559" y="1734"/>
                </a:cubicBezTo>
                <a:cubicBezTo>
                  <a:pt x="2558" y="1735"/>
                  <a:pt x="2557" y="1736"/>
                  <a:pt x="2557" y="1738"/>
                </a:cubicBezTo>
                <a:cubicBezTo>
                  <a:pt x="2557" y="1739"/>
                  <a:pt x="2557" y="1740"/>
                  <a:pt x="2557" y="1741"/>
                </a:cubicBezTo>
                <a:cubicBezTo>
                  <a:pt x="2560" y="1744"/>
                  <a:pt x="2563" y="1744"/>
                  <a:pt x="2567" y="1742"/>
                </a:cubicBezTo>
                <a:cubicBezTo>
                  <a:pt x="2569" y="1741"/>
                  <a:pt x="2572" y="1740"/>
                  <a:pt x="2575" y="1739"/>
                </a:cubicBezTo>
                <a:cubicBezTo>
                  <a:pt x="2576" y="1738"/>
                  <a:pt x="2577" y="1738"/>
                  <a:pt x="2577" y="1736"/>
                </a:cubicBezTo>
                <a:cubicBezTo>
                  <a:pt x="2577" y="1733"/>
                  <a:pt x="2577" y="1729"/>
                  <a:pt x="2577" y="1726"/>
                </a:cubicBezTo>
                <a:cubicBezTo>
                  <a:pt x="2577" y="1723"/>
                  <a:pt x="2577" y="1720"/>
                  <a:pt x="2577" y="1717"/>
                </a:cubicBezTo>
                <a:cubicBezTo>
                  <a:pt x="2578" y="1720"/>
                  <a:pt x="2579" y="1723"/>
                  <a:pt x="2579" y="1725"/>
                </a:cubicBezTo>
                <a:cubicBezTo>
                  <a:pt x="2580" y="1730"/>
                  <a:pt x="2580" y="1734"/>
                  <a:pt x="2579" y="1738"/>
                </a:cubicBezTo>
                <a:cubicBezTo>
                  <a:pt x="2578" y="1739"/>
                  <a:pt x="2577" y="1740"/>
                  <a:pt x="2577" y="1740"/>
                </a:cubicBezTo>
                <a:cubicBezTo>
                  <a:pt x="2573" y="1740"/>
                  <a:pt x="2570" y="1742"/>
                  <a:pt x="2567" y="1744"/>
                </a:cubicBezTo>
                <a:cubicBezTo>
                  <a:pt x="2562" y="1747"/>
                  <a:pt x="2559" y="1745"/>
                  <a:pt x="2555" y="1741"/>
                </a:cubicBezTo>
                <a:cubicBezTo>
                  <a:pt x="2555" y="1741"/>
                  <a:pt x="2555" y="1740"/>
                  <a:pt x="2555" y="1739"/>
                </a:cubicBezTo>
                <a:cubicBezTo>
                  <a:pt x="2556" y="1737"/>
                  <a:pt x="2555" y="1735"/>
                  <a:pt x="2553" y="1733"/>
                </a:cubicBezTo>
                <a:cubicBezTo>
                  <a:pt x="2552" y="1731"/>
                  <a:pt x="2550" y="1729"/>
                  <a:pt x="2552" y="1726"/>
                </a:cubicBezTo>
                <a:cubicBezTo>
                  <a:pt x="2552" y="1724"/>
                  <a:pt x="2553" y="1722"/>
                  <a:pt x="2554" y="1721"/>
                </a:cubicBezTo>
                <a:cubicBezTo>
                  <a:pt x="2556" y="1718"/>
                  <a:pt x="2558" y="1715"/>
                  <a:pt x="2560" y="1713"/>
                </a:cubicBezTo>
                <a:cubicBezTo>
                  <a:pt x="2560" y="1713"/>
                  <a:pt x="2559" y="1713"/>
                  <a:pt x="2559" y="1713"/>
                </a:cubicBezTo>
                <a:cubicBezTo>
                  <a:pt x="2554" y="1714"/>
                  <a:pt x="2550" y="1715"/>
                  <a:pt x="2546" y="1719"/>
                </a:cubicBezTo>
                <a:cubicBezTo>
                  <a:pt x="2541" y="1723"/>
                  <a:pt x="2538" y="1728"/>
                  <a:pt x="2538" y="1735"/>
                </a:cubicBezTo>
                <a:cubicBezTo>
                  <a:pt x="2537" y="1742"/>
                  <a:pt x="2540" y="1748"/>
                  <a:pt x="2543" y="1753"/>
                </a:cubicBezTo>
                <a:cubicBezTo>
                  <a:pt x="2544" y="1754"/>
                  <a:pt x="2544" y="1756"/>
                  <a:pt x="2544" y="1757"/>
                </a:cubicBezTo>
                <a:cubicBezTo>
                  <a:pt x="2544" y="1759"/>
                  <a:pt x="2544" y="1760"/>
                  <a:pt x="2543" y="1761"/>
                </a:cubicBezTo>
                <a:cubicBezTo>
                  <a:pt x="2542" y="1763"/>
                  <a:pt x="2543" y="1764"/>
                  <a:pt x="2544" y="1765"/>
                </a:cubicBezTo>
                <a:cubicBezTo>
                  <a:pt x="2547" y="1765"/>
                  <a:pt x="2550" y="1766"/>
                  <a:pt x="2553" y="1766"/>
                </a:cubicBezTo>
                <a:cubicBezTo>
                  <a:pt x="2553" y="1766"/>
                  <a:pt x="2554" y="1765"/>
                  <a:pt x="2554" y="1765"/>
                </a:cubicBezTo>
                <a:cubicBezTo>
                  <a:pt x="2555" y="1764"/>
                  <a:pt x="2555" y="1762"/>
                  <a:pt x="2555" y="1761"/>
                </a:cubicBezTo>
                <a:cubicBezTo>
                  <a:pt x="2557" y="1759"/>
                  <a:pt x="2557" y="1756"/>
                  <a:pt x="2557" y="1753"/>
                </a:cubicBezTo>
                <a:cubicBezTo>
                  <a:pt x="2557" y="1753"/>
                  <a:pt x="2557" y="1753"/>
                  <a:pt x="2557" y="1752"/>
                </a:cubicBezTo>
                <a:cubicBezTo>
                  <a:pt x="2557" y="1752"/>
                  <a:pt x="2557" y="1752"/>
                  <a:pt x="2557" y="1752"/>
                </a:cubicBezTo>
                <a:cubicBezTo>
                  <a:pt x="2558" y="1754"/>
                  <a:pt x="2559" y="1754"/>
                  <a:pt x="2561" y="1754"/>
                </a:cubicBezTo>
                <a:cubicBezTo>
                  <a:pt x="2562" y="1754"/>
                  <a:pt x="2563" y="1754"/>
                  <a:pt x="2564" y="1754"/>
                </a:cubicBezTo>
                <a:cubicBezTo>
                  <a:pt x="2566" y="1754"/>
                  <a:pt x="2570" y="1755"/>
                  <a:pt x="2570" y="1751"/>
                </a:cubicBezTo>
                <a:cubicBezTo>
                  <a:pt x="2570" y="1753"/>
                  <a:pt x="2570" y="1755"/>
                  <a:pt x="2570" y="1755"/>
                </a:cubicBezTo>
                <a:cubicBezTo>
                  <a:pt x="2569" y="1756"/>
                  <a:pt x="2568" y="1757"/>
                  <a:pt x="2566" y="1757"/>
                </a:cubicBezTo>
                <a:cubicBezTo>
                  <a:pt x="2565" y="1758"/>
                  <a:pt x="2564" y="1760"/>
                  <a:pt x="2565" y="1761"/>
                </a:cubicBezTo>
                <a:cubicBezTo>
                  <a:pt x="2566" y="1763"/>
                  <a:pt x="2568" y="1765"/>
                  <a:pt x="2569" y="1767"/>
                </a:cubicBezTo>
                <a:cubicBezTo>
                  <a:pt x="2571" y="1768"/>
                  <a:pt x="2573" y="1768"/>
                  <a:pt x="2574" y="1766"/>
                </a:cubicBezTo>
                <a:cubicBezTo>
                  <a:pt x="2575" y="1765"/>
                  <a:pt x="2575" y="1765"/>
                  <a:pt x="2576" y="1764"/>
                </a:cubicBezTo>
                <a:cubicBezTo>
                  <a:pt x="2578" y="1763"/>
                  <a:pt x="2579" y="1761"/>
                  <a:pt x="2581" y="1760"/>
                </a:cubicBezTo>
                <a:cubicBezTo>
                  <a:pt x="2585" y="1756"/>
                  <a:pt x="2587" y="1750"/>
                  <a:pt x="2589" y="1744"/>
                </a:cubicBezTo>
                <a:cubicBezTo>
                  <a:pt x="2589" y="1744"/>
                  <a:pt x="2588" y="1743"/>
                  <a:pt x="2588" y="1742"/>
                </a:cubicBezTo>
                <a:cubicBezTo>
                  <a:pt x="2587" y="1741"/>
                  <a:pt x="2586" y="1740"/>
                  <a:pt x="2584" y="1740"/>
                </a:cubicBezTo>
                <a:close/>
                <a:moveTo>
                  <a:pt x="2537" y="1746"/>
                </a:moveTo>
                <a:cubicBezTo>
                  <a:pt x="2537" y="1747"/>
                  <a:pt x="2535" y="1748"/>
                  <a:pt x="2534" y="1749"/>
                </a:cubicBezTo>
                <a:cubicBezTo>
                  <a:pt x="2533" y="1749"/>
                  <a:pt x="2533" y="1750"/>
                  <a:pt x="2533" y="1751"/>
                </a:cubicBezTo>
                <a:cubicBezTo>
                  <a:pt x="2533" y="1753"/>
                  <a:pt x="2537" y="1758"/>
                  <a:pt x="2541" y="1757"/>
                </a:cubicBezTo>
                <a:cubicBezTo>
                  <a:pt x="2542" y="1757"/>
                  <a:pt x="2543" y="1756"/>
                  <a:pt x="2542" y="1755"/>
                </a:cubicBezTo>
                <a:cubicBezTo>
                  <a:pt x="2541" y="1752"/>
                  <a:pt x="2539" y="1749"/>
                  <a:pt x="2537" y="1746"/>
                </a:cubicBezTo>
                <a:close/>
                <a:moveTo>
                  <a:pt x="2590" y="1748"/>
                </a:moveTo>
                <a:cubicBezTo>
                  <a:pt x="2588" y="1753"/>
                  <a:pt x="2585" y="1757"/>
                  <a:pt x="2583" y="1761"/>
                </a:cubicBezTo>
                <a:cubicBezTo>
                  <a:pt x="2586" y="1761"/>
                  <a:pt x="2588" y="1762"/>
                  <a:pt x="2591" y="1761"/>
                </a:cubicBezTo>
                <a:cubicBezTo>
                  <a:pt x="2591" y="1761"/>
                  <a:pt x="2592" y="1760"/>
                  <a:pt x="2592" y="1760"/>
                </a:cubicBezTo>
                <a:cubicBezTo>
                  <a:pt x="2592" y="1757"/>
                  <a:pt x="2592" y="1755"/>
                  <a:pt x="2591" y="1752"/>
                </a:cubicBezTo>
                <a:cubicBezTo>
                  <a:pt x="2591" y="1751"/>
                  <a:pt x="2590" y="1750"/>
                  <a:pt x="2590" y="1748"/>
                </a:cubicBezTo>
                <a:close/>
                <a:moveTo>
                  <a:pt x="2537" y="1728"/>
                </a:moveTo>
                <a:cubicBezTo>
                  <a:pt x="2537" y="1728"/>
                  <a:pt x="2536" y="1729"/>
                  <a:pt x="2535" y="1729"/>
                </a:cubicBezTo>
                <a:cubicBezTo>
                  <a:pt x="2535" y="1729"/>
                  <a:pt x="2534" y="1729"/>
                  <a:pt x="2534" y="1728"/>
                </a:cubicBezTo>
                <a:cubicBezTo>
                  <a:pt x="2533" y="1728"/>
                  <a:pt x="2533" y="1727"/>
                  <a:pt x="2533" y="1726"/>
                </a:cubicBezTo>
                <a:cubicBezTo>
                  <a:pt x="2534" y="1724"/>
                  <a:pt x="2534" y="1722"/>
                  <a:pt x="2535" y="1720"/>
                </a:cubicBezTo>
                <a:cubicBezTo>
                  <a:pt x="2535" y="1720"/>
                  <a:pt x="2535" y="1720"/>
                  <a:pt x="2534" y="1720"/>
                </a:cubicBezTo>
                <a:cubicBezTo>
                  <a:pt x="2533" y="1721"/>
                  <a:pt x="2532" y="1722"/>
                  <a:pt x="2532" y="1723"/>
                </a:cubicBezTo>
                <a:cubicBezTo>
                  <a:pt x="2531" y="1724"/>
                  <a:pt x="2532" y="1729"/>
                  <a:pt x="2534" y="1730"/>
                </a:cubicBezTo>
                <a:cubicBezTo>
                  <a:pt x="2535" y="1731"/>
                  <a:pt x="2537" y="1730"/>
                  <a:pt x="2537" y="1728"/>
                </a:cubicBezTo>
                <a:close/>
                <a:moveTo>
                  <a:pt x="2537" y="1746"/>
                </a:moveTo>
                <a:cubicBezTo>
                  <a:pt x="2536" y="1746"/>
                  <a:pt x="2535" y="1747"/>
                  <a:pt x="2534" y="1748"/>
                </a:cubicBezTo>
                <a:cubicBezTo>
                  <a:pt x="2533" y="1749"/>
                  <a:pt x="2533" y="1750"/>
                  <a:pt x="2533" y="1750"/>
                </a:cubicBezTo>
                <a:cubicBezTo>
                  <a:pt x="2533" y="1753"/>
                  <a:pt x="2537" y="1758"/>
                  <a:pt x="2540" y="1757"/>
                </a:cubicBezTo>
                <a:cubicBezTo>
                  <a:pt x="2542" y="1757"/>
                  <a:pt x="2543" y="1756"/>
                  <a:pt x="2542" y="1754"/>
                </a:cubicBezTo>
                <a:cubicBezTo>
                  <a:pt x="2540" y="1751"/>
                  <a:pt x="2539" y="1748"/>
                  <a:pt x="2537" y="1746"/>
                </a:cubicBezTo>
                <a:close/>
                <a:moveTo>
                  <a:pt x="2590" y="1748"/>
                </a:moveTo>
                <a:cubicBezTo>
                  <a:pt x="2587" y="1752"/>
                  <a:pt x="2585" y="1757"/>
                  <a:pt x="2583" y="1761"/>
                </a:cubicBezTo>
                <a:cubicBezTo>
                  <a:pt x="2585" y="1761"/>
                  <a:pt x="2588" y="1761"/>
                  <a:pt x="2591" y="1761"/>
                </a:cubicBezTo>
                <a:cubicBezTo>
                  <a:pt x="2591" y="1761"/>
                  <a:pt x="2591" y="1760"/>
                  <a:pt x="2591" y="1759"/>
                </a:cubicBezTo>
                <a:cubicBezTo>
                  <a:pt x="2591" y="1757"/>
                  <a:pt x="2591" y="1754"/>
                  <a:pt x="2591" y="1752"/>
                </a:cubicBezTo>
                <a:cubicBezTo>
                  <a:pt x="2591" y="1750"/>
                  <a:pt x="2590" y="1749"/>
                  <a:pt x="2590" y="1748"/>
                </a:cubicBezTo>
                <a:close/>
                <a:moveTo>
                  <a:pt x="2537" y="1728"/>
                </a:moveTo>
                <a:cubicBezTo>
                  <a:pt x="2536" y="1728"/>
                  <a:pt x="2536" y="1728"/>
                  <a:pt x="2535" y="1728"/>
                </a:cubicBezTo>
                <a:cubicBezTo>
                  <a:pt x="2535" y="1728"/>
                  <a:pt x="2534" y="1728"/>
                  <a:pt x="2534" y="1728"/>
                </a:cubicBezTo>
                <a:cubicBezTo>
                  <a:pt x="2533" y="1728"/>
                  <a:pt x="2533" y="1727"/>
                  <a:pt x="2533" y="1726"/>
                </a:cubicBezTo>
                <a:cubicBezTo>
                  <a:pt x="2534" y="1724"/>
                  <a:pt x="2534" y="1722"/>
                  <a:pt x="2535" y="1720"/>
                </a:cubicBezTo>
                <a:cubicBezTo>
                  <a:pt x="2535" y="1720"/>
                  <a:pt x="2535" y="1720"/>
                  <a:pt x="2534" y="1720"/>
                </a:cubicBezTo>
                <a:cubicBezTo>
                  <a:pt x="2533" y="1721"/>
                  <a:pt x="2532" y="1722"/>
                  <a:pt x="2532" y="1723"/>
                </a:cubicBezTo>
                <a:cubicBezTo>
                  <a:pt x="2531" y="1724"/>
                  <a:pt x="2532" y="1729"/>
                  <a:pt x="2534" y="1730"/>
                </a:cubicBezTo>
                <a:cubicBezTo>
                  <a:pt x="2535" y="1731"/>
                  <a:pt x="2537" y="1730"/>
                  <a:pt x="2537" y="1728"/>
                </a:cubicBezTo>
                <a:close/>
                <a:moveTo>
                  <a:pt x="2589" y="1719"/>
                </a:moveTo>
                <a:cubicBezTo>
                  <a:pt x="2593" y="1716"/>
                  <a:pt x="2593" y="1716"/>
                  <a:pt x="2597" y="1714"/>
                </a:cubicBezTo>
                <a:cubicBezTo>
                  <a:pt x="2597" y="1716"/>
                  <a:pt x="2598" y="1718"/>
                  <a:pt x="2600" y="1718"/>
                </a:cubicBezTo>
                <a:cubicBezTo>
                  <a:pt x="2597" y="1719"/>
                  <a:pt x="2595" y="1720"/>
                  <a:pt x="2593" y="1722"/>
                </a:cubicBezTo>
                <a:cubicBezTo>
                  <a:pt x="2592" y="1721"/>
                  <a:pt x="2592" y="1720"/>
                  <a:pt x="2591" y="1719"/>
                </a:cubicBezTo>
                <a:cubicBezTo>
                  <a:pt x="2591" y="1719"/>
                  <a:pt x="2590" y="1719"/>
                  <a:pt x="2589" y="1719"/>
                </a:cubicBezTo>
                <a:close/>
                <a:moveTo>
                  <a:pt x="2596" y="1719"/>
                </a:moveTo>
                <a:cubicBezTo>
                  <a:pt x="2595" y="1718"/>
                  <a:pt x="2594" y="1718"/>
                  <a:pt x="2593" y="1718"/>
                </a:cubicBezTo>
                <a:cubicBezTo>
                  <a:pt x="2593" y="1718"/>
                  <a:pt x="2592" y="1719"/>
                  <a:pt x="2592" y="1719"/>
                </a:cubicBezTo>
                <a:cubicBezTo>
                  <a:pt x="2592" y="1720"/>
                  <a:pt x="2593" y="1720"/>
                  <a:pt x="2593" y="1720"/>
                </a:cubicBezTo>
                <a:cubicBezTo>
                  <a:pt x="2594" y="1720"/>
                  <a:pt x="2594" y="1720"/>
                  <a:pt x="2596" y="1719"/>
                </a:cubicBezTo>
                <a:close/>
                <a:moveTo>
                  <a:pt x="2576" y="1709"/>
                </a:moveTo>
                <a:cubicBezTo>
                  <a:pt x="2570" y="1709"/>
                  <a:pt x="2567" y="1711"/>
                  <a:pt x="2566" y="1719"/>
                </a:cubicBezTo>
                <a:cubicBezTo>
                  <a:pt x="2567" y="1717"/>
                  <a:pt x="2568" y="1714"/>
                  <a:pt x="2569" y="1712"/>
                </a:cubicBezTo>
                <a:cubicBezTo>
                  <a:pt x="2570" y="1712"/>
                  <a:pt x="2570" y="1712"/>
                  <a:pt x="2570" y="1712"/>
                </a:cubicBezTo>
                <a:cubicBezTo>
                  <a:pt x="2570" y="1713"/>
                  <a:pt x="2570" y="1714"/>
                  <a:pt x="2570" y="1715"/>
                </a:cubicBezTo>
                <a:cubicBezTo>
                  <a:pt x="2571" y="1712"/>
                  <a:pt x="2573" y="1710"/>
                  <a:pt x="2576" y="1709"/>
                </a:cubicBezTo>
                <a:close/>
                <a:moveTo>
                  <a:pt x="2620" y="1711"/>
                </a:moveTo>
                <a:cubicBezTo>
                  <a:pt x="2618" y="1712"/>
                  <a:pt x="2616" y="1714"/>
                  <a:pt x="2615" y="1715"/>
                </a:cubicBezTo>
                <a:cubicBezTo>
                  <a:pt x="2617" y="1715"/>
                  <a:pt x="2619" y="1714"/>
                  <a:pt x="2620" y="1711"/>
                </a:cubicBezTo>
                <a:close/>
                <a:moveTo>
                  <a:pt x="2587" y="1713"/>
                </a:moveTo>
                <a:cubicBezTo>
                  <a:pt x="2588" y="1712"/>
                  <a:pt x="2589" y="1710"/>
                  <a:pt x="2590" y="1709"/>
                </a:cubicBezTo>
                <a:cubicBezTo>
                  <a:pt x="2587" y="1710"/>
                  <a:pt x="2587" y="1711"/>
                  <a:pt x="2587" y="1713"/>
                </a:cubicBezTo>
                <a:close/>
                <a:moveTo>
                  <a:pt x="2597" y="1734"/>
                </a:moveTo>
                <a:cubicBezTo>
                  <a:pt x="2595" y="1735"/>
                  <a:pt x="2594" y="1736"/>
                  <a:pt x="2594" y="1737"/>
                </a:cubicBezTo>
                <a:cubicBezTo>
                  <a:pt x="2595" y="1736"/>
                  <a:pt x="2596" y="1735"/>
                  <a:pt x="2597" y="1734"/>
                </a:cubicBezTo>
                <a:close/>
                <a:moveTo>
                  <a:pt x="2596" y="1719"/>
                </a:moveTo>
                <a:cubicBezTo>
                  <a:pt x="2595" y="1719"/>
                  <a:pt x="2594" y="1718"/>
                  <a:pt x="2594" y="1718"/>
                </a:cubicBezTo>
                <a:cubicBezTo>
                  <a:pt x="2593" y="1718"/>
                  <a:pt x="2592" y="1719"/>
                  <a:pt x="2592" y="1719"/>
                </a:cubicBezTo>
                <a:cubicBezTo>
                  <a:pt x="2592" y="1720"/>
                  <a:pt x="2593" y="1720"/>
                  <a:pt x="2593" y="1721"/>
                </a:cubicBezTo>
                <a:cubicBezTo>
                  <a:pt x="2594" y="1720"/>
                  <a:pt x="2594" y="1720"/>
                  <a:pt x="2596" y="1719"/>
                </a:cubicBezTo>
                <a:close/>
                <a:moveTo>
                  <a:pt x="3249" y="1697"/>
                </a:moveTo>
                <a:cubicBezTo>
                  <a:pt x="3249" y="1697"/>
                  <a:pt x="3249" y="1697"/>
                  <a:pt x="3249" y="1697"/>
                </a:cubicBezTo>
                <a:cubicBezTo>
                  <a:pt x="3244" y="1697"/>
                  <a:pt x="3244" y="1697"/>
                  <a:pt x="3244" y="1697"/>
                </a:cubicBezTo>
                <a:cubicBezTo>
                  <a:pt x="3242" y="1698"/>
                  <a:pt x="3241" y="1700"/>
                  <a:pt x="3239" y="1700"/>
                </a:cubicBezTo>
                <a:cubicBezTo>
                  <a:pt x="3237" y="1702"/>
                  <a:pt x="3236" y="1702"/>
                  <a:pt x="3233" y="1703"/>
                </a:cubicBezTo>
                <a:cubicBezTo>
                  <a:pt x="3232" y="1705"/>
                  <a:pt x="3230" y="1705"/>
                  <a:pt x="3228" y="1706"/>
                </a:cubicBezTo>
                <a:cubicBezTo>
                  <a:pt x="3226" y="1707"/>
                  <a:pt x="3225" y="1708"/>
                  <a:pt x="3223" y="1708"/>
                </a:cubicBezTo>
                <a:cubicBezTo>
                  <a:pt x="3223" y="1708"/>
                  <a:pt x="3223" y="1708"/>
                  <a:pt x="3223" y="1718"/>
                </a:cubicBezTo>
                <a:cubicBezTo>
                  <a:pt x="3225" y="1717"/>
                  <a:pt x="3228" y="1716"/>
                  <a:pt x="3231" y="1715"/>
                </a:cubicBezTo>
                <a:cubicBezTo>
                  <a:pt x="3233" y="1714"/>
                  <a:pt x="3236" y="1713"/>
                  <a:pt x="3238" y="1711"/>
                </a:cubicBezTo>
                <a:cubicBezTo>
                  <a:pt x="3238" y="1711"/>
                  <a:pt x="3238" y="1711"/>
                  <a:pt x="3238" y="1770"/>
                </a:cubicBezTo>
                <a:cubicBezTo>
                  <a:pt x="3238" y="1770"/>
                  <a:pt x="3238" y="1770"/>
                  <a:pt x="3249" y="1770"/>
                </a:cubicBezTo>
                <a:cubicBezTo>
                  <a:pt x="3249" y="1770"/>
                  <a:pt x="3249" y="1770"/>
                  <a:pt x="3249" y="1697"/>
                </a:cubicBezTo>
                <a:close/>
                <a:moveTo>
                  <a:pt x="3297" y="1697"/>
                </a:moveTo>
                <a:cubicBezTo>
                  <a:pt x="3297" y="1697"/>
                  <a:pt x="3297" y="1697"/>
                  <a:pt x="3297" y="1697"/>
                </a:cubicBezTo>
                <a:cubicBezTo>
                  <a:pt x="3292" y="1697"/>
                  <a:pt x="3292" y="1697"/>
                  <a:pt x="3292" y="1697"/>
                </a:cubicBezTo>
                <a:cubicBezTo>
                  <a:pt x="3290" y="1698"/>
                  <a:pt x="3288" y="1700"/>
                  <a:pt x="3286" y="1700"/>
                </a:cubicBezTo>
                <a:cubicBezTo>
                  <a:pt x="3285" y="1702"/>
                  <a:pt x="3282" y="1702"/>
                  <a:pt x="3281" y="1703"/>
                </a:cubicBezTo>
                <a:cubicBezTo>
                  <a:pt x="3280" y="1705"/>
                  <a:pt x="3277" y="1705"/>
                  <a:pt x="3276" y="1706"/>
                </a:cubicBezTo>
                <a:cubicBezTo>
                  <a:pt x="3274" y="1707"/>
                  <a:pt x="3272" y="1708"/>
                  <a:pt x="3270" y="1708"/>
                </a:cubicBezTo>
                <a:cubicBezTo>
                  <a:pt x="3270" y="1708"/>
                  <a:pt x="3270" y="1708"/>
                  <a:pt x="3270" y="1718"/>
                </a:cubicBezTo>
                <a:cubicBezTo>
                  <a:pt x="3273" y="1717"/>
                  <a:pt x="3276" y="1716"/>
                  <a:pt x="3278" y="1715"/>
                </a:cubicBezTo>
                <a:cubicBezTo>
                  <a:pt x="3281" y="1714"/>
                  <a:pt x="3283" y="1713"/>
                  <a:pt x="3285" y="1711"/>
                </a:cubicBezTo>
                <a:cubicBezTo>
                  <a:pt x="3285" y="1711"/>
                  <a:pt x="3285" y="1711"/>
                  <a:pt x="3285" y="1770"/>
                </a:cubicBezTo>
                <a:cubicBezTo>
                  <a:pt x="3285" y="1770"/>
                  <a:pt x="3285" y="1770"/>
                  <a:pt x="3297" y="1770"/>
                </a:cubicBezTo>
                <a:cubicBezTo>
                  <a:pt x="3297" y="1770"/>
                  <a:pt x="3297" y="1770"/>
                  <a:pt x="3297" y="1697"/>
                </a:cubicBezTo>
                <a:close/>
                <a:moveTo>
                  <a:pt x="3344" y="1697"/>
                </a:moveTo>
                <a:cubicBezTo>
                  <a:pt x="3344" y="1697"/>
                  <a:pt x="3344" y="1697"/>
                  <a:pt x="3344" y="1697"/>
                </a:cubicBezTo>
                <a:cubicBezTo>
                  <a:pt x="3339" y="1697"/>
                  <a:pt x="3339" y="1697"/>
                  <a:pt x="3339" y="1697"/>
                </a:cubicBezTo>
                <a:cubicBezTo>
                  <a:pt x="3337" y="1698"/>
                  <a:pt x="3336" y="1700"/>
                  <a:pt x="3333" y="1700"/>
                </a:cubicBezTo>
                <a:cubicBezTo>
                  <a:pt x="3332" y="1702"/>
                  <a:pt x="3330" y="1702"/>
                  <a:pt x="3328" y="1703"/>
                </a:cubicBezTo>
                <a:cubicBezTo>
                  <a:pt x="3326" y="1704"/>
                  <a:pt x="3325" y="1705"/>
                  <a:pt x="3323" y="1705"/>
                </a:cubicBezTo>
                <a:cubicBezTo>
                  <a:pt x="3321" y="1706"/>
                  <a:pt x="3319" y="1707"/>
                  <a:pt x="3318" y="1708"/>
                </a:cubicBezTo>
                <a:cubicBezTo>
                  <a:pt x="3318" y="1708"/>
                  <a:pt x="3318" y="1708"/>
                  <a:pt x="3318" y="1718"/>
                </a:cubicBezTo>
                <a:cubicBezTo>
                  <a:pt x="3320" y="1717"/>
                  <a:pt x="3323" y="1716"/>
                  <a:pt x="3326" y="1715"/>
                </a:cubicBezTo>
                <a:cubicBezTo>
                  <a:pt x="3328" y="1714"/>
                  <a:pt x="3331" y="1713"/>
                  <a:pt x="3332" y="1711"/>
                </a:cubicBezTo>
                <a:cubicBezTo>
                  <a:pt x="3332" y="1711"/>
                  <a:pt x="3332" y="1711"/>
                  <a:pt x="3332" y="1770"/>
                </a:cubicBezTo>
                <a:cubicBezTo>
                  <a:pt x="3332" y="1770"/>
                  <a:pt x="3332" y="1770"/>
                  <a:pt x="3344" y="1770"/>
                </a:cubicBezTo>
                <a:cubicBezTo>
                  <a:pt x="3344" y="1770"/>
                  <a:pt x="3344" y="1770"/>
                  <a:pt x="3344" y="1697"/>
                </a:cubicBezTo>
                <a:close/>
                <a:moveTo>
                  <a:pt x="3554" y="1592"/>
                </a:moveTo>
                <a:cubicBezTo>
                  <a:pt x="3554" y="1592"/>
                  <a:pt x="3554" y="1592"/>
                  <a:pt x="3554" y="1592"/>
                </a:cubicBezTo>
                <a:cubicBezTo>
                  <a:pt x="3549" y="1592"/>
                  <a:pt x="3549" y="1592"/>
                  <a:pt x="3549" y="1592"/>
                </a:cubicBezTo>
                <a:cubicBezTo>
                  <a:pt x="3547" y="1593"/>
                  <a:pt x="3546" y="1594"/>
                  <a:pt x="3543" y="1595"/>
                </a:cubicBezTo>
                <a:cubicBezTo>
                  <a:pt x="3542" y="1597"/>
                  <a:pt x="3540" y="1597"/>
                  <a:pt x="3538" y="1598"/>
                </a:cubicBezTo>
                <a:cubicBezTo>
                  <a:pt x="3536" y="1599"/>
                  <a:pt x="3535" y="1600"/>
                  <a:pt x="3533" y="1600"/>
                </a:cubicBezTo>
                <a:cubicBezTo>
                  <a:pt x="3531" y="1601"/>
                  <a:pt x="3530" y="1602"/>
                  <a:pt x="3527" y="1602"/>
                </a:cubicBezTo>
                <a:cubicBezTo>
                  <a:pt x="3527" y="1602"/>
                  <a:pt x="3527" y="1602"/>
                  <a:pt x="3527" y="1613"/>
                </a:cubicBezTo>
                <a:cubicBezTo>
                  <a:pt x="3530" y="1612"/>
                  <a:pt x="3533" y="1610"/>
                  <a:pt x="3535" y="1610"/>
                </a:cubicBezTo>
                <a:cubicBezTo>
                  <a:pt x="3538" y="1609"/>
                  <a:pt x="3540" y="1608"/>
                  <a:pt x="3543" y="1606"/>
                </a:cubicBezTo>
                <a:cubicBezTo>
                  <a:pt x="3543" y="1606"/>
                  <a:pt x="3543" y="1606"/>
                  <a:pt x="3543" y="1665"/>
                </a:cubicBezTo>
                <a:cubicBezTo>
                  <a:pt x="3543" y="1665"/>
                  <a:pt x="3543" y="1665"/>
                  <a:pt x="3554" y="1665"/>
                </a:cubicBezTo>
                <a:cubicBezTo>
                  <a:pt x="3554" y="1665"/>
                  <a:pt x="3554" y="1665"/>
                  <a:pt x="3554" y="1592"/>
                </a:cubicBezTo>
                <a:close/>
                <a:moveTo>
                  <a:pt x="3601" y="1592"/>
                </a:moveTo>
                <a:cubicBezTo>
                  <a:pt x="3601" y="1592"/>
                  <a:pt x="3601" y="1592"/>
                  <a:pt x="3601" y="1592"/>
                </a:cubicBezTo>
                <a:cubicBezTo>
                  <a:pt x="3596" y="1592"/>
                  <a:pt x="3596" y="1592"/>
                  <a:pt x="3596" y="1592"/>
                </a:cubicBezTo>
                <a:cubicBezTo>
                  <a:pt x="3594" y="1593"/>
                  <a:pt x="3592" y="1594"/>
                  <a:pt x="3590" y="1595"/>
                </a:cubicBezTo>
                <a:cubicBezTo>
                  <a:pt x="3588" y="1597"/>
                  <a:pt x="3586" y="1597"/>
                  <a:pt x="3585" y="1598"/>
                </a:cubicBezTo>
                <a:cubicBezTo>
                  <a:pt x="3583" y="1600"/>
                  <a:pt x="3581" y="1600"/>
                  <a:pt x="3580" y="1601"/>
                </a:cubicBezTo>
                <a:cubicBezTo>
                  <a:pt x="3578" y="1602"/>
                  <a:pt x="3576" y="1602"/>
                  <a:pt x="3574" y="1602"/>
                </a:cubicBezTo>
                <a:cubicBezTo>
                  <a:pt x="3574" y="1602"/>
                  <a:pt x="3574" y="1602"/>
                  <a:pt x="3574" y="1613"/>
                </a:cubicBezTo>
                <a:cubicBezTo>
                  <a:pt x="3577" y="1612"/>
                  <a:pt x="3580" y="1611"/>
                  <a:pt x="3582" y="1610"/>
                </a:cubicBezTo>
                <a:cubicBezTo>
                  <a:pt x="3585" y="1609"/>
                  <a:pt x="3587" y="1608"/>
                  <a:pt x="3589" y="1606"/>
                </a:cubicBezTo>
                <a:cubicBezTo>
                  <a:pt x="3589" y="1606"/>
                  <a:pt x="3589" y="1606"/>
                  <a:pt x="3589" y="1665"/>
                </a:cubicBezTo>
                <a:cubicBezTo>
                  <a:pt x="3589" y="1665"/>
                  <a:pt x="3589" y="1665"/>
                  <a:pt x="3601" y="1665"/>
                </a:cubicBezTo>
                <a:cubicBezTo>
                  <a:pt x="3601" y="1665"/>
                  <a:pt x="3601" y="1665"/>
                  <a:pt x="3601" y="1592"/>
                </a:cubicBezTo>
                <a:close/>
                <a:moveTo>
                  <a:pt x="3646" y="1592"/>
                </a:moveTo>
                <a:cubicBezTo>
                  <a:pt x="3646" y="1592"/>
                  <a:pt x="3646" y="1592"/>
                  <a:pt x="3646" y="1592"/>
                </a:cubicBezTo>
                <a:cubicBezTo>
                  <a:pt x="3642" y="1592"/>
                  <a:pt x="3642" y="1592"/>
                  <a:pt x="3642" y="1592"/>
                </a:cubicBezTo>
                <a:cubicBezTo>
                  <a:pt x="3640" y="1593"/>
                  <a:pt x="3638" y="1594"/>
                  <a:pt x="3636" y="1595"/>
                </a:cubicBezTo>
                <a:cubicBezTo>
                  <a:pt x="3635" y="1597"/>
                  <a:pt x="3633" y="1597"/>
                  <a:pt x="3631" y="1598"/>
                </a:cubicBezTo>
                <a:cubicBezTo>
                  <a:pt x="3629" y="1600"/>
                  <a:pt x="3628" y="1600"/>
                  <a:pt x="3626" y="1601"/>
                </a:cubicBezTo>
                <a:cubicBezTo>
                  <a:pt x="3624" y="1602"/>
                  <a:pt x="3622" y="1602"/>
                  <a:pt x="3620" y="1602"/>
                </a:cubicBezTo>
                <a:cubicBezTo>
                  <a:pt x="3620" y="1602"/>
                  <a:pt x="3620" y="1602"/>
                  <a:pt x="3620" y="1613"/>
                </a:cubicBezTo>
                <a:cubicBezTo>
                  <a:pt x="3623" y="1612"/>
                  <a:pt x="3626" y="1611"/>
                  <a:pt x="3628" y="1610"/>
                </a:cubicBezTo>
                <a:cubicBezTo>
                  <a:pt x="3631" y="1609"/>
                  <a:pt x="3633" y="1608"/>
                  <a:pt x="3635" y="1606"/>
                </a:cubicBezTo>
                <a:cubicBezTo>
                  <a:pt x="3635" y="1606"/>
                  <a:pt x="3635" y="1606"/>
                  <a:pt x="3635" y="1665"/>
                </a:cubicBezTo>
                <a:cubicBezTo>
                  <a:pt x="3635" y="1665"/>
                  <a:pt x="3635" y="1665"/>
                  <a:pt x="3646" y="1665"/>
                </a:cubicBezTo>
                <a:cubicBezTo>
                  <a:pt x="3646" y="1665"/>
                  <a:pt x="3646" y="1665"/>
                  <a:pt x="3646" y="1592"/>
                </a:cubicBezTo>
                <a:close/>
                <a:moveTo>
                  <a:pt x="3693" y="1592"/>
                </a:moveTo>
                <a:cubicBezTo>
                  <a:pt x="3693" y="1592"/>
                  <a:pt x="3693" y="1592"/>
                  <a:pt x="3693" y="1592"/>
                </a:cubicBezTo>
                <a:cubicBezTo>
                  <a:pt x="3688" y="1592"/>
                  <a:pt x="3688" y="1592"/>
                  <a:pt x="3688" y="1592"/>
                </a:cubicBezTo>
                <a:cubicBezTo>
                  <a:pt x="3686" y="1593"/>
                  <a:pt x="3685" y="1594"/>
                  <a:pt x="3682" y="1595"/>
                </a:cubicBezTo>
                <a:cubicBezTo>
                  <a:pt x="3681" y="1597"/>
                  <a:pt x="3679" y="1597"/>
                  <a:pt x="3677" y="1598"/>
                </a:cubicBezTo>
                <a:cubicBezTo>
                  <a:pt x="3676" y="1600"/>
                  <a:pt x="3673" y="1600"/>
                  <a:pt x="3672" y="1601"/>
                </a:cubicBezTo>
                <a:cubicBezTo>
                  <a:pt x="3670" y="1602"/>
                  <a:pt x="3668" y="1602"/>
                  <a:pt x="3666" y="1602"/>
                </a:cubicBezTo>
                <a:cubicBezTo>
                  <a:pt x="3666" y="1602"/>
                  <a:pt x="3666" y="1602"/>
                  <a:pt x="3666" y="1613"/>
                </a:cubicBezTo>
                <a:cubicBezTo>
                  <a:pt x="3669" y="1612"/>
                  <a:pt x="3672" y="1611"/>
                  <a:pt x="3674" y="1610"/>
                </a:cubicBezTo>
                <a:cubicBezTo>
                  <a:pt x="3677" y="1609"/>
                  <a:pt x="3679" y="1608"/>
                  <a:pt x="3682" y="1606"/>
                </a:cubicBezTo>
                <a:cubicBezTo>
                  <a:pt x="3682" y="1606"/>
                  <a:pt x="3682" y="1606"/>
                  <a:pt x="3682" y="1665"/>
                </a:cubicBezTo>
                <a:cubicBezTo>
                  <a:pt x="3682" y="1665"/>
                  <a:pt x="3682" y="1665"/>
                  <a:pt x="3693" y="1665"/>
                </a:cubicBezTo>
                <a:cubicBezTo>
                  <a:pt x="3693" y="1665"/>
                  <a:pt x="3693" y="1665"/>
                  <a:pt x="3693" y="1592"/>
                </a:cubicBezTo>
                <a:close/>
                <a:moveTo>
                  <a:pt x="3815" y="1592"/>
                </a:moveTo>
                <a:cubicBezTo>
                  <a:pt x="3815" y="1592"/>
                  <a:pt x="3815" y="1592"/>
                  <a:pt x="3815" y="1592"/>
                </a:cubicBezTo>
                <a:cubicBezTo>
                  <a:pt x="3810" y="1592"/>
                  <a:pt x="3810" y="1592"/>
                  <a:pt x="3810" y="1592"/>
                </a:cubicBezTo>
                <a:cubicBezTo>
                  <a:pt x="3808" y="1593"/>
                  <a:pt x="3806" y="1594"/>
                  <a:pt x="3804" y="1595"/>
                </a:cubicBezTo>
                <a:cubicBezTo>
                  <a:pt x="3803" y="1597"/>
                  <a:pt x="3801" y="1597"/>
                  <a:pt x="3799" y="1598"/>
                </a:cubicBezTo>
                <a:cubicBezTo>
                  <a:pt x="3797" y="1600"/>
                  <a:pt x="3795" y="1600"/>
                  <a:pt x="3794" y="1601"/>
                </a:cubicBezTo>
                <a:cubicBezTo>
                  <a:pt x="3792" y="1602"/>
                  <a:pt x="3790" y="1602"/>
                  <a:pt x="3788" y="1602"/>
                </a:cubicBezTo>
                <a:cubicBezTo>
                  <a:pt x="3788" y="1602"/>
                  <a:pt x="3788" y="1602"/>
                  <a:pt x="3788" y="1613"/>
                </a:cubicBezTo>
                <a:cubicBezTo>
                  <a:pt x="3791" y="1612"/>
                  <a:pt x="3794" y="1611"/>
                  <a:pt x="3797" y="1610"/>
                </a:cubicBezTo>
                <a:cubicBezTo>
                  <a:pt x="3799" y="1609"/>
                  <a:pt x="3801" y="1608"/>
                  <a:pt x="3803" y="1606"/>
                </a:cubicBezTo>
                <a:cubicBezTo>
                  <a:pt x="3803" y="1606"/>
                  <a:pt x="3803" y="1606"/>
                  <a:pt x="3803" y="1665"/>
                </a:cubicBezTo>
                <a:cubicBezTo>
                  <a:pt x="3803" y="1665"/>
                  <a:pt x="3803" y="1665"/>
                  <a:pt x="3815" y="1665"/>
                </a:cubicBezTo>
                <a:cubicBezTo>
                  <a:pt x="3815" y="1665"/>
                  <a:pt x="3815" y="1665"/>
                  <a:pt x="3815" y="1592"/>
                </a:cubicBezTo>
                <a:close/>
                <a:moveTo>
                  <a:pt x="3861" y="1592"/>
                </a:moveTo>
                <a:cubicBezTo>
                  <a:pt x="3861" y="1592"/>
                  <a:pt x="3861" y="1592"/>
                  <a:pt x="3861" y="1592"/>
                </a:cubicBezTo>
                <a:cubicBezTo>
                  <a:pt x="3856" y="1592"/>
                  <a:pt x="3856" y="1592"/>
                  <a:pt x="3856" y="1592"/>
                </a:cubicBezTo>
                <a:cubicBezTo>
                  <a:pt x="3854" y="1593"/>
                  <a:pt x="3853" y="1594"/>
                  <a:pt x="3851" y="1595"/>
                </a:cubicBezTo>
                <a:cubicBezTo>
                  <a:pt x="3849" y="1597"/>
                  <a:pt x="3847" y="1597"/>
                  <a:pt x="3845" y="1598"/>
                </a:cubicBezTo>
                <a:cubicBezTo>
                  <a:pt x="3844" y="1600"/>
                  <a:pt x="3842" y="1600"/>
                  <a:pt x="3840" y="1601"/>
                </a:cubicBezTo>
                <a:cubicBezTo>
                  <a:pt x="3838" y="1602"/>
                  <a:pt x="3837" y="1602"/>
                  <a:pt x="3835" y="1602"/>
                </a:cubicBezTo>
                <a:cubicBezTo>
                  <a:pt x="3835" y="1602"/>
                  <a:pt x="3835" y="1602"/>
                  <a:pt x="3835" y="1613"/>
                </a:cubicBezTo>
                <a:cubicBezTo>
                  <a:pt x="3837" y="1612"/>
                  <a:pt x="3840" y="1611"/>
                  <a:pt x="3843" y="1610"/>
                </a:cubicBezTo>
                <a:cubicBezTo>
                  <a:pt x="3845" y="1609"/>
                  <a:pt x="3848" y="1608"/>
                  <a:pt x="3850" y="1606"/>
                </a:cubicBezTo>
                <a:cubicBezTo>
                  <a:pt x="3850" y="1606"/>
                  <a:pt x="3850" y="1606"/>
                  <a:pt x="3850" y="1665"/>
                </a:cubicBezTo>
                <a:cubicBezTo>
                  <a:pt x="3850" y="1665"/>
                  <a:pt x="3850" y="1665"/>
                  <a:pt x="3861" y="1665"/>
                </a:cubicBezTo>
                <a:cubicBezTo>
                  <a:pt x="3861" y="1665"/>
                  <a:pt x="3861" y="1665"/>
                  <a:pt x="3861" y="1592"/>
                </a:cubicBezTo>
                <a:close/>
                <a:moveTo>
                  <a:pt x="3714" y="1624"/>
                </a:moveTo>
                <a:cubicBezTo>
                  <a:pt x="3714" y="1624"/>
                  <a:pt x="3714" y="1624"/>
                  <a:pt x="3714" y="1624"/>
                </a:cubicBezTo>
                <a:cubicBezTo>
                  <a:pt x="3713" y="1632"/>
                  <a:pt x="3713" y="1632"/>
                  <a:pt x="3713" y="1632"/>
                </a:cubicBezTo>
                <a:cubicBezTo>
                  <a:pt x="3719" y="1632"/>
                  <a:pt x="3720" y="1635"/>
                  <a:pt x="3720" y="1638"/>
                </a:cubicBezTo>
                <a:cubicBezTo>
                  <a:pt x="3720" y="1640"/>
                  <a:pt x="3720" y="1643"/>
                  <a:pt x="3720" y="1645"/>
                </a:cubicBezTo>
                <a:cubicBezTo>
                  <a:pt x="3719" y="1648"/>
                  <a:pt x="3719" y="1650"/>
                  <a:pt x="3719" y="1652"/>
                </a:cubicBezTo>
                <a:cubicBezTo>
                  <a:pt x="3719" y="1662"/>
                  <a:pt x="3725" y="1665"/>
                  <a:pt x="3733" y="1665"/>
                </a:cubicBezTo>
                <a:cubicBezTo>
                  <a:pt x="3733" y="1665"/>
                  <a:pt x="3733" y="1665"/>
                  <a:pt x="3737" y="1665"/>
                </a:cubicBezTo>
                <a:cubicBezTo>
                  <a:pt x="3737" y="1665"/>
                  <a:pt x="3737" y="1665"/>
                  <a:pt x="3737" y="1656"/>
                </a:cubicBezTo>
                <a:cubicBezTo>
                  <a:pt x="3737" y="1656"/>
                  <a:pt x="3737" y="1656"/>
                  <a:pt x="3736" y="1656"/>
                </a:cubicBezTo>
                <a:cubicBezTo>
                  <a:pt x="3732" y="1656"/>
                  <a:pt x="3731" y="1653"/>
                  <a:pt x="3731" y="1650"/>
                </a:cubicBezTo>
                <a:cubicBezTo>
                  <a:pt x="3731" y="1649"/>
                  <a:pt x="3731" y="1647"/>
                  <a:pt x="3731" y="1645"/>
                </a:cubicBezTo>
                <a:cubicBezTo>
                  <a:pt x="3731" y="1644"/>
                  <a:pt x="3732" y="1641"/>
                  <a:pt x="3732" y="1639"/>
                </a:cubicBezTo>
                <a:cubicBezTo>
                  <a:pt x="3732" y="1632"/>
                  <a:pt x="3729" y="1629"/>
                  <a:pt x="3723" y="1628"/>
                </a:cubicBezTo>
                <a:cubicBezTo>
                  <a:pt x="3723" y="1628"/>
                  <a:pt x="3723" y="1628"/>
                  <a:pt x="3723" y="1628"/>
                </a:cubicBezTo>
                <a:cubicBezTo>
                  <a:pt x="3729" y="1626"/>
                  <a:pt x="3732" y="1624"/>
                  <a:pt x="3732" y="1617"/>
                </a:cubicBezTo>
                <a:cubicBezTo>
                  <a:pt x="3732" y="1614"/>
                  <a:pt x="3731" y="1612"/>
                  <a:pt x="3731" y="1610"/>
                </a:cubicBezTo>
                <a:cubicBezTo>
                  <a:pt x="3731" y="1609"/>
                  <a:pt x="3731" y="1607"/>
                  <a:pt x="3731" y="1606"/>
                </a:cubicBezTo>
                <a:cubicBezTo>
                  <a:pt x="3731" y="1602"/>
                  <a:pt x="3732" y="1600"/>
                  <a:pt x="3736" y="1600"/>
                </a:cubicBezTo>
                <a:cubicBezTo>
                  <a:pt x="3736" y="1600"/>
                  <a:pt x="3736" y="1600"/>
                  <a:pt x="3737" y="1600"/>
                </a:cubicBezTo>
                <a:cubicBezTo>
                  <a:pt x="3737" y="1600"/>
                  <a:pt x="3737" y="1600"/>
                  <a:pt x="3737" y="1591"/>
                </a:cubicBezTo>
                <a:cubicBezTo>
                  <a:pt x="3737" y="1591"/>
                  <a:pt x="3737" y="1591"/>
                  <a:pt x="3733" y="1591"/>
                </a:cubicBezTo>
                <a:cubicBezTo>
                  <a:pt x="3725" y="1591"/>
                  <a:pt x="3719" y="1595"/>
                  <a:pt x="3719" y="1603"/>
                </a:cubicBezTo>
                <a:cubicBezTo>
                  <a:pt x="3719" y="1606"/>
                  <a:pt x="3719" y="1608"/>
                  <a:pt x="3719" y="1611"/>
                </a:cubicBezTo>
                <a:cubicBezTo>
                  <a:pt x="3720" y="1613"/>
                  <a:pt x="3720" y="1616"/>
                  <a:pt x="3720" y="1618"/>
                </a:cubicBezTo>
                <a:cubicBezTo>
                  <a:pt x="3720" y="1620"/>
                  <a:pt x="3719" y="1624"/>
                  <a:pt x="3714" y="1624"/>
                </a:cubicBezTo>
                <a:close/>
                <a:moveTo>
                  <a:pt x="3768" y="1632"/>
                </a:moveTo>
                <a:cubicBezTo>
                  <a:pt x="3768" y="1632"/>
                  <a:pt x="3768" y="1632"/>
                  <a:pt x="3768" y="1632"/>
                </a:cubicBezTo>
                <a:cubicBezTo>
                  <a:pt x="3768" y="1624"/>
                  <a:pt x="3768" y="1624"/>
                  <a:pt x="3768" y="1624"/>
                </a:cubicBezTo>
                <a:cubicBezTo>
                  <a:pt x="3762" y="1624"/>
                  <a:pt x="3761" y="1620"/>
                  <a:pt x="3761" y="1618"/>
                </a:cubicBezTo>
                <a:cubicBezTo>
                  <a:pt x="3761" y="1616"/>
                  <a:pt x="3761" y="1613"/>
                  <a:pt x="3762" y="1611"/>
                </a:cubicBezTo>
                <a:cubicBezTo>
                  <a:pt x="3762" y="1608"/>
                  <a:pt x="3762" y="1606"/>
                  <a:pt x="3762" y="1603"/>
                </a:cubicBezTo>
                <a:cubicBezTo>
                  <a:pt x="3762" y="1595"/>
                  <a:pt x="3757" y="1591"/>
                  <a:pt x="3748" y="1591"/>
                </a:cubicBezTo>
                <a:cubicBezTo>
                  <a:pt x="3748" y="1591"/>
                  <a:pt x="3748" y="1591"/>
                  <a:pt x="3744" y="1591"/>
                </a:cubicBezTo>
                <a:cubicBezTo>
                  <a:pt x="3744" y="1591"/>
                  <a:pt x="3744" y="1591"/>
                  <a:pt x="3744" y="1600"/>
                </a:cubicBezTo>
                <a:cubicBezTo>
                  <a:pt x="3744" y="1600"/>
                  <a:pt x="3744" y="1600"/>
                  <a:pt x="3745" y="1600"/>
                </a:cubicBezTo>
                <a:cubicBezTo>
                  <a:pt x="3749" y="1600"/>
                  <a:pt x="3750" y="1602"/>
                  <a:pt x="3750" y="1606"/>
                </a:cubicBezTo>
                <a:cubicBezTo>
                  <a:pt x="3750" y="1607"/>
                  <a:pt x="3750" y="1609"/>
                  <a:pt x="3750" y="1610"/>
                </a:cubicBezTo>
                <a:cubicBezTo>
                  <a:pt x="3750" y="1612"/>
                  <a:pt x="3750" y="1614"/>
                  <a:pt x="3750" y="1617"/>
                </a:cubicBezTo>
                <a:cubicBezTo>
                  <a:pt x="3750" y="1624"/>
                  <a:pt x="3752" y="1626"/>
                  <a:pt x="3758" y="1628"/>
                </a:cubicBezTo>
                <a:cubicBezTo>
                  <a:pt x="3758" y="1628"/>
                  <a:pt x="3758" y="1628"/>
                  <a:pt x="3758" y="1628"/>
                </a:cubicBezTo>
                <a:cubicBezTo>
                  <a:pt x="3752" y="1629"/>
                  <a:pt x="3750" y="1632"/>
                  <a:pt x="3750" y="1639"/>
                </a:cubicBezTo>
                <a:cubicBezTo>
                  <a:pt x="3750" y="1641"/>
                  <a:pt x="3750" y="1644"/>
                  <a:pt x="3750" y="1645"/>
                </a:cubicBezTo>
                <a:cubicBezTo>
                  <a:pt x="3750" y="1647"/>
                  <a:pt x="3750" y="1649"/>
                  <a:pt x="3750" y="1650"/>
                </a:cubicBezTo>
                <a:cubicBezTo>
                  <a:pt x="3750" y="1653"/>
                  <a:pt x="3749" y="1656"/>
                  <a:pt x="3745" y="1656"/>
                </a:cubicBezTo>
                <a:cubicBezTo>
                  <a:pt x="3745" y="1656"/>
                  <a:pt x="3745" y="1656"/>
                  <a:pt x="3744" y="1656"/>
                </a:cubicBezTo>
                <a:cubicBezTo>
                  <a:pt x="3744" y="1656"/>
                  <a:pt x="3744" y="1656"/>
                  <a:pt x="3744" y="1665"/>
                </a:cubicBezTo>
                <a:cubicBezTo>
                  <a:pt x="3744" y="1665"/>
                  <a:pt x="3744" y="1665"/>
                  <a:pt x="3748" y="1665"/>
                </a:cubicBezTo>
                <a:cubicBezTo>
                  <a:pt x="3756" y="1665"/>
                  <a:pt x="3762" y="1662"/>
                  <a:pt x="3762" y="1652"/>
                </a:cubicBezTo>
                <a:cubicBezTo>
                  <a:pt x="3762" y="1650"/>
                  <a:pt x="3762" y="1648"/>
                  <a:pt x="3762" y="1645"/>
                </a:cubicBezTo>
                <a:cubicBezTo>
                  <a:pt x="3761" y="1643"/>
                  <a:pt x="3761" y="1640"/>
                  <a:pt x="3761" y="1638"/>
                </a:cubicBezTo>
                <a:cubicBezTo>
                  <a:pt x="3761" y="1635"/>
                  <a:pt x="3762" y="1632"/>
                  <a:pt x="3768" y="1632"/>
                </a:cubicBezTo>
                <a:close/>
                <a:moveTo>
                  <a:pt x="3155" y="1665"/>
                </a:moveTo>
                <a:cubicBezTo>
                  <a:pt x="3148" y="1665"/>
                  <a:pt x="3141" y="1662"/>
                  <a:pt x="3137" y="1656"/>
                </a:cubicBezTo>
                <a:cubicBezTo>
                  <a:pt x="3133" y="1650"/>
                  <a:pt x="3131" y="1641"/>
                  <a:pt x="3131" y="1628"/>
                </a:cubicBezTo>
                <a:cubicBezTo>
                  <a:pt x="3131" y="1615"/>
                  <a:pt x="3133" y="1606"/>
                  <a:pt x="3137" y="1599"/>
                </a:cubicBezTo>
                <a:cubicBezTo>
                  <a:pt x="3142" y="1592"/>
                  <a:pt x="3148" y="1589"/>
                  <a:pt x="3157" y="1589"/>
                </a:cubicBezTo>
                <a:cubicBezTo>
                  <a:pt x="3173" y="1589"/>
                  <a:pt x="3181" y="1601"/>
                  <a:pt x="3181" y="1627"/>
                </a:cubicBezTo>
                <a:cubicBezTo>
                  <a:pt x="3181" y="1639"/>
                  <a:pt x="3179" y="1649"/>
                  <a:pt x="3174" y="1655"/>
                </a:cubicBezTo>
                <a:cubicBezTo>
                  <a:pt x="3170" y="1662"/>
                  <a:pt x="3163" y="1665"/>
                  <a:pt x="3155" y="1665"/>
                </a:cubicBezTo>
                <a:close/>
                <a:moveTo>
                  <a:pt x="3156" y="1598"/>
                </a:moveTo>
                <a:cubicBezTo>
                  <a:pt x="3147" y="1598"/>
                  <a:pt x="3143" y="1608"/>
                  <a:pt x="3143" y="1628"/>
                </a:cubicBezTo>
                <a:cubicBezTo>
                  <a:pt x="3143" y="1647"/>
                  <a:pt x="3147" y="1655"/>
                  <a:pt x="3156" y="1655"/>
                </a:cubicBezTo>
                <a:cubicBezTo>
                  <a:pt x="3164" y="1655"/>
                  <a:pt x="3169" y="1647"/>
                  <a:pt x="3169" y="1628"/>
                </a:cubicBezTo>
                <a:cubicBezTo>
                  <a:pt x="3169" y="1608"/>
                  <a:pt x="3164" y="1598"/>
                  <a:pt x="3156" y="1598"/>
                </a:cubicBezTo>
                <a:close/>
                <a:moveTo>
                  <a:pt x="3225" y="1665"/>
                </a:moveTo>
                <a:cubicBezTo>
                  <a:pt x="3218" y="1665"/>
                  <a:pt x="3211" y="1662"/>
                  <a:pt x="3208" y="1656"/>
                </a:cubicBezTo>
                <a:cubicBezTo>
                  <a:pt x="3203" y="1650"/>
                  <a:pt x="3201" y="1641"/>
                  <a:pt x="3201" y="1628"/>
                </a:cubicBezTo>
                <a:cubicBezTo>
                  <a:pt x="3201" y="1615"/>
                  <a:pt x="3203" y="1606"/>
                  <a:pt x="3208" y="1599"/>
                </a:cubicBezTo>
                <a:cubicBezTo>
                  <a:pt x="3212" y="1592"/>
                  <a:pt x="3219" y="1589"/>
                  <a:pt x="3228" y="1589"/>
                </a:cubicBezTo>
                <a:cubicBezTo>
                  <a:pt x="3244" y="1589"/>
                  <a:pt x="3252" y="1601"/>
                  <a:pt x="3252" y="1627"/>
                </a:cubicBezTo>
                <a:cubicBezTo>
                  <a:pt x="3252" y="1639"/>
                  <a:pt x="3250" y="1649"/>
                  <a:pt x="3245" y="1655"/>
                </a:cubicBezTo>
                <a:cubicBezTo>
                  <a:pt x="3240" y="1662"/>
                  <a:pt x="3234" y="1665"/>
                  <a:pt x="3225" y="1665"/>
                </a:cubicBezTo>
                <a:close/>
                <a:moveTo>
                  <a:pt x="3227" y="1598"/>
                </a:moveTo>
                <a:cubicBezTo>
                  <a:pt x="3218" y="1598"/>
                  <a:pt x="3213" y="1608"/>
                  <a:pt x="3213" y="1628"/>
                </a:cubicBezTo>
                <a:cubicBezTo>
                  <a:pt x="3213" y="1647"/>
                  <a:pt x="3217" y="1655"/>
                  <a:pt x="3226" y="1655"/>
                </a:cubicBezTo>
                <a:cubicBezTo>
                  <a:pt x="3235" y="1655"/>
                  <a:pt x="3239" y="1647"/>
                  <a:pt x="3239" y="1628"/>
                </a:cubicBezTo>
                <a:cubicBezTo>
                  <a:pt x="3239" y="1608"/>
                  <a:pt x="3235" y="1598"/>
                  <a:pt x="3227" y="1598"/>
                </a:cubicBezTo>
                <a:close/>
                <a:moveTo>
                  <a:pt x="3435" y="1675"/>
                </a:moveTo>
                <a:cubicBezTo>
                  <a:pt x="3428" y="1675"/>
                  <a:pt x="3422" y="1672"/>
                  <a:pt x="3417" y="1665"/>
                </a:cubicBezTo>
                <a:cubicBezTo>
                  <a:pt x="3413" y="1659"/>
                  <a:pt x="3411" y="1650"/>
                  <a:pt x="3411" y="1638"/>
                </a:cubicBezTo>
                <a:cubicBezTo>
                  <a:pt x="3411" y="1625"/>
                  <a:pt x="3413" y="1616"/>
                  <a:pt x="3417" y="1608"/>
                </a:cubicBezTo>
                <a:cubicBezTo>
                  <a:pt x="3422" y="1602"/>
                  <a:pt x="3428" y="1599"/>
                  <a:pt x="3437" y="1599"/>
                </a:cubicBezTo>
                <a:cubicBezTo>
                  <a:pt x="3453" y="1599"/>
                  <a:pt x="3461" y="1611"/>
                  <a:pt x="3461" y="1636"/>
                </a:cubicBezTo>
                <a:cubicBezTo>
                  <a:pt x="3461" y="1649"/>
                  <a:pt x="3459" y="1659"/>
                  <a:pt x="3455" y="1665"/>
                </a:cubicBezTo>
                <a:cubicBezTo>
                  <a:pt x="3449" y="1672"/>
                  <a:pt x="3444" y="1675"/>
                  <a:pt x="3435" y="1675"/>
                </a:cubicBezTo>
                <a:close/>
                <a:moveTo>
                  <a:pt x="3436" y="1608"/>
                </a:moveTo>
                <a:cubicBezTo>
                  <a:pt x="3428" y="1608"/>
                  <a:pt x="3423" y="1618"/>
                  <a:pt x="3423" y="1637"/>
                </a:cubicBezTo>
                <a:cubicBezTo>
                  <a:pt x="3423" y="1656"/>
                  <a:pt x="3428" y="1665"/>
                  <a:pt x="3436" y="1665"/>
                </a:cubicBezTo>
                <a:cubicBezTo>
                  <a:pt x="3444" y="1665"/>
                  <a:pt x="3449" y="1656"/>
                  <a:pt x="3449" y="1637"/>
                </a:cubicBezTo>
                <a:cubicBezTo>
                  <a:pt x="3449" y="1618"/>
                  <a:pt x="3445" y="1608"/>
                  <a:pt x="3436" y="1608"/>
                </a:cubicBezTo>
                <a:close/>
                <a:moveTo>
                  <a:pt x="3508" y="1592"/>
                </a:moveTo>
                <a:cubicBezTo>
                  <a:pt x="3508" y="1592"/>
                  <a:pt x="3508" y="1592"/>
                  <a:pt x="3508" y="1592"/>
                </a:cubicBezTo>
                <a:cubicBezTo>
                  <a:pt x="3503" y="1592"/>
                  <a:pt x="3503" y="1592"/>
                  <a:pt x="3503" y="1592"/>
                </a:cubicBezTo>
                <a:cubicBezTo>
                  <a:pt x="3500" y="1593"/>
                  <a:pt x="3499" y="1594"/>
                  <a:pt x="3497" y="1595"/>
                </a:cubicBezTo>
                <a:cubicBezTo>
                  <a:pt x="3495" y="1597"/>
                  <a:pt x="3493" y="1597"/>
                  <a:pt x="3492" y="1598"/>
                </a:cubicBezTo>
                <a:cubicBezTo>
                  <a:pt x="3490" y="1599"/>
                  <a:pt x="3488" y="1600"/>
                  <a:pt x="3487" y="1600"/>
                </a:cubicBezTo>
                <a:cubicBezTo>
                  <a:pt x="3484" y="1601"/>
                  <a:pt x="3483" y="1602"/>
                  <a:pt x="3481" y="1602"/>
                </a:cubicBezTo>
                <a:cubicBezTo>
                  <a:pt x="3481" y="1602"/>
                  <a:pt x="3481" y="1602"/>
                  <a:pt x="3481" y="1613"/>
                </a:cubicBezTo>
                <a:cubicBezTo>
                  <a:pt x="3484" y="1612"/>
                  <a:pt x="3487" y="1610"/>
                  <a:pt x="3489" y="1610"/>
                </a:cubicBezTo>
                <a:cubicBezTo>
                  <a:pt x="3492" y="1609"/>
                  <a:pt x="3494" y="1608"/>
                  <a:pt x="3496" y="1606"/>
                </a:cubicBezTo>
                <a:cubicBezTo>
                  <a:pt x="3496" y="1606"/>
                  <a:pt x="3496" y="1606"/>
                  <a:pt x="3496" y="1665"/>
                </a:cubicBezTo>
                <a:cubicBezTo>
                  <a:pt x="3496" y="1665"/>
                  <a:pt x="3496" y="1665"/>
                  <a:pt x="3508" y="1665"/>
                </a:cubicBezTo>
                <a:cubicBezTo>
                  <a:pt x="3508" y="1665"/>
                  <a:pt x="3508" y="1665"/>
                  <a:pt x="3508" y="1592"/>
                </a:cubicBezTo>
                <a:close/>
                <a:moveTo>
                  <a:pt x="3298" y="1592"/>
                </a:moveTo>
                <a:cubicBezTo>
                  <a:pt x="3298" y="1592"/>
                  <a:pt x="3298" y="1592"/>
                  <a:pt x="3298" y="1592"/>
                </a:cubicBezTo>
                <a:cubicBezTo>
                  <a:pt x="3293" y="1592"/>
                  <a:pt x="3293" y="1592"/>
                  <a:pt x="3293" y="1592"/>
                </a:cubicBezTo>
                <a:cubicBezTo>
                  <a:pt x="3291" y="1593"/>
                  <a:pt x="3290" y="1594"/>
                  <a:pt x="3288" y="1595"/>
                </a:cubicBezTo>
                <a:cubicBezTo>
                  <a:pt x="3286" y="1597"/>
                  <a:pt x="3285" y="1597"/>
                  <a:pt x="3282" y="1598"/>
                </a:cubicBezTo>
                <a:cubicBezTo>
                  <a:pt x="3281" y="1600"/>
                  <a:pt x="3279" y="1600"/>
                  <a:pt x="3277" y="1601"/>
                </a:cubicBezTo>
                <a:cubicBezTo>
                  <a:pt x="3275" y="1602"/>
                  <a:pt x="3274" y="1602"/>
                  <a:pt x="3272" y="1602"/>
                </a:cubicBezTo>
                <a:cubicBezTo>
                  <a:pt x="3272" y="1602"/>
                  <a:pt x="3272" y="1602"/>
                  <a:pt x="3272" y="1613"/>
                </a:cubicBezTo>
                <a:cubicBezTo>
                  <a:pt x="3274" y="1612"/>
                  <a:pt x="3277" y="1611"/>
                  <a:pt x="3280" y="1610"/>
                </a:cubicBezTo>
                <a:cubicBezTo>
                  <a:pt x="3282" y="1609"/>
                  <a:pt x="3285" y="1608"/>
                  <a:pt x="3287" y="1606"/>
                </a:cubicBezTo>
                <a:cubicBezTo>
                  <a:pt x="3287" y="1606"/>
                  <a:pt x="3287" y="1606"/>
                  <a:pt x="3287" y="1665"/>
                </a:cubicBezTo>
                <a:cubicBezTo>
                  <a:pt x="3287" y="1665"/>
                  <a:pt x="3287" y="1665"/>
                  <a:pt x="3298" y="1665"/>
                </a:cubicBezTo>
                <a:cubicBezTo>
                  <a:pt x="3298" y="1665"/>
                  <a:pt x="3298" y="1665"/>
                  <a:pt x="3298" y="1592"/>
                </a:cubicBezTo>
                <a:close/>
                <a:moveTo>
                  <a:pt x="3345" y="1592"/>
                </a:moveTo>
                <a:cubicBezTo>
                  <a:pt x="3345" y="1592"/>
                  <a:pt x="3345" y="1592"/>
                  <a:pt x="3345" y="1592"/>
                </a:cubicBezTo>
                <a:cubicBezTo>
                  <a:pt x="3340" y="1592"/>
                  <a:pt x="3340" y="1592"/>
                  <a:pt x="3340" y="1592"/>
                </a:cubicBezTo>
                <a:cubicBezTo>
                  <a:pt x="3338" y="1593"/>
                  <a:pt x="3337" y="1594"/>
                  <a:pt x="3334" y="1595"/>
                </a:cubicBezTo>
                <a:cubicBezTo>
                  <a:pt x="3333" y="1597"/>
                  <a:pt x="3331" y="1597"/>
                  <a:pt x="3329" y="1598"/>
                </a:cubicBezTo>
                <a:cubicBezTo>
                  <a:pt x="3328" y="1600"/>
                  <a:pt x="3325" y="1600"/>
                  <a:pt x="3324" y="1601"/>
                </a:cubicBezTo>
                <a:cubicBezTo>
                  <a:pt x="3322" y="1602"/>
                  <a:pt x="3320" y="1602"/>
                  <a:pt x="3318" y="1602"/>
                </a:cubicBezTo>
                <a:cubicBezTo>
                  <a:pt x="3318" y="1602"/>
                  <a:pt x="3318" y="1602"/>
                  <a:pt x="3318" y="1613"/>
                </a:cubicBezTo>
                <a:cubicBezTo>
                  <a:pt x="3321" y="1612"/>
                  <a:pt x="3324" y="1611"/>
                  <a:pt x="3326" y="1610"/>
                </a:cubicBezTo>
                <a:cubicBezTo>
                  <a:pt x="3329" y="1609"/>
                  <a:pt x="3331" y="1608"/>
                  <a:pt x="3334" y="1606"/>
                </a:cubicBezTo>
                <a:cubicBezTo>
                  <a:pt x="3334" y="1606"/>
                  <a:pt x="3334" y="1606"/>
                  <a:pt x="3334" y="1665"/>
                </a:cubicBezTo>
                <a:cubicBezTo>
                  <a:pt x="3334" y="1665"/>
                  <a:pt x="3334" y="1665"/>
                  <a:pt x="3345" y="1665"/>
                </a:cubicBezTo>
                <a:cubicBezTo>
                  <a:pt x="3345" y="1665"/>
                  <a:pt x="3345" y="1665"/>
                  <a:pt x="3345" y="1592"/>
                </a:cubicBezTo>
                <a:close/>
                <a:moveTo>
                  <a:pt x="3391" y="1592"/>
                </a:moveTo>
                <a:cubicBezTo>
                  <a:pt x="3391" y="1592"/>
                  <a:pt x="3391" y="1592"/>
                  <a:pt x="3391" y="1592"/>
                </a:cubicBezTo>
                <a:cubicBezTo>
                  <a:pt x="3387" y="1592"/>
                  <a:pt x="3387" y="1592"/>
                  <a:pt x="3387" y="1592"/>
                </a:cubicBezTo>
                <a:cubicBezTo>
                  <a:pt x="3385" y="1593"/>
                  <a:pt x="3383" y="1594"/>
                  <a:pt x="3381" y="1595"/>
                </a:cubicBezTo>
                <a:cubicBezTo>
                  <a:pt x="3380" y="1597"/>
                  <a:pt x="3377" y="1597"/>
                  <a:pt x="3376" y="1598"/>
                </a:cubicBezTo>
                <a:cubicBezTo>
                  <a:pt x="3374" y="1599"/>
                  <a:pt x="3372" y="1600"/>
                  <a:pt x="3370" y="1600"/>
                </a:cubicBezTo>
                <a:cubicBezTo>
                  <a:pt x="3369" y="1601"/>
                  <a:pt x="3367" y="1602"/>
                  <a:pt x="3365" y="1602"/>
                </a:cubicBezTo>
                <a:cubicBezTo>
                  <a:pt x="3365" y="1602"/>
                  <a:pt x="3365" y="1602"/>
                  <a:pt x="3365" y="1613"/>
                </a:cubicBezTo>
                <a:cubicBezTo>
                  <a:pt x="3368" y="1612"/>
                  <a:pt x="3371" y="1610"/>
                  <a:pt x="3373" y="1610"/>
                </a:cubicBezTo>
                <a:cubicBezTo>
                  <a:pt x="3375" y="1609"/>
                  <a:pt x="3378" y="1608"/>
                  <a:pt x="3380" y="1606"/>
                </a:cubicBezTo>
                <a:cubicBezTo>
                  <a:pt x="3380" y="1606"/>
                  <a:pt x="3380" y="1606"/>
                  <a:pt x="3380" y="1665"/>
                </a:cubicBezTo>
                <a:cubicBezTo>
                  <a:pt x="3380" y="1665"/>
                  <a:pt x="3380" y="1665"/>
                  <a:pt x="3391" y="1665"/>
                </a:cubicBezTo>
                <a:cubicBezTo>
                  <a:pt x="3391" y="1665"/>
                  <a:pt x="3391" y="1665"/>
                  <a:pt x="3391" y="1592"/>
                </a:cubicBezTo>
                <a:close/>
                <a:moveTo>
                  <a:pt x="2149" y="1592"/>
                </a:moveTo>
                <a:cubicBezTo>
                  <a:pt x="2149" y="1592"/>
                  <a:pt x="2149" y="1592"/>
                  <a:pt x="2149" y="1592"/>
                </a:cubicBezTo>
                <a:cubicBezTo>
                  <a:pt x="2144" y="1592"/>
                  <a:pt x="2144" y="1592"/>
                  <a:pt x="2144" y="1592"/>
                </a:cubicBezTo>
                <a:cubicBezTo>
                  <a:pt x="2141" y="1593"/>
                  <a:pt x="2140" y="1594"/>
                  <a:pt x="2138" y="1595"/>
                </a:cubicBezTo>
                <a:cubicBezTo>
                  <a:pt x="2136" y="1597"/>
                  <a:pt x="2134" y="1597"/>
                  <a:pt x="2133" y="1598"/>
                </a:cubicBezTo>
                <a:cubicBezTo>
                  <a:pt x="2131" y="1600"/>
                  <a:pt x="2129" y="1600"/>
                  <a:pt x="2127" y="1601"/>
                </a:cubicBezTo>
                <a:cubicBezTo>
                  <a:pt x="2125" y="1602"/>
                  <a:pt x="2124" y="1602"/>
                  <a:pt x="2121" y="1602"/>
                </a:cubicBezTo>
                <a:cubicBezTo>
                  <a:pt x="2121" y="1602"/>
                  <a:pt x="2121" y="1602"/>
                  <a:pt x="2121" y="1613"/>
                </a:cubicBezTo>
                <a:cubicBezTo>
                  <a:pt x="2124" y="1612"/>
                  <a:pt x="2127" y="1611"/>
                  <a:pt x="2130" y="1610"/>
                </a:cubicBezTo>
                <a:cubicBezTo>
                  <a:pt x="2133" y="1609"/>
                  <a:pt x="2135" y="1608"/>
                  <a:pt x="2137" y="1606"/>
                </a:cubicBezTo>
                <a:cubicBezTo>
                  <a:pt x="2137" y="1606"/>
                  <a:pt x="2137" y="1606"/>
                  <a:pt x="2137" y="1665"/>
                </a:cubicBezTo>
                <a:cubicBezTo>
                  <a:pt x="2137" y="1665"/>
                  <a:pt x="2137" y="1665"/>
                  <a:pt x="2149" y="1665"/>
                </a:cubicBezTo>
                <a:cubicBezTo>
                  <a:pt x="2149" y="1665"/>
                  <a:pt x="2149" y="1665"/>
                  <a:pt x="2149" y="1592"/>
                </a:cubicBezTo>
                <a:close/>
                <a:moveTo>
                  <a:pt x="2195" y="1592"/>
                </a:moveTo>
                <a:cubicBezTo>
                  <a:pt x="2195" y="1592"/>
                  <a:pt x="2195" y="1592"/>
                  <a:pt x="2195" y="1592"/>
                </a:cubicBezTo>
                <a:cubicBezTo>
                  <a:pt x="2190" y="1592"/>
                  <a:pt x="2190" y="1592"/>
                  <a:pt x="2190" y="1592"/>
                </a:cubicBezTo>
                <a:cubicBezTo>
                  <a:pt x="2189" y="1593"/>
                  <a:pt x="2187" y="1594"/>
                  <a:pt x="2185" y="1595"/>
                </a:cubicBezTo>
                <a:cubicBezTo>
                  <a:pt x="2183" y="1597"/>
                  <a:pt x="2182" y="1597"/>
                  <a:pt x="2179" y="1598"/>
                </a:cubicBezTo>
                <a:cubicBezTo>
                  <a:pt x="2178" y="1600"/>
                  <a:pt x="2176" y="1600"/>
                  <a:pt x="2174" y="1601"/>
                </a:cubicBezTo>
                <a:cubicBezTo>
                  <a:pt x="2172" y="1602"/>
                  <a:pt x="2171" y="1602"/>
                  <a:pt x="2168" y="1602"/>
                </a:cubicBezTo>
                <a:cubicBezTo>
                  <a:pt x="2168" y="1602"/>
                  <a:pt x="2168" y="1602"/>
                  <a:pt x="2168" y="1613"/>
                </a:cubicBezTo>
                <a:cubicBezTo>
                  <a:pt x="2171" y="1612"/>
                  <a:pt x="2174" y="1611"/>
                  <a:pt x="2177" y="1610"/>
                </a:cubicBezTo>
                <a:cubicBezTo>
                  <a:pt x="2179" y="1609"/>
                  <a:pt x="2182" y="1608"/>
                  <a:pt x="2184" y="1606"/>
                </a:cubicBezTo>
                <a:cubicBezTo>
                  <a:pt x="2184" y="1606"/>
                  <a:pt x="2184" y="1606"/>
                  <a:pt x="2184" y="1665"/>
                </a:cubicBezTo>
                <a:cubicBezTo>
                  <a:pt x="2184" y="1665"/>
                  <a:pt x="2184" y="1665"/>
                  <a:pt x="2195" y="1665"/>
                </a:cubicBezTo>
                <a:cubicBezTo>
                  <a:pt x="2195" y="1665"/>
                  <a:pt x="2195" y="1665"/>
                  <a:pt x="2195" y="1592"/>
                </a:cubicBezTo>
                <a:close/>
                <a:moveTo>
                  <a:pt x="2241" y="1592"/>
                </a:moveTo>
                <a:cubicBezTo>
                  <a:pt x="2241" y="1592"/>
                  <a:pt x="2241" y="1592"/>
                  <a:pt x="2241" y="1592"/>
                </a:cubicBezTo>
                <a:cubicBezTo>
                  <a:pt x="2237" y="1592"/>
                  <a:pt x="2237" y="1592"/>
                  <a:pt x="2237" y="1592"/>
                </a:cubicBezTo>
                <a:cubicBezTo>
                  <a:pt x="2235" y="1593"/>
                  <a:pt x="2233" y="1594"/>
                  <a:pt x="2231" y="1595"/>
                </a:cubicBezTo>
                <a:cubicBezTo>
                  <a:pt x="2230" y="1597"/>
                  <a:pt x="2228" y="1597"/>
                  <a:pt x="2226" y="1598"/>
                </a:cubicBezTo>
                <a:cubicBezTo>
                  <a:pt x="2224" y="1599"/>
                  <a:pt x="2222" y="1600"/>
                  <a:pt x="2220" y="1600"/>
                </a:cubicBezTo>
                <a:cubicBezTo>
                  <a:pt x="2219" y="1601"/>
                  <a:pt x="2217" y="1602"/>
                  <a:pt x="2215" y="1602"/>
                </a:cubicBezTo>
                <a:cubicBezTo>
                  <a:pt x="2215" y="1602"/>
                  <a:pt x="2215" y="1602"/>
                  <a:pt x="2215" y="1613"/>
                </a:cubicBezTo>
                <a:cubicBezTo>
                  <a:pt x="2218" y="1612"/>
                  <a:pt x="2221" y="1610"/>
                  <a:pt x="2223" y="1610"/>
                </a:cubicBezTo>
                <a:cubicBezTo>
                  <a:pt x="2225" y="1609"/>
                  <a:pt x="2228" y="1608"/>
                  <a:pt x="2230" y="1606"/>
                </a:cubicBezTo>
                <a:cubicBezTo>
                  <a:pt x="2230" y="1606"/>
                  <a:pt x="2230" y="1606"/>
                  <a:pt x="2230" y="1665"/>
                </a:cubicBezTo>
                <a:cubicBezTo>
                  <a:pt x="2230" y="1665"/>
                  <a:pt x="2230" y="1665"/>
                  <a:pt x="2241" y="1665"/>
                </a:cubicBezTo>
                <a:cubicBezTo>
                  <a:pt x="2241" y="1665"/>
                  <a:pt x="2241" y="1665"/>
                  <a:pt x="2241" y="1592"/>
                </a:cubicBezTo>
                <a:close/>
                <a:moveTo>
                  <a:pt x="2378" y="1624"/>
                </a:moveTo>
                <a:cubicBezTo>
                  <a:pt x="2378" y="1624"/>
                  <a:pt x="2378" y="1624"/>
                  <a:pt x="2378" y="1624"/>
                </a:cubicBezTo>
                <a:cubicBezTo>
                  <a:pt x="2377" y="1632"/>
                  <a:pt x="2377" y="1632"/>
                  <a:pt x="2377" y="1632"/>
                </a:cubicBezTo>
                <a:cubicBezTo>
                  <a:pt x="2384" y="1632"/>
                  <a:pt x="2384" y="1635"/>
                  <a:pt x="2384" y="1638"/>
                </a:cubicBezTo>
                <a:cubicBezTo>
                  <a:pt x="2384" y="1640"/>
                  <a:pt x="2384" y="1643"/>
                  <a:pt x="2384" y="1645"/>
                </a:cubicBezTo>
                <a:cubicBezTo>
                  <a:pt x="2384" y="1648"/>
                  <a:pt x="2383" y="1650"/>
                  <a:pt x="2383" y="1652"/>
                </a:cubicBezTo>
                <a:cubicBezTo>
                  <a:pt x="2383" y="1662"/>
                  <a:pt x="2389" y="1665"/>
                  <a:pt x="2398" y="1665"/>
                </a:cubicBezTo>
                <a:cubicBezTo>
                  <a:pt x="2398" y="1665"/>
                  <a:pt x="2398" y="1665"/>
                  <a:pt x="2401" y="1665"/>
                </a:cubicBezTo>
                <a:cubicBezTo>
                  <a:pt x="2401" y="1665"/>
                  <a:pt x="2401" y="1665"/>
                  <a:pt x="2401" y="1656"/>
                </a:cubicBezTo>
                <a:cubicBezTo>
                  <a:pt x="2401" y="1656"/>
                  <a:pt x="2401" y="1656"/>
                  <a:pt x="2400" y="1656"/>
                </a:cubicBezTo>
                <a:cubicBezTo>
                  <a:pt x="2396" y="1656"/>
                  <a:pt x="2395" y="1653"/>
                  <a:pt x="2395" y="1650"/>
                </a:cubicBezTo>
                <a:cubicBezTo>
                  <a:pt x="2395" y="1649"/>
                  <a:pt x="2395" y="1647"/>
                  <a:pt x="2395" y="1645"/>
                </a:cubicBezTo>
                <a:cubicBezTo>
                  <a:pt x="2395" y="1644"/>
                  <a:pt x="2396" y="1641"/>
                  <a:pt x="2396" y="1639"/>
                </a:cubicBezTo>
                <a:cubicBezTo>
                  <a:pt x="2396" y="1632"/>
                  <a:pt x="2393" y="1629"/>
                  <a:pt x="2387" y="1628"/>
                </a:cubicBezTo>
                <a:cubicBezTo>
                  <a:pt x="2387" y="1628"/>
                  <a:pt x="2387" y="1628"/>
                  <a:pt x="2387" y="1628"/>
                </a:cubicBezTo>
                <a:cubicBezTo>
                  <a:pt x="2393" y="1626"/>
                  <a:pt x="2396" y="1624"/>
                  <a:pt x="2396" y="1617"/>
                </a:cubicBezTo>
                <a:cubicBezTo>
                  <a:pt x="2396" y="1614"/>
                  <a:pt x="2395" y="1612"/>
                  <a:pt x="2395" y="1610"/>
                </a:cubicBezTo>
                <a:cubicBezTo>
                  <a:pt x="2395" y="1609"/>
                  <a:pt x="2395" y="1607"/>
                  <a:pt x="2395" y="1606"/>
                </a:cubicBezTo>
                <a:cubicBezTo>
                  <a:pt x="2395" y="1602"/>
                  <a:pt x="2396" y="1600"/>
                  <a:pt x="2400" y="1600"/>
                </a:cubicBezTo>
                <a:cubicBezTo>
                  <a:pt x="2400" y="1600"/>
                  <a:pt x="2400" y="1600"/>
                  <a:pt x="2401" y="1600"/>
                </a:cubicBezTo>
                <a:cubicBezTo>
                  <a:pt x="2401" y="1600"/>
                  <a:pt x="2401" y="1600"/>
                  <a:pt x="2401" y="1591"/>
                </a:cubicBezTo>
                <a:cubicBezTo>
                  <a:pt x="2401" y="1591"/>
                  <a:pt x="2401" y="1591"/>
                  <a:pt x="2398" y="1591"/>
                </a:cubicBezTo>
                <a:cubicBezTo>
                  <a:pt x="2389" y="1591"/>
                  <a:pt x="2383" y="1595"/>
                  <a:pt x="2383" y="1603"/>
                </a:cubicBezTo>
                <a:cubicBezTo>
                  <a:pt x="2383" y="1606"/>
                  <a:pt x="2384" y="1608"/>
                  <a:pt x="2384" y="1611"/>
                </a:cubicBezTo>
                <a:cubicBezTo>
                  <a:pt x="2384" y="1613"/>
                  <a:pt x="2384" y="1616"/>
                  <a:pt x="2384" y="1618"/>
                </a:cubicBezTo>
                <a:cubicBezTo>
                  <a:pt x="2384" y="1620"/>
                  <a:pt x="2384" y="1624"/>
                  <a:pt x="2378" y="1624"/>
                </a:cubicBezTo>
                <a:close/>
                <a:moveTo>
                  <a:pt x="2432" y="1632"/>
                </a:moveTo>
                <a:cubicBezTo>
                  <a:pt x="2432" y="1632"/>
                  <a:pt x="2432" y="1632"/>
                  <a:pt x="2432" y="1632"/>
                </a:cubicBezTo>
                <a:cubicBezTo>
                  <a:pt x="2432" y="1624"/>
                  <a:pt x="2432" y="1624"/>
                  <a:pt x="2432" y="1624"/>
                </a:cubicBezTo>
                <a:cubicBezTo>
                  <a:pt x="2426" y="1624"/>
                  <a:pt x="2426" y="1620"/>
                  <a:pt x="2426" y="1618"/>
                </a:cubicBezTo>
                <a:cubicBezTo>
                  <a:pt x="2426" y="1616"/>
                  <a:pt x="2426" y="1613"/>
                  <a:pt x="2426" y="1611"/>
                </a:cubicBezTo>
                <a:cubicBezTo>
                  <a:pt x="2427" y="1608"/>
                  <a:pt x="2427" y="1606"/>
                  <a:pt x="2427" y="1603"/>
                </a:cubicBezTo>
                <a:cubicBezTo>
                  <a:pt x="2427" y="1595"/>
                  <a:pt x="2421" y="1591"/>
                  <a:pt x="2412" y="1591"/>
                </a:cubicBezTo>
                <a:cubicBezTo>
                  <a:pt x="2412" y="1591"/>
                  <a:pt x="2412" y="1591"/>
                  <a:pt x="2408" y="1591"/>
                </a:cubicBezTo>
                <a:cubicBezTo>
                  <a:pt x="2408" y="1591"/>
                  <a:pt x="2408" y="1591"/>
                  <a:pt x="2408" y="1600"/>
                </a:cubicBezTo>
                <a:cubicBezTo>
                  <a:pt x="2408" y="1600"/>
                  <a:pt x="2408" y="1600"/>
                  <a:pt x="2410" y="1600"/>
                </a:cubicBezTo>
                <a:cubicBezTo>
                  <a:pt x="2414" y="1600"/>
                  <a:pt x="2415" y="1602"/>
                  <a:pt x="2415" y="1606"/>
                </a:cubicBezTo>
                <a:cubicBezTo>
                  <a:pt x="2415" y="1607"/>
                  <a:pt x="2415" y="1609"/>
                  <a:pt x="2415" y="1610"/>
                </a:cubicBezTo>
                <a:cubicBezTo>
                  <a:pt x="2414" y="1612"/>
                  <a:pt x="2414" y="1614"/>
                  <a:pt x="2414" y="1617"/>
                </a:cubicBezTo>
                <a:cubicBezTo>
                  <a:pt x="2414" y="1624"/>
                  <a:pt x="2417" y="1626"/>
                  <a:pt x="2423" y="1628"/>
                </a:cubicBezTo>
                <a:cubicBezTo>
                  <a:pt x="2423" y="1628"/>
                  <a:pt x="2423" y="1628"/>
                  <a:pt x="2423" y="1628"/>
                </a:cubicBezTo>
                <a:cubicBezTo>
                  <a:pt x="2417" y="1629"/>
                  <a:pt x="2414" y="1632"/>
                  <a:pt x="2414" y="1639"/>
                </a:cubicBezTo>
                <a:cubicBezTo>
                  <a:pt x="2414" y="1641"/>
                  <a:pt x="2414" y="1644"/>
                  <a:pt x="2415" y="1645"/>
                </a:cubicBezTo>
                <a:cubicBezTo>
                  <a:pt x="2415" y="1647"/>
                  <a:pt x="2415" y="1649"/>
                  <a:pt x="2415" y="1650"/>
                </a:cubicBezTo>
                <a:cubicBezTo>
                  <a:pt x="2415" y="1653"/>
                  <a:pt x="2414" y="1656"/>
                  <a:pt x="2410" y="1656"/>
                </a:cubicBezTo>
                <a:cubicBezTo>
                  <a:pt x="2410" y="1656"/>
                  <a:pt x="2410" y="1656"/>
                  <a:pt x="2408" y="1656"/>
                </a:cubicBezTo>
                <a:cubicBezTo>
                  <a:pt x="2408" y="1656"/>
                  <a:pt x="2408" y="1656"/>
                  <a:pt x="2408" y="1665"/>
                </a:cubicBezTo>
                <a:cubicBezTo>
                  <a:pt x="2408" y="1665"/>
                  <a:pt x="2408" y="1665"/>
                  <a:pt x="2412" y="1665"/>
                </a:cubicBezTo>
                <a:cubicBezTo>
                  <a:pt x="2421" y="1665"/>
                  <a:pt x="2427" y="1662"/>
                  <a:pt x="2427" y="1652"/>
                </a:cubicBezTo>
                <a:cubicBezTo>
                  <a:pt x="2427" y="1650"/>
                  <a:pt x="2427" y="1648"/>
                  <a:pt x="2426" y="1645"/>
                </a:cubicBezTo>
                <a:cubicBezTo>
                  <a:pt x="2426" y="1643"/>
                  <a:pt x="2426" y="1640"/>
                  <a:pt x="2426" y="1638"/>
                </a:cubicBezTo>
                <a:cubicBezTo>
                  <a:pt x="2426" y="1635"/>
                  <a:pt x="2426" y="1632"/>
                  <a:pt x="2432" y="1632"/>
                </a:cubicBezTo>
                <a:close/>
                <a:moveTo>
                  <a:pt x="2479" y="1592"/>
                </a:moveTo>
                <a:cubicBezTo>
                  <a:pt x="2479" y="1592"/>
                  <a:pt x="2479" y="1592"/>
                  <a:pt x="2479" y="1592"/>
                </a:cubicBezTo>
                <a:cubicBezTo>
                  <a:pt x="2474" y="1592"/>
                  <a:pt x="2474" y="1592"/>
                  <a:pt x="2474" y="1592"/>
                </a:cubicBezTo>
                <a:cubicBezTo>
                  <a:pt x="2472" y="1593"/>
                  <a:pt x="2470" y="1594"/>
                  <a:pt x="2468" y="1595"/>
                </a:cubicBezTo>
                <a:cubicBezTo>
                  <a:pt x="2467" y="1597"/>
                  <a:pt x="2465" y="1597"/>
                  <a:pt x="2463" y="1598"/>
                </a:cubicBezTo>
                <a:cubicBezTo>
                  <a:pt x="2461" y="1599"/>
                  <a:pt x="2459" y="1600"/>
                  <a:pt x="2458" y="1600"/>
                </a:cubicBezTo>
                <a:cubicBezTo>
                  <a:pt x="2456" y="1601"/>
                  <a:pt x="2454" y="1602"/>
                  <a:pt x="2452" y="1602"/>
                </a:cubicBezTo>
                <a:cubicBezTo>
                  <a:pt x="2452" y="1602"/>
                  <a:pt x="2452" y="1602"/>
                  <a:pt x="2452" y="1613"/>
                </a:cubicBezTo>
                <a:cubicBezTo>
                  <a:pt x="2455" y="1612"/>
                  <a:pt x="2458" y="1610"/>
                  <a:pt x="2460" y="1610"/>
                </a:cubicBezTo>
                <a:cubicBezTo>
                  <a:pt x="2463" y="1609"/>
                  <a:pt x="2465" y="1608"/>
                  <a:pt x="2467" y="1606"/>
                </a:cubicBezTo>
                <a:cubicBezTo>
                  <a:pt x="2467" y="1606"/>
                  <a:pt x="2467" y="1606"/>
                  <a:pt x="2467" y="1665"/>
                </a:cubicBezTo>
                <a:cubicBezTo>
                  <a:pt x="2467" y="1665"/>
                  <a:pt x="2467" y="1665"/>
                  <a:pt x="2479" y="1665"/>
                </a:cubicBezTo>
                <a:cubicBezTo>
                  <a:pt x="2479" y="1665"/>
                  <a:pt x="2479" y="1665"/>
                  <a:pt x="2479" y="1592"/>
                </a:cubicBezTo>
                <a:close/>
                <a:moveTo>
                  <a:pt x="2526" y="1592"/>
                </a:moveTo>
                <a:cubicBezTo>
                  <a:pt x="2526" y="1592"/>
                  <a:pt x="2526" y="1592"/>
                  <a:pt x="2526" y="1592"/>
                </a:cubicBezTo>
                <a:cubicBezTo>
                  <a:pt x="2521" y="1592"/>
                  <a:pt x="2521" y="1592"/>
                  <a:pt x="2521" y="1592"/>
                </a:cubicBezTo>
                <a:cubicBezTo>
                  <a:pt x="2518" y="1593"/>
                  <a:pt x="2517" y="1594"/>
                  <a:pt x="2515" y="1595"/>
                </a:cubicBezTo>
                <a:cubicBezTo>
                  <a:pt x="2513" y="1597"/>
                  <a:pt x="2511" y="1597"/>
                  <a:pt x="2510" y="1598"/>
                </a:cubicBezTo>
                <a:cubicBezTo>
                  <a:pt x="2508" y="1600"/>
                  <a:pt x="2506" y="1600"/>
                  <a:pt x="2505" y="1601"/>
                </a:cubicBezTo>
                <a:cubicBezTo>
                  <a:pt x="2502" y="1602"/>
                  <a:pt x="2501" y="1602"/>
                  <a:pt x="2499" y="1602"/>
                </a:cubicBezTo>
                <a:cubicBezTo>
                  <a:pt x="2499" y="1602"/>
                  <a:pt x="2499" y="1602"/>
                  <a:pt x="2499" y="1613"/>
                </a:cubicBezTo>
                <a:cubicBezTo>
                  <a:pt x="2502" y="1612"/>
                  <a:pt x="2505" y="1611"/>
                  <a:pt x="2507" y="1610"/>
                </a:cubicBezTo>
                <a:cubicBezTo>
                  <a:pt x="2510" y="1609"/>
                  <a:pt x="2512" y="1608"/>
                  <a:pt x="2514" y="1606"/>
                </a:cubicBezTo>
                <a:cubicBezTo>
                  <a:pt x="2514" y="1606"/>
                  <a:pt x="2514" y="1606"/>
                  <a:pt x="2514" y="1665"/>
                </a:cubicBezTo>
                <a:cubicBezTo>
                  <a:pt x="2514" y="1665"/>
                  <a:pt x="2514" y="1665"/>
                  <a:pt x="2526" y="1665"/>
                </a:cubicBezTo>
                <a:cubicBezTo>
                  <a:pt x="2526" y="1665"/>
                  <a:pt x="2526" y="1665"/>
                  <a:pt x="2526" y="1592"/>
                </a:cubicBezTo>
                <a:close/>
                <a:moveTo>
                  <a:pt x="2571" y="1592"/>
                </a:moveTo>
                <a:cubicBezTo>
                  <a:pt x="2571" y="1592"/>
                  <a:pt x="2571" y="1592"/>
                  <a:pt x="2571" y="1592"/>
                </a:cubicBezTo>
                <a:cubicBezTo>
                  <a:pt x="2567" y="1592"/>
                  <a:pt x="2567" y="1592"/>
                  <a:pt x="2567" y="1592"/>
                </a:cubicBezTo>
                <a:cubicBezTo>
                  <a:pt x="2565" y="1593"/>
                  <a:pt x="2563" y="1594"/>
                  <a:pt x="2561" y="1595"/>
                </a:cubicBezTo>
                <a:cubicBezTo>
                  <a:pt x="2560" y="1597"/>
                  <a:pt x="2558" y="1597"/>
                  <a:pt x="2556" y="1598"/>
                </a:cubicBezTo>
                <a:cubicBezTo>
                  <a:pt x="2554" y="1600"/>
                  <a:pt x="2552" y="1600"/>
                  <a:pt x="2550" y="1601"/>
                </a:cubicBezTo>
                <a:cubicBezTo>
                  <a:pt x="2549" y="1602"/>
                  <a:pt x="2547" y="1602"/>
                  <a:pt x="2545" y="1602"/>
                </a:cubicBezTo>
                <a:cubicBezTo>
                  <a:pt x="2545" y="1602"/>
                  <a:pt x="2545" y="1602"/>
                  <a:pt x="2545" y="1613"/>
                </a:cubicBezTo>
                <a:cubicBezTo>
                  <a:pt x="2548" y="1612"/>
                  <a:pt x="2551" y="1611"/>
                  <a:pt x="2553" y="1610"/>
                </a:cubicBezTo>
                <a:cubicBezTo>
                  <a:pt x="2555" y="1609"/>
                  <a:pt x="2558" y="1608"/>
                  <a:pt x="2560" y="1606"/>
                </a:cubicBezTo>
                <a:cubicBezTo>
                  <a:pt x="2560" y="1606"/>
                  <a:pt x="2560" y="1606"/>
                  <a:pt x="2560" y="1665"/>
                </a:cubicBezTo>
                <a:cubicBezTo>
                  <a:pt x="2560" y="1665"/>
                  <a:pt x="2560" y="1665"/>
                  <a:pt x="2571" y="1665"/>
                </a:cubicBezTo>
                <a:cubicBezTo>
                  <a:pt x="2571" y="1665"/>
                  <a:pt x="2571" y="1665"/>
                  <a:pt x="2571" y="1592"/>
                </a:cubicBezTo>
                <a:close/>
                <a:moveTo>
                  <a:pt x="2321" y="1639"/>
                </a:moveTo>
                <a:cubicBezTo>
                  <a:pt x="2322" y="1640"/>
                  <a:pt x="2322" y="1642"/>
                  <a:pt x="2323" y="1643"/>
                </a:cubicBezTo>
                <a:cubicBezTo>
                  <a:pt x="2323" y="1645"/>
                  <a:pt x="2323" y="1647"/>
                  <a:pt x="2324" y="1648"/>
                </a:cubicBezTo>
                <a:cubicBezTo>
                  <a:pt x="2324" y="1650"/>
                  <a:pt x="2324" y="1652"/>
                  <a:pt x="2324" y="1653"/>
                </a:cubicBezTo>
                <a:cubicBezTo>
                  <a:pt x="2325" y="1656"/>
                  <a:pt x="2324" y="1658"/>
                  <a:pt x="2321" y="1658"/>
                </a:cubicBezTo>
                <a:cubicBezTo>
                  <a:pt x="2318" y="1658"/>
                  <a:pt x="2315" y="1657"/>
                  <a:pt x="2313" y="1657"/>
                </a:cubicBezTo>
                <a:cubicBezTo>
                  <a:pt x="2312" y="1657"/>
                  <a:pt x="2311" y="1657"/>
                  <a:pt x="2311" y="1658"/>
                </a:cubicBezTo>
                <a:cubicBezTo>
                  <a:pt x="2309" y="1659"/>
                  <a:pt x="2308" y="1661"/>
                  <a:pt x="2307" y="1662"/>
                </a:cubicBezTo>
                <a:cubicBezTo>
                  <a:pt x="2305" y="1665"/>
                  <a:pt x="2302" y="1665"/>
                  <a:pt x="2299" y="1663"/>
                </a:cubicBezTo>
                <a:cubicBezTo>
                  <a:pt x="2297" y="1661"/>
                  <a:pt x="2296" y="1658"/>
                  <a:pt x="2294" y="1656"/>
                </a:cubicBezTo>
                <a:cubicBezTo>
                  <a:pt x="2294" y="1654"/>
                  <a:pt x="2294" y="1652"/>
                  <a:pt x="2296" y="1651"/>
                </a:cubicBezTo>
                <a:cubicBezTo>
                  <a:pt x="2294" y="1651"/>
                  <a:pt x="2292" y="1651"/>
                  <a:pt x="2291" y="1651"/>
                </a:cubicBezTo>
                <a:cubicBezTo>
                  <a:pt x="2290" y="1653"/>
                  <a:pt x="2289" y="1655"/>
                  <a:pt x="2288" y="1657"/>
                </a:cubicBezTo>
                <a:cubicBezTo>
                  <a:pt x="2288" y="1657"/>
                  <a:pt x="2287" y="1658"/>
                  <a:pt x="2287" y="1659"/>
                </a:cubicBezTo>
                <a:cubicBezTo>
                  <a:pt x="2287" y="1662"/>
                  <a:pt x="2286" y="1663"/>
                  <a:pt x="2283" y="1663"/>
                </a:cubicBezTo>
                <a:cubicBezTo>
                  <a:pt x="2280" y="1663"/>
                  <a:pt x="2277" y="1662"/>
                  <a:pt x="2274" y="1661"/>
                </a:cubicBezTo>
                <a:cubicBezTo>
                  <a:pt x="2272" y="1660"/>
                  <a:pt x="2272" y="1659"/>
                  <a:pt x="2272" y="1657"/>
                </a:cubicBezTo>
                <a:cubicBezTo>
                  <a:pt x="2273" y="1656"/>
                  <a:pt x="2273" y="1655"/>
                  <a:pt x="2273" y="1655"/>
                </a:cubicBezTo>
                <a:cubicBezTo>
                  <a:pt x="2271" y="1654"/>
                  <a:pt x="2268" y="1653"/>
                  <a:pt x="2266" y="1652"/>
                </a:cubicBezTo>
                <a:cubicBezTo>
                  <a:pt x="2265" y="1651"/>
                  <a:pt x="2264" y="1649"/>
                  <a:pt x="2263" y="1647"/>
                </a:cubicBezTo>
                <a:cubicBezTo>
                  <a:pt x="2262" y="1645"/>
                  <a:pt x="2262" y="1644"/>
                  <a:pt x="2264" y="1642"/>
                </a:cubicBezTo>
                <a:cubicBezTo>
                  <a:pt x="2267" y="1640"/>
                  <a:pt x="2268" y="1637"/>
                  <a:pt x="2267" y="1633"/>
                </a:cubicBezTo>
                <a:cubicBezTo>
                  <a:pt x="2267" y="1631"/>
                  <a:pt x="2267" y="1629"/>
                  <a:pt x="2267" y="1627"/>
                </a:cubicBezTo>
                <a:cubicBezTo>
                  <a:pt x="2266" y="1626"/>
                  <a:pt x="2264" y="1626"/>
                  <a:pt x="2263" y="1625"/>
                </a:cubicBezTo>
                <a:cubicBezTo>
                  <a:pt x="2262" y="1623"/>
                  <a:pt x="2262" y="1621"/>
                  <a:pt x="2262" y="1619"/>
                </a:cubicBezTo>
                <a:cubicBezTo>
                  <a:pt x="2261" y="1616"/>
                  <a:pt x="2265" y="1614"/>
                  <a:pt x="2267" y="1613"/>
                </a:cubicBezTo>
                <a:cubicBezTo>
                  <a:pt x="2268" y="1614"/>
                  <a:pt x="2268" y="1614"/>
                  <a:pt x="2268" y="1615"/>
                </a:cubicBezTo>
                <a:cubicBezTo>
                  <a:pt x="2268" y="1616"/>
                  <a:pt x="2268" y="1617"/>
                  <a:pt x="2269" y="1618"/>
                </a:cubicBezTo>
                <a:cubicBezTo>
                  <a:pt x="2268" y="1618"/>
                  <a:pt x="2267" y="1618"/>
                  <a:pt x="2267" y="1618"/>
                </a:cubicBezTo>
                <a:cubicBezTo>
                  <a:pt x="2267" y="1619"/>
                  <a:pt x="2266" y="1620"/>
                  <a:pt x="2265" y="1622"/>
                </a:cubicBezTo>
                <a:cubicBezTo>
                  <a:pt x="2267" y="1622"/>
                  <a:pt x="2267" y="1622"/>
                  <a:pt x="2268" y="1621"/>
                </a:cubicBezTo>
                <a:cubicBezTo>
                  <a:pt x="2269" y="1620"/>
                  <a:pt x="2270" y="1619"/>
                  <a:pt x="2271" y="1618"/>
                </a:cubicBezTo>
                <a:cubicBezTo>
                  <a:pt x="2275" y="1612"/>
                  <a:pt x="2281" y="1608"/>
                  <a:pt x="2289" y="1606"/>
                </a:cubicBezTo>
                <a:cubicBezTo>
                  <a:pt x="2292" y="1606"/>
                  <a:pt x="2295" y="1604"/>
                  <a:pt x="2297" y="1602"/>
                </a:cubicBezTo>
                <a:cubicBezTo>
                  <a:pt x="2297" y="1601"/>
                  <a:pt x="2298" y="1601"/>
                  <a:pt x="2298" y="1601"/>
                </a:cubicBezTo>
                <a:cubicBezTo>
                  <a:pt x="2301" y="1600"/>
                  <a:pt x="2303" y="1598"/>
                  <a:pt x="2305" y="1596"/>
                </a:cubicBezTo>
                <a:cubicBezTo>
                  <a:pt x="2312" y="1589"/>
                  <a:pt x="2324" y="1588"/>
                  <a:pt x="2332" y="1595"/>
                </a:cubicBezTo>
                <a:cubicBezTo>
                  <a:pt x="2334" y="1597"/>
                  <a:pt x="2337" y="1599"/>
                  <a:pt x="2339" y="1601"/>
                </a:cubicBezTo>
                <a:cubicBezTo>
                  <a:pt x="2341" y="1602"/>
                  <a:pt x="2342" y="1604"/>
                  <a:pt x="2343" y="1606"/>
                </a:cubicBezTo>
                <a:cubicBezTo>
                  <a:pt x="2344" y="1607"/>
                  <a:pt x="2345" y="1607"/>
                  <a:pt x="2346" y="1606"/>
                </a:cubicBezTo>
                <a:cubicBezTo>
                  <a:pt x="2347" y="1606"/>
                  <a:pt x="2347" y="1605"/>
                  <a:pt x="2348" y="1604"/>
                </a:cubicBezTo>
                <a:cubicBezTo>
                  <a:pt x="2350" y="1601"/>
                  <a:pt x="2353" y="1601"/>
                  <a:pt x="2354" y="1604"/>
                </a:cubicBezTo>
                <a:cubicBezTo>
                  <a:pt x="2356" y="1608"/>
                  <a:pt x="2356" y="1610"/>
                  <a:pt x="2357" y="1614"/>
                </a:cubicBezTo>
                <a:cubicBezTo>
                  <a:pt x="2358" y="1618"/>
                  <a:pt x="2357" y="1622"/>
                  <a:pt x="2356" y="1627"/>
                </a:cubicBezTo>
                <a:cubicBezTo>
                  <a:pt x="2353" y="1633"/>
                  <a:pt x="2349" y="1636"/>
                  <a:pt x="2342" y="1636"/>
                </a:cubicBezTo>
                <a:cubicBezTo>
                  <a:pt x="2341" y="1636"/>
                  <a:pt x="2341" y="1636"/>
                  <a:pt x="2340" y="1636"/>
                </a:cubicBezTo>
                <a:cubicBezTo>
                  <a:pt x="2338" y="1636"/>
                  <a:pt x="2336" y="1636"/>
                  <a:pt x="2336" y="1639"/>
                </a:cubicBezTo>
                <a:cubicBezTo>
                  <a:pt x="2334" y="1643"/>
                  <a:pt x="2329" y="1645"/>
                  <a:pt x="2325" y="1642"/>
                </a:cubicBezTo>
                <a:cubicBezTo>
                  <a:pt x="2324" y="1640"/>
                  <a:pt x="2323" y="1640"/>
                  <a:pt x="2322" y="1638"/>
                </a:cubicBezTo>
                <a:cubicBezTo>
                  <a:pt x="2322" y="1639"/>
                  <a:pt x="2322" y="1639"/>
                  <a:pt x="2321" y="1639"/>
                </a:cubicBezTo>
                <a:close/>
                <a:moveTo>
                  <a:pt x="2316" y="1635"/>
                </a:moveTo>
                <a:cubicBezTo>
                  <a:pt x="2319" y="1636"/>
                  <a:pt x="2323" y="1637"/>
                  <a:pt x="2325" y="1640"/>
                </a:cubicBezTo>
                <a:cubicBezTo>
                  <a:pt x="2327" y="1642"/>
                  <a:pt x="2329" y="1642"/>
                  <a:pt x="2331" y="1642"/>
                </a:cubicBezTo>
                <a:cubicBezTo>
                  <a:pt x="2334" y="1641"/>
                  <a:pt x="2335" y="1639"/>
                  <a:pt x="2335" y="1636"/>
                </a:cubicBezTo>
                <a:cubicBezTo>
                  <a:pt x="2335" y="1636"/>
                  <a:pt x="2334" y="1636"/>
                  <a:pt x="2334" y="1636"/>
                </a:cubicBezTo>
                <a:cubicBezTo>
                  <a:pt x="2334" y="1638"/>
                  <a:pt x="2333" y="1639"/>
                  <a:pt x="2332" y="1640"/>
                </a:cubicBezTo>
                <a:cubicBezTo>
                  <a:pt x="2331" y="1641"/>
                  <a:pt x="2329" y="1641"/>
                  <a:pt x="2329" y="1640"/>
                </a:cubicBezTo>
                <a:cubicBezTo>
                  <a:pt x="2328" y="1640"/>
                  <a:pt x="2327" y="1639"/>
                  <a:pt x="2327" y="1638"/>
                </a:cubicBezTo>
                <a:cubicBezTo>
                  <a:pt x="2327" y="1636"/>
                  <a:pt x="2328" y="1634"/>
                  <a:pt x="2328" y="1632"/>
                </a:cubicBezTo>
                <a:cubicBezTo>
                  <a:pt x="2331" y="1633"/>
                  <a:pt x="2334" y="1634"/>
                  <a:pt x="2338" y="1635"/>
                </a:cubicBezTo>
                <a:cubicBezTo>
                  <a:pt x="2345" y="1636"/>
                  <a:pt x="2351" y="1634"/>
                  <a:pt x="2354" y="1625"/>
                </a:cubicBezTo>
                <a:cubicBezTo>
                  <a:pt x="2356" y="1621"/>
                  <a:pt x="2356" y="1616"/>
                  <a:pt x="2355" y="1611"/>
                </a:cubicBezTo>
                <a:cubicBezTo>
                  <a:pt x="2354" y="1609"/>
                  <a:pt x="2354" y="1607"/>
                  <a:pt x="2353" y="1605"/>
                </a:cubicBezTo>
                <a:cubicBezTo>
                  <a:pt x="2352" y="1604"/>
                  <a:pt x="2351" y="1603"/>
                  <a:pt x="2350" y="1605"/>
                </a:cubicBezTo>
                <a:cubicBezTo>
                  <a:pt x="2348" y="1606"/>
                  <a:pt x="2347" y="1608"/>
                  <a:pt x="2345" y="1609"/>
                </a:cubicBezTo>
                <a:cubicBezTo>
                  <a:pt x="2344" y="1609"/>
                  <a:pt x="2343" y="1610"/>
                  <a:pt x="2343" y="1611"/>
                </a:cubicBezTo>
                <a:cubicBezTo>
                  <a:pt x="2344" y="1614"/>
                  <a:pt x="2343" y="1617"/>
                  <a:pt x="2342" y="1621"/>
                </a:cubicBezTo>
                <a:cubicBezTo>
                  <a:pt x="2342" y="1619"/>
                  <a:pt x="2343" y="1617"/>
                  <a:pt x="2343" y="1615"/>
                </a:cubicBezTo>
                <a:cubicBezTo>
                  <a:pt x="2343" y="1614"/>
                  <a:pt x="2342" y="1614"/>
                  <a:pt x="2342" y="1614"/>
                </a:cubicBezTo>
                <a:cubicBezTo>
                  <a:pt x="2342" y="1614"/>
                  <a:pt x="2341" y="1614"/>
                  <a:pt x="2341" y="1614"/>
                </a:cubicBezTo>
                <a:cubicBezTo>
                  <a:pt x="2340" y="1616"/>
                  <a:pt x="2339" y="1617"/>
                  <a:pt x="2338" y="1618"/>
                </a:cubicBezTo>
                <a:cubicBezTo>
                  <a:pt x="2338" y="1618"/>
                  <a:pt x="2338" y="1618"/>
                  <a:pt x="2338" y="1618"/>
                </a:cubicBezTo>
                <a:cubicBezTo>
                  <a:pt x="2338" y="1617"/>
                  <a:pt x="2339" y="1615"/>
                  <a:pt x="2339" y="1613"/>
                </a:cubicBezTo>
                <a:cubicBezTo>
                  <a:pt x="2338" y="1614"/>
                  <a:pt x="2338" y="1614"/>
                  <a:pt x="2337" y="1615"/>
                </a:cubicBezTo>
                <a:cubicBezTo>
                  <a:pt x="2336" y="1615"/>
                  <a:pt x="2336" y="1616"/>
                  <a:pt x="2336" y="1617"/>
                </a:cubicBezTo>
                <a:cubicBezTo>
                  <a:pt x="2336" y="1613"/>
                  <a:pt x="2336" y="1613"/>
                  <a:pt x="2342" y="1612"/>
                </a:cubicBezTo>
                <a:cubicBezTo>
                  <a:pt x="2342" y="1612"/>
                  <a:pt x="2341" y="1611"/>
                  <a:pt x="2341" y="1611"/>
                </a:cubicBezTo>
                <a:cubicBezTo>
                  <a:pt x="2338" y="1612"/>
                  <a:pt x="2338" y="1610"/>
                  <a:pt x="2337" y="1608"/>
                </a:cubicBezTo>
                <a:cubicBezTo>
                  <a:pt x="2339" y="1607"/>
                  <a:pt x="2340" y="1607"/>
                  <a:pt x="2342" y="1606"/>
                </a:cubicBezTo>
                <a:cubicBezTo>
                  <a:pt x="2340" y="1604"/>
                  <a:pt x="2339" y="1601"/>
                  <a:pt x="2336" y="1601"/>
                </a:cubicBezTo>
                <a:cubicBezTo>
                  <a:pt x="2335" y="1601"/>
                  <a:pt x="2335" y="1600"/>
                  <a:pt x="2335" y="1600"/>
                </a:cubicBezTo>
                <a:cubicBezTo>
                  <a:pt x="2333" y="1598"/>
                  <a:pt x="2330" y="1596"/>
                  <a:pt x="2327" y="1594"/>
                </a:cubicBezTo>
                <a:cubicBezTo>
                  <a:pt x="2325" y="1593"/>
                  <a:pt x="2322" y="1592"/>
                  <a:pt x="2320" y="1592"/>
                </a:cubicBezTo>
                <a:cubicBezTo>
                  <a:pt x="2317" y="1592"/>
                  <a:pt x="2314" y="1593"/>
                  <a:pt x="2311" y="1594"/>
                </a:cubicBezTo>
                <a:cubicBezTo>
                  <a:pt x="2308" y="1595"/>
                  <a:pt x="2305" y="1597"/>
                  <a:pt x="2303" y="1600"/>
                </a:cubicBezTo>
                <a:cubicBezTo>
                  <a:pt x="2305" y="1600"/>
                  <a:pt x="2306" y="1600"/>
                  <a:pt x="2307" y="1600"/>
                </a:cubicBezTo>
                <a:cubicBezTo>
                  <a:pt x="2307" y="1600"/>
                  <a:pt x="2306" y="1601"/>
                  <a:pt x="2305" y="1601"/>
                </a:cubicBezTo>
                <a:cubicBezTo>
                  <a:pt x="2303" y="1602"/>
                  <a:pt x="2300" y="1601"/>
                  <a:pt x="2298" y="1603"/>
                </a:cubicBezTo>
                <a:cubicBezTo>
                  <a:pt x="2295" y="1607"/>
                  <a:pt x="2291" y="1611"/>
                  <a:pt x="2287" y="1615"/>
                </a:cubicBezTo>
                <a:cubicBezTo>
                  <a:pt x="2286" y="1617"/>
                  <a:pt x="2285" y="1619"/>
                  <a:pt x="2284" y="1622"/>
                </a:cubicBezTo>
                <a:cubicBezTo>
                  <a:pt x="2284" y="1622"/>
                  <a:pt x="2284" y="1623"/>
                  <a:pt x="2284" y="1623"/>
                </a:cubicBezTo>
                <a:cubicBezTo>
                  <a:pt x="2285" y="1625"/>
                  <a:pt x="2287" y="1627"/>
                  <a:pt x="2288" y="1629"/>
                </a:cubicBezTo>
                <a:cubicBezTo>
                  <a:pt x="2289" y="1628"/>
                  <a:pt x="2291" y="1626"/>
                  <a:pt x="2292" y="1625"/>
                </a:cubicBezTo>
                <a:cubicBezTo>
                  <a:pt x="2291" y="1626"/>
                  <a:pt x="2291" y="1627"/>
                  <a:pt x="2290" y="1629"/>
                </a:cubicBezTo>
                <a:cubicBezTo>
                  <a:pt x="2289" y="1630"/>
                  <a:pt x="2289" y="1631"/>
                  <a:pt x="2288" y="1633"/>
                </a:cubicBezTo>
                <a:cubicBezTo>
                  <a:pt x="2288" y="1634"/>
                  <a:pt x="2288" y="1635"/>
                  <a:pt x="2289" y="1636"/>
                </a:cubicBezTo>
                <a:cubicBezTo>
                  <a:pt x="2291" y="1639"/>
                  <a:pt x="2294" y="1639"/>
                  <a:pt x="2298" y="1637"/>
                </a:cubicBezTo>
                <a:cubicBezTo>
                  <a:pt x="2300" y="1636"/>
                  <a:pt x="2303" y="1635"/>
                  <a:pt x="2306" y="1634"/>
                </a:cubicBezTo>
                <a:cubicBezTo>
                  <a:pt x="2307" y="1633"/>
                  <a:pt x="2309" y="1633"/>
                  <a:pt x="2309" y="1631"/>
                </a:cubicBezTo>
                <a:cubicBezTo>
                  <a:pt x="2309" y="1628"/>
                  <a:pt x="2309" y="1624"/>
                  <a:pt x="2309" y="1621"/>
                </a:cubicBezTo>
                <a:cubicBezTo>
                  <a:pt x="2309" y="1618"/>
                  <a:pt x="2309" y="1615"/>
                  <a:pt x="2309" y="1612"/>
                </a:cubicBezTo>
                <a:cubicBezTo>
                  <a:pt x="2309" y="1615"/>
                  <a:pt x="2310" y="1617"/>
                  <a:pt x="2310" y="1620"/>
                </a:cubicBezTo>
                <a:cubicBezTo>
                  <a:pt x="2311" y="1625"/>
                  <a:pt x="2311" y="1629"/>
                  <a:pt x="2310" y="1633"/>
                </a:cubicBezTo>
                <a:cubicBezTo>
                  <a:pt x="2309" y="1634"/>
                  <a:pt x="2309" y="1635"/>
                  <a:pt x="2308" y="1635"/>
                </a:cubicBezTo>
                <a:cubicBezTo>
                  <a:pt x="2305" y="1635"/>
                  <a:pt x="2302" y="1637"/>
                  <a:pt x="2298" y="1639"/>
                </a:cubicBezTo>
                <a:cubicBezTo>
                  <a:pt x="2293" y="1642"/>
                  <a:pt x="2290" y="1640"/>
                  <a:pt x="2286" y="1636"/>
                </a:cubicBezTo>
                <a:cubicBezTo>
                  <a:pt x="2286" y="1636"/>
                  <a:pt x="2286" y="1635"/>
                  <a:pt x="2286" y="1634"/>
                </a:cubicBezTo>
                <a:cubicBezTo>
                  <a:pt x="2287" y="1632"/>
                  <a:pt x="2286" y="1630"/>
                  <a:pt x="2285" y="1628"/>
                </a:cubicBezTo>
                <a:cubicBezTo>
                  <a:pt x="2283" y="1626"/>
                  <a:pt x="2282" y="1623"/>
                  <a:pt x="2283" y="1621"/>
                </a:cubicBezTo>
                <a:cubicBezTo>
                  <a:pt x="2283" y="1619"/>
                  <a:pt x="2284" y="1617"/>
                  <a:pt x="2285" y="1616"/>
                </a:cubicBezTo>
                <a:cubicBezTo>
                  <a:pt x="2287" y="1613"/>
                  <a:pt x="2289" y="1610"/>
                  <a:pt x="2291" y="1608"/>
                </a:cubicBezTo>
                <a:cubicBezTo>
                  <a:pt x="2291" y="1608"/>
                  <a:pt x="2290" y="1608"/>
                  <a:pt x="2290" y="1608"/>
                </a:cubicBezTo>
                <a:cubicBezTo>
                  <a:pt x="2285" y="1609"/>
                  <a:pt x="2281" y="1610"/>
                  <a:pt x="2277" y="1614"/>
                </a:cubicBezTo>
                <a:cubicBezTo>
                  <a:pt x="2272" y="1618"/>
                  <a:pt x="2269" y="1623"/>
                  <a:pt x="2269" y="1630"/>
                </a:cubicBezTo>
                <a:cubicBezTo>
                  <a:pt x="2269" y="1636"/>
                  <a:pt x="2271" y="1642"/>
                  <a:pt x="2274" y="1648"/>
                </a:cubicBezTo>
                <a:cubicBezTo>
                  <a:pt x="2275" y="1649"/>
                  <a:pt x="2276" y="1651"/>
                  <a:pt x="2275" y="1652"/>
                </a:cubicBezTo>
                <a:cubicBezTo>
                  <a:pt x="2275" y="1654"/>
                  <a:pt x="2275" y="1655"/>
                  <a:pt x="2274" y="1656"/>
                </a:cubicBezTo>
                <a:cubicBezTo>
                  <a:pt x="2274" y="1658"/>
                  <a:pt x="2274" y="1659"/>
                  <a:pt x="2275" y="1659"/>
                </a:cubicBezTo>
                <a:cubicBezTo>
                  <a:pt x="2278" y="1660"/>
                  <a:pt x="2281" y="1661"/>
                  <a:pt x="2284" y="1661"/>
                </a:cubicBezTo>
                <a:cubicBezTo>
                  <a:pt x="2285" y="1661"/>
                  <a:pt x="2285" y="1660"/>
                  <a:pt x="2285" y="1660"/>
                </a:cubicBezTo>
                <a:cubicBezTo>
                  <a:pt x="2286" y="1659"/>
                  <a:pt x="2286" y="1657"/>
                  <a:pt x="2287" y="1656"/>
                </a:cubicBezTo>
                <a:cubicBezTo>
                  <a:pt x="2289" y="1654"/>
                  <a:pt x="2289" y="1651"/>
                  <a:pt x="2289" y="1648"/>
                </a:cubicBezTo>
                <a:cubicBezTo>
                  <a:pt x="2289" y="1648"/>
                  <a:pt x="2289" y="1648"/>
                  <a:pt x="2289" y="1647"/>
                </a:cubicBezTo>
                <a:cubicBezTo>
                  <a:pt x="2289" y="1647"/>
                  <a:pt x="2289" y="1647"/>
                  <a:pt x="2289" y="1646"/>
                </a:cubicBezTo>
                <a:cubicBezTo>
                  <a:pt x="2289" y="1649"/>
                  <a:pt x="2291" y="1649"/>
                  <a:pt x="2293" y="1649"/>
                </a:cubicBezTo>
                <a:cubicBezTo>
                  <a:pt x="2293" y="1649"/>
                  <a:pt x="2294" y="1649"/>
                  <a:pt x="2295" y="1649"/>
                </a:cubicBezTo>
                <a:cubicBezTo>
                  <a:pt x="2298" y="1649"/>
                  <a:pt x="2301" y="1650"/>
                  <a:pt x="2302" y="1646"/>
                </a:cubicBezTo>
                <a:cubicBezTo>
                  <a:pt x="2302" y="1648"/>
                  <a:pt x="2302" y="1650"/>
                  <a:pt x="2302" y="1650"/>
                </a:cubicBezTo>
                <a:cubicBezTo>
                  <a:pt x="2300" y="1651"/>
                  <a:pt x="2299" y="1652"/>
                  <a:pt x="2298" y="1652"/>
                </a:cubicBezTo>
                <a:cubicBezTo>
                  <a:pt x="2296" y="1653"/>
                  <a:pt x="2296" y="1655"/>
                  <a:pt x="2296" y="1656"/>
                </a:cubicBezTo>
                <a:cubicBezTo>
                  <a:pt x="2298" y="1658"/>
                  <a:pt x="2299" y="1660"/>
                  <a:pt x="2300" y="1662"/>
                </a:cubicBezTo>
                <a:cubicBezTo>
                  <a:pt x="2302" y="1663"/>
                  <a:pt x="2304" y="1663"/>
                  <a:pt x="2305" y="1661"/>
                </a:cubicBezTo>
                <a:cubicBezTo>
                  <a:pt x="2306" y="1660"/>
                  <a:pt x="2307" y="1659"/>
                  <a:pt x="2307" y="1659"/>
                </a:cubicBezTo>
                <a:cubicBezTo>
                  <a:pt x="2309" y="1657"/>
                  <a:pt x="2311" y="1656"/>
                  <a:pt x="2312" y="1655"/>
                </a:cubicBezTo>
                <a:cubicBezTo>
                  <a:pt x="2316" y="1651"/>
                  <a:pt x="2318" y="1645"/>
                  <a:pt x="2320" y="1639"/>
                </a:cubicBezTo>
                <a:cubicBezTo>
                  <a:pt x="2320" y="1638"/>
                  <a:pt x="2319" y="1638"/>
                  <a:pt x="2319" y="1637"/>
                </a:cubicBezTo>
                <a:cubicBezTo>
                  <a:pt x="2318" y="1636"/>
                  <a:pt x="2317" y="1635"/>
                  <a:pt x="2316" y="1635"/>
                </a:cubicBezTo>
                <a:close/>
                <a:moveTo>
                  <a:pt x="2269" y="1641"/>
                </a:moveTo>
                <a:cubicBezTo>
                  <a:pt x="2268" y="1642"/>
                  <a:pt x="2266" y="1642"/>
                  <a:pt x="2265" y="1644"/>
                </a:cubicBezTo>
                <a:cubicBezTo>
                  <a:pt x="2265" y="1644"/>
                  <a:pt x="2264" y="1645"/>
                  <a:pt x="2264" y="1646"/>
                </a:cubicBezTo>
                <a:cubicBezTo>
                  <a:pt x="2264" y="1648"/>
                  <a:pt x="2269" y="1653"/>
                  <a:pt x="2272" y="1652"/>
                </a:cubicBezTo>
                <a:cubicBezTo>
                  <a:pt x="2273" y="1652"/>
                  <a:pt x="2274" y="1651"/>
                  <a:pt x="2273" y="1650"/>
                </a:cubicBezTo>
                <a:cubicBezTo>
                  <a:pt x="2272" y="1646"/>
                  <a:pt x="2270" y="1644"/>
                  <a:pt x="2269" y="1641"/>
                </a:cubicBezTo>
                <a:close/>
                <a:moveTo>
                  <a:pt x="2321" y="1643"/>
                </a:moveTo>
                <a:cubicBezTo>
                  <a:pt x="2319" y="1648"/>
                  <a:pt x="2316" y="1652"/>
                  <a:pt x="2314" y="1656"/>
                </a:cubicBezTo>
                <a:cubicBezTo>
                  <a:pt x="2317" y="1656"/>
                  <a:pt x="2319" y="1657"/>
                  <a:pt x="2322" y="1656"/>
                </a:cubicBezTo>
                <a:cubicBezTo>
                  <a:pt x="2322" y="1656"/>
                  <a:pt x="2323" y="1655"/>
                  <a:pt x="2323" y="1655"/>
                </a:cubicBezTo>
                <a:cubicBezTo>
                  <a:pt x="2323" y="1652"/>
                  <a:pt x="2323" y="1650"/>
                  <a:pt x="2322" y="1647"/>
                </a:cubicBezTo>
                <a:cubicBezTo>
                  <a:pt x="2322" y="1646"/>
                  <a:pt x="2322" y="1644"/>
                  <a:pt x="2321" y="1643"/>
                </a:cubicBezTo>
                <a:close/>
                <a:moveTo>
                  <a:pt x="2269" y="1623"/>
                </a:moveTo>
                <a:cubicBezTo>
                  <a:pt x="2268" y="1623"/>
                  <a:pt x="2267" y="1623"/>
                  <a:pt x="2267" y="1623"/>
                </a:cubicBezTo>
                <a:cubicBezTo>
                  <a:pt x="2266" y="1623"/>
                  <a:pt x="2265" y="1623"/>
                  <a:pt x="2265" y="1623"/>
                </a:cubicBezTo>
                <a:cubicBezTo>
                  <a:pt x="2265" y="1623"/>
                  <a:pt x="2264" y="1622"/>
                  <a:pt x="2264" y="1621"/>
                </a:cubicBezTo>
                <a:cubicBezTo>
                  <a:pt x="2265" y="1619"/>
                  <a:pt x="2265" y="1617"/>
                  <a:pt x="2266" y="1615"/>
                </a:cubicBezTo>
                <a:cubicBezTo>
                  <a:pt x="2266" y="1615"/>
                  <a:pt x="2266" y="1615"/>
                  <a:pt x="2265" y="1615"/>
                </a:cubicBezTo>
                <a:cubicBezTo>
                  <a:pt x="2265" y="1616"/>
                  <a:pt x="2263" y="1617"/>
                  <a:pt x="2263" y="1618"/>
                </a:cubicBezTo>
                <a:cubicBezTo>
                  <a:pt x="2262" y="1619"/>
                  <a:pt x="2263" y="1624"/>
                  <a:pt x="2265" y="1625"/>
                </a:cubicBezTo>
                <a:cubicBezTo>
                  <a:pt x="2267" y="1626"/>
                  <a:pt x="2269" y="1625"/>
                  <a:pt x="2269" y="1623"/>
                </a:cubicBezTo>
                <a:close/>
                <a:moveTo>
                  <a:pt x="2268" y="1641"/>
                </a:moveTo>
                <a:cubicBezTo>
                  <a:pt x="2268" y="1641"/>
                  <a:pt x="2266" y="1642"/>
                  <a:pt x="2265" y="1643"/>
                </a:cubicBezTo>
                <a:cubicBezTo>
                  <a:pt x="2264" y="1644"/>
                  <a:pt x="2264" y="1645"/>
                  <a:pt x="2264" y="1645"/>
                </a:cubicBezTo>
                <a:cubicBezTo>
                  <a:pt x="2264" y="1648"/>
                  <a:pt x="2268" y="1653"/>
                  <a:pt x="2272" y="1652"/>
                </a:cubicBezTo>
                <a:cubicBezTo>
                  <a:pt x="2273" y="1652"/>
                  <a:pt x="2274" y="1651"/>
                  <a:pt x="2273" y="1649"/>
                </a:cubicBezTo>
                <a:cubicBezTo>
                  <a:pt x="2272" y="1646"/>
                  <a:pt x="2270" y="1643"/>
                  <a:pt x="2268" y="1641"/>
                </a:cubicBezTo>
                <a:close/>
                <a:moveTo>
                  <a:pt x="2321" y="1642"/>
                </a:moveTo>
                <a:cubicBezTo>
                  <a:pt x="2319" y="1647"/>
                  <a:pt x="2316" y="1652"/>
                  <a:pt x="2314" y="1656"/>
                </a:cubicBezTo>
                <a:cubicBezTo>
                  <a:pt x="2317" y="1656"/>
                  <a:pt x="2319" y="1656"/>
                  <a:pt x="2322" y="1656"/>
                </a:cubicBezTo>
                <a:cubicBezTo>
                  <a:pt x="2322" y="1656"/>
                  <a:pt x="2323" y="1655"/>
                  <a:pt x="2323" y="1654"/>
                </a:cubicBezTo>
                <a:cubicBezTo>
                  <a:pt x="2323" y="1652"/>
                  <a:pt x="2323" y="1649"/>
                  <a:pt x="2322" y="1647"/>
                </a:cubicBezTo>
                <a:cubicBezTo>
                  <a:pt x="2322" y="1645"/>
                  <a:pt x="2321" y="1644"/>
                  <a:pt x="2321" y="1642"/>
                </a:cubicBezTo>
                <a:close/>
                <a:moveTo>
                  <a:pt x="2268" y="1623"/>
                </a:moveTo>
                <a:cubicBezTo>
                  <a:pt x="2268" y="1623"/>
                  <a:pt x="2267" y="1623"/>
                  <a:pt x="2266" y="1623"/>
                </a:cubicBezTo>
                <a:cubicBezTo>
                  <a:pt x="2266" y="1623"/>
                  <a:pt x="2265" y="1623"/>
                  <a:pt x="2265" y="1623"/>
                </a:cubicBezTo>
                <a:cubicBezTo>
                  <a:pt x="2264" y="1623"/>
                  <a:pt x="2264" y="1622"/>
                  <a:pt x="2264" y="1621"/>
                </a:cubicBezTo>
                <a:cubicBezTo>
                  <a:pt x="2265" y="1619"/>
                  <a:pt x="2265" y="1617"/>
                  <a:pt x="2266" y="1615"/>
                </a:cubicBezTo>
                <a:cubicBezTo>
                  <a:pt x="2266" y="1615"/>
                  <a:pt x="2266" y="1615"/>
                  <a:pt x="2265" y="1615"/>
                </a:cubicBezTo>
                <a:cubicBezTo>
                  <a:pt x="2264" y="1616"/>
                  <a:pt x="2263" y="1617"/>
                  <a:pt x="2262" y="1618"/>
                </a:cubicBezTo>
                <a:cubicBezTo>
                  <a:pt x="2262" y="1619"/>
                  <a:pt x="2263" y="1624"/>
                  <a:pt x="2265" y="1625"/>
                </a:cubicBezTo>
                <a:cubicBezTo>
                  <a:pt x="2266" y="1626"/>
                  <a:pt x="2268" y="1624"/>
                  <a:pt x="2268" y="1623"/>
                </a:cubicBezTo>
                <a:close/>
                <a:moveTo>
                  <a:pt x="2321" y="1614"/>
                </a:moveTo>
                <a:cubicBezTo>
                  <a:pt x="2324" y="1611"/>
                  <a:pt x="2324" y="1611"/>
                  <a:pt x="2328" y="1609"/>
                </a:cubicBezTo>
                <a:cubicBezTo>
                  <a:pt x="2328" y="1611"/>
                  <a:pt x="2329" y="1613"/>
                  <a:pt x="2330" y="1613"/>
                </a:cubicBezTo>
                <a:cubicBezTo>
                  <a:pt x="2328" y="1614"/>
                  <a:pt x="2326" y="1615"/>
                  <a:pt x="2324" y="1617"/>
                </a:cubicBezTo>
                <a:cubicBezTo>
                  <a:pt x="2323" y="1616"/>
                  <a:pt x="2323" y="1615"/>
                  <a:pt x="2322" y="1614"/>
                </a:cubicBezTo>
                <a:cubicBezTo>
                  <a:pt x="2322" y="1614"/>
                  <a:pt x="2321" y="1614"/>
                  <a:pt x="2321" y="1614"/>
                </a:cubicBezTo>
                <a:close/>
                <a:moveTo>
                  <a:pt x="2326" y="1614"/>
                </a:moveTo>
                <a:cubicBezTo>
                  <a:pt x="2326" y="1613"/>
                  <a:pt x="2325" y="1613"/>
                  <a:pt x="2324" y="1613"/>
                </a:cubicBezTo>
                <a:cubicBezTo>
                  <a:pt x="2324" y="1613"/>
                  <a:pt x="2323" y="1614"/>
                  <a:pt x="2323" y="1614"/>
                </a:cubicBezTo>
                <a:cubicBezTo>
                  <a:pt x="2323" y="1615"/>
                  <a:pt x="2324" y="1615"/>
                  <a:pt x="2324" y="1615"/>
                </a:cubicBezTo>
                <a:cubicBezTo>
                  <a:pt x="2325" y="1615"/>
                  <a:pt x="2325" y="1615"/>
                  <a:pt x="2326" y="1614"/>
                </a:cubicBezTo>
                <a:close/>
                <a:moveTo>
                  <a:pt x="2308" y="1604"/>
                </a:moveTo>
                <a:cubicBezTo>
                  <a:pt x="2301" y="1604"/>
                  <a:pt x="2298" y="1606"/>
                  <a:pt x="2297" y="1614"/>
                </a:cubicBezTo>
                <a:cubicBezTo>
                  <a:pt x="2298" y="1612"/>
                  <a:pt x="2299" y="1609"/>
                  <a:pt x="2301" y="1607"/>
                </a:cubicBezTo>
                <a:cubicBezTo>
                  <a:pt x="2301" y="1607"/>
                  <a:pt x="2301" y="1607"/>
                  <a:pt x="2301" y="1607"/>
                </a:cubicBezTo>
                <a:cubicBezTo>
                  <a:pt x="2301" y="1608"/>
                  <a:pt x="2301" y="1609"/>
                  <a:pt x="2301" y="1610"/>
                </a:cubicBezTo>
                <a:cubicBezTo>
                  <a:pt x="2303" y="1607"/>
                  <a:pt x="2304" y="1605"/>
                  <a:pt x="2308" y="1604"/>
                </a:cubicBezTo>
                <a:close/>
                <a:moveTo>
                  <a:pt x="2351" y="1606"/>
                </a:moveTo>
                <a:cubicBezTo>
                  <a:pt x="2349" y="1607"/>
                  <a:pt x="2347" y="1609"/>
                  <a:pt x="2346" y="1610"/>
                </a:cubicBezTo>
                <a:cubicBezTo>
                  <a:pt x="2348" y="1610"/>
                  <a:pt x="2350" y="1609"/>
                  <a:pt x="2351" y="1606"/>
                </a:cubicBezTo>
                <a:close/>
                <a:moveTo>
                  <a:pt x="2318" y="1608"/>
                </a:moveTo>
                <a:cubicBezTo>
                  <a:pt x="2319" y="1607"/>
                  <a:pt x="2320" y="1605"/>
                  <a:pt x="2322" y="1604"/>
                </a:cubicBezTo>
                <a:cubicBezTo>
                  <a:pt x="2318" y="1605"/>
                  <a:pt x="2317" y="1606"/>
                  <a:pt x="2318" y="1608"/>
                </a:cubicBezTo>
                <a:close/>
                <a:moveTo>
                  <a:pt x="2328" y="1629"/>
                </a:moveTo>
                <a:cubicBezTo>
                  <a:pt x="2326" y="1629"/>
                  <a:pt x="2325" y="1630"/>
                  <a:pt x="2325" y="1631"/>
                </a:cubicBezTo>
                <a:cubicBezTo>
                  <a:pt x="2326" y="1631"/>
                  <a:pt x="2327" y="1630"/>
                  <a:pt x="2328" y="1629"/>
                </a:cubicBezTo>
                <a:close/>
                <a:moveTo>
                  <a:pt x="2326" y="1614"/>
                </a:moveTo>
                <a:cubicBezTo>
                  <a:pt x="2326" y="1613"/>
                  <a:pt x="2325" y="1613"/>
                  <a:pt x="2325" y="1613"/>
                </a:cubicBezTo>
                <a:cubicBezTo>
                  <a:pt x="2324" y="1613"/>
                  <a:pt x="2324" y="1614"/>
                  <a:pt x="2324" y="1614"/>
                </a:cubicBezTo>
                <a:cubicBezTo>
                  <a:pt x="2324" y="1615"/>
                  <a:pt x="2324" y="1615"/>
                  <a:pt x="2324" y="1616"/>
                </a:cubicBezTo>
                <a:cubicBezTo>
                  <a:pt x="2325" y="1615"/>
                  <a:pt x="2325" y="1615"/>
                  <a:pt x="2326" y="1614"/>
                </a:cubicBezTo>
                <a:close/>
                <a:moveTo>
                  <a:pt x="2617" y="1592"/>
                </a:moveTo>
                <a:cubicBezTo>
                  <a:pt x="2617" y="1592"/>
                  <a:pt x="2617" y="1592"/>
                  <a:pt x="2617" y="1592"/>
                </a:cubicBezTo>
                <a:cubicBezTo>
                  <a:pt x="2613" y="1592"/>
                  <a:pt x="2613" y="1592"/>
                  <a:pt x="2613" y="1592"/>
                </a:cubicBezTo>
                <a:cubicBezTo>
                  <a:pt x="2611" y="1593"/>
                  <a:pt x="2609" y="1594"/>
                  <a:pt x="2607" y="1595"/>
                </a:cubicBezTo>
                <a:cubicBezTo>
                  <a:pt x="2606" y="1597"/>
                  <a:pt x="2603" y="1597"/>
                  <a:pt x="2602" y="1598"/>
                </a:cubicBezTo>
                <a:cubicBezTo>
                  <a:pt x="2600" y="1600"/>
                  <a:pt x="2598" y="1600"/>
                  <a:pt x="2596" y="1601"/>
                </a:cubicBezTo>
                <a:cubicBezTo>
                  <a:pt x="2595" y="1602"/>
                  <a:pt x="2592" y="1602"/>
                  <a:pt x="2591" y="1602"/>
                </a:cubicBezTo>
                <a:cubicBezTo>
                  <a:pt x="2591" y="1602"/>
                  <a:pt x="2591" y="1602"/>
                  <a:pt x="2591" y="1613"/>
                </a:cubicBezTo>
                <a:cubicBezTo>
                  <a:pt x="2594" y="1612"/>
                  <a:pt x="2597" y="1611"/>
                  <a:pt x="2599" y="1610"/>
                </a:cubicBezTo>
                <a:cubicBezTo>
                  <a:pt x="2601" y="1609"/>
                  <a:pt x="2604" y="1608"/>
                  <a:pt x="2606" y="1606"/>
                </a:cubicBezTo>
                <a:cubicBezTo>
                  <a:pt x="2606" y="1606"/>
                  <a:pt x="2606" y="1606"/>
                  <a:pt x="2606" y="1665"/>
                </a:cubicBezTo>
                <a:cubicBezTo>
                  <a:pt x="2606" y="1665"/>
                  <a:pt x="2606" y="1665"/>
                  <a:pt x="2617" y="1665"/>
                </a:cubicBezTo>
                <a:cubicBezTo>
                  <a:pt x="2617" y="1665"/>
                  <a:pt x="2617" y="1665"/>
                  <a:pt x="2617" y="1592"/>
                </a:cubicBezTo>
                <a:close/>
                <a:moveTo>
                  <a:pt x="2739" y="1592"/>
                </a:moveTo>
                <a:cubicBezTo>
                  <a:pt x="2739" y="1592"/>
                  <a:pt x="2739" y="1592"/>
                  <a:pt x="2739" y="1592"/>
                </a:cubicBezTo>
                <a:cubicBezTo>
                  <a:pt x="2734" y="1592"/>
                  <a:pt x="2734" y="1592"/>
                  <a:pt x="2734" y="1592"/>
                </a:cubicBezTo>
                <a:cubicBezTo>
                  <a:pt x="2731" y="1593"/>
                  <a:pt x="2730" y="1594"/>
                  <a:pt x="2728" y="1595"/>
                </a:cubicBezTo>
                <a:cubicBezTo>
                  <a:pt x="2726" y="1597"/>
                  <a:pt x="2725" y="1597"/>
                  <a:pt x="2722" y="1598"/>
                </a:cubicBezTo>
                <a:cubicBezTo>
                  <a:pt x="2721" y="1600"/>
                  <a:pt x="2719" y="1600"/>
                  <a:pt x="2717" y="1601"/>
                </a:cubicBezTo>
                <a:cubicBezTo>
                  <a:pt x="2715" y="1602"/>
                  <a:pt x="2714" y="1602"/>
                  <a:pt x="2711" y="1602"/>
                </a:cubicBezTo>
                <a:cubicBezTo>
                  <a:pt x="2711" y="1602"/>
                  <a:pt x="2711" y="1602"/>
                  <a:pt x="2711" y="1613"/>
                </a:cubicBezTo>
                <a:cubicBezTo>
                  <a:pt x="2714" y="1612"/>
                  <a:pt x="2717" y="1611"/>
                  <a:pt x="2720" y="1610"/>
                </a:cubicBezTo>
                <a:cubicBezTo>
                  <a:pt x="2722" y="1609"/>
                  <a:pt x="2725" y="1608"/>
                  <a:pt x="2727" y="1606"/>
                </a:cubicBezTo>
                <a:cubicBezTo>
                  <a:pt x="2727" y="1606"/>
                  <a:pt x="2727" y="1606"/>
                  <a:pt x="2727" y="1665"/>
                </a:cubicBezTo>
                <a:cubicBezTo>
                  <a:pt x="2727" y="1665"/>
                  <a:pt x="2727" y="1665"/>
                  <a:pt x="2739" y="1665"/>
                </a:cubicBezTo>
                <a:cubicBezTo>
                  <a:pt x="2739" y="1665"/>
                  <a:pt x="2739" y="1665"/>
                  <a:pt x="2739" y="1592"/>
                </a:cubicBezTo>
                <a:close/>
                <a:moveTo>
                  <a:pt x="2785" y="1592"/>
                </a:moveTo>
                <a:cubicBezTo>
                  <a:pt x="2785" y="1592"/>
                  <a:pt x="2785" y="1592"/>
                  <a:pt x="2785" y="1592"/>
                </a:cubicBezTo>
                <a:cubicBezTo>
                  <a:pt x="2780" y="1592"/>
                  <a:pt x="2780" y="1592"/>
                  <a:pt x="2780" y="1592"/>
                </a:cubicBezTo>
                <a:cubicBezTo>
                  <a:pt x="2778" y="1593"/>
                  <a:pt x="2777" y="1594"/>
                  <a:pt x="2774" y="1595"/>
                </a:cubicBezTo>
                <a:cubicBezTo>
                  <a:pt x="2773" y="1597"/>
                  <a:pt x="2771" y="1597"/>
                  <a:pt x="2769" y="1598"/>
                </a:cubicBezTo>
                <a:cubicBezTo>
                  <a:pt x="2768" y="1600"/>
                  <a:pt x="2766" y="1600"/>
                  <a:pt x="2764" y="1601"/>
                </a:cubicBezTo>
                <a:cubicBezTo>
                  <a:pt x="2762" y="1602"/>
                  <a:pt x="2761" y="1602"/>
                  <a:pt x="2758" y="1602"/>
                </a:cubicBezTo>
                <a:cubicBezTo>
                  <a:pt x="2758" y="1602"/>
                  <a:pt x="2758" y="1602"/>
                  <a:pt x="2758" y="1613"/>
                </a:cubicBezTo>
                <a:cubicBezTo>
                  <a:pt x="2761" y="1612"/>
                  <a:pt x="2764" y="1611"/>
                  <a:pt x="2766" y="1610"/>
                </a:cubicBezTo>
                <a:cubicBezTo>
                  <a:pt x="2769" y="1609"/>
                  <a:pt x="2771" y="1608"/>
                  <a:pt x="2774" y="1606"/>
                </a:cubicBezTo>
                <a:cubicBezTo>
                  <a:pt x="2774" y="1606"/>
                  <a:pt x="2774" y="1606"/>
                  <a:pt x="2774" y="1665"/>
                </a:cubicBezTo>
                <a:cubicBezTo>
                  <a:pt x="2774" y="1665"/>
                  <a:pt x="2774" y="1665"/>
                  <a:pt x="2785" y="1665"/>
                </a:cubicBezTo>
                <a:cubicBezTo>
                  <a:pt x="2785" y="1665"/>
                  <a:pt x="2785" y="1665"/>
                  <a:pt x="2785" y="1592"/>
                </a:cubicBezTo>
                <a:close/>
                <a:moveTo>
                  <a:pt x="2831" y="1592"/>
                </a:moveTo>
                <a:cubicBezTo>
                  <a:pt x="2831" y="1592"/>
                  <a:pt x="2831" y="1592"/>
                  <a:pt x="2831" y="1592"/>
                </a:cubicBezTo>
                <a:cubicBezTo>
                  <a:pt x="2827" y="1592"/>
                  <a:pt x="2827" y="1592"/>
                  <a:pt x="2827" y="1592"/>
                </a:cubicBezTo>
                <a:cubicBezTo>
                  <a:pt x="2825" y="1593"/>
                  <a:pt x="2823" y="1594"/>
                  <a:pt x="2821" y="1595"/>
                </a:cubicBezTo>
                <a:cubicBezTo>
                  <a:pt x="2820" y="1597"/>
                  <a:pt x="2817" y="1597"/>
                  <a:pt x="2816" y="1598"/>
                </a:cubicBezTo>
                <a:cubicBezTo>
                  <a:pt x="2814" y="1599"/>
                  <a:pt x="2812" y="1600"/>
                  <a:pt x="2810" y="1600"/>
                </a:cubicBezTo>
                <a:cubicBezTo>
                  <a:pt x="2809" y="1601"/>
                  <a:pt x="2806" y="1602"/>
                  <a:pt x="2805" y="1602"/>
                </a:cubicBezTo>
                <a:cubicBezTo>
                  <a:pt x="2805" y="1602"/>
                  <a:pt x="2805" y="1602"/>
                  <a:pt x="2805" y="1613"/>
                </a:cubicBezTo>
                <a:cubicBezTo>
                  <a:pt x="2808" y="1612"/>
                  <a:pt x="2811" y="1610"/>
                  <a:pt x="2813" y="1610"/>
                </a:cubicBezTo>
                <a:cubicBezTo>
                  <a:pt x="2815" y="1609"/>
                  <a:pt x="2818" y="1608"/>
                  <a:pt x="2820" y="1606"/>
                </a:cubicBezTo>
                <a:cubicBezTo>
                  <a:pt x="2820" y="1606"/>
                  <a:pt x="2820" y="1606"/>
                  <a:pt x="2820" y="1665"/>
                </a:cubicBezTo>
                <a:cubicBezTo>
                  <a:pt x="2820" y="1665"/>
                  <a:pt x="2820" y="1665"/>
                  <a:pt x="2831" y="1665"/>
                </a:cubicBezTo>
                <a:cubicBezTo>
                  <a:pt x="2831" y="1665"/>
                  <a:pt x="2831" y="1665"/>
                  <a:pt x="2831" y="1592"/>
                </a:cubicBezTo>
                <a:close/>
                <a:moveTo>
                  <a:pt x="2637" y="1624"/>
                </a:moveTo>
                <a:cubicBezTo>
                  <a:pt x="2637" y="1624"/>
                  <a:pt x="2637" y="1624"/>
                  <a:pt x="2637" y="1624"/>
                </a:cubicBezTo>
                <a:cubicBezTo>
                  <a:pt x="2637" y="1632"/>
                  <a:pt x="2637" y="1632"/>
                  <a:pt x="2637" y="1632"/>
                </a:cubicBezTo>
                <a:cubicBezTo>
                  <a:pt x="2643" y="1632"/>
                  <a:pt x="2644" y="1635"/>
                  <a:pt x="2644" y="1638"/>
                </a:cubicBezTo>
                <a:cubicBezTo>
                  <a:pt x="2644" y="1640"/>
                  <a:pt x="2644" y="1643"/>
                  <a:pt x="2644" y="1645"/>
                </a:cubicBezTo>
                <a:cubicBezTo>
                  <a:pt x="2643" y="1648"/>
                  <a:pt x="2643" y="1650"/>
                  <a:pt x="2643" y="1652"/>
                </a:cubicBezTo>
                <a:cubicBezTo>
                  <a:pt x="2643" y="1662"/>
                  <a:pt x="2649" y="1665"/>
                  <a:pt x="2657" y="1665"/>
                </a:cubicBezTo>
                <a:cubicBezTo>
                  <a:pt x="2657" y="1665"/>
                  <a:pt x="2657" y="1665"/>
                  <a:pt x="2661" y="1665"/>
                </a:cubicBezTo>
                <a:cubicBezTo>
                  <a:pt x="2661" y="1665"/>
                  <a:pt x="2661" y="1665"/>
                  <a:pt x="2661" y="1656"/>
                </a:cubicBezTo>
                <a:cubicBezTo>
                  <a:pt x="2661" y="1656"/>
                  <a:pt x="2661" y="1656"/>
                  <a:pt x="2659" y="1656"/>
                </a:cubicBezTo>
                <a:cubicBezTo>
                  <a:pt x="2656" y="1656"/>
                  <a:pt x="2655" y="1653"/>
                  <a:pt x="2655" y="1650"/>
                </a:cubicBezTo>
                <a:cubicBezTo>
                  <a:pt x="2655" y="1649"/>
                  <a:pt x="2655" y="1647"/>
                  <a:pt x="2655" y="1645"/>
                </a:cubicBezTo>
                <a:cubicBezTo>
                  <a:pt x="2655" y="1644"/>
                  <a:pt x="2655" y="1641"/>
                  <a:pt x="2655" y="1639"/>
                </a:cubicBezTo>
                <a:cubicBezTo>
                  <a:pt x="2655" y="1632"/>
                  <a:pt x="2652" y="1629"/>
                  <a:pt x="2647" y="1628"/>
                </a:cubicBezTo>
                <a:cubicBezTo>
                  <a:pt x="2647" y="1628"/>
                  <a:pt x="2647" y="1628"/>
                  <a:pt x="2647" y="1628"/>
                </a:cubicBezTo>
                <a:cubicBezTo>
                  <a:pt x="2652" y="1626"/>
                  <a:pt x="2655" y="1624"/>
                  <a:pt x="2655" y="1617"/>
                </a:cubicBezTo>
                <a:cubicBezTo>
                  <a:pt x="2655" y="1614"/>
                  <a:pt x="2655" y="1612"/>
                  <a:pt x="2655" y="1610"/>
                </a:cubicBezTo>
                <a:cubicBezTo>
                  <a:pt x="2655" y="1609"/>
                  <a:pt x="2655" y="1607"/>
                  <a:pt x="2655" y="1606"/>
                </a:cubicBezTo>
                <a:cubicBezTo>
                  <a:pt x="2655" y="1602"/>
                  <a:pt x="2656" y="1600"/>
                  <a:pt x="2659" y="1600"/>
                </a:cubicBezTo>
                <a:cubicBezTo>
                  <a:pt x="2659" y="1600"/>
                  <a:pt x="2659" y="1600"/>
                  <a:pt x="2661" y="1600"/>
                </a:cubicBezTo>
                <a:cubicBezTo>
                  <a:pt x="2661" y="1600"/>
                  <a:pt x="2661" y="1600"/>
                  <a:pt x="2661" y="1591"/>
                </a:cubicBezTo>
                <a:cubicBezTo>
                  <a:pt x="2661" y="1591"/>
                  <a:pt x="2661" y="1591"/>
                  <a:pt x="2657" y="1591"/>
                </a:cubicBezTo>
                <a:cubicBezTo>
                  <a:pt x="2648" y="1591"/>
                  <a:pt x="2643" y="1595"/>
                  <a:pt x="2643" y="1603"/>
                </a:cubicBezTo>
                <a:cubicBezTo>
                  <a:pt x="2643" y="1606"/>
                  <a:pt x="2643" y="1608"/>
                  <a:pt x="2643" y="1611"/>
                </a:cubicBezTo>
                <a:cubicBezTo>
                  <a:pt x="2644" y="1613"/>
                  <a:pt x="2644" y="1616"/>
                  <a:pt x="2644" y="1618"/>
                </a:cubicBezTo>
                <a:cubicBezTo>
                  <a:pt x="2644" y="1620"/>
                  <a:pt x="2643" y="1624"/>
                  <a:pt x="2637" y="1624"/>
                </a:cubicBezTo>
                <a:close/>
                <a:moveTo>
                  <a:pt x="2692" y="1632"/>
                </a:moveTo>
                <a:cubicBezTo>
                  <a:pt x="2692" y="1632"/>
                  <a:pt x="2692" y="1632"/>
                  <a:pt x="2692" y="1632"/>
                </a:cubicBezTo>
                <a:cubicBezTo>
                  <a:pt x="2692" y="1624"/>
                  <a:pt x="2692" y="1624"/>
                  <a:pt x="2692" y="1624"/>
                </a:cubicBezTo>
                <a:cubicBezTo>
                  <a:pt x="2685" y="1624"/>
                  <a:pt x="2685" y="1620"/>
                  <a:pt x="2685" y="1618"/>
                </a:cubicBezTo>
                <a:cubicBezTo>
                  <a:pt x="2685" y="1616"/>
                  <a:pt x="2685" y="1613"/>
                  <a:pt x="2685" y="1611"/>
                </a:cubicBezTo>
                <a:cubicBezTo>
                  <a:pt x="2686" y="1608"/>
                  <a:pt x="2686" y="1606"/>
                  <a:pt x="2686" y="1603"/>
                </a:cubicBezTo>
                <a:cubicBezTo>
                  <a:pt x="2686" y="1595"/>
                  <a:pt x="2681" y="1591"/>
                  <a:pt x="2671" y="1591"/>
                </a:cubicBezTo>
                <a:cubicBezTo>
                  <a:pt x="2671" y="1591"/>
                  <a:pt x="2671" y="1591"/>
                  <a:pt x="2668" y="1591"/>
                </a:cubicBezTo>
                <a:cubicBezTo>
                  <a:pt x="2668" y="1591"/>
                  <a:pt x="2668" y="1591"/>
                  <a:pt x="2668" y="1600"/>
                </a:cubicBezTo>
                <a:cubicBezTo>
                  <a:pt x="2668" y="1600"/>
                  <a:pt x="2668" y="1600"/>
                  <a:pt x="2669" y="1600"/>
                </a:cubicBezTo>
                <a:cubicBezTo>
                  <a:pt x="2673" y="1600"/>
                  <a:pt x="2674" y="1602"/>
                  <a:pt x="2674" y="1606"/>
                </a:cubicBezTo>
                <a:cubicBezTo>
                  <a:pt x="2674" y="1607"/>
                  <a:pt x="2674" y="1609"/>
                  <a:pt x="2674" y="1610"/>
                </a:cubicBezTo>
                <a:cubicBezTo>
                  <a:pt x="2674" y="1612"/>
                  <a:pt x="2674" y="1614"/>
                  <a:pt x="2674" y="1617"/>
                </a:cubicBezTo>
                <a:cubicBezTo>
                  <a:pt x="2674" y="1624"/>
                  <a:pt x="2676" y="1626"/>
                  <a:pt x="2682" y="1628"/>
                </a:cubicBezTo>
                <a:cubicBezTo>
                  <a:pt x="2682" y="1628"/>
                  <a:pt x="2682" y="1628"/>
                  <a:pt x="2682" y="1628"/>
                </a:cubicBezTo>
                <a:cubicBezTo>
                  <a:pt x="2676" y="1629"/>
                  <a:pt x="2674" y="1632"/>
                  <a:pt x="2674" y="1639"/>
                </a:cubicBezTo>
                <a:cubicBezTo>
                  <a:pt x="2674" y="1641"/>
                  <a:pt x="2674" y="1644"/>
                  <a:pt x="2674" y="1645"/>
                </a:cubicBezTo>
                <a:cubicBezTo>
                  <a:pt x="2674" y="1647"/>
                  <a:pt x="2674" y="1649"/>
                  <a:pt x="2674" y="1650"/>
                </a:cubicBezTo>
                <a:cubicBezTo>
                  <a:pt x="2674" y="1653"/>
                  <a:pt x="2673" y="1656"/>
                  <a:pt x="2669" y="1656"/>
                </a:cubicBezTo>
                <a:cubicBezTo>
                  <a:pt x="2669" y="1656"/>
                  <a:pt x="2669" y="1656"/>
                  <a:pt x="2668" y="1656"/>
                </a:cubicBezTo>
                <a:cubicBezTo>
                  <a:pt x="2668" y="1656"/>
                  <a:pt x="2668" y="1656"/>
                  <a:pt x="2668" y="1665"/>
                </a:cubicBezTo>
                <a:cubicBezTo>
                  <a:pt x="2668" y="1665"/>
                  <a:pt x="2668" y="1665"/>
                  <a:pt x="2671" y="1665"/>
                </a:cubicBezTo>
                <a:cubicBezTo>
                  <a:pt x="2680" y="1665"/>
                  <a:pt x="2686" y="1662"/>
                  <a:pt x="2686" y="1652"/>
                </a:cubicBezTo>
                <a:cubicBezTo>
                  <a:pt x="2686" y="1650"/>
                  <a:pt x="2686" y="1648"/>
                  <a:pt x="2685" y="1645"/>
                </a:cubicBezTo>
                <a:cubicBezTo>
                  <a:pt x="2685" y="1643"/>
                  <a:pt x="2685" y="1640"/>
                  <a:pt x="2685" y="1638"/>
                </a:cubicBezTo>
                <a:cubicBezTo>
                  <a:pt x="2685" y="1635"/>
                  <a:pt x="2685" y="1632"/>
                  <a:pt x="2692" y="1632"/>
                </a:cubicBezTo>
                <a:close/>
                <a:moveTo>
                  <a:pt x="2875" y="1665"/>
                </a:moveTo>
                <a:cubicBezTo>
                  <a:pt x="2868" y="1665"/>
                  <a:pt x="2861" y="1662"/>
                  <a:pt x="2857" y="1656"/>
                </a:cubicBezTo>
                <a:cubicBezTo>
                  <a:pt x="2853" y="1650"/>
                  <a:pt x="2851" y="1641"/>
                  <a:pt x="2851" y="1628"/>
                </a:cubicBezTo>
                <a:cubicBezTo>
                  <a:pt x="2851" y="1615"/>
                  <a:pt x="2853" y="1606"/>
                  <a:pt x="2858" y="1599"/>
                </a:cubicBezTo>
                <a:cubicBezTo>
                  <a:pt x="2862" y="1592"/>
                  <a:pt x="2869" y="1589"/>
                  <a:pt x="2877" y="1589"/>
                </a:cubicBezTo>
                <a:cubicBezTo>
                  <a:pt x="2893" y="1589"/>
                  <a:pt x="2901" y="1601"/>
                  <a:pt x="2901" y="1627"/>
                </a:cubicBezTo>
                <a:cubicBezTo>
                  <a:pt x="2901" y="1639"/>
                  <a:pt x="2899" y="1649"/>
                  <a:pt x="2894" y="1655"/>
                </a:cubicBezTo>
                <a:cubicBezTo>
                  <a:pt x="2890" y="1662"/>
                  <a:pt x="2883" y="1665"/>
                  <a:pt x="2875" y="1665"/>
                </a:cubicBezTo>
                <a:close/>
                <a:moveTo>
                  <a:pt x="2877" y="1598"/>
                </a:moveTo>
                <a:cubicBezTo>
                  <a:pt x="2867" y="1598"/>
                  <a:pt x="2863" y="1608"/>
                  <a:pt x="2863" y="1628"/>
                </a:cubicBezTo>
                <a:cubicBezTo>
                  <a:pt x="2863" y="1647"/>
                  <a:pt x="2867" y="1655"/>
                  <a:pt x="2876" y="1655"/>
                </a:cubicBezTo>
                <a:cubicBezTo>
                  <a:pt x="2885" y="1655"/>
                  <a:pt x="2889" y="1647"/>
                  <a:pt x="2889" y="1628"/>
                </a:cubicBezTo>
                <a:cubicBezTo>
                  <a:pt x="2889" y="1608"/>
                  <a:pt x="2885" y="1598"/>
                  <a:pt x="2877" y="1598"/>
                </a:cubicBezTo>
                <a:close/>
                <a:moveTo>
                  <a:pt x="2945" y="1665"/>
                </a:moveTo>
                <a:cubicBezTo>
                  <a:pt x="2938" y="1665"/>
                  <a:pt x="2931" y="1662"/>
                  <a:pt x="2928" y="1656"/>
                </a:cubicBezTo>
                <a:cubicBezTo>
                  <a:pt x="2923" y="1650"/>
                  <a:pt x="2921" y="1641"/>
                  <a:pt x="2921" y="1628"/>
                </a:cubicBezTo>
                <a:cubicBezTo>
                  <a:pt x="2921" y="1615"/>
                  <a:pt x="2923" y="1606"/>
                  <a:pt x="2928" y="1599"/>
                </a:cubicBezTo>
                <a:cubicBezTo>
                  <a:pt x="2932" y="1592"/>
                  <a:pt x="2939" y="1589"/>
                  <a:pt x="2947" y="1589"/>
                </a:cubicBezTo>
                <a:cubicBezTo>
                  <a:pt x="2963" y="1589"/>
                  <a:pt x="2972" y="1601"/>
                  <a:pt x="2972" y="1627"/>
                </a:cubicBezTo>
                <a:cubicBezTo>
                  <a:pt x="2972" y="1639"/>
                  <a:pt x="2969" y="1649"/>
                  <a:pt x="2965" y="1655"/>
                </a:cubicBezTo>
                <a:cubicBezTo>
                  <a:pt x="2960" y="1662"/>
                  <a:pt x="2954" y="1665"/>
                  <a:pt x="2945" y="1665"/>
                </a:cubicBezTo>
                <a:close/>
                <a:moveTo>
                  <a:pt x="2947" y="1598"/>
                </a:moveTo>
                <a:cubicBezTo>
                  <a:pt x="2938" y="1598"/>
                  <a:pt x="2933" y="1608"/>
                  <a:pt x="2933" y="1628"/>
                </a:cubicBezTo>
                <a:cubicBezTo>
                  <a:pt x="2933" y="1647"/>
                  <a:pt x="2937" y="1655"/>
                  <a:pt x="2946" y="1655"/>
                </a:cubicBezTo>
                <a:cubicBezTo>
                  <a:pt x="2955" y="1655"/>
                  <a:pt x="2959" y="1647"/>
                  <a:pt x="2959" y="1628"/>
                </a:cubicBezTo>
                <a:cubicBezTo>
                  <a:pt x="2959" y="1608"/>
                  <a:pt x="2955" y="1598"/>
                  <a:pt x="2947" y="1598"/>
                </a:cubicBezTo>
                <a:close/>
                <a:moveTo>
                  <a:pt x="3019" y="1592"/>
                </a:moveTo>
                <a:cubicBezTo>
                  <a:pt x="3019" y="1592"/>
                  <a:pt x="3019" y="1592"/>
                  <a:pt x="3019" y="1592"/>
                </a:cubicBezTo>
                <a:cubicBezTo>
                  <a:pt x="3013" y="1592"/>
                  <a:pt x="3013" y="1592"/>
                  <a:pt x="3013" y="1592"/>
                </a:cubicBezTo>
                <a:cubicBezTo>
                  <a:pt x="3011" y="1593"/>
                  <a:pt x="3010" y="1594"/>
                  <a:pt x="3008" y="1595"/>
                </a:cubicBezTo>
                <a:cubicBezTo>
                  <a:pt x="3006" y="1597"/>
                  <a:pt x="3005" y="1597"/>
                  <a:pt x="3003" y="1598"/>
                </a:cubicBezTo>
                <a:cubicBezTo>
                  <a:pt x="3001" y="1600"/>
                  <a:pt x="2999" y="1600"/>
                  <a:pt x="2998" y="1601"/>
                </a:cubicBezTo>
                <a:cubicBezTo>
                  <a:pt x="2995" y="1602"/>
                  <a:pt x="2994" y="1602"/>
                  <a:pt x="2992" y="1602"/>
                </a:cubicBezTo>
                <a:cubicBezTo>
                  <a:pt x="2992" y="1602"/>
                  <a:pt x="2992" y="1602"/>
                  <a:pt x="2992" y="1613"/>
                </a:cubicBezTo>
                <a:cubicBezTo>
                  <a:pt x="2995" y="1612"/>
                  <a:pt x="2998" y="1611"/>
                  <a:pt x="3000" y="1610"/>
                </a:cubicBezTo>
                <a:cubicBezTo>
                  <a:pt x="3003" y="1609"/>
                  <a:pt x="3005" y="1608"/>
                  <a:pt x="3007" y="1606"/>
                </a:cubicBezTo>
                <a:cubicBezTo>
                  <a:pt x="3007" y="1606"/>
                  <a:pt x="3007" y="1606"/>
                  <a:pt x="3007" y="1665"/>
                </a:cubicBezTo>
                <a:cubicBezTo>
                  <a:pt x="3007" y="1665"/>
                  <a:pt x="3007" y="1665"/>
                  <a:pt x="3019" y="1665"/>
                </a:cubicBezTo>
                <a:cubicBezTo>
                  <a:pt x="3019" y="1665"/>
                  <a:pt x="3019" y="1665"/>
                  <a:pt x="3019" y="1592"/>
                </a:cubicBezTo>
                <a:close/>
                <a:moveTo>
                  <a:pt x="3065" y="1592"/>
                </a:moveTo>
                <a:cubicBezTo>
                  <a:pt x="3065" y="1592"/>
                  <a:pt x="3065" y="1592"/>
                  <a:pt x="3065" y="1592"/>
                </a:cubicBezTo>
                <a:cubicBezTo>
                  <a:pt x="3060" y="1592"/>
                  <a:pt x="3060" y="1592"/>
                  <a:pt x="3060" y="1592"/>
                </a:cubicBezTo>
                <a:cubicBezTo>
                  <a:pt x="3058" y="1593"/>
                  <a:pt x="3056" y="1594"/>
                  <a:pt x="3054" y="1595"/>
                </a:cubicBezTo>
                <a:cubicBezTo>
                  <a:pt x="3053" y="1597"/>
                  <a:pt x="3051" y="1597"/>
                  <a:pt x="3049" y="1598"/>
                </a:cubicBezTo>
                <a:cubicBezTo>
                  <a:pt x="3048" y="1600"/>
                  <a:pt x="3046" y="1600"/>
                  <a:pt x="3044" y="1601"/>
                </a:cubicBezTo>
                <a:cubicBezTo>
                  <a:pt x="3042" y="1602"/>
                  <a:pt x="3040" y="1602"/>
                  <a:pt x="3038" y="1602"/>
                </a:cubicBezTo>
                <a:cubicBezTo>
                  <a:pt x="3038" y="1602"/>
                  <a:pt x="3038" y="1602"/>
                  <a:pt x="3038" y="1613"/>
                </a:cubicBezTo>
                <a:cubicBezTo>
                  <a:pt x="3041" y="1612"/>
                  <a:pt x="3044" y="1611"/>
                  <a:pt x="3046" y="1610"/>
                </a:cubicBezTo>
                <a:cubicBezTo>
                  <a:pt x="3049" y="1609"/>
                  <a:pt x="3051" y="1608"/>
                  <a:pt x="3054" y="1606"/>
                </a:cubicBezTo>
                <a:cubicBezTo>
                  <a:pt x="3054" y="1606"/>
                  <a:pt x="3054" y="1606"/>
                  <a:pt x="3054" y="1665"/>
                </a:cubicBezTo>
                <a:cubicBezTo>
                  <a:pt x="3054" y="1665"/>
                  <a:pt x="3054" y="1665"/>
                  <a:pt x="3065" y="1665"/>
                </a:cubicBezTo>
                <a:cubicBezTo>
                  <a:pt x="3065" y="1665"/>
                  <a:pt x="3065" y="1665"/>
                  <a:pt x="3065" y="1592"/>
                </a:cubicBezTo>
                <a:close/>
                <a:moveTo>
                  <a:pt x="3111" y="1592"/>
                </a:moveTo>
                <a:cubicBezTo>
                  <a:pt x="3111" y="1592"/>
                  <a:pt x="3111" y="1592"/>
                  <a:pt x="3111" y="1592"/>
                </a:cubicBezTo>
                <a:cubicBezTo>
                  <a:pt x="3107" y="1592"/>
                  <a:pt x="3107" y="1592"/>
                  <a:pt x="3107" y="1592"/>
                </a:cubicBezTo>
                <a:cubicBezTo>
                  <a:pt x="3105" y="1593"/>
                  <a:pt x="3103" y="1594"/>
                  <a:pt x="3101" y="1595"/>
                </a:cubicBezTo>
                <a:cubicBezTo>
                  <a:pt x="3100" y="1597"/>
                  <a:pt x="3098" y="1597"/>
                  <a:pt x="3096" y="1598"/>
                </a:cubicBezTo>
                <a:cubicBezTo>
                  <a:pt x="3094" y="1599"/>
                  <a:pt x="3092" y="1600"/>
                  <a:pt x="3090" y="1600"/>
                </a:cubicBezTo>
                <a:cubicBezTo>
                  <a:pt x="3089" y="1601"/>
                  <a:pt x="3087" y="1602"/>
                  <a:pt x="3085" y="1602"/>
                </a:cubicBezTo>
                <a:cubicBezTo>
                  <a:pt x="3085" y="1602"/>
                  <a:pt x="3085" y="1602"/>
                  <a:pt x="3085" y="1613"/>
                </a:cubicBezTo>
                <a:cubicBezTo>
                  <a:pt x="3088" y="1612"/>
                  <a:pt x="3091" y="1610"/>
                  <a:pt x="3093" y="1610"/>
                </a:cubicBezTo>
                <a:cubicBezTo>
                  <a:pt x="3095" y="1609"/>
                  <a:pt x="3098" y="1608"/>
                  <a:pt x="3100" y="1606"/>
                </a:cubicBezTo>
                <a:cubicBezTo>
                  <a:pt x="3100" y="1606"/>
                  <a:pt x="3100" y="1606"/>
                  <a:pt x="3100" y="1665"/>
                </a:cubicBezTo>
                <a:cubicBezTo>
                  <a:pt x="3100" y="1665"/>
                  <a:pt x="3100" y="1665"/>
                  <a:pt x="3111" y="1665"/>
                </a:cubicBezTo>
                <a:cubicBezTo>
                  <a:pt x="3111" y="1665"/>
                  <a:pt x="3111" y="1665"/>
                  <a:pt x="3111" y="1592"/>
                </a:cubicBezTo>
                <a:close/>
                <a:moveTo>
                  <a:pt x="2920" y="1566"/>
                </a:moveTo>
                <a:cubicBezTo>
                  <a:pt x="2913" y="1566"/>
                  <a:pt x="2906" y="1563"/>
                  <a:pt x="2902" y="1557"/>
                </a:cubicBezTo>
                <a:cubicBezTo>
                  <a:pt x="2898" y="1551"/>
                  <a:pt x="2896" y="1542"/>
                  <a:pt x="2896" y="1530"/>
                </a:cubicBezTo>
                <a:cubicBezTo>
                  <a:pt x="2896" y="1517"/>
                  <a:pt x="2898" y="1507"/>
                  <a:pt x="2903" y="1500"/>
                </a:cubicBezTo>
                <a:cubicBezTo>
                  <a:pt x="2907" y="1494"/>
                  <a:pt x="2914" y="1490"/>
                  <a:pt x="2922" y="1490"/>
                </a:cubicBezTo>
                <a:cubicBezTo>
                  <a:pt x="2939" y="1490"/>
                  <a:pt x="2947" y="1503"/>
                  <a:pt x="2947" y="1528"/>
                </a:cubicBezTo>
                <a:cubicBezTo>
                  <a:pt x="2947" y="1541"/>
                  <a:pt x="2944" y="1550"/>
                  <a:pt x="2939" y="1557"/>
                </a:cubicBezTo>
                <a:cubicBezTo>
                  <a:pt x="2935" y="1563"/>
                  <a:pt x="2928" y="1566"/>
                  <a:pt x="2920" y="1566"/>
                </a:cubicBezTo>
                <a:close/>
                <a:moveTo>
                  <a:pt x="2922" y="1500"/>
                </a:moveTo>
                <a:cubicBezTo>
                  <a:pt x="2912" y="1500"/>
                  <a:pt x="2908" y="1510"/>
                  <a:pt x="2908" y="1530"/>
                </a:cubicBezTo>
                <a:cubicBezTo>
                  <a:pt x="2908" y="1548"/>
                  <a:pt x="2912" y="1557"/>
                  <a:pt x="2921" y="1557"/>
                </a:cubicBezTo>
                <a:cubicBezTo>
                  <a:pt x="2930" y="1557"/>
                  <a:pt x="2934" y="1548"/>
                  <a:pt x="2934" y="1529"/>
                </a:cubicBezTo>
                <a:cubicBezTo>
                  <a:pt x="2934" y="1509"/>
                  <a:pt x="2930" y="1500"/>
                  <a:pt x="2922" y="1500"/>
                </a:cubicBezTo>
                <a:close/>
                <a:moveTo>
                  <a:pt x="2994" y="1493"/>
                </a:moveTo>
                <a:cubicBezTo>
                  <a:pt x="2994" y="1493"/>
                  <a:pt x="2994" y="1493"/>
                  <a:pt x="2994" y="1493"/>
                </a:cubicBezTo>
                <a:cubicBezTo>
                  <a:pt x="2989" y="1493"/>
                  <a:pt x="2989" y="1493"/>
                  <a:pt x="2989" y="1493"/>
                </a:cubicBezTo>
                <a:cubicBezTo>
                  <a:pt x="2987" y="1494"/>
                  <a:pt x="2985" y="1496"/>
                  <a:pt x="2983" y="1496"/>
                </a:cubicBezTo>
                <a:cubicBezTo>
                  <a:pt x="2982" y="1498"/>
                  <a:pt x="2980" y="1498"/>
                  <a:pt x="2978" y="1499"/>
                </a:cubicBezTo>
                <a:cubicBezTo>
                  <a:pt x="2976" y="1500"/>
                  <a:pt x="2974" y="1501"/>
                  <a:pt x="2973" y="1501"/>
                </a:cubicBezTo>
                <a:cubicBezTo>
                  <a:pt x="2971" y="1502"/>
                  <a:pt x="2969" y="1503"/>
                  <a:pt x="2967" y="1504"/>
                </a:cubicBezTo>
                <a:cubicBezTo>
                  <a:pt x="2967" y="1504"/>
                  <a:pt x="2967" y="1504"/>
                  <a:pt x="2967" y="1514"/>
                </a:cubicBezTo>
                <a:cubicBezTo>
                  <a:pt x="2970" y="1513"/>
                  <a:pt x="2973" y="1512"/>
                  <a:pt x="2975" y="1511"/>
                </a:cubicBezTo>
                <a:cubicBezTo>
                  <a:pt x="2978" y="1510"/>
                  <a:pt x="2980" y="1509"/>
                  <a:pt x="2982" y="1507"/>
                </a:cubicBezTo>
                <a:cubicBezTo>
                  <a:pt x="2982" y="1507"/>
                  <a:pt x="2982" y="1507"/>
                  <a:pt x="2982" y="1566"/>
                </a:cubicBezTo>
                <a:cubicBezTo>
                  <a:pt x="2982" y="1566"/>
                  <a:pt x="2982" y="1566"/>
                  <a:pt x="2994" y="1566"/>
                </a:cubicBezTo>
                <a:cubicBezTo>
                  <a:pt x="2994" y="1566"/>
                  <a:pt x="2994" y="1566"/>
                  <a:pt x="2994" y="1493"/>
                </a:cubicBezTo>
                <a:close/>
                <a:moveTo>
                  <a:pt x="3041" y="1493"/>
                </a:moveTo>
                <a:cubicBezTo>
                  <a:pt x="3041" y="1493"/>
                  <a:pt x="3041" y="1493"/>
                  <a:pt x="3041" y="1493"/>
                </a:cubicBezTo>
                <a:cubicBezTo>
                  <a:pt x="3036" y="1493"/>
                  <a:pt x="3036" y="1493"/>
                  <a:pt x="3036" y="1493"/>
                </a:cubicBezTo>
                <a:cubicBezTo>
                  <a:pt x="3034" y="1494"/>
                  <a:pt x="3033" y="1496"/>
                  <a:pt x="3030" y="1496"/>
                </a:cubicBezTo>
                <a:cubicBezTo>
                  <a:pt x="3029" y="1498"/>
                  <a:pt x="3027" y="1498"/>
                  <a:pt x="3025" y="1499"/>
                </a:cubicBezTo>
                <a:cubicBezTo>
                  <a:pt x="3024" y="1501"/>
                  <a:pt x="3022" y="1501"/>
                  <a:pt x="3020" y="1502"/>
                </a:cubicBezTo>
                <a:cubicBezTo>
                  <a:pt x="3018" y="1503"/>
                  <a:pt x="3017" y="1504"/>
                  <a:pt x="3015" y="1504"/>
                </a:cubicBezTo>
                <a:cubicBezTo>
                  <a:pt x="3015" y="1504"/>
                  <a:pt x="3015" y="1504"/>
                  <a:pt x="3015" y="1514"/>
                </a:cubicBezTo>
                <a:cubicBezTo>
                  <a:pt x="3018" y="1513"/>
                  <a:pt x="3020" y="1512"/>
                  <a:pt x="3023" y="1511"/>
                </a:cubicBezTo>
                <a:cubicBezTo>
                  <a:pt x="3025" y="1510"/>
                  <a:pt x="3028" y="1509"/>
                  <a:pt x="3030" y="1507"/>
                </a:cubicBezTo>
                <a:cubicBezTo>
                  <a:pt x="3030" y="1507"/>
                  <a:pt x="3030" y="1507"/>
                  <a:pt x="3030" y="1566"/>
                </a:cubicBezTo>
                <a:cubicBezTo>
                  <a:pt x="3030" y="1566"/>
                  <a:pt x="3030" y="1566"/>
                  <a:pt x="3041" y="1566"/>
                </a:cubicBezTo>
                <a:cubicBezTo>
                  <a:pt x="3041" y="1566"/>
                  <a:pt x="3041" y="1566"/>
                  <a:pt x="3041" y="1493"/>
                </a:cubicBezTo>
                <a:close/>
                <a:moveTo>
                  <a:pt x="3088" y="1493"/>
                </a:moveTo>
                <a:cubicBezTo>
                  <a:pt x="3088" y="1493"/>
                  <a:pt x="3088" y="1493"/>
                  <a:pt x="3088" y="1493"/>
                </a:cubicBezTo>
                <a:cubicBezTo>
                  <a:pt x="3083" y="1493"/>
                  <a:pt x="3083" y="1493"/>
                  <a:pt x="3083" y="1493"/>
                </a:cubicBezTo>
                <a:cubicBezTo>
                  <a:pt x="3081" y="1494"/>
                  <a:pt x="3080" y="1496"/>
                  <a:pt x="3078" y="1496"/>
                </a:cubicBezTo>
                <a:cubicBezTo>
                  <a:pt x="3076" y="1498"/>
                  <a:pt x="3074" y="1498"/>
                  <a:pt x="3073" y="1499"/>
                </a:cubicBezTo>
                <a:cubicBezTo>
                  <a:pt x="3070" y="1501"/>
                  <a:pt x="3069" y="1501"/>
                  <a:pt x="3067" y="1502"/>
                </a:cubicBezTo>
                <a:cubicBezTo>
                  <a:pt x="3065" y="1503"/>
                  <a:pt x="3063" y="1504"/>
                  <a:pt x="3062" y="1504"/>
                </a:cubicBezTo>
                <a:cubicBezTo>
                  <a:pt x="3062" y="1504"/>
                  <a:pt x="3062" y="1504"/>
                  <a:pt x="3062" y="1514"/>
                </a:cubicBezTo>
                <a:cubicBezTo>
                  <a:pt x="3065" y="1513"/>
                  <a:pt x="3068" y="1512"/>
                  <a:pt x="3070" y="1511"/>
                </a:cubicBezTo>
                <a:cubicBezTo>
                  <a:pt x="3072" y="1510"/>
                  <a:pt x="3075" y="1509"/>
                  <a:pt x="3076" y="1507"/>
                </a:cubicBezTo>
                <a:cubicBezTo>
                  <a:pt x="3076" y="1507"/>
                  <a:pt x="3076" y="1507"/>
                  <a:pt x="3076" y="1566"/>
                </a:cubicBezTo>
                <a:cubicBezTo>
                  <a:pt x="3076" y="1566"/>
                  <a:pt x="3076" y="1566"/>
                  <a:pt x="3088" y="1566"/>
                </a:cubicBezTo>
                <a:cubicBezTo>
                  <a:pt x="3088" y="1566"/>
                  <a:pt x="3088" y="1566"/>
                  <a:pt x="3088" y="1493"/>
                </a:cubicBezTo>
                <a:close/>
                <a:moveTo>
                  <a:pt x="3135" y="1493"/>
                </a:moveTo>
                <a:cubicBezTo>
                  <a:pt x="3135" y="1493"/>
                  <a:pt x="3135" y="1493"/>
                  <a:pt x="3135" y="1493"/>
                </a:cubicBezTo>
                <a:cubicBezTo>
                  <a:pt x="3130" y="1493"/>
                  <a:pt x="3130" y="1493"/>
                  <a:pt x="3130" y="1493"/>
                </a:cubicBezTo>
                <a:cubicBezTo>
                  <a:pt x="3128" y="1494"/>
                  <a:pt x="3126" y="1496"/>
                  <a:pt x="3124" y="1496"/>
                </a:cubicBezTo>
                <a:cubicBezTo>
                  <a:pt x="3123" y="1498"/>
                  <a:pt x="3121" y="1498"/>
                  <a:pt x="3119" y="1499"/>
                </a:cubicBezTo>
                <a:cubicBezTo>
                  <a:pt x="3118" y="1501"/>
                  <a:pt x="3116" y="1501"/>
                  <a:pt x="3114" y="1502"/>
                </a:cubicBezTo>
                <a:cubicBezTo>
                  <a:pt x="3112" y="1503"/>
                  <a:pt x="3111" y="1504"/>
                  <a:pt x="3108" y="1504"/>
                </a:cubicBezTo>
                <a:cubicBezTo>
                  <a:pt x="3108" y="1504"/>
                  <a:pt x="3108" y="1504"/>
                  <a:pt x="3108" y="1514"/>
                </a:cubicBezTo>
                <a:cubicBezTo>
                  <a:pt x="3111" y="1513"/>
                  <a:pt x="3114" y="1512"/>
                  <a:pt x="3116" y="1511"/>
                </a:cubicBezTo>
                <a:cubicBezTo>
                  <a:pt x="3119" y="1510"/>
                  <a:pt x="3121" y="1509"/>
                  <a:pt x="3124" y="1507"/>
                </a:cubicBezTo>
                <a:cubicBezTo>
                  <a:pt x="3124" y="1507"/>
                  <a:pt x="3124" y="1507"/>
                  <a:pt x="3124" y="1566"/>
                </a:cubicBezTo>
                <a:cubicBezTo>
                  <a:pt x="3124" y="1566"/>
                  <a:pt x="3124" y="1566"/>
                  <a:pt x="3135" y="1566"/>
                </a:cubicBezTo>
                <a:cubicBezTo>
                  <a:pt x="3135" y="1566"/>
                  <a:pt x="3135" y="1566"/>
                  <a:pt x="3135" y="1493"/>
                </a:cubicBezTo>
                <a:close/>
                <a:moveTo>
                  <a:pt x="3259" y="1493"/>
                </a:moveTo>
                <a:cubicBezTo>
                  <a:pt x="3259" y="1493"/>
                  <a:pt x="3259" y="1493"/>
                  <a:pt x="3259" y="1493"/>
                </a:cubicBezTo>
                <a:cubicBezTo>
                  <a:pt x="3253" y="1493"/>
                  <a:pt x="3253" y="1493"/>
                  <a:pt x="3253" y="1493"/>
                </a:cubicBezTo>
                <a:cubicBezTo>
                  <a:pt x="3251" y="1494"/>
                  <a:pt x="3250" y="1496"/>
                  <a:pt x="3247" y="1496"/>
                </a:cubicBezTo>
                <a:cubicBezTo>
                  <a:pt x="3246" y="1498"/>
                  <a:pt x="3245" y="1498"/>
                  <a:pt x="3242" y="1499"/>
                </a:cubicBezTo>
                <a:cubicBezTo>
                  <a:pt x="3241" y="1501"/>
                  <a:pt x="3239" y="1501"/>
                  <a:pt x="3237" y="1502"/>
                </a:cubicBezTo>
                <a:cubicBezTo>
                  <a:pt x="3235" y="1503"/>
                  <a:pt x="3233" y="1504"/>
                  <a:pt x="3231" y="1504"/>
                </a:cubicBezTo>
                <a:cubicBezTo>
                  <a:pt x="3231" y="1504"/>
                  <a:pt x="3231" y="1504"/>
                  <a:pt x="3231" y="1514"/>
                </a:cubicBezTo>
                <a:cubicBezTo>
                  <a:pt x="3234" y="1513"/>
                  <a:pt x="3237" y="1512"/>
                  <a:pt x="3240" y="1511"/>
                </a:cubicBezTo>
                <a:cubicBezTo>
                  <a:pt x="3242" y="1510"/>
                  <a:pt x="3245" y="1509"/>
                  <a:pt x="3247" y="1507"/>
                </a:cubicBezTo>
                <a:cubicBezTo>
                  <a:pt x="3247" y="1507"/>
                  <a:pt x="3247" y="1507"/>
                  <a:pt x="3247" y="1566"/>
                </a:cubicBezTo>
                <a:cubicBezTo>
                  <a:pt x="3247" y="1566"/>
                  <a:pt x="3247" y="1566"/>
                  <a:pt x="3259" y="1566"/>
                </a:cubicBezTo>
                <a:cubicBezTo>
                  <a:pt x="3259" y="1566"/>
                  <a:pt x="3259" y="1566"/>
                  <a:pt x="3259" y="1493"/>
                </a:cubicBezTo>
                <a:close/>
                <a:moveTo>
                  <a:pt x="3306" y="1493"/>
                </a:moveTo>
                <a:cubicBezTo>
                  <a:pt x="3306" y="1493"/>
                  <a:pt x="3306" y="1493"/>
                  <a:pt x="3306" y="1493"/>
                </a:cubicBezTo>
                <a:cubicBezTo>
                  <a:pt x="3301" y="1493"/>
                  <a:pt x="3301" y="1493"/>
                  <a:pt x="3301" y="1493"/>
                </a:cubicBezTo>
                <a:cubicBezTo>
                  <a:pt x="3299" y="1494"/>
                  <a:pt x="3297" y="1496"/>
                  <a:pt x="3295" y="1496"/>
                </a:cubicBezTo>
                <a:cubicBezTo>
                  <a:pt x="3294" y="1498"/>
                  <a:pt x="3292" y="1498"/>
                  <a:pt x="3290" y="1499"/>
                </a:cubicBezTo>
                <a:cubicBezTo>
                  <a:pt x="3289" y="1501"/>
                  <a:pt x="3286" y="1501"/>
                  <a:pt x="3285" y="1502"/>
                </a:cubicBezTo>
                <a:cubicBezTo>
                  <a:pt x="3283" y="1503"/>
                  <a:pt x="3281" y="1504"/>
                  <a:pt x="3279" y="1504"/>
                </a:cubicBezTo>
                <a:cubicBezTo>
                  <a:pt x="3279" y="1504"/>
                  <a:pt x="3279" y="1504"/>
                  <a:pt x="3279" y="1514"/>
                </a:cubicBezTo>
                <a:cubicBezTo>
                  <a:pt x="3282" y="1513"/>
                  <a:pt x="3285" y="1512"/>
                  <a:pt x="3287" y="1511"/>
                </a:cubicBezTo>
                <a:cubicBezTo>
                  <a:pt x="3290" y="1510"/>
                  <a:pt x="3292" y="1509"/>
                  <a:pt x="3294" y="1507"/>
                </a:cubicBezTo>
                <a:cubicBezTo>
                  <a:pt x="3294" y="1507"/>
                  <a:pt x="3294" y="1507"/>
                  <a:pt x="3294" y="1566"/>
                </a:cubicBezTo>
                <a:cubicBezTo>
                  <a:pt x="3294" y="1566"/>
                  <a:pt x="3294" y="1566"/>
                  <a:pt x="3306" y="1566"/>
                </a:cubicBezTo>
                <a:cubicBezTo>
                  <a:pt x="3306" y="1566"/>
                  <a:pt x="3306" y="1566"/>
                  <a:pt x="3306" y="1493"/>
                </a:cubicBezTo>
                <a:close/>
                <a:moveTo>
                  <a:pt x="3354" y="1493"/>
                </a:moveTo>
                <a:cubicBezTo>
                  <a:pt x="3354" y="1493"/>
                  <a:pt x="3354" y="1493"/>
                  <a:pt x="3354" y="1493"/>
                </a:cubicBezTo>
                <a:cubicBezTo>
                  <a:pt x="3349" y="1493"/>
                  <a:pt x="3349" y="1493"/>
                  <a:pt x="3349" y="1493"/>
                </a:cubicBezTo>
                <a:cubicBezTo>
                  <a:pt x="3347" y="1494"/>
                  <a:pt x="3345" y="1496"/>
                  <a:pt x="3343" y="1496"/>
                </a:cubicBezTo>
                <a:cubicBezTo>
                  <a:pt x="3341" y="1498"/>
                  <a:pt x="3340" y="1498"/>
                  <a:pt x="3338" y="1499"/>
                </a:cubicBezTo>
                <a:cubicBezTo>
                  <a:pt x="3336" y="1501"/>
                  <a:pt x="3334" y="1501"/>
                  <a:pt x="3333" y="1502"/>
                </a:cubicBezTo>
                <a:cubicBezTo>
                  <a:pt x="3330" y="1503"/>
                  <a:pt x="3329" y="1504"/>
                  <a:pt x="3327" y="1504"/>
                </a:cubicBezTo>
                <a:cubicBezTo>
                  <a:pt x="3327" y="1504"/>
                  <a:pt x="3327" y="1504"/>
                  <a:pt x="3327" y="1514"/>
                </a:cubicBezTo>
                <a:cubicBezTo>
                  <a:pt x="3330" y="1513"/>
                  <a:pt x="3333" y="1512"/>
                  <a:pt x="3335" y="1511"/>
                </a:cubicBezTo>
                <a:cubicBezTo>
                  <a:pt x="3338" y="1510"/>
                  <a:pt x="3340" y="1509"/>
                  <a:pt x="3342" y="1507"/>
                </a:cubicBezTo>
                <a:cubicBezTo>
                  <a:pt x="3342" y="1507"/>
                  <a:pt x="3342" y="1507"/>
                  <a:pt x="3342" y="1566"/>
                </a:cubicBezTo>
                <a:cubicBezTo>
                  <a:pt x="3342" y="1566"/>
                  <a:pt x="3342" y="1566"/>
                  <a:pt x="3354" y="1566"/>
                </a:cubicBezTo>
                <a:cubicBezTo>
                  <a:pt x="3354" y="1566"/>
                  <a:pt x="3354" y="1566"/>
                  <a:pt x="3354" y="1493"/>
                </a:cubicBezTo>
                <a:close/>
                <a:moveTo>
                  <a:pt x="3400" y="1493"/>
                </a:moveTo>
                <a:cubicBezTo>
                  <a:pt x="3400" y="1493"/>
                  <a:pt x="3400" y="1493"/>
                  <a:pt x="3400" y="1493"/>
                </a:cubicBezTo>
                <a:cubicBezTo>
                  <a:pt x="3396" y="1493"/>
                  <a:pt x="3396" y="1493"/>
                  <a:pt x="3396" y="1493"/>
                </a:cubicBezTo>
                <a:cubicBezTo>
                  <a:pt x="3394" y="1494"/>
                  <a:pt x="3392" y="1496"/>
                  <a:pt x="3390" y="1496"/>
                </a:cubicBezTo>
                <a:cubicBezTo>
                  <a:pt x="3389" y="1498"/>
                  <a:pt x="3386" y="1498"/>
                  <a:pt x="3385" y="1499"/>
                </a:cubicBezTo>
                <a:cubicBezTo>
                  <a:pt x="3383" y="1500"/>
                  <a:pt x="3381" y="1501"/>
                  <a:pt x="3379" y="1501"/>
                </a:cubicBezTo>
                <a:cubicBezTo>
                  <a:pt x="3378" y="1502"/>
                  <a:pt x="3376" y="1503"/>
                  <a:pt x="3374" y="1504"/>
                </a:cubicBezTo>
                <a:cubicBezTo>
                  <a:pt x="3374" y="1504"/>
                  <a:pt x="3374" y="1504"/>
                  <a:pt x="3374" y="1514"/>
                </a:cubicBezTo>
                <a:cubicBezTo>
                  <a:pt x="3377" y="1513"/>
                  <a:pt x="3380" y="1512"/>
                  <a:pt x="3382" y="1511"/>
                </a:cubicBezTo>
                <a:cubicBezTo>
                  <a:pt x="3384" y="1510"/>
                  <a:pt x="3387" y="1509"/>
                  <a:pt x="3389" y="1507"/>
                </a:cubicBezTo>
                <a:cubicBezTo>
                  <a:pt x="3389" y="1507"/>
                  <a:pt x="3389" y="1507"/>
                  <a:pt x="3389" y="1566"/>
                </a:cubicBezTo>
                <a:cubicBezTo>
                  <a:pt x="3389" y="1566"/>
                  <a:pt x="3389" y="1566"/>
                  <a:pt x="3400" y="1566"/>
                </a:cubicBezTo>
                <a:cubicBezTo>
                  <a:pt x="3400" y="1566"/>
                  <a:pt x="3400" y="1566"/>
                  <a:pt x="3400" y="1493"/>
                </a:cubicBezTo>
                <a:close/>
                <a:moveTo>
                  <a:pt x="3156" y="1525"/>
                </a:moveTo>
                <a:cubicBezTo>
                  <a:pt x="3156" y="1525"/>
                  <a:pt x="3156" y="1525"/>
                  <a:pt x="3156" y="1525"/>
                </a:cubicBezTo>
                <a:cubicBezTo>
                  <a:pt x="3156" y="1533"/>
                  <a:pt x="3156" y="1533"/>
                  <a:pt x="3156" y="1533"/>
                </a:cubicBezTo>
                <a:cubicBezTo>
                  <a:pt x="3162" y="1534"/>
                  <a:pt x="3163" y="1537"/>
                  <a:pt x="3163" y="1539"/>
                </a:cubicBezTo>
                <a:cubicBezTo>
                  <a:pt x="3163" y="1541"/>
                  <a:pt x="3162" y="1544"/>
                  <a:pt x="3162" y="1546"/>
                </a:cubicBezTo>
                <a:cubicBezTo>
                  <a:pt x="3162" y="1549"/>
                  <a:pt x="3162" y="1551"/>
                  <a:pt x="3162" y="1553"/>
                </a:cubicBezTo>
                <a:cubicBezTo>
                  <a:pt x="3162" y="1563"/>
                  <a:pt x="3168" y="1566"/>
                  <a:pt x="3176" y="1566"/>
                </a:cubicBezTo>
                <a:cubicBezTo>
                  <a:pt x="3176" y="1566"/>
                  <a:pt x="3176" y="1566"/>
                  <a:pt x="3180" y="1566"/>
                </a:cubicBezTo>
                <a:cubicBezTo>
                  <a:pt x="3180" y="1566"/>
                  <a:pt x="3180" y="1566"/>
                  <a:pt x="3180" y="1557"/>
                </a:cubicBezTo>
                <a:cubicBezTo>
                  <a:pt x="3180" y="1557"/>
                  <a:pt x="3180" y="1557"/>
                  <a:pt x="3178" y="1557"/>
                </a:cubicBezTo>
                <a:cubicBezTo>
                  <a:pt x="3175" y="1557"/>
                  <a:pt x="3174" y="1555"/>
                  <a:pt x="3174" y="1551"/>
                </a:cubicBezTo>
                <a:cubicBezTo>
                  <a:pt x="3174" y="1550"/>
                  <a:pt x="3174" y="1548"/>
                  <a:pt x="3174" y="1546"/>
                </a:cubicBezTo>
                <a:cubicBezTo>
                  <a:pt x="3174" y="1545"/>
                  <a:pt x="3174" y="1543"/>
                  <a:pt x="3174" y="1540"/>
                </a:cubicBezTo>
                <a:cubicBezTo>
                  <a:pt x="3174" y="1533"/>
                  <a:pt x="3171" y="1530"/>
                  <a:pt x="3166" y="1529"/>
                </a:cubicBezTo>
                <a:cubicBezTo>
                  <a:pt x="3166" y="1529"/>
                  <a:pt x="3166" y="1529"/>
                  <a:pt x="3166" y="1529"/>
                </a:cubicBezTo>
                <a:cubicBezTo>
                  <a:pt x="3171" y="1528"/>
                  <a:pt x="3174" y="1525"/>
                  <a:pt x="3174" y="1518"/>
                </a:cubicBezTo>
                <a:cubicBezTo>
                  <a:pt x="3174" y="1515"/>
                  <a:pt x="3174" y="1513"/>
                  <a:pt x="3174" y="1512"/>
                </a:cubicBezTo>
                <a:cubicBezTo>
                  <a:pt x="3174" y="1510"/>
                  <a:pt x="3174" y="1508"/>
                  <a:pt x="3174" y="1507"/>
                </a:cubicBezTo>
                <a:cubicBezTo>
                  <a:pt x="3174" y="1503"/>
                  <a:pt x="3175" y="1501"/>
                  <a:pt x="3178" y="1501"/>
                </a:cubicBezTo>
                <a:cubicBezTo>
                  <a:pt x="3178" y="1501"/>
                  <a:pt x="3178" y="1501"/>
                  <a:pt x="3180" y="1501"/>
                </a:cubicBezTo>
                <a:cubicBezTo>
                  <a:pt x="3180" y="1501"/>
                  <a:pt x="3180" y="1501"/>
                  <a:pt x="3180" y="1492"/>
                </a:cubicBezTo>
                <a:cubicBezTo>
                  <a:pt x="3180" y="1492"/>
                  <a:pt x="3180" y="1492"/>
                  <a:pt x="3176" y="1492"/>
                </a:cubicBezTo>
                <a:cubicBezTo>
                  <a:pt x="3167" y="1492"/>
                  <a:pt x="3162" y="1496"/>
                  <a:pt x="3162" y="1504"/>
                </a:cubicBezTo>
                <a:cubicBezTo>
                  <a:pt x="3162" y="1507"/>
                  <a:pt x="3162" y="1509"/>
                  <a:pt x="3162" y="1512"/>
                </a:cubicBezTo>
                <a:cubicBezTo>
                  <a:pt x="3162" y="1514"/>
                  <a:pt x="3163" y="1517"/>
                  <a:pt x="3163" y="1519"/>
                </a:cubicBezTo>
                <a:cubicBezTo>
                  <a:pt x="3163" y="1521"/>
                  <a:pt x="3162" y="1525"/>
                  <a:pt x="3156" y="1525"/>
                </a:cubicBezTo>
                <a:close/>
                <a:moveTo>
                  <a:pt x="3211" y="1533"/>
                </a:moveTo>
                <a:cubicBezTo>
                  <a:pt x="3211" y="1533"/>
                  <a:pt x="3211" y="1533"/>
                  <a:pt x="3211" y="1533"/>
                </a:cubicBezTo>
                <a:cubicBezTo>
                  <a:pt x="3211" y="1525"/>
                  <a:pt x="3211" y="1525"/>
                  <a:pt x="3211" y="1525"/>
                </a:cubicBezTo>
                <a:cubicBezTo>
                  <a:pt x="3205" y="1525"/>
                  <a:pt x="3204" y="1521"/>
                  <a:pt x="3204" y="1519"/>
                </a:cubicBezTo>
                <a:cubicBezTo>
                  <a:pt x="3204" y="1517"/>
                  <a:pt x="3204" y="1514"/>
                  <a:pt x="3205" y="1512"/>
                </a:cubicBezTo>
                <a:cubicBezTo>
                  <a:pt x="3205" y="1509"/>
                  <a:pt x="3205" y="1507"/>
                  <a:pt x="3205" y="1504"/>
                </a:cubicBezTo>
                <a:cubicBezTo>
                  <a:pt x="3205" y="1496"/>
                  <a:pt x="3200" y="1492"/>
                  <a:pt x="3190" y="1492"/>
                </a:cubicBezTo>
                <a:cubicBezTo>
                  <a:pt x="3190" y="1492"/>
                  <a:pt x="3190" y="1492"/>
                  <a:pt x="3187" y="1492"/>
                </a:cubicBezTo>
                <a:cubicBezTo>
                  <a:pt x="3187" y="1492"/>
                  <a:pt x="3187" y="1492"/>
                  <a:pt x="3187" y="1501"/>
                </a:cubicBezTo>
                <a:cubicBezTo>
                  <a:pt x="3187" y="1501"/>
                  <a:pt x="3187" y="1501"/>
                  <a:pt x="3188" y="1501"/>
                </a:cubicBezTo>
                <a:cubicBezTo>
                  <a:pt x="3192" y="1501"/>
                  <a:pt x="3193" y="1503"/>
                  <a:pt x="3193" y="1507"/>
                </a:cubicBezTo>
                <a:cubicBezTo>
                  <a:pt x="3193" y="1508"/>
                  <a:pt x="3193" y="1510"/>
                  <a:pt x="3193" y="1512"/>
                </a:cubicBezTo>
                <a:cubicBezTo>
                  <a:pt x="3193" y="1513"/>
                  <a:pt x="3193" y="1515"/>
                  <a:pt x="3193" y="1518"/>
                </a:cubicBezTo>
                <a:cubicBezTo>
                  <a:pt x="3193" y="1525"/>
                  <a:pt x="3195" y="1528"/>
                  <a:pt x="3201" y="1529"/>
                </a:cubicBezTo>
                <a:cubicBezTo>
                  <a:pt x="3201" y="1529"/>
                  <a:pt x="3201" y="1529"/>
                  <a:pt x="3201" y="1529"/>
                </a:cubicBezTo>
                <a:cubicBezTo>
                  <a:pt x="3195" y="1530"/>
                  <a:pt x="3193" y="1533"/>
                  <a:pt x="3193" y="1540"/>
                </a:cubicBezTo>
                <a:cubicBezTo>
                  <a:pt x="3193" y="1543"/>
                  <a:pt x="3193" y="1545"/>
                  <a:pt x="3193" y="1546"/>
                </a:cubicBezTo>
                <a:cubicBezTo>
                  <a:pt x="3193" y="1548"/>
                  <a:pt x="3193" y="1550"/>
                  <a:pt x="3193" y="1551"/>
                </a:cubicBezTo>
                <a:cubicBezTo>
                  <a:pt x="3193" y="1555"/>
                  <a:pt x="3192" y="1557"/>
                  <a:pt x="3188" y="1557"/>
                </a:cubicBezTo>
                <a:cubicBezTo>
                  <a:pt x="3188" y="1557"/>
                  <a:pt x="3188" y="1557"/>
                  <a:pt x="3187" y="1557"/>
                </a:cubicBezTo>
                <a:cubicBezTo>
                  <a:pt x="3187" y="1557"/>
                  <a:pt x="3187" y="1557"/>
                  <a:pt x="3187" y="1566"/>
                </a:cubicBezTo>
                <a:cubicBezTo>
                  <a:pt x="3187" y="1566"/>
                  <a:pt x="3187" y="1566"/>
                  <a:pt x="3190" y="1566"/>
                </a:cubicBezTo>
                <a:cubicBezTo>
                  <a:pt x="3199" y="1566"/>
                  <a:pt x="3205" y="1563"/>
                  <a:pt x="3205" y="1553"/>
                </a:cubicBezTo>
                <a:cubicBezTo>
                  <a:pt x="3205" y="1551"/>
                  <a:pt x="3205" y="1549"/>
                  <a:pt x="3205" y="1546"/>
                </a:cubicBezTo>
                <a:cubicBezTo>
                  <a:pt x="3204" y="1544"/>
                  <a:pt x="3204" y="1541"/>
                  <a:pt x="3204" y="1539"/>
                </a:cubicBezTo>
                <a:cubicBezTo>
                  <a:pt x="3204" y="1537"/>
                  <a:pt x="3205" y="1534"/>
                  <a:pt x="3211" y="1533"/>
                </a:cubicBezTo>
                <a:close/>
                <a:moveTo>
                  <a:pt x="3538" y="1525"/>
                </a:moveTo>
                <a:cubicBezTo>
                  <a:pt x="3538" y="1525"/>
                  <a:pt x="3538" y="1525"/>
                  <a:pt x="3538" y="1525"/>
                </a:cubicBezTo>
                <a:cubicBezTo>
                  <a:pt x="3538" y="1533"/>
                  <a:pt x="3538" y="1533"/>
                  <a:pt x="3538" y="1533"/>
                </a:cubicBezTo>
                <a:cubicBezTo>
                  <a:pt x="3544" y="1534"/>
                  <a:pt x="3545" y="1537"/>
                  <a:pt x="3545" y="1539"/>
                </a:cubicBezTo>
                <a:cubicBezTo>
                  <a:pt x="3545" y="1541"/>
                  <a:pt x="3545" y="1544"/>
                  <a:pt x="3545" y="1546"/>
                </a:cubicBezTo>
                <a:cubicBezTo>
                  <a:pt x="3544" y="1549"/>
                  <a:pt x="3544" y="1551"/>
                  <a:pt x="3544" y="1553"/>
                </a:cubicBezTo>
                <a:cubicBezTo>
                  <a:pt x="3544" y="1563"/>
                  <a:pt x="3550" y="1566"/>
                  <a:pt x="3558" y="1566"/>
                </a:cubicBezTo>
                <a:cubicBezTo>
                  <a:pt x="3558" y="1566"/>
                  <a:pt x="3558" y="1566"/>
                  <a:pt x="3562" y="1566"/>
                </a:cubicBezTo>
                <a:cubicBezTo>
                  <a:pt x="3562" y="1566"/>
                  <a:pt x="3562" y="1566"/>
                  <a:pt x="3562" y="1557"/>
                </a:cubicBezTo>
                <a:cubicBezTo>
                  <a:pt x="3562" y="1557"/>
                  <a:pt x="3562" y="1557"/>
                  <a:pt x="3560" y="1557"/>
                </a:cubicBezTo>
                <a:cubicBezTo>
                  <a:pt x="3557" y="1557"/>
                  <a:pt x="3556" y="1555"/>
                  <a:pt x="3556" y="1551"/>
                </a:cubicBezTo>
                <a:cubicBezTo>
                  <a:pt x="3556" y="1550"/>
                  <a:pt x="3556" y="1548"/>
                  <a:pt x="3556" y="1546"/>
                </a:cubicBezTo>
                <a:cubicBezTo>
                  <a:pt x="3556" y="1545"/>
                  <a:pt x="3556" y="1543"/>
                  <a:pt x="3556" y="1540"/>
                </a:cubicBezTo>
                <a:cubicBezTo>
                  <a:pt x="3556" y="1533"/>
                  <a:pt x="3553" y="1530"/>
                  <a:pt x="3548" y="1529"/>
                </a:cubicBezTo>
                <a:cubicBezTo>
                  <a:pt x="3548" y="1529"/>
                  <a:pt x="3548" y="1529"/>
                  <a:pt x="3548" y="1529"/>
                </a:cubicBezTo>
                <a:cubicBezTo>
                  <a:pt x="3553" y="1528"/>
                  <a:pt x="3556" y="1525"/>
                  <a:pt x="3556" y="1518"/>
                </a:cubicBezTo>
                <a:cubicBezTo>
                  <a:pt x="3556" y="1515"/>
                  <a:pt x="3556" y="1513"/>
                  <a:pt x="3556" y="1512"/>
                </a:cubicBezTo>
                <a:cubicBezTo>
                  <a:pt x="3556" y="1510"/>
                  <a:pt x="3556" y="1508"/>
                  <a:pt x="3556" y="1507"/>
                </a:cubicBezTo>
                <a:cubicBezTo>
                  <a:pt x="3556" y="1503"/>
                  <a:pt x="3557" y="1501"/>
                  <a:pt x="3560" y="1501"/>
                </a:cubicBezTo>
                <a:cubicBezTo>
                  <a:pt x="3560" y="1501"/>
                  <a:pt x="3560" y="1501"/>
                  <a:pt x="3562" y="1501"/>
                </a:cubicBezTo>
                <a:cubicBezTo>
                  <a:pt x="3562" y="1501"/>
                  <a:pt x="3562" y="1501"/>
                  <a:pt x="3562" y="1492"/>
                </a:cubicBezTo>
                <a:cubicBezTo>
                  <a:pt x="3562" y="1492"/>
                  <a:pt x="3562" y="1492"/>
                  <a:pt x="3558" y="1492"/>
                </a:cubicBezTo>
                <a:cubicBezTo>
                  <a:pt x="3549" y="1492"/>
                  <a:pt x="3544" y="1496"/>
                  <a:pt x="3544" y="1504"/>
                </a:cubicBezTo>
                <a:cubicBezTo>
                  <a:pt x="3544" y="1507"/>
                  <a:pt x="3544" y="1509"/>
                  <a:pt x="3544" y="1512"/>
                </a:cubicBezTo>
                <a:cubicBezTo>
                  <a:pt x="3545" y="1514"/>
                  <a:pt x="3545" y="1517"/>
                  <a:pt x="3545" y="1519"/>
                </a:cubicBezTo>
                <a:cubicBezTo>
                  <a:pt x="3545" y="1521"/>
                  <a:pt x="3544" y="1525"/>
                  <a:pt x="3538" y="1525"/>
                </a:cubicBezTo>
                <a:close/>
                <a:moveTo>
                  <a:pt x="3593" y="1533"/>
                </a:moveTo>
                <a:cubicBezTo>
                  <a:pt x="3593" y="1533"/>
                  <a:pt x="3593" y="1533"/>
                  <a:pt x="3593" y="1533"/>
                </a:cubicBezTo>
                <a:cubicBezTo>
                  <a:pt x="3593" y="1525"/>
                  <a:pt x="3593" y="1525"/>
                  <a:pt x="3593" y="1525"/>
                </a:cubicBezTo>
                <a:cubicBezTo>
                  <a:pt x="3587" y="1525"/>
                  <a:pt x="3586" y="1521"/>
                  <a:pt x="3586" y="1519"/>
                </a:cubicBezTo>
                <a:cubicBezTo>
                  <a:pt x="3586" y="1517"/>
                  <a:pt x="3586" y="1514"/>
                  <a:pt x="3587" y="1512"/>
                </a:cubicBezTo>
                <a:cubicBezTo>
                  <a:pt x="3587" y="1509"/>
                  <a:pt x="3587" y="1507"/>
                  <a:pt x="3587" y="1504"/>
                </a:cubicBezTo>
                <a:cubicBezTo>
                  <a:pt x="3587" y="1496"/>
                  <a:pt x="3582" y="1492"/>
                  <a:pt x="3572" y="1492"/>
                </a:cubicBezTo>
                <a:cubicBezTo>
                  <a:pt x="3572" y="1492"/>
                  <a:pt x="3572" y="1492"/>
                  <a:pt x="3569" y="1492"/>
                </a:cubicBezTo>
                <a:cubicBezTo>
                  <a:pt x="3569" y="1492"/>
                  <a:pt x="3569" y="1492"/>
                  <a:pt x="3569" y="1501"/>
                </a:cubicBezTo>
                <a:cubicBezTo>
                  <a:pt x="3569" y="1501"/>
                  <a:pt x="3569" y="1501"/>
                  <a:pt x="3570" y="1501"/>
                </a:cubicBezTo>
                <a:cubicBezTo>
                  <a:pt x="3574" y="1501"/>
                  <a:pt x="3575" y="1503"/>
                  <a:pt x="3575" y="1507"/>
                </a:cubicBezTo>
                <a:cubicBezTo>
                  <a:pt x="3575" y="1508"/>
                  <a:pt x="3575" y="1510"/>
                  <a:pt x="3575" y="1512"/>
                </a:cubicBezTo>
                <a:cubicBezTo>
                  <a:pt x="3575" y="1513"/>
                  <a:pt x="3575" y="1515"/>
                  <a:pt x="3575" y="1518"/>
                </a:cubicBezTo>
                <a:cubicBezTo>
                  <a:pt x="3575" y="1525"/>
                  <a:pt x="3577" y="1528"/>
                  <a:pt x="3583" y="1529"/>
                </a:cubicBezTo>
                <a:cubicBezTo>
                  <a:pt x="3583" y="1529"/>
                  <a:pt x="3583" y="1529"/>
                  <a:pt x="3583" y="1529"/>
                </a:cubicBezTo>
                <a:cubicBezTo>
                  <a:pt x="3577" y="1530"/>
                  <a:pt x="3575" y="1533"/>
                  <a:pt x="3575" y="1540"/>
                </a:cubicBezTo>
                <a:cubicBezTo>
                  <a:pt x="3575" y="1543"/>
                  <a:pt x="3575" y="1545"/>
                  <a:pt x="3575" y="1546"/>
                </a:cubicBezTo>
                <a:cubicBezTo>
                  <a:pt x="3575" y="1548"/>
                  <a:pt x="3575" y="1550"/>
                  <a:pt x="3575" y="1551"/>
                </a:cubicBezTo>
                <a:cubicBezTo>
                  <a:pt x="3575" y="1555"/>
                  <a:pt x="3574" y="1557"/>
                  <a:pt x="3570" y="1557"/>
                </a:cubicBezTo>
                <a:cubicBezTo>
                  <a:pt x="3570" y="1557"/>
                  <a:pt x="3570" y="1557"/>
                  <a:pt x="3569" y="1557"/>
                </a:cubicBezTo>
                <a:cubicBezTo>
                  <a:pt x="3569" y="1557"/>
                  <a:pt x="3569" y="1557"/>
                  <a:pt x="3569" y="1566"/>
                </a:cubicBezTo>
                <a:cubicBezTo>
                  <a:pt x="3569" y="1566"/>
                  <a:pt x="3569" y="1566"/>
                  <a:pt x="3572" y="1566"/>
                </a:cubicBezTo>
                <a:cubicBezTo>
                  <a:pt x="3581" y="1566"/>
                  <a:pt x="3587" y="1563"/>
                  <a:pt x="3587" y="1553"/>
                </a:cubicBezTo>
                <a:cubicBezTo>
                  <a:pt x="3587" y="1551"/>
                  <a:pt x="3587" y="1549"/>
                  <a:pt x="3587" y="1546"/>
                </a:cubicBezTo>
                <a:cubicBezTo>
                  <a:pt x="3586" y="1544"/>
                  <a:pt x="3586" y="1541"/>
                  <a:pt x="3586" y="1539"/>
                </a:cubicBezTo>
                <a:cubicBezTo>
                  <a:pt x="3586" y="1537"/>
                  <a:pt x="3587" y="1534"/>
                  <a:pt x="3593" y="1533"/>
                </a:cubicBezTo>
                <a:close/>
                <a:moveTo>
                  <a:pt x="3641" y="1493"/>
                </a:moveTo>
                <a:cubicBezTo>
                  <a:pt x="3641" y="1493"/>
                  <a:pt x="3641" y="1493"/>
                  <a:pt x="3641" y="1493"/>
                </a:cubicBezTo>
                <a:cubicBezTo>
                  <a:pt x="3636" y="1493"/>
                  <a:pt x="3636" y="1493"/>
                  <a:pt x="3636" y="1493"/>
                </a:cubicBezTo>
                <a:cubicBezTo>
                  <a:pt x="3633" y="1494"/>
                  <a:pt x="3632" y="1496"/>
                  <a:pt x="3630" y="1496"/>
                </a:cubicBezTo>
                <a:cubicBezTo>
                  <a:pt x="3628" y="1498"/>
                  <a:pt x="3626" y="1498"/>
                  <a:pt x="3625" y="1499"/>
                </a:cubicBezTo>
                <a:cubicBezTo>
                  <a:pt x="3622" y="1500"/>
                  <a:pt x="3621" y="1501"/>
                  <a:pt x="3620" y="1501"/>
                </a:cubicBezTo>
                <a:cubicBezTo>
                  <a:pt x="3617" y="1502"/>
                  <a:pt x="3616" y="1503"/>
                  <a:pt x="3614" y="1504"/>
                </a:cubicBezTo>
                <a:cubicBezTo>
                  <a:pt x="3614" y="1504"/>
                  <a:pt x="3614" y="1504"/>
                  <a:pt x="3614" y="1514"/>
                </a:cubicBezTo>
                <a:cubicBezTo>
                  <a:pt x="3617" y="1513"/>
                  <a:pt x="3620" y="1512"/>
                  <a:pt x="3622" y="1511"/>
                </a:cubicBezTo>
                <a:cubicBezTo>
                  <a:pt x="3625" y="1510"/>
                  <a:pt x="3627" y="1509"/>
                  <a:pt x="3629" y="1507"/>
                </a:cubicBezTo>
                <a:cubicBezTo>
                  <a:pt x="3629" y="1507"/>
                  <a:pt x="3629" y="1507"/>
                  <a:pt x="3629" y="1566"/>
                </a:cubicBezTo>
                <a:cubicBezTo>
                  <a:pt x="3629" y="1566"/>
                  <a:pt x="3629" y="1566"/>
                  <a:pt x="3641" y="1566"/>
                </a:cubicBezTo>
                <a:cubicBezTo>
                  <a:pt x="3641" y="1566"/>
                  <a:pt x="3641" y="1566"/>
                  <a:pt x="3641" y="1493"/>
                </a:cubicBezTo>
                <a:close/>
                <a:moveTo>
                  <a:pt x="3688" y="1493"/>
                </a:moveTo>
                <a:cubicBezTo>
                  <a:pt x="3688" y="1493"/>
                  <a:pt x="3688" y="1493"/>
                  <a:pt x="3688" y="1493"/>
                </a:cubicBezTo>
                <a:cubicBezTo>
                  <a:pt x="3683" y="1493"/>
                  <a:pt x="3683" y="1493"/>
                  <a:pt x="3683" y="1493"/>
                </a:cubicBezTo>
                <a:cubicBezTo>
                  <a:pt x="3681" y="1494"/>
                  <a:pt x="3679" y="1496"/>
                  <a:pt x="3677" y="1496"/>
                </a:cubicBezTo>
                <a:cubicBezTo>
                  <a:pt x="3676" y="1498"/>
                  <a:pt x="3673" y="1498"/>
                  <a:pt x="3672" y="1499"/>
                </a:cubicBezTo>
                <a:cubicBezTo>
                  <a:pt x="3671" y="1501"/>
                  <a:pt x="3668" y="1501"/>
                  <a:pt x="3667" y="1502"/>
                </a:cubicBezTo>
                <a:cubicBezTo>
                  <a:pt x="3665" y="1503"/>
                  <a:pt x="3663" y="1504"/>
                  <a:pt x="3661" y="1504"/>
                </a:cubicBezTo>
                <a:cubicBezTo>
                  <a:pt x="3661" y="1504"/>
                  <a:pt x="3661" y="1504"/>
                  <a:pt x="3661" y="1514"/>
                </a:cubicBezTo>
                <a:cubicBezTo>
                  <a:pt x="3664" y="1513"/>
                  <a:pt x="3667" y="1512"/>
                  <a:pt x="3669" y="1511"/>
                </a:cubicBezTo>
                <a:cubicBezTo>
                  <a:pt x="3672" y="1510"/>
                  <a:pt x="3674" y="1509"/>
                  <a:pt x="3676" y="1507"/>
                </a:cubicBezTo>
                <a:cubicBezTo>
                  <a:pt x="3676" y="1507"/>
                  <a:pt x="3676" y="1507"/>
                  <a:pt x="3676" y="1566"/>
                </a:cubicBezTo>
                <a:cubicBezTo>
                  <a:pt x="3676" y="1566"/>
                  <a:pt x="3676" y="1566"/>
                  <a:pt x="3688" y="1566"/>
                </a:cubicBezTo>
                <a:cubicBezTo>
                  <a:pt x="3688" y="1566"/>
                  <a:pt x="3688" y="1566"/>
                  <a:pt x="3688" y="1493"/>
                </a:cubicBezTo>
                <a:close/>
                <a:moveTo>
                  <a:pt x="3734" y="1493"/>
                </a:moveTo>
                <a:cubicBezTo>
                  <a:pt x="3734" y="1493"/>
                  <a:pt x="3734" y="1493"/>
                  <a:pt x="3734" y="1493"/>
                </a:cubicBezTo>
                <a:cubicBezTo>
                  <a:pt x="3730" y="1493"/>
                  <a:pt x="3730" y="1493"/>
                  <a:pt x="3730" y="1493"/>
                </a:cubicBezTo>
                <a:cubicBezTo>
                  <a:pt x="3728" y="1494"/>
                  <a:pt x="3726" y="1496"/>
                  <a:pt x="3724" y="1496"/>
                </a:cubicBezTo>
                <a:cubicBezTo>
                  <a:pt x="3723" y="1498"/>
                  <a:pt x="3721" y="1498"/>
                  <a:pt x="3719" y="1499"/>
                </a:cubicBezTo>
                <a:cubicBezTo>
                  <a:pt x="3717" y="1501"/>
                  <a:pt x="3716" y="1501"/>
                  <a:pt x="3713" y="1502"/>
                </a:cubicBezTo>
                <a:cubicBezTo>
                  <a:pt x="3712" y="1503"/>
                  <a:pt x="3710" y="1504"/>
                  <a:pt x="3708" y="1504"/>
                </a:cubicBezTo>
                <a:cubicBezTo>
                  <a:pt x="3708" y="1504"/>
                  <a:pt x="3708" y="1504"/>
                  <a:pt x="3708" y="1514"/>
                </a:cubicBezTo>
                <a:cubicBezTo>
                  <a:pt x="3711" y="1513"/>
                  <a:pt x="3714" y="1512"/>
                  <a:pt x="3716" y="1511"/>
                </a:cubicBezTo>
                <a:cubicBezTo>
                  <a:pt x="3718" y="1510"/>
                  <a:pt x="3721" y="1509"/>
                  <a:pt x="3723" y="1507"/>
                </a:cubicBezTo>
                <a:cubicBezTo>
                  <a:pt x="3723" y="1507"/>
                  <a:pt x="3723" y="1507"/>
                  <a:pt x="3723" y="1566"/>
                </a:cubicBezTo>
                <a:cubicBezTo>
                  <a:pt x="3723" y="1566"/>
                  <a:pt x="3723" y="1566"/>
                  <a:pt x="3734" y="1566"/>
                </a:cubicBezTo>
                <a:cubicBezTo>
                  <a:pt x="3734" y="1566"/>
                  <a:pt x="3734" y="1566"/>
                  <a:pt x="3734" y="1493"/>
                </a:cubicBezTo>
                <a:close/>
                <a:moveTo>
                  <a:pt x="3858" y="1493"/>
                </a:moveTo>
                <a:cubicBezTo>
                  <a:pt x="3858" y="1493"/>
                  <a:pt x="3858" y="1493"/>
                  <a:pt x="3858" y="1493"/>
                </a:cubicBezTo>
                <a:cubicBezTo>
                  <a:pt x="3852" y="1493"/>
                  <a:pt x="3852" y="1493"/>
                  <a:pt x="3852" y="1493"/>
                </a:cubicBezTo>
                <a:cubicBezTo>
                  <a:pt x="3850" y="1494"/>
                  <a:pt x="3849" y="1496"/>
                  <a:pt x="3847" y="1496"/>
                </a:cubicBezTo>
                <a:cubicBezTo>
                  <a:pt x="3845" y="1498"/>
                  <a:pt x="3844" y="1498"/>
                  <a:pt x="3841" y="1499"/>
                </a:cubicBezTo>
                <a:cubicBezTo>
                  <a:pt x="3840" y="1501"/>
                  <a:pt x="3838" y="1501"/>
                  <a:pt x="3836" y="1502"/>
                </a:cubicBezTo>
                <a:cubicBezTo>
                  <a:pt x="3834" y="1503"/>
                  <a:pt x="3832" y="1504"/>
                  <a:pt x="3830" y="1504"/>
                </a:cubicBezTo>
                <a:cubicBezTo>
                  <a:pt x="3830" y="1504"/>
                  <a:pt x="3830" y="1504"/>
                  <a:pt x="3830" y="1514"/>
                </a:cubicBezTo>
                <a:cubicBezTo>
                  <a:pt x="3833" y="1513"/>
                  <a:pt x="3836" y="1512"/>
                  <a:pt x="3839" y="1511"/>
                </a:cubicBezTo>
                <a:cubicBezTo>
                  <a:pt x="3841" y="1510"/>
                  <a:pt x="3844" y="1509"/>
                  <a:pt x="3846" y="1507"/>
                </a:cubicBezTo>
                <a:cubicBezTo>
                  <a:pt x="3846" y="1507"/>
                  <a:pt x="3846" y="1507"/>
                  <a:pt x="3846" y="1566"/>
                </a:cubicBezTo>
                <a:cubicBezTo>
                  <a:pt x="3846" y="1566"/>
                  <a:pt x="3846" y="1566"/>
                  <a:pt x="3858" y="1566"/>
                </a:cubicBezTo>
                <a:cubicBezTo>
                  <a:pt x="3858" y="1566"/>
                  <a:pt x="3858" y="1566"/>
                  <a:pt x="3858" y="1493"/>
                </a:cubicBezTo>
                <a:close/>
                <a:moveTo>
                  <a:pt x="3755" y="1525"/>
                </a:moveTo>
                <a:cubicBezTo>
                  <a:pt x="3755" y="1525"/>
                  <a:pt x="3755" y="1525"/>
                  <a:pt x="3755" y="1525"/>
                </a:cubicBezTo>
                <a:cubicBezTo>
                  <a:pt x="3755" y="1533"/>
                  <a:pt x="3755" y="1533"/>
                  <a:pt x="3755" y="1533"/>
                </a:cubicBezTo>
                <a:cubicBezTo>
                  <a:pt x="3761" y="1534"/>
                  <a:pt x="3762" y="1537"/>
                  <a:pt x="3762" y="1539"/>
                </a:cubicBezTo>
                <a:cubicBezTo>
                  <a:pt x="3762" y="1541"/>
                  <a:pt x="3762" y="1544"/>
                  <a:pt x="3762" y="1546"/>
                </a:cubicBezTo>
                <a:cubicBezTo>
                  <a:pt x="3761" y="1549"/>
                  <a:pt x="3761" y="1551"/>
                  <a:pt x="3761" y="1553"/>
                </a:cubicBezTo>
                <a:cubicBezTo>
                  <a:pt x="3761" y="1563"/>
                  <a:pt x="3767" y="1566"/>
                  <a:pt x="3775" y="1566"/>
                </a:cubicBezTo>
                <a:cubicBezTo>
                  <a:pt x="3775" y="1566"/>
                  <a:pt x="3775" y="1566"/>
                  <a:pt x="3779" y="1566"/>
                </a:cubicBezTo>
                <a:cubicBezTo>
                  <a:pt x="3779" y="1566"/>
                  <a:pt x="3779" y="1566"/>
                  <a:pt x="3779" y="1557"/>
                </a:cubicBezTo>
                <a:cubicBezTo>
                  <a:pt x="3779" y="1557"/>
                  <a:pt x="3779" y="1557"/>
                  <a:pt x="3777" y="1557"/>
                </a:cubicBezTo>
                <a:cubicBezTo>
                  <a:pt x="3774" y="1557"/>
                  <a:pt x="3773" y="1555"/>
                  <a:pt x="3773" y="1551"/>
                </a:cubicBezTo>
                <a:cubicBezTo>
                  <a:pt x="3773" y="1550"/>
                  <a:pt x="3773" y="1548"/>
                  <a:pt x="3773" y="1546"/>
                </a:cubicBezTo>
                <a:cubicBezTo>
                  <a:pt x="3773" y="1545"/>
                  <a:pt x="3773" y="1543"/>
                  <a:pt x="3773" y="1540"/>
                </a:cubicBezTo>
                <a:cubicBezTo>
                  <a:pt x="3773" y="1533"/>
                  <a:pt x="3770" y="1530"/>
                  <a:pt x="3765" y="1529"/>
                </a:cubicBezTo>
                <a:cubicBezTo>
                  <a:pt x="3765" y="1529"/>
                  <a:pt x="3765" y="1529"/>
                  <a:pt x="3765" y="1529"/>
                </a:cubicBezTo>
                <a:cubicBezTo>
                  <a:pt x="3770" y="1528"/>
                  <a:pt x="3773" y="1525"/>
                  <a:pt x="3773" y="1518"/>
                </a:cubicBezTo>
                <a:cubicBezTo>
                  <a:pt x="3773" y="1515"/>
                  <a:pt x="3773" y="1513"/>
                  <a:pt x="3773" y="1512"/>
                </a:cubicBezTo>
                <a:cubicBezTo>
                  <a:pt x="3773" y="1510"/>
                  <a:pt x="3773" y="1508"/>
                  <a:pt x="3773" y="1507"/>
                </a:cubicBezTo>
                <a:cubicBezTo>
                  <a:pt x="3773" y="1503"/>
                  <a:pt x="3774" y="1501"/>
                  <a:pt x="3777" y="1501"/>
                </a:cubicBezTo>
                <a:cubicBezTo>
                  <a:pt x="3777" y="1501"/>
                  <a:pt x="3777" y="1501"/>
                  <a:pt x="3779" y="1501"/>
                </a:cubicBezTo>
                <a:cubicBezTo>
                  <a:pt x="3779" y="1501"/>
                  <a:pt x="3779" y="1501"/>
                  <a:pt x="3779" y="1492"/>
                </a:cubicBezTo>
                <a:cubicBezTo>
                  <a:pt x="3779" y="1492"/>
                  <a:pt x="3779" y="1492"/>
                  <a:pt x="3775" y="1492"/>
                </a:cubicBezTo>
                <a:cubicBezTo>
                  <a:pt x="3766" y="1492"/>
                  <a:pt x="3761" y="1496"/>
                  <a:pt x="3761" y="1504"/>
                </a:cubicBezTo>
                <a:cubicBezTo>
                  <a:pt x="3761" y="1507"/>
                  <a:pt x="3761" y="1509"/>
                  <a:pt x="3761" y="1512"/>
                </a:cubicBezTo>
                <a:cubicBezTo>
                  <a:pt x="3762" y="1514"/>
                  <a:pt x="3762" y="1517"/>
                  <a:pt x="3762" y="1519"/>
                </a:cubicBezTo>
                <a:cubicBezTo>
                  <a:pt x="3762" y="1521"/>
                  <a:pt x="3761" y="1525"/>
                  <a:pt x="3755" y="1525"/>
                </a:cubicBezTo>
                <a:close/>
                <a:moveTo>
                  <a:pt x="3810" y="1533"/>
                </a:moveTo>
                <a:cubicBezTo>
                  <a:pt x="3810" y="1533"/>
                  <a:pt x="3810" y="1533"/>
                  <a:pt x="3810" y="1533"/>
                </a:cubicBezTo>
                <a:cubicBezTo>
                  <a:pt x="3810" y="1525"/>
                  <a:pt x="3810" y="1525"/>
                  <a:pt x="3810" y="1525"/>
                </a:cubicBezTo>
                <a:cubicBezTo>
                  <a:pt x="3803" y="1525"/>
                  <a:pt x="3803" y="1521"/>
                  <a:pt x="3803" y="1519"/>
                </a:cubicBezTo>
                <a:cubicBezTo>
                  <a:pt x="3803" y="1517"/>
                  <a:pt x="3803" y="1514"/>
                  <a:pt x="3803" y="1512"/>
                </a:cubicBezTo>
                <a:cubicBezTo>
                  <a:pt x="3804" y="1509"/>
                  <a:pt x="3804" y="1507"/>
                  <a:pt x="3804" y="1504"/>
                </a:cubicBezTo>
                <a:cubicBezTo>
                  <a:pt x="3804" y="1496"/>
                  <a:pt x="3799" y="1492"/>
                  <a:pt x="3789" y="1492"/>
                </a:cubicBezTo>
                <a:cubicBezTo>
                  <a:pt x="3789" y="1492"/>
                  <a:pt x="3789" y="1492"/>
                  <a:pt x="3786" y="1492"/>
                </a:cubicBezTo>
                <a:cubicBezTo>
                  <a:pt x="3786" y="1492"/>
                  <a:pt x="3786" y="1492"/>
                  <a:pt x="3786" y="1501"/>
                </a:cubicBezTo>
                <a:cubicBezTo>
                  <a:pt x="3786" y="1501"/>
                  <a:pt x="3786" y="1501"/>
                  <a:pt x="3787" y="1501"/>
                </a:cubicBezTo>
                <a:cubicBezTo>
                  <a:pt x="3791" y="1501"/>
                  <a:pt x="3792" y="1503"/>
                  <a:pt x="3792" y="1507"/>
                </a:cubicBezTo>
                <a:cubicBezTo>
                  <a:pt x="3792" y="1508"/>
                  <a:pt x="3792" y="1510"/>
                  <a:pt x="3792" y="1512"/>
                </a:cubicBezTo>
                <a:cubicBezTo>
                  <a:pt x="3792" y="1513"/>
                  <a:pt x="3792" y="1515"/>
                  <a:pt x="3792" y="1518"/>
                </a:cubicBezTo>
                <a:cubicBezTo>
                  <a:pt x="3792" y="1525"/>
                  <a:pt x="3794" y="1528"/>
                  <a:pt x="3800" y="1529"/>
                </a:cubicBezTo>
                <a:cubicBezTo>
                  <a:pt x="3800" y="1529"/>
                  <a:pt x="3800" y="1529"/>
                  <a:pt x="3800" y="1529"/>
                </a:cubicBezTo>
                <a:cubicBezTo>
                  <a:pt x="3794" y="1530"/>
                  <a:pt x="3792" y="1533"/>
                  <a:pt x="3792" y="1540"/>
                </a:cubicBezTo>
                <a:cubicBezTo>
                  <a:pt x="3792" y="1543"/>
                  <a:pt x="3792" y="1545"/>
                  <a:pt x="3792" y="1546"/>
                </a:cubicBezTo>
                <a:cubicBezTo>
                  <a:pt x="3792" y="1548"/>
                  <a:pt x="3792" y="1550"/>
                  <a:pt x="3792" y="1551"/>
                </a:cubicBezTo>
                <a:cubicBezTo>
                  <a:pt x="3792" y="1555"/>
                  <a:pt x="3791" y="1557"/>
                  <a:pt x="3787" y="1557"/>
                </a:cubicBezTo>
                <a:cubicBezTo>
                  <a:pt x="3787" y="1557"/>
                  <a:pt x="3787" y="1557"/>
                  <a:pt x="3786" y="1557"/>
                </a:cubicBezTo>
                <a:cubicBezTo>
                  <a:pt x="3786" y="1557"/>
                  <a:pt x="3786" y="1557"/>
                  <a:pt x="3786" y="1566"/>
                </a:cubicBezTo>
                <a:cubicBezTo>
                  <a:pt x="3786" y="1566"/>
                  <a:pt x="3786" y="1566"/>
                  <a:pt x="3789" y="1566"/>
                </a:cubicBezTo>
                <a:cubicBezTo>
                  <a:pt x="3798" y="1566"/>
                  <a:pt x="3804" y="1563"/>
                  <a:pt x="3804" y="1553"/>
                </a:cubicBezTo>
                <a:cubicBezTo>
                  <a:pt x="3804" y="1551"/>
                  <a:pt x="3804" y="1549"/>
                  <a:pt x="3803" y="1546"/>
                </a:cubicBezTo>
                <a:cubicBezTo>
                  <a:pt x="3803" y="1544"/>
                  <a:pt x="3803" y="1541"/>
                  <a:pt x="3803" y="1539"/>
                </a:cubicBezTo>
                <a:cubicBezTo>
                  <a:pt x="3803" y="1537"/>
                  <a:pt x="3803" y="1534"/>
                  <a:pt x="3810" y="1533"/>
                </a:cubicBezTo>
                <a:close/>
                <a:moveTo>
                  <a:pt x="2951" y="1444"/>
                </a:moveTo>
                <a:cubicBezTo>
                  <a:pt x="2951" y="1446"/>
                  <a:pt x="2952" y="1447"/>
                  <a:pt x="2952" y="1448"/>
                </a:cubicBezTo>
                <a:cubicBezTo>
                  <a:pt x="2953" y="1450"/>
                  <a:pt x="2953" y="1452"/>
                  <a:pt x="2954" y="1453"/>
                </a:cubicBezTo>
                <a:cubicBezTo>
                  <a:pt x="2954" y="1455"/>
                  <a:pt x="2954" y="1457"/>
                  <a:pt x="2954" y="1458"/>
                </a:cubicBezTo>
                <a:cubicBezTo>
                  <a:pt x="2955" y="1461"/>
                  <a:pt x="2954" y="1463"/>
                  <a:pt x="2951" y="1463"/>
                </a:cubicBezTo>
                <a:cubicBezTo>
                  <a:pt x="2948" y="1463"/>
                  <a:pt x="2945" y="1463"/>
                  <a:pt x="2942" y="1463"/>
                </a:cubicBezTo>
                <a:cubicBezTo>
                  <a:pt x="2942" y="1463"/>
                  <a:pt x="2941" y="1463"/>
                  <a:pt x="2941" y="1463"/>
                </a:cubicBezTo>
                <a:cubicBezTo>
                  <a:pt x="2939" y="1465"/>
                  <a:pt x="2938" y="1466"/>
                  <a:pt x="2936" y="1467"/>
                </a:cubicBezTo>
                <a:cubicBezTo>
                  <a:pt x="2934" y="1470"/>
                  <a:pt x="2931" y="1470"/>
                  <a:pt x="2929" y="1468"/>
                </a:cubicBezTo>
                <a:cubicBezTo>
                  <a:pt x="2927" y="1466"/>
                  <a:pt x="2926" y="1463"/>
                  <a:pt x="2924" y="1461"/>
                </a:cubicBezTo>
                <a:cubicBezTo>
                  <a:pt x="2923" y="1459"/>
                  <a:pt x="2924" y="1457"/>
                  <a:pt x="2926" y="1456"/>
                </a:cubicBezTo>
                <a:cubicBezTo>
                  <a:pt x="2923" y="1456"/>
                  <a:pt x="2922" y="1456"/>
                  <a:pt x="2920" y="1456"/>
                </a:cubicBezTo>
                <a:cubicBezTo>
                  <a:pt x="2920" y="1458"/>
                  <a:pt x="2918" y="1460"/>
                  <a:pt x="2918" y="1462"/>
                </a:cubicBezTo>
                <a:cubicBezTo>
                  <a:pt x="2918" y="1463"/>
                  <a:pt x="2917" y="1463"/>
                  <a:pt x="2917" y="1464"/>
                </a:cubicBezTo>
                <a:cubicBezTo>
                  <a:pt x="2917" y="1467"/>
                  <a:pt x="2916" y="1469"/>
                  <a:pt x="2913" y="1468"/>
                </a:cubicBezTo>
                <a:cubicBezTo>
                  <a:pt x="2910" y="1468"/>
                  <a:pt x="2907" y="1467"/>
                  <a:pt x="2904" y="1466"/>
                </a:cubicBezTo>
                <a:cubicBezTo>
                  <a:pt x="2902" y="1465"/>
                  <a:pt x="2901" y="1464"/>
                  <a:pt x="2902" y="1462"/>
                </a:cubicBezTo>
                <a:cubicBezTo>
                  <a:pt x="2902" y="1461"/>
                  <a:pt x="2902" y="1460"/>
                  <a:pt x="2903" y="1460"/>
                </a:cubicBezTo>
                <a:cubicBezTo>
                  <a:pt x="2900" y="1459"/>
                  <a:pt x="2898" y="1458"/>
                  <a:pt x="2896" y="1457"/>
                </a:cubicBezTo>
                <a:cubicBezTo>
                  <a:pt x="2895" y="1456"/>
                  <a:pt x="2894" y="1454"/>
                  <a:pt x="2893" y="1452"/>
                </a:cubicBezTo>
                <a:cubicBezTo>
                  <a:pt x="2892" y="1450"/>
                  <a:pt x="2892" y="1449"/>
                  <a:pt x="2894" y="1447"/>
                </a:cubicBezTo>
                <a:cubicBezTo>
                  <a:pt x="2897" y="1445"/>
                  <a:pt x="2898" y="1442"/>
                  <a:pt x="2897" y="1438"/>
                </a:cubicBezTo>
                <a:cubicBezTo>
                  <a:pt x="2897" y="1436"/>
                  <a:pt x="2897" y="1434"/>
                  <a:pt x="2897" y="1432"/>
                </a:cubicBezTo>
                <a:cubicBezTo>
                  <a:pt x="2896" y="1431"/>
                  <a:pt x="2894" y="1431"/>
                  <a:pt x="2893" y="1430"/>
                </a:cubicBezTo>
                <a:cubicBezTo>
                  <a:pt x="2892" y="1428"/>
                  <a:pt x="2891" y="1426"/>
                  <a:pt x="2891" y="1424"/>
                </a:cubicBezTo>
                <a:cubicBezTo>
                  <a:pt x="2891" y="1421"/>
                  <a:pt x="2894" y="1419"/>
                  <a:pt x="2897" y="1418"/>
                </a:cubicBezTo>
                <a:cubicBezTo>
                  <a:pt x="2898" y="1419"/>
                  <a:pt x="2898" y="1419"/>
                  <a:pt x="2898" y="1420"/>
                </a:cubicBezTo>
                <a:cubicBezTo>
                  <a:pt x="2898" y="1421"/>
                  <a:pt x="2898" y="1422"/>
                  <a:pt x="2898" y="1423"/>
                </a:cubicBezTo>
                <a:cubicBezTo>
                  <a:pt x="2898" y="1423"/>
                  <a:pt x="2897" y="1423"/>
                  <a:pt x="2897" y="1423"/>
                </a:cubicBezTo>
                <a:cubicBezTo>
                  <a:pt x="2896" y="1424"/>
                  <a:pt x="2896" y="1425"/>
                  <a:pt x="2895" y="1427"/>
                </a:cubicBezTo>
                <a:cubicBezTo>
                  <a:pt x="2896" y="1427"/>
                  <a:pt x="2897" y="1427"/>
                  <a:pt x="2898" y="1427"/>
                </a:cubicBezTo>
                <a:cubicBezTo>
                  <a:pt x="2899" y="1425"/>
                  <a:pt x="2900" y="1425"/>
                  <a:pt x="2900" y="1423"/>
                </a:cubicBezTo>
                <a:cubicBezTo>
                  <a:pt x="2905" y="1417"/>
                  <a:pt x="2911" y="1413"/>
                  <a:pt x="2918" y="1411"/>
                </a:cubicBezTo>
                <a:cubicBezTo>
                  <a:pt x="2921" y="1411"/>
                  <a:pt x="2925" y="1410"/>
                  <a:pt x="2927" y="1407"/>
                </a:cubicBezTo>
                <a:cubicBezTo>
                  <a:pt x="2927" y="1406"/>
                  <a:pt x="2928" y="1406"/>
                  <a:pt x="2928" y="1406"/>
                </a:cubicBezTo>
                <a:cubicBezTo>
                  <a:pt x="2931" y="1406"/>
                  <a:pt x="2932" y="1403"/>
                  <a:pt x="2934" y="1401"/>
                </a:cubicBezTo>
                <a:cubicBezTo>
                  <a:pt x="2942" y="1394"/>
                  <a:pt x="2954" y="1393"/>
                  <a:pt x="2961" y="1400"/>
                </a:cubicBezTo>
                <a:cubicBezTo>
                  <a:pt x="2964" y="1402"/>
                  <a:pt x="2967" y="1404"/>
                  <a:pt x="2969" y="1406"/>
                </a:cubicBezTo>
                <a:cubicBezTo>
                  <a:pt x="2971" y="1407"/>
                  <a:pt x="2972" y="1409"/>
                  <a:pt x="2973" y="1411"/>
                </a:cubicBezTo>
                <a:cubicBezTo>
                  <a:pt x="2974" y="1412"/>
                  <a:pt x="2974" y="1412"/>
                  <a:pt x="2976" y="1411"/>
                </a:cubicBezTo>
                <a:cubicBezTo>
                  <a:pt x="2976" y="1411"/>
                  <a:pt x="2977" y="1410"/>
                  <a:pt x="2978" y="1409"/>
                </a:cubicBezTo>
                <a:cubicBezTo>
                  <a:pt x="2980" y="1406"/>
                  <a:pt x="2983" y="1406"/>
                  <a:pt x="2984" y="1410"/>
                </a:cubicBezTo>
                <a:cubicBezTo>
                  <a:pt x="2985" y="1413"/>
                  <a:pt x="2986" y="1415"/>
                  <a:pt x="2987" y="1419"/>
                </a:cubicBezTo>
                <a:cubicBezTo>
                  <a:pt x="2987" y="1423"/>
                  <a:pt x="2987" y="1427"/>
                  <a:pt x="2985" y="1432"/>
                </a:cubicBezTo>
                <a:cubicBezTo>
                  <a:pt x="2983" y="1438"/>
                  <a:pt x="2978" y="1442"/>
                  <a:pt x="2972" y="1442"/>
                </a:cubicBezTo>
                <a:cubicBezTo>
                  <a:pt x="2971" y="1442"/>
                  <a:pt x="2971" y="1442"/>
                  <a:pt x="2970" y="1442"/>
                </a:cubicBezTo>
                <a:cubicBezTo>
                  <a:pt x="2967" y="1441"/>
                  <a:pt x="2966" y="1442"/>
                  <a:pt x="2965" y="1444"/>
                </a:cubicBezTo>
                <a:cubicBezTo>
                  <a:pt x="2964" y="1448"/>
                  <a:pt x="2958" y="1450"/>
                  <a:pt x="2955" y="1447"/>
                </a:cubicBezTo>
                <a:cubicBezTo>
                  <a:pt x="2954" y="1446"/>
                  <a:pt x="2953" y="1445"/>
                  <a:pt x="2952" y="1444"/>
                </a:cubicBezTo>
                <a:cubicBezTo>
                  <a:pt x="2951" y="1444"/>
                  <a:pt x="2951" y="1444"/>
                  <a:pt x="2951" y="1444"/>
                </a:cubicBezTo>
                <a:close/>
                <a:moveTo>
                  <a:pt x="2945" y="1440"/>
                </a:moveTo>
                <a:cubicBezTo>
                  <a:pt x="2949" y="1441"/>
                  <a:pt x="2952" y="1442"/>
                  <a:pt x="2955" y="1445"/>
                </a:cubicBezTo>
                <a:cubicBezTo>
                  <a:pt x="2957" y="1447"/>
                  <a:pt x="2959" y="1448"/>
                  <a:pt x="2961" y="1447"/>
                </a:cubicBezTo>
                <a:cubicBezTo>
                  <a:pt x="2963" y="1446"/>
                  <a:pt x="2965" y="1444"/>
                  <a:pt x="2965" y="1441"/>
                </a:cubicBezTo>
                <a:cubicBezTo>
                  <a:pt x="2965" y="1441"/>
                  <a:pt x="2964" y="1441"/>
                  <a:pt x="2964" y="1442"/>
                </a:cubicBezTo>
                <a:cubicBezTo>
                  <a:pt x="2963" y="1443"/>
                  <a:pt x="2962" y="1444"/>
                  <a:pt x="2961" y="1445"/>
                </a:cubicBezTo>
                <a:cubicBezTo>
                  <a:pt x="2960" y="1446"/>
                  <a:pt x="2959" y="1446"/>
                  <a:pt x="2958" y="1446"/>
                </a:cubicBezTo>
                <a:cubicBezTo>
                  <a:pt x="2958" y="1446"/>
                  <a:pt x="2957" y="1444"/>
                  <a:pt x="2957" y="1444"/>
                </a:cubicBezTo>
                <a:cubicBezTo>
                  <a:pt x="2957" y="1441"/>
                  <a:pt x="2958" y="1439"/>
                  <a:pt x="2958" y="1437"/>
                </a:cubicBezTo>
                <a:cubicBezTo>
                  <a:pt x="2961" y="1438"/>
                  <a:pt x="2964" y="1439"/>
                  <a:pt x="2968" y="1440"/>
                </a:cubicBezTo>
                <a:cubicBezTo>
                  <a:pt x="2975" y="1441"/>
                  <a:pt x="2981" y="1439"/>
                  <a:pt x="2984" y="1431"/>
                </a:cubicBezTo>
                <a:cubicBezTo>
                  <a:pt x="2986" y="1426"/>
                  <a:pt x="2985" y="1421"/>
                  <a:pt x="2985" y="1416"/>
                </a:cubicBezTo>
                <a:cubicBezTo>
                  <a:pt x="2984" y="1414"/>
                  <a:pt x="2983" y="1412"/>
                  <a:pt x="2983" y="1410"/>
                </a:cubicBezTo>
                <a:cubicBezTo>
                  <a:pt x="2982" y="1409"/>
                  <a:pt x="2981" y="1408"/>
                  <a:pt x="2980" y="1410"/>
                </a:cubicBezTo>
                <a:cubicBezTo>
                  <a:pt x="2978" y="1412"/>
                  <a:pt x="2976" y="1413"/>
                  <a:pt x="2974" y="1414"/>
                </a:cubicBezTo>
                <a:cubicBezTo>
                  <a:pt x="2974" y="1414"/>
                  <a:pt x="2973" y="1415"/>
                  <a:pt x="2973" y="1416"/>
                </a:cubicBezTo>
                <a:cubicBezTo>
                  <a:pt x="2974" y="1419"/>
                  <a:pt x="2973" y="1423"/>
                  <a:pt x="2972" y="1426"/>
                </a:cubicBezTo>
                <a:cubicBezTo>
                  <a:pt x="2972" y="1424"/>
                  <a:pt x="2972" y="1422"/>
                  <a:pt x="2972" y="1420"/>
                </a:cubicBezTo>
                <a:cubicBezTo>
                  <a:pt x="2972" y="1419"/>
                  <a:pt x="2972" y="1419"/>
                  <a:pt x="2972" y="1419"/>
                </a:cubicBezTo>
                <a:cubicBezTo>
                  <a:pt x="2971" y="1419"/>
                  <a:pt x="2971" y="1419"/>
                  <a:pt x="2971" y="1419"/>
                </a:cubicBezTo>
                <a:cubicBezTo>
                  <a:pt x="2970" y="1421"/>
                  <a:pt x="2969" y="1422"/>
                  <a:pt x="2968" y="1423"/>
                </a:cubicBezTo>
                <a:cubicBezTo>
                  <a:pt x="2968" y="1423"/>
                  <a:pt x="2968" y="1423"/>
                  <a:pt x="2968" y="1423"/>
                </a:cubicBezTo>
                <a:cubicBezTo>
                  <a:pt x="2968" y="1422"/>
                  <a:pt x="2969" y="1420"/>
                  <a:pt x="2969" y="1418"/>
                </a:cubicBezTo>
                <a:cubicBezTo>
                  <a:pt x="2968" y="1419"/>
                  <a:pt x="2967" y="1419"/>
                  <a:pt x="2967" y="1420"/>
                </a:cubicBezTo>
                <a:cubicBezTo>
                  <a:pt x="2966" y="1420"/>
                  <a:pt x="2966" y="1421"/>
                  <a:pt x="2965" y="1422"/>
                </a:cubicBezTo>
                <a:cubicBezTo>
                  <a:pt x="2966" y="1418"/>
                  <a:pt x="2966" y="1418"/>
                  <a:pt x="2972" y="1417"/>
                </a:cubicBezTo>
                <a:cubicBezTo>
                  <a:pt x="2972" y="1417"/>
                  <a:pt x="2971" y="1416"/>
                  <a:pt x="2971" y="1416"/>
                </a:cubicBezTo>
                <a:cubicBezTo>
                  <a:pt x="2968" y="1417"/>
                  <a:pt x="2967" y="1415"/>
                  <a:pt x="2967" y="1413"/>
                </a:cubicBezTo>
                <a:cubicBezTo>
                  <a:pt x="2969" y="1412"/>
                  <a:pt x="2970" y="1412"/>
                  <a:pt x="2972" y="1412"/>
                </a:cubicBezTo>
                <a:cubicBezTo>
                  <a:pt x="2970" y="1409"/>
                  <a:pt x="2969" y="1406"/>
                  <a:pt x="2965" y="1406"/>
                </a:cubicBezTo>
                <a:cubicBezTo>
                  <a:pt x="2965" y="1406"/>
                  <a:pt x="2965" y="1406"/>
                  <a:pt x="2965" y="1405"/>
                </a:cubicBezTo>
                <a:cubicBezTo>
                  <a:pt x="2962" y="1403"/>
                  <a:pt x="2960" y="1401"/>
                  <a:pt x="2957" y="1399"/>
                </a:cubicBezTo>
                <a:cubicBezTo>
                  <a:pt x="2955" y="1398"/>
                  <a:pt x="2952" y="1397"/>
                  <a:pt x="2950" y="1397"/>
                </a:cubicBezTo>
                <a:cubicBezTo>
                  <a:pt x="2947" y="1397"/>
                  <a:pt x="2943" y="1398"/>
                  <a:pt x="2940" y="1399"/>
                </a:cubicBezTo>
                <a:cubicBezTo>
                  <a:pt x="2938" y="1400"/>
                  <a:pt x="2935" y="1402"/>
                  <a:pt x="2933" y="1405"/>
                </a:cubicBezTo>
                <a:cubicBezTo>
                  <a:pt x="2935" y="1405"/>
                  <a:pt x="2936" y="1405"/>
                  <a:pt x="2937" y="1405"/>
                </a:cubicBezTo>
                <a:cubicBezTo>
                  <a:pt x="2937" y="1406"/>
                  <a:pt x="2936" y="1406"/>
                  <a:pt x="2935" y="1406"/>
                </a:cubicBezTo>
                <a:cubicBezTo>
                  <a:pt x="2933" y="1407"/>
                  <a:pt x="2930" y="1406"/>
                  <a:pt x="2928" y="1408"/>
                </a:cubicBezTo>
                <a:cubicBezTo>
                  <a:pt x="2925" y="1412"/>
                  <a:pt x="2921" y="1416"/>
                  <a:pt x="2917" y="1420"/>
                </a:cubicBezTo>
                <a:cubicBezTo>
                  <a:pt x="2916" y="1422"/>
                  <a:pt x="2915" y="1425"/>
                  <a:pt x="2914" y="1427"/>
                </a:cubicBezTo>
                <a:cubicBezTo>
                  <a:pt x="2914" y="1427"/>
                  <a:pt x="2914" y="1428"/>
                  <a:pt x="2914" y="1429"/>
                </a:cubicBezTo>
                <a:cubicBezTo>
                  <a:pt x="2915" y="1431"/>
                  <a:pt x="2916" y="1433"/>
                  <a:pt x="2918" y="1434"/>
                </a:cubicBezTo>
                <a:cubicBezTo>
                  <a:pt x="2919" y="1433"/>
                  <a:pt x="2920" y="1431"/>
                  <a:pt x="2921" y="1430"/>
                </a:cubicBezTo>
                <a:cubicBezTo>
                  <a:pt x="2921" y="1431"/>
                  <a:pt x="2921" y="1433"/>
                  <a:pt x="2920" y="1434"/>
                </a:cubicBezTo>
                <a:cubicBezTo>
                  <a:pt x="2919" y="1435"/>
                  <a:pt x="2918" y="1436"/>
                  <a:pt x="2918" y="1438"/>
                </a:cubicBezTo>
                <a:cubicBezTo>
                  <a:pt x="2918" y="1439"/>
                  <a:pt x="2918" y="1440"/>
                  <a:pt x="2918" y="1441"/>
                </a:cubicBezTo>
                <a:cubicBezTo>
                  <a:pt x="2921" y="1444"/>
                  <a:pt x="2924" y="1444"/>
                  <a:pt x="2928" y="1442"/>
                </a:cubicBezTo>
                <a:cubicBezTo>
                  <a:pt x="2930" y="1441"/>
                  <a:pt x="2933" y="1440"/>
                  <a:pt x="2936" y="1439"/>
                </a:cubicBezTo>
                <a:cubicBezTo>
                  <a:pt x="2937" y="1438"/>
                  <a:pt x="2938" y="1438"/>
                  <a:pt x="2938" y="1436"/>
                </a:cubicBezTo>
                <a:cubicBezTo>
                  <a:pt x="2938" y="1433"/>
                  <a:pt x="2938" y="1429"/>
                  <a:pt x="2938" y="1426"/>
                </a:cubicBezTo>
                <a:cubicBezTo>
                  <a:pt x="2938" y="1423"/>
                  <a:pt x="2938" y="1420"/>
                  <a:pt x="2938" y="1417"/>
                </a:cubicBezTo>
                <a:cubicBezTo>
                  <a:pt x="2939" y="1420"/>
                  <a:pt x="2940" y="1423"/>
                  <a:pt x="2940" y="1425"/>
                </a:cubicBezTo>
                <a:cubicBezTo>
                  <a:pt x="2941" y="1430"/>
                  <a:pt x="2941" y="1434"/>
                  <a:pt x="2940" y="1438"/>
                </a:cubicBezTo>
                <a:cubicBezTo>
                  <a:pt x="2939" y="1439"/>
                  <a:pt x="2938" y="1440"/>
                  <a:pt x="2938" y="1440"/>
                </a:cubicBezTo>
                <a:cubicBezTo>
                  <a:pt x="2934" y="1440"/>
                  <a:pt x="2931" y="1442"/>
                  <a:pt x="2928" y="1444"/>
                </a:cubicBezTo>
                <a:cubicBezTo>
                  <a:pt x="2923" y="1447"/>
                  <a:pt x="2920" y="1445"/>
                  <a:pt x="2916" y="1441"/>
                </a:cubicBezTo>
                <a:cubicBezTo>
                  <a:pt x="2916" y="1441"/>
                  <a:pt x="2916" y="1440"/>
                  <a:pt x="2916" y="1439"/>
                </a:cubicBezTo>
                <a:cubicBezTo>
                  <a:pt x="2917" y="1437"/>
                  <a:pt x="2916" y="1435"/>
                  <a:pt x="2914" y="1433"/>
                </a:cubicBezTo>
                <a:cubicBezTo>
                  <a:pt x="2913" y="1431"/>
                  <a:pt x="2911" y="1429"/>
                  <a:pt x="2912" y="1426"/>
                </a:cubicBezTo>
                <a:cubicBezTo>
                  <a:pt x="2913" y="1424"/>
                  <a:pt x="2914" y="1422"/>
                  <a:pt x="2915" y="1421"/>
                </a:cubicBezTo>
                <a:cubicBezTo>
                  <a:pt x="2917" y="1418"/>
                  <a:pt x="2919" y="1415"/>
                  <a:pt x="2921" y="1413"/>
                </a:cubicBezTo>
                <a:cubicBezTo>
                  <a:pt x="2921" y="1413"/>
                  <a:pt x="2920" y="1413"/>
                  <a:pt x="2920" y="1413"/>
                </a:cubicBezTo>
                <a:cubicBezTo>
                  <a:pt x="2915" y="1414"/>
                  <a:pt x="2911" y="1415"/>
                  <a:pt x="2907" y="1419"/>
                </a:cubicBezTo>
                <a:cubicBezTo>
                  <a:pt x="2902" y="1423"/>
                  <a:pt x="2899" y="1428"/>
                  <a:pt x="2899" y="1435"/>
                </a:cubicBezTo>
                <a:cubicBezTo>
                  <a:pt x="2898" y="1442"/>
                  <a:pt x="2901" y="1448"/>
                  <a:pt x="2904" y="1453"/>
                </a:cubicBezTo>
                <a:cubicBezTo>
                  <a:pt x="2905" y="1454"/>
                  <a:pt x="2905" y="1456"/>
                  <a:pt x="2905" y="1457"/>
                </a:cubicBezTo>
                <a:cubicBezTo>
                  <a:pt x="2905" y="1459"/>
                  <a:pt x="2905" y="1460"/>
                  <a:pt x="2904" y="1461"/>
                </a:cubicBezTo>
                <a:cubicBezTo>
                  <a:pt x="2903" y="1463"/>
                  <a:pt x="2904" y="1464"/>
                  <a:pt x="2905" y="1465"/>
                </a:cubicBezTo>
                <a:cubicBezTo>
                  <a:pt x="2908" y="1465"/>
                  <a:pt x="2911" y="1466"/>
                  <a:pt x="2914" y="1466"/>
                </a:cubicBezTo>
                <a:cubicBezTo>
                  <a:pt x="2914" y="1466"/>
                  <a:pt x="2915" y="1465"/>
                  <a:pt x="2915" y="1465"/>
                </a:cubicBezTo>
                <a:cubicBezTo>
                  <a:pt x="2916" y="1464"/>
                  <a:pt x="2916" y="1462"/>
                  <a:pt x="2916" y="1461"/>
                </a:cubicBezTo>
                <a:cubicBezTo>
                  <a:pt x="2918" y="1459"/>
                  <a:pt x="2918" y="1456"/>
                  <a:pt x="2918" y="1453"/>
                </a:cubicBezTo>
                <a:cubicBezTo>
                  <a:pt x="2918" y="1453"/>
                  <a:pt x="2918" y="1453"/>
                  <a:pt x="2918" y="1452"/>
                </a:cubicBezTo>
                <a:cubicBezTo>
                  <a:pt x="2918" y="1452"/>
                  <a:pt x="2918" y="1452"/>
                  <a:pt x="2918" y="1452"/>
                </a:cubicBezTo>
                <a:cubicBezTo>
                  <a:pt x="2919" y="1454"/>
                  <a:pt x="2920" y="1454"/>
                  <a:pt x="2922" y="1454"/>
                </a:cubicBezTo>
                <a:cubicBezTo>
                  <a:pt x="2923" y="1454"/>
                  <a:pt x="2924" y="1454"/>
                  <a:pt x="2925" y="1454"/>
                </a:cubicBezTo>
                <a:cubicBezTo>
                  <a:pt x="2927" y="1454"/>
                  <a:pt x="2931" y="1455"/>
                  <a:pt x="2931" y="1451"/>
                </a:cubicBezTo>
                <a:cubicBezTo>
                  <a:pt x="2931" y="1453"/>
                  <a:pt x="2931" y="1455"/>
                  <a:pt x="2931" y="1455"/>
                </a:cubicBezTo>
                <a:cubicBezTo>
                  <a:pt x="2930" y="1456"/>
                  <a:pt x="2929" y="1457"/>
                  <a:pt x="2927" y="1457"/>
                </a:cubicBezTo>
                <a:cubicBezTo>
                  <a:pt x="2926" y="1458"/>
                  <a:pt x="2925" y="1460"/>
                  <a:pt x="2926" y="1461"/>
                </a:cubicBezTo>
                <a:cubicBezTo>
                  <a:pt x="2927" y="1463"/>
                  <a:pt x="2929" y="1465"/>
                  <a:pt x="2930" y="1467"/>
                </a:cubicBezTo>
                <a:cubicBezTo>
                  <a:pt x="2932" y="1468"/>
                  <a:pt x="2934" y="1468"/>
                  <a:pt x="2935" y="1466"/>
                </a:cubicBezTo>
                <a:cubicBezTo>
                  <a:pt x="2936" y="1465"/>
                  <a:pt x="2936" y="1465"/>
                  <a:pt x="2937" y="1464"/>
                </a:cubicBezTo>
                <a:cubicBezTo>
                  <a:pt x="2939" y="1463"/>
                  <a:pt x="2940" y="1461"/>
                  <a:pt x="2942" y="1460"/>
                </a:cubicBezTo>
                <a:cubicBezTo>
                  <a:pt x="2946" y="1456"/>
                  <a:pt x="2948" y="1450"/>
                  <a:pt x="2950" y="1444"/>
                </a:cubicBezTo>
                <a:cubicBezTo>
                  <a:pt x="2950" y="1444"/>
                  <a:pt x="2949" y="1443"/>
                  <a:pt x="2949" y="1442"/>
                </a:cubicBezTo>
                <a:cubicBezTo>
                  <a:pt x="2948" y="1441"/>
                  <a:pt x="2947" y="1440"/>
                  <a:pt x="2945" y="1440"/>
                </a:cubicBezTo>
                <a:close/>
                <a:moveTo>
                  <a:pt x="2898" y="1446"/>
                </a:moveTo>
                <a:cubicBezTo>
                  <a:pt x="2898" y="1447"/>
                  <a:pt x="2896" y="1448"/>
                  <a:pt x="2895" y="1449"/>
                </a:cubicBezTo>
                <a:cubicBezTo>
                  <a:pt x="2894" y="1449"/>
                  <a:pt x="2894" y="1450"/>
                  <a:pt x="2894" y="1451"/>
                </a:cubicBezTo>
                <a:cubicBezTo>
                  <a:pt x="2894" y="1453"/>
                  <a:pt x="2898" y="1458"/>
                  <a:pt x="2901" y="1457"/>
                </a:cubicBezTo>
                <a:cubicBezTo>
                  <a:pt x="2903" y="1457"/>
                  <a:pt x="2904" y="1456"/>
                  <a:pt x="2903" y="1455"/>
                </a:cubicBezTo>
                <a:cubicBezTo>
                  <a:pt x="2901" y="1452"/>
                  <a:pt x="2900" y="1449"/>
                  <a:pt x="2898" y="1446"/>
                </a:cubicBezTo>
                <a:close/>
                <a:moveTo>
                  <a:pt x="2951" y="1448"/>
                </a:moveTo>
                <a:cubicBezTo>
                  <a:pt x="2949" y="1453"/>
                  <a:pt x="2946" y="1457"/>
                  <a:pt x="2944" y="1461"/>
                </a:cubicBezTo>
                <a:cubicBezTo>
                  <a:pt x="2947" y="1461"/>
                  <a:pt x="2949" y="1462"/>
                  <a:pt x="2952" y="1461"/>
                </a:cubicBezTo>
                <a:cubicBezTo>
                  <a:pt x="2952" y="1461"/>
                  <a:pt x="2952" y="1460"/>
                  <a:pt x="2952" y="1460"/>
                </a:cubicBezTo>
                <a:cubicBezTo>
                  <a:pt x="2952" y="1457"/>
                  <a:pt x="2952" y="1455"/>
                  <a:pt x="2952" y="1452"/>
                </a:cubicBezTo>
                <a:cubicBezTo>
                  <a:pt x="2952" y="1451"/>
                  <a:pt x="2951" y="1450"/>
                  <a:pt x="2951" y="1448"/>
                </a:cubicBezTo>
                <a:close/>
                <a:moveTo>
                  <a:pt x="2898" y="1428"/>
                </a:moveTo>
                <a:cubicBezTo>
                  <a:pt x="2898" y="1428"/>
                  <a:pt x="2897" y="1429"/>
                  <a:pt x="2896" y="1429"/>
                </a:cubicBezTo>
                <a:cubicBezTo>
                  <a:pt x="2896" y="1429"/>
                  <a:pt x="2895" y="1429"/>
                  <a:pt x="2895" y="1428"/>
                </a:cubicBezTo>
                <a:cubicBezTo>
                  <a:pt x="2894" y="1428"/>
                  <a:pt x="2894" y="1427"/>
                  <a:pt x="2894" y="1426"/>
                </a:cubicBezTo>
                <a:cubicBezTo>
                  <a:pt x="2895" y="1424"/>
                  <a:pt x="2895" y="1422"/>
                  <a:pt x="2896" y="1420"/>
                </a:cubicBezTo>
                <a:cubicBezTo>
                  <a:pt x="2896" y="1420"/>
                  <a:pt x="2896" y="1420"/>
                  <a:pt x="2895" y="1420"/>
                </a:cubicBezTo>
                <a:cubicBezTo>
                  <a:pt x="2894" y="1421"/>
                  <a:pt x="2893" y="1422"/>
                  <a:pt x="2892" y="1423"/>
                </a:cubicBezTo>
                <a:cubicBezTo>
                  <a:pt x="2892" y="1424"/>
                  <a:pt x="2893" y="1429"/>
                  <a:pt x="2895" y="1430"/>
                </a:cubicBezTo>
                <a:cubicBezTo>
                  <a:pt x="2896" y="1431"/>
                  <a:pt x="2898" y="1430"/>
                  <a:pt x="2898" y="1428"/>
                </a:cubicBezTo>
                <a:close/>
                <a:moveTo>
                  <a:pt x="2898" y="1446"/>
                </a:moveTo>
                <a:cubicBezTo>
                  <a:pt x="2897" y="1447"/>
                  <a:pt x="2896" y="1448"/>
                  <a:pt x="2895" y="1449"/>
                </a:cubicBezTo>
                <a:cubicBezTo>
                  <a:pt x="2894" y="1449"/>
                  <a:pt x="2894" y="1450"/>
                  <a:pt x="2894" y="1451"/>
                </a:cubicBezTo>
                <a:cubicBezTo>
                  <a:pt x="2894" y="1454"/>
                  <a:pt x="2898" y="1458"/>
                  <a:pt x="2901" y="1458"/>
                </a:cubicBezTo>
                <a:cubicBezTo>
                  <a:pt x="2903" y="1458"/>
                  <a:pt x="2904" y="1457"/>
                  <a:pt x="2903" y="1455"/>
                </a:cubicBezTo>
                <a:cubicBezTo>
                  <a:pt x="2901" y="1452"/>
                  <a:pt x="2900" y="1449"/>
                  <a:pt x="2898" y="1446"/>
                </a:cubicBezTo>
                <a:close/>
                <a:moveTo>
                  <a:pt x="2951" y="1448"/>
                </a:moveTo>
                <a:cubicBezTo>
                  <a:pt x="2948" y="1453"/>
                  <a:pt x="2946" y="1457"/>
                  <a:pt x="2944" y="1462"/>
                </a:cubicBezTo>
                <a:cubicBezTo>
                  <a:pt x="2946" y="1462"/>
                  <a:pt x="2949" y="1462"/>
                  <a:pt x="2952" y="1462"/>
                </a:cubicBezTo>
                <a:cubicBezTo>
                  <a:pt x="2952" y="1462"/>
                  <a:pt x="2952" y="1460"/>
                  <a:pt x="2952" y="1460"/>
                </a:cubicBezTo>
                <a:cubicBezTo>
                  <a:pt x="2952" y="1457"/>
                  <a:pt x="2952" y="1455"/>
                  <a:pt x="2952" y="1452"/>
                </a:cubicBezTo>
                <a:cubicBezTo>
                  <a:pt x="2952" y="1451"/>
                  <a:pt x="2951" y="1450"/>
                  <a:pt x="2951" y="1448"/>
                </a:cubicBezTo>
                <a:close/>
                <a:moveTo>
                  <a:pt x="2898" y="1428"/>
                </a:moveTo>
                <a:cubicBezTo>
                  <a:pt x="2897" y="1428"/>
                  <a:pt x="2897" y="1429"/>
                  <a:pt x="2896" y="1429"/>
                </a:cubicBezTo>
                <a:cubicBezTo>
                  <a:pt x="2896" y="1429"/>
                  <a:pt x="2895" y="1429"/>
                  <a:pt x="2895" y="1428"/>
                </a:cubicBezTo>
                <a:cubicBezTo>
                  <a:pt x="2894" y="1428"/>
                  <a:pt x="2894" y="1427"/>
                  <a:pt x="2894" y="1426"/>
                </a:cubicBezTo>
                <a:cubicBezTo>
                  <a:pt x="2895" y="1424"/>
                  <a:pt x="2895" y="1422"/>
                  <a:pt x="2896" y="1420"/>
                </a:cubicBezTo>
                <a:cubicBezTo>
                  <a:pt x="2896" y="1420"/>
                  <a:pt x="2896" y="1420"/>
                  <a:pt x="2895" y="1420"/>
                </a:cubicBezTo>
                <a:cubicBezTo>
                  <a:pt x="2894" y="1421"/>
                  <a:pt x="2893" y="1422"/>
                  <a:pt x="2893" y="1423"/>
                </a:cubicBezTo>
                <a:cubicBezTo>
                  <a:pt x="2892" y="1424"/>
                  <a:pt x="2893" y="1430"/>
                  <a:pt x="2895" y="1430"/>
                </a:cubicBezTo>
                <a:cubicBezTo>
                  <a:pt x="2896" y="1431"/>
                  <a:pt x="2898" y="1430"/>
                  <a:pt x="2898" y="1428"/>
                </a:cubicBezTo>
                <a:close/>
                <a:moveTo>
                  <a:pt x="2950" y="1420"/>
                </a:moveTo>
                <a:cubicBezTo>
                  <a:pt x="2954" y="1416"/>
                  <a:pt x="2954" y="1416"/>
                  <a:pt x="2958" y="1415"/>
                </a:cubicBezTo>
                <a:cubicBezTo>
                  <a:pt x="2958" y="1417"/>
                  <a:pt x="2959" y="1418"/>
                  <a:pt x="2960" y="1418"/>
                </a:cubicBezTo>
                <a:cubicBezTo>
                  <a:pt x="2958" y="1419"/>
                  <a:pt x="2956" y="1421"/>
                  <a:pt x="2954" y="1422"/>
                </a:cubicBezTo>
                <a:cubicBezTo>
                  <a:pt x="2953" y="1421"/>
                  <a:pt x="2953" y="1421"/>
                  <a:pt x="2952" y="1419"/>
                </a:cubicBezTo>
                <a:cubicBezTo>
                  <a:pt x="2952" y="1419"/>
                  <a:pt x="2951" y="1419"/>
                  <a:pt x="2950" y="1420"/>
                </a:cubicBezTo>
                <a:close/>
                <a:moveTo>
                  <a:pt x="2956" y="1419"/>
                </a:moveTo>
                <a:cubicBezTo>
                  <a:pt x="2956" y="1419"/>
                  <a:pt x="2955" y="1419"/>
                  <a:pt x="2954" y="1419"/>
                </a:cubicBezTo>
                <a:cubicBezTo>
                  <a:pt x="2954" y="1419"/>
                  <a:pt x="2953" y="1419"/>
                  <a:pt x="2953" y="1420"/>
                </a:cubicBezTo>
                <a:cubicBezTo>
                  <a:pt x="2953" y="1420"/>
                  <a:pt x="2954" y="1421"/>
                  <a:pt x="2954" y="1421"/>
                </a:cubicBezTo>
                <a:cubicBezTo>
                  <a:pt x="2955" y="1421"/>
                  <a:pt x="2955" y="1420"/>
                  <a:pt x="2956" y="1419"/>
                </a:cubicBezTo>
                <a:close/>
                <a:moveTo>
                  <a:pt x="2937" y="1409"/>
                </a:moveTo>
                <a:cubicBezTo>
                  <a:pt x="2931" y="1409"/>
                  <a:pt x="2928" y="1411"/>
                  <a:pt x="2927" y="1419"/>
                </a:cubicBezTo>
                <a:cubicBezTo>
                  <a:pt x="2928" y="1417"/>
                  <a:pt x="2929" y="1415"/>
                  <a:pt x="2930" y="1412"/>
                </a:cubicBezTo>
                <a:cubicBezTo>
                  <a:pt x="2931" y="1412"/>
                  <a:pt x="2931" y="1412"/>
                  <a:pt x="2931" y="1412"/>
                </a:cubicBezTo>
                <a:cubicBezTo>
                  <a:pt x="2931" y="1414"/>
                  <a:pt x="2931" y="1414"/>
                  <a:pt x="2931" y="1415"/>
                </a:cubicBezTo>
                <a:cubicBezTo>
                  <a:pt x="2932" y="1412"/>
                  <a:pt x="2934" y="1410"/>
                  <a:pt x="2937" y="1409"/>
                </a:cubicBezTo>
                <a:close/>
                <a:moveTo>
                  <a:pt x="2981" y="1411"/>
                </a:moveTo>
                <a:cubicBezTo>
                  <a:pt x="2979" y="1412"/>
                  <a:pt x="2977" y="1414"/>
                  <a:pt x="2976" y="1415"/>
                </a:cubicBezTo>
                <a:cubicBezTo>
                  <a:pt x="2978" y="1416"/>
                  <a:pt x="2980" y="1414"/>
                  <a:pt x="2981" y="1411"/>
                </a:cubicBezTo>
                <a:close/>
                <a:moveTo>
                  <a:pt x="2948" y="1413"/>
                </a:moveTo>
                <a:cubicBezTo>
                  <a:pt x="2949" y="1412"/>
                  <a:pt x="2950" y="1410"/>
                  <a:pt x="2951" y="1409"/>
                </a:cubicBezTo>
                <a:cubicBezTo>
                  <a:pt x="2948" y="1410"/>
                  <a:pt x="2948" y="1411"/>
                  <a:pt x="2948" y="1413"/>
                </a:cubicBezTo>
                <a:close/>
                <a:moveTo>
                  <a:pt x="2958" y="1435"/>
                </a:moveTo>
                <a:cubicBezTo>
                  <a:pt x="2956" y="1435"/>
                  <a:pt x="2955" y="1436"/>
                  <a:pt x="2955" y="1437"/>
                </a:cubicBezTo>
                <a:cubicBezTo>
                  <a:pt x="2956" y="1436"/>
                  <a:pt x="2957" y="1435"/>
                  <a:pt x="2958" y="1435"/>
                </a:cubicBezTo>
                <a:close/>
                <a:moveTo>
                  <a:pt x="2957" y="1419"/>
                </a:moveTo>
                <a:cubicBezTo>
                  <a:pt x="2956" y="1419"/>
                  <a:pt x="2955" y="1418"/>
                  <a:pt x="2955" y="1418"/>
                </a:cubicBezTo>
                <a:cubicBezTo>
                  <a:pt x="2954" y="1418"/>
                  <a:pt x="2953" y="1419"/>
                  <a:pt x="2953" y="1419"/>
                </a:cubicBezTo>
                <a:cubicBezTo>
                  <a:pt x="2953" y="1420"/>
                  <a:pt x="2954" y="1420"/>
                  <a:pt x="2954" y="1421"/>
                </a:cubicBezTo>
                <a:cubicBezTo>
                  <a:pt x="2955" y="1420"/>
                  <a:pt x="2955" y="1420"/>
                  <a:pt x="2957" y="1419"/>
                </a:cubicBezTo>
                <a:close/>
                <a:moveTo>
                  <a:pt x="3481" y="1540"/>
                </a:moveTo>
                <a:cubicBezTo>
                  <a:pt x="3481" y="1542"/>
                  <a:pt x="3482" y="1543"/>
                  <a:pt x="3482" y="1544"/>
                </a:cubicBezTo>
                <a:cubicBezTo>
                  <a:pt x="3483" y="1546"/>
                  <a:pt x="3483" y="1548"/>
                  <a:pt x="3484" y="1549"/>
                </a:cubicBezTo>
                <a:cubicBezTo>
                  <a:pt x="3484" y="1551"/>
                  <a:pt x="3484" y="1553"/>
                  <a:pt x="3484" y="1554"/>
                </a:cubicBezTo>
                <a:cubicBezTo>
                  <a:pt x="3485" y="1557"/>
                  <a:pt x="3484" y="1559"/>
                  <a:pt x="3480" y="1559"/>
                </a:cubicBezTo>
                <a:cubicBezTo>
                  <a:pt x="3478" y="1559"/>
                  <a:pt x="3475" y="1559"/>
                  <a:pt x="3472" y="1559"/>
                </a:cubicBezTo>
                <a:cubicBezTo>
                  <a:pt x="3472" y="1559"/>
                  <a:pt x="3471" y="1559"/>
                  <a:pt x="3471" y="1559"/>
                </a:cubicBezTo>
                <a:cubicBezTo>
                  <a:pt x="3469" y="1561"/>
                  <a:pt x="3467" y="1562"/>
                  <a:pt x="3466" y="1563"/>
                </a:cubicBezTo>
                <a:cubicBezTo>
                  <a:pt x="3464" y="1566"/>
                  <a:pt x="3461" y="1566"/>
                  <a:pt x="3459" y="1564"/>
                </a:cubicBezTo>
                <a:cubicBezTo>
                  <a:pt x="3457" y="1562"/>
                  <a:pt x="3456" y="1559"/>
                  <a:pt x="3454" y="1557"/>
                </a:cubicBezTo>
                <a:cubicBezTo>
                  <a:pt x="3453" y="1555"/>
                  <a:pt x="3454" y="1553"/>
                  <a:pt x="3456" y="1552"/>
                </a:cubicBezTo>
                <a:cubicBezTo>
                  <a:pt x="3453" y="1552"/>
                  <a:pt x="3452" y="1552"/>
                  <a:pt x="3450" y="1552"/>
                </a:cubicBezTo>
                <a:cubicBezTo>
                  <a:pt x="3449" y="1554"/>
                  <a:pt x="3448" y="1556"/>
                  <a:pt x="3447" y="1558"/>
                </a:cubicBezTo>
                <a:cubicBezTo>
                  <a:pt x="3447" y="1559"/>
                  <a:pt x="3447" y="1559"/>
                  <a:pt x="3447" y="1560"/>
                </a:cubicBezTo>
                <a:cubicBezTo>
                  <a:pt x="3447" y="1563"/>
                  <a:pt x="3446" y="1565"/>
                  <a:pt x="3443" y="1564"/>
                </a:cubicBezTo>
                <a:cubicBezTo>
                  <a:pt x="3440" y="1564"/>
                  <a:pt x="3437" y="1563"/>
                  <a:pt x="3434" y="1562"/>
                </a:cubicBezTo>
                <a:cubicBezTo>
                  <a:pt x="3432" y="1561"/>
                  <a:pt x="3431" y="1560"/>
                  <a:pt x="3432" y="1558"/>
                </a:cubicBezTo>
                <a:cubicBezTo>
                  <a:pt x="3432" y="1557"/>
                  <a:pt x="3432" y="1556"/>
                  <a:pt x="3433" y="1556"/>
                </a:cubicBezTo>
                <a:cubicBezTo>
                  <a:pt x="3430" y="1555"/>
                  <a:pt x="3428" y="1554"/>
                  <a:pt x="3426" y="1553"/>
                </a:cubicBezTo>
                <a:cubicBezTo>
                  <a:pt x="3425" y="1552"/>
                  <a:pt x="3424" y="1550"/>
                  <a:pt x="3423" y="1548"/>
                </a:cubicBezTo>
                <a:cubicBezTo>
                  <a:pt x="3422" y="1546"/>
                  <a:pt x="3422" y="1545"/>
                  <a:pt x="3424" y="1543"/>
                </a:cubicBezTo>
                <a:cubicBezTo>
                  <a:pt x="3427" y="1541"/>
                  <a:pt x="3428" y="1538"/>
                  <a:pt x="3427" y="1534"/>
                </a:cubicBezTo>
                <a:cubicBezTo>
                  <a:pt x="3427" y="1532"/>
                  <a:pt x="3427" y="1530"/>
                  <a:pt x="3427" y="1528"/>
                </a:cubicBezTo>
                <a:cubicBezTo>
                  <a:pt x="3426" y="1527"/>
                  <a:pt x="3424" y="1527"/>
                  <a:pt x="3423" y="1526"/>
                </a:cubicBezTo>
                <a:cubicBezTo>
                  <a:pt x="3422" y="1524"/>
                  <a:pt x="3421" y="1522"/>
                  <a:pt x="3421" y="1520"/>
                </a:cubicBezTo>
                <a:cubicBezTo>
                  <a:pt x="3421" y="1517"/>
                  <a:pt x="3424" y="1515"/>
                  <a:pt x="3427" y="1514"/>
                </a:cubicBezTo>
                <a:cubicBezTo>
                  <a:pt x="3427" y="1515"/>
                  <a:pt x="3427" y="1515"/>
                  <a:pt x="3428" y="1516"/>
                </a:cubicBezTo>
                <a:cubicBezTo>
                  <a:pt x="3428" y="1517"/>
                  <a:pt x="3428" y="1518"/>
                  <a:pt x="3428" y="1519"/>
                </a:cubicBezTo>
                <a:cubicBezTo>
                  <a:pt x="3427" y="1519"/>
                  <a:pt x="3427" y="1519"/>
                  <a:pt x="3427" y="1519"/>
                </a:cubicBezTo>
                <a:cubicBezTo>
                  <a:pt x="3426" y="1520"/>
                  <a:pt x="3426" y="1521"/>
                  <a:pt x="3425" y="1523"/>
                </a:cubicBezTo>
                <a:cubicBezTo>
                  <a:pt x="3426" y="1523"/>
                  <a:pt x="3427" y="1523"/>
                  <a:pt x="3427" y="1523"/>
                </a:cubicBezTo>
                <a:cubicBezTo>
                  <a:pt x="3429" y="1521"/>
                  <a:pt x="3429" y="1521"/>
                  <a:pt x="3430" y="1519"/>
                </a:cubicBezTo>
                <a:cubicBezTo>
                  <a:pt x="3435" y="1513"/>
                  <a:pt x="3440" y="1509"/>
                  <a:pt x="3448" y="1507"/>
                </a:cubicBezTo>
                <a:cubicBezTo>
                  <a:pt x="3451" y="1507"/>
                  <a:pt x="3455" y="1506"/>
                  <a:pt x="3457" y="1503"/>
                </a:cubicBezTo>
                <a:cubicBezTo>
                  <a:pt x="3457" y="1502"/>
                  <a:pt x="3458" y="1502"/>
                  <a:pt x="3458" y="1502"/>
                </a:cubicBezTo>
                <a:cubicBezTo>
                  <a:pt x="3461" y="1502"/>
                  <a:pt x="3462" y="1499"/>
                  <a:pt x="3464" y="1497"/>
                </a:cubicBezTo>
                <a:cubicBezTo>
                  <a:pt x="3472" y="1490"/>
                  <a:pt x="3484" y="1489"/>
                  <a:pt x="3491" y="1496"/>
                </a:cubicBezTo>
                <a:cubicBezTo>
                  <a:pt x="3494" y="1498"/>
                  <a:pt x="3497" y="1500"/>
                  <a:pt x="3499" y="1502"/>
                </a:cubicBezTo>
                <a:cubicBezTo>
                  <a:pt x="3500" y="1503"/>
                  <a:pt x="3502" y="1505"/>
                  <a:pt x="3503" y="1507"/>
                </a:cubicBezTo>
                <a:cubicBezTo>
                  <a:pt x="3504" y="1508"/>
                  <a:pt x="3504" y="1508"/>
                  <a:pt x="3506" y="1507"/>
                </a:cubicBezTo>
                <a:cubicBezTo>
                  <a:pt x="3506" y="1507"/>
                  <a:pt x="3507" y="1506"/>
                  <a:pt x="3508" y="1505"/>
                </a:cubicBezTo>
                <a:cubicBezTo>
                  <a:pt x="3510" y="1502"/>
                  <a:pt x="3513" y="1502"/>
                  <a:pt x="3514" y="1506"/>
                </a:cubicBezTo>
                <a:cubicBezTo>
                  <a:pt x="3515" y="1509"/>
                  <a:pt x="3516" y="1511"/>
                  <a:pt x="3517" y="1515"/>
                </a:cubicBezTo>
                <a:cubicBezTo>
                  <a:pt x="3517" y="1519"/>
                  <a:pt x="3517" y="1523"/>
                  <a:pt x="3515" y="1528"/>
                </a:cubicBezTo>
                <a:cubicBezTo>
                  <a:pt x="3513" y="1534"/>
                  <a:pt x="3508" y="1538"/>
                  <a:pt x="3502" y="1538"/>
                </a:cubicBezTo>
                <a:cubicBezTo>
                  <a:pt x="3501" y="1538"/>
                  <a:pt x="3500" y="1538"/>
                  <a:pt x="3500" y="1538"/>
                </a:cubicBezTo>
                <a:cubicBezTo>
                  <a:pt x="3497" y="1537"/>
                  <a:pt x="3496" y="1538"/>
                  <a:pt x="3495" y="1540"/>
                </a:cubicBezTo>
                <a:cubicBezTo>
                  <a:pt x="3494" y="1544"/>
                  <a:pt x="3488" y="1546"/>
                  <a:pt x="3485" y="1543"/>
                </a:cubicBezTo>
                <a:cubicBezTo>
                  <a:pt x="3484" y="1542"/>
                  <a:pt x="3483" y="1541"/>
                  <a:pt x="3482" y="1540"/>
                </a:cubicBezTo>
                <a:cubicBezTo>
                  <a:pt x="3481" y="1540"/>
                  <a:pt x="3481" y="1540"/>
                  <a:pt x="3481" y="1540"/>
                </a:cubicBezTo>
                <a:close/>
                <a:moveTo>
                  <a:pt x="3475" y="1536"/>
                </a:moveTo>
                <a:cubicBezTo>
                  <a:pt x="3479" y="1537"/>
                  <a:pt x="3482" y="1538"/>
                  <a:pt x="3485" y="1541"/>
                </a:cubicBezTo>
                <a:cubicBezTo>
                  <a:pt x="3487" y="1543"/>
                  <a:pt x="3489" y="1544"/>
                  <a:pt x="3491" y="1543"/>
                </a:cubicBezTo>
                <a:cubicBezTo>
                  <a:pt x="3493" y="1542"/>
                  <a:pt x="3495" y="1540"/>
                  <a:pt x="3495" y="1537"/>
                </a:cubicBezTo>
                <a:cubicBezTo>
                  <a:pt x="3495" y="1537"/>
                  <a:pt x="3494" y="1537"/>
                  <a:pt x="3494" y="1538"/>
                </a:cubicBezTo>
                <a:cubicBezTo>
                  <a:pt x="3493" y="1539"/>
                  <a:pt x="3492" y="1540"/>
                  <a:pt x="3491" y="1541"/>
                </a:cubicBezTo>
                <a:cubicBezTo>
                  <a:pt x="3490" y="1542"/>
                  <a:pt x="3489" y="1542"/>
                  <a:pt x="3488" y="1542"/>
                </a:cubicBezTo>
                <a:cubicBezTo>
                  <a:pt x="3487" y="1542"/>
                  <a:pt x="3487" y="1540"/>
                  <a:pt x="3487" y="1540"/>
                </a:cubicBezTo>
                <a:cubicBezTo>
                  <a:pt x="3487" y="1537"/>
                  <a:pt x="3487" y="1535"/>
                  <a:pt x="3488" y="1533"/>
                </a:cubicBezTo>
                <a:cubicBezTo>
                  <a:pt x="3491" y="1534"/>
                  <a:pt x="3494" y="1535"/>
                  <a:pt x="3498" y="1536"/>
                </a:cubicBezTo>
                <a:cubicBezTo>
                  <a:pt x="3505" y="1537"/>
                  <a:pt x="3511" y="1535"/>
                  <a:pt x="3514" y="1527"/>
                </a:cubicBezTo>
                <a:cubicBezTo>
                  <a:pt x="3516" y="1522"/>
                  <a:pt x="3515" y="1517"/>
                  <a:pt x="3515" y="1512"/>
                </a:cubicBezTo>
                <a:cubicBezTo>
                  <a:pt x="3514" y="1510"/>
                  <a:pt x="3513" y="1508"/>
                  <a:pt x="3513" y="1506"/>
                </a:cubicBezTo>
                <a:cubicBezTo>
                  <a:pt x="3512" y="1505"/>
                  <a:pt x="3511" y="1504"/>
                  <a:pt x="3509" y="1506"/>
                </a:cubicBezTo>
                <a:cubicBezTo>
                  <a:pt x="3508" y="1508"/>
                  <a:pt x="3506" y="1509"/>
                  <a:pt x="3504" y="1510"/>
                </a:cubicBezTo>
                <a:cubicBezTo>
                  <a:pt x="3504" y="1510"/>
                  <a:pt x="3503" y="1511"/>
                  <a:pt x="3503" y="1512"/>
                </a:cubicBezTo>
                <a:cubicBezTo>
                  <a:pt x="3504" y="1515"/>
                  <a:pt x="3503" y="1519"/>
                  <a:pt x="3502" y="1522"/>
                </a:cubicBezTo>
                <a:cubicBezTo>
                  <a:pt x="3502" y="1520"/>
                  <a:pt x="3502" y="1518"/>
                  <a:pt x="3502" y="1516"/>
                </a:cubicBezTo>
                <a:cubicBezTo>
                  <a:pt x="3502" y="1515"/>
                  <a:pt x="3502" y="1515"/>
                  <a:pt x="3502" y="1515"/>
                </a:cubicBezTo>
                <a:cubicBezTo>
                  <a:pt x="3501" y="1515"/>
                  <a:pt x="3500" y="1515"/>
                  <a:pt x="3500" y="1515"/>
                </a:cubicBezTo>
                <a:cubicBezTo>
                  <a:pt x="3500" y="1517"/>
                  <a:pt x="3499" y="1518"/>
                  <a:pt x="3498" y="1519"/>
                </a:cubicBezTo>
                <a:cubicBezTo>
                  <a:pt x="3498" y="1519"/>
                  <a:pt x="3498" y="1519"/>
                  <a:pt x="3498" y="1519"/>
                </a:cubicBezTo>
                <a:cubicBezTo>
                  <a:pt x="3498" y="1518"/>
                  <a:pt x="3498" y="1516"/>
                  <a:pt x="3499" y="1514"/>
                </a:cubicBezTo>
                <a:cubicBezTo>
                  <a:pt x="3498" y="1515"/>
                  <a:pt x="3497" y="1515"/>
                  <a:pt x="3497" y="1516"/>
                </a:cubicBezTo>
                <a:cubicBezTo>
                  <a:pt x="3496" y="1516"/>
                  <a:pt x="3496" y="1517"/>
                  <a:pt x="3495" y="1518"/>
                </a:cubicBezTo>
                <a:cubicBezTo>
                  <a:pt x="3496" y="1514"/>
                  <a:pt x="3496" y="1514"/>
                  <a:pt x="3502" y="1513"/>
                </a:cubicBezTo>
                <a:cubicBezTo>
                  <a:pt x="3502" y="1513"/>
                  <a:pt x="3501" y="1512"/>
                  <a:pt x="3501" y="1512"/>
                </a:cubicBezTo>
                <a:cubicBezTo>
                  <a:pt x="3498" y="1513"/>
                  <a:pt x="3497" y="1511"/>
                  <a:pt x="3497" y="1509"/>
                </a:cubicBezTo>
                <a:cubicBezTo>
                  <a:pt x="3498" y="1508"/>
                  <a:pt x="3500" y="1508"/>
                  <a:pt x="3502" y="1508"/>
                </a:cubicBezTo>
                <a:cubicBezTo>
                  <a:pt x="3500" y="1505"/>
                  <a:pt x="3498" y="1502"/>
                  <a:pt x="3495" y="1502"/>
                </a:cubicBezTo>
                <a:cubicBezTo>
                  <a:pt x="3495" y="1502"/>
                  <a:pt x="3495" y="1502"/>
                  <a:pt x="3495" y="1501"/>
                </a:cubicBezTo>
                <a:cubicBezTo>
                  <a:pt x="3492" y="1499"/>
                  <a:pt x="3490" y="1497"/>
                  <a:pt x="3487" y="1495"/>
                </a:cubicBezTo>
                <a:cubicBezTo>
                  <a:pt x="3485" y="1494"/>
                  <a:pt x="3482" y="1493"/>
                  <a:pt x="3480" y="1493"/>
                </a:cubicBezTo>
                <a:cubicBezTo>
                  <a:pt x="3477" y="1493"/>
                  <a:pt x="3473" y="1494"/>
                  <a:pt x="3470" y="1495"/>
                </a:cubicBezTo>
                <a:cubicBezTo>
                  <a:pt x="3467" y="1496"/>
                  <a:pt x="3465" y="1498"/>
                  <a:pt x="3463" y="1501"/>
                </a:cubicBezTo>
                <a:cubicBezTo>
                  <a:pt x="3465" y="1501"/>
                  <a:pt x="3466" y="1501"/>
                  <a:pt x="3467" y="1501"/>
                </a:cubicBezTo>
                <a:cubicBezTo>
                  <a:pt x="3467" y="1502"/>
                  <a:pt x="3466" y="1502"/>
                  <a:pt x="3465" y="1502"/>
                </a:cubicBezTo>
                <a:cubicBezTo>
                  <a:pt x="3463" y="1503"/>
                  <a:pt x="3460" y="1502"/>
                  <a:pt x="3458" y="1504"/>
                </a:cubicBezTo>
                <a:cubicBezTo>
                  <a:pt x="3455" y="1508"/>
                  <a:pt x="3451" y="1512"/>
                  <a:pt x="3447" y="1516"/>
                </a:cubicBezTo>
                <a:cubicBezTo>
                  <a:pt x="3446" y="1518"/>
                  <a:pt x="3445" y="1521"/>
                  <a:pt x="3444" y="1523"/>
                </a:cubicBezTo>
                <a:cubicBezTo>
                  <a:pt x="3444" y="1523"/>
                  <a:pt x="3444" y="1524"/>
                  <a:pt x="3444" y="1525"/>
                </a:cubicBezTo>
                <a:cubicBezTo>
                  <a:pt x="3445" y="1527"/>
                  <a:pt x="3446" y="1529"/>
                  <a:pt x="3448" y="1530"/>
                </a:cubicBezTo>
                <a:cubicBezTo>
                  <a:pt x="3449" y="1529"/>
                  <a:pt x="3450" y="1527"/>
                  <a:pt x="3451" y="1526"/>
                </a:cubicBezTo>
                <a:cubicBezTo>
                  <a:pt x="3451" y="1527"/>
                  <a:pt x="3451" y="1529"/>
                  <a:pt x="3450" y="1530"/>
                </a:cubicBezTo>
                <a:cubicBezTo>
                  <a:pt x="3449" y="1531"/>
                  <a:pt x="3448" y="1532"/>
                  <a:pt x="3448" y="1534"/>
                </a:cubicBezTo>
                <a:cubicBezTo>
                  <a:pt x="3447" y="1535"/>
                  <a:pt x="3448" y="1536"/>
                  <a:pt x="3448" y="1537"/>
                </a:cubicBezTo>
                <a:cubicBezTo>
                  <a:pt x="3451" y="1540"/>
                  <a:pt x="3454" y="1540"/>
                  <a:pt x="3458" y="1538"/>
                </a:cubicBezTo>
                <a:cubicBezTo>
                  <a:pt x="3460" y="1537"/>
                  <a:pt x="3463" y="1536"/>
                  <a:pt x="3466" y="1535"/>
                </a:cubicBezTo>
                <a:cubicBezTo>
                  <a:pt x="3467" y="1534"/>
                  <a:pt x="3468" y="1534"/>
                  <a:pt x="3468" y="1532"/>
                </a:cubicBezTo>
                <a:cubicBezTo>
                  <a:pt x="3468" y="1529"/>
                  <a:pt x="3468" y="1525"/>
                  <a:pt x="3468" y="1522"/>
                </a:cubicBezTo>
                <a:cubicBezTo>
                  <a:pt x="3468" y="1519"/>
                  <a:pt x="3468" y="1516"/>
                  <a:pt x="3468" y="1513"/>
                </a:cubicBezTo>
                <a:cubicBezTo>
                  <a:pt x="3469" y="1516"/>
                  <a:pt x="3469" y="1519"/>
                  <a:pt x="3470" y="1521"/>
                </a:cubicBezTo>
                <a:cubicBezTo>
                  <a:pt x="3471" y="1526"/>
                  <a:pt x="3471" y="1530"/>
                  <a:pt x="3469" y="1534"/>
                </a:cubicBezTo>
                <a:cubicBezTo>
                  <a:pt x="3469" y="1535"/>
                  <a:pt x="3468" y="1536"/>
                  <a:pt x="3468" y="1536"/>
                </a:cubicBezTo>
                <a:cubicBezTo>
                  <a:pt x="3464" y="1536"/>
                  <a:pt x="3461" y="1538"/>
                  <a:pt x="3458" y="1540"/>
                </a:cubicBezTo>
                <a:cubicBezTo>
                  <a:pt x="3453" y="1543"/>
                  <a:pt x="3449" y="1541"/>
                  <a:pt x="3446" y="1537"/>
                </a:cubicBezTo>
                <a:cubicBezTo>
                  <a:pt x="3446" y="1537"/>
                  <a:pt x="3446" y="1536"/>
                  <a:pt x="3446" y="1535"/>
                </a:cubicBezTo>
                <a:cubicBezTo>
                  <a:pt x="3447" y="1533"/>
                  <a:pt x="3446" y="1531"/>
                  <a:pt x="3444" y="1529"/>
                </a:cubicBezTo>
                <a:cubicBezTo>
                  <a:pt x="3443" y="1527"/>
                  <a:pt x="3441" y="1525"/>
                  <a:pt x="3442" y="1522"/>
                </a:cubicBezTo>
                <a:cubicBezTo>
                  <a:pt x="3443" y="1520"/>
                  <a:pt x="3444" y="1518"/>
                  <a:pt x="3445" y="1517"/>
                </a:cubicBezTo>
                <a:cubicBezTo>
                  <a:pt x="3447" y="1514"/>
                  <a:pt x="3449" y="1511"/>
                  <a:pt x="3451" y="1509"/>
                </a:cubicBezTo>
                <a:cubicBezTo>
                  <a:pt x="3451" y="1509"/>
                  <a:pt x="3450" y="1509"/>
                  <a:pt x="3450" y="1509"/>
                </a:cubicBezTo>
                <a:cubicBezTo>
                  <a:pt x="3445" y="1510"/>
                  <a:pt x="3440" y="1511"/>
                  <a:pt x="3437" y="1515"/>
                </a:cubicBezTo>
                <a:cubicBezTo>
                  <a:pt x="3432" y="1519"/>
                  <a:pt x="3429" y="1524"/>
                  <a:pt x="3429" y="1531"/>
                </a:cubicBezTo>
                <a:cubicBezTo>
                  <a:pt x="3428" y="1538"/>
                  <a:pt x="3431" y="1544"/>
                  <a:pt x="3434" y="1549"/>
                </a:cubicBezTo>
                <a:cubicBezTo>
                  <a:pt x="3435" y="1550"/>
                  <a:pt x="3435" y="1552"/>
                  <a:pt x="3435" y="1553"/>
                </a:cubicBezTo>
                <a:cubicBezTo>
                  <a:pt x="3435" y="1555"/>
                  <a:pt x="3435" y="1556"/>
                  <a:pt x="3434" y="1557"/>
                </a:cubicBezTo>
                <a:cubicBezTo>
                  <a:pt x="3433" y="1559"/>
                  <a:pt x="3434" y="1560"/>
                  <a:pt x="3435" y="1561"/>
                </a:cubicBezTo>
                <a:cubicBezTo>
                  <a:pt x="3438" y="1561"/>
                  <a:pt x="3441" y="1562"/>
                  <a:pt x="3444" y="1562"/>
                </a:cubicBezTo>
                <a:cubicBezTo>
                  <a:pt x="3444" y="1562"/>
                  <a:pt x="3445" y="1561"/>
                  <a:pt x="3445" y="1561"/>
                </a:cubicBezTo>
                <a:cubicBezTo>
                  <a:pt x="3446" y="1560"/>
                  <a:pt x="3446" y="1558"/>
                  <a:pt x="3446" y="1557"/>
                </a:cubicBezTo>
                <a:cubicBezTo>
                  <a:pt x="3448" y="1555"/>
                  <a:pt x="3448" y="1552"/>
                  <a:pt x="3448" y="1549"/>
                </a:cubicBezTo>
                <a:cubicBezTo>
                  <a:pt x="3448" y="1549"/>
                  <a:pt x="3448" y="1549"/>
                  <a:pt x="3448" y="1548"/>
                </a:cubicBezTo>
                <a:cubicBezTo>
                  <a:pt x="3448" y="1548"/>
                  <a:pt x="3448" y="1548"/>
                  <a:pt x="3448" y="1548"/>
                </a:cubicBezTo>
                <a:cubicBezTo>
                  <a:pt x="3449" y="1550"/>
                  <a:pt x="3450" y="1550"/>
                  <a:pt x="3452" y="1550"/>
                </a:cubicBezTo>
                <a:cubicBezTo>
                  <a:pt x="3453" y="1550"/>
                  <a:pt x="3454" y="1550"/>
                  <a:pt x="3455" y="1550"/>
                </a:cubicBezTo>
                <a:cubicBezTo>
                  <a:pt x="3457" y="1550"/>
                  <a:pt x="3460" y="1551"/>
                  <a:pt x="3461" y="1547"/>
                </a:cubicBezTo>
                <a:cubicBezTo>
                  <a:pt x="3461" y="1549"/>
                  <a:pt x="3461" y="1551"/>
                  <a:pt x="3461" y="1551"/>
                </a:cubicBezTo>
                <a:cubicBezTo>
                  <a:pt x="3460" y="1552"/>
                  <a:pt x="3458" y="1553"/>
                  <a:pt x="3457" y="1553"/>
                </a:cubicBezTo>
                <a:cubicBezTo>
                  <a:pt x="3456" y="1554"/>
                  <a:pt x="3455" y="1556"/>
                  <a:pt x="3456" y="1557"/>
                </a:cubicBezTo>
                <a:cubicBezTo>
                  <a:pt x="3457" y="1559"/>
                  <a:pt x="3458" y="1561"/>
                  <a:pt x="3460" y="1563"/>
                </a:cubicBezTo>
                <a:cubicBezTo>
                  <a:pt x="3462" y="1564"/>
                  <a:pt x="3464" y="1564"/>
                  <a:pt x="3465" y="1562"/>
                </a:cubicBezTo>
                <a:cubicBezTo>
                  <a:pt x="3466" y="1561"/>
                  <a:pt x="3466" y="1561"/>
                  <a:pt x="3467" y="1560"/>
                </a:cubicBezTo>
                <a:cubicBezTo>
                  <a:pt x="3469" y="1559"/>
                  <a:pt x="3470" y="1557"/>
                  <a:pt x="3472" y="1556"/>
                </a:cubicBezTo>
                <a:cubicBezTo>
                  <a:pt x="3476" y="1552"/>
                  <a:pt x="3478" y="1546"/>
                  <a:pt x="3480" y="1540"/>
                </a:cubicBezTo>
                <a:cubicBezTo>
                  <a:pt x="3480" y="1540"/>
                  <a:pt x="3479" y="1539"/>
                  <a:pt x="3478" y="1538"/>
                </a:cubicBezTo>
                <a:cubicBezTo>
                  <a:pt x="3478" y="1537"/>
                  <a:pt x="3477" y="1536"/>
                  <a:pt x="3475" y="1536"/>
                </a:cubicBezTo>
                <a:close/>
                <a:moveTo>
                  <a:pt x="3428" y="1542"/>
                </a:moveTo>
                <a:cubicBezTo>
                  <a:pt x="3427" y="1543"/>
                  <a:pt x="3426" y="1544"/>
                  <a:pt x="3425" y="1545"/>
                </a:cubicBezTo>
                <a:cubicBezTo>
                  <a:pt x="3424" y="1545"/>
                  <a:pt x="3424" y="1546"/>
                  <a:pt x="3424" y="1547"/>
                </a:cubicBezTo>
                <a:cubicBezTo>
                  <a:pt x="3424" y="1549"/>
                  <a:pt x="3428" y="1554"/>
                  <a:pt x="3431" y="1553"/>
                </a:cubicBezTo>
                <a:cubicBezTo>
                  <a:pt x="3433" y="1553"/>
                  <a:pt x="3434" y="1552"/>
                  <a:pt x="3433" y="1551"/>
                </a:cubicBezTo>
                <a:cubicBezTo>
                  <a:pt x="3431" y="1548"/>
                  <a:pt x="3430" y="1545"/>
                  <a:pt x="3428" y="1542"/>
                </a:cubicBezTo>
                <a:close/>
                <a:moveTo>
                  <a:pt x="3481" y="1544"/>
                </a:moveTo>
                <a:cubicBezTo>
                  <a:pt x="3478" y="1549"/>
                  <a:pt x="3476" y="1553"/>
                  <a:pt x="3474" y="1557"/>
                </a:cubicBezTo>
                <a:cubicBezTo>
                  <a:pt x="3477" y="1557"/>
                  <a:pt x="3479" y="1558"/>
                  <a:pt x="3482" y="1557"/>
                </a:cubicBezTo>
                <a:cubicBezTo>
                  <a:pt x="3482" y="1557"/>
                  <a:pt x="3482" y="1556"/>
                  <a:pt x="3482" y="1556"/>
                </a:cubicBezTo>
                <a:cubicBezTo>
                  <a:pt x="3482" y="1553"/>
                  <a:pt x="3482" y="1551"/>
                  <a:pt x="3482" y="1548"/>
                </a:cubicBezTo>
                <a:cubicBezTo>
                  <a:pt x="3482" y="1547"/>
                  <a:pt x="3481" y="1546"/>
                  <a:pt x="3481" y="1544"/>
                </a:cubicBezTo>
                <a:close/>
                <a:moveTo>
                  <a:pt x="3428" y="1524"/>
                </a:moveTo>
                <a:cubicBezTo>
                  <a:pt x="3427" y="1524"/>
                  <a:pt x="3427" y="1525"/>
                  <a:pt x="3426" y="1525"/>
                </a:cubicBezTo>
                <a:cubicBezTo>
                  <a:pt x="3426" y="1525"/>
                  <a:pt x="3425" y="1525"/>
                  <a:pt x="3425" y="1524"/>
                </a:cubicBezTo>
                <a:cubicBezTo>
                  <a:pt x="3424" y="1524"/>
                  <a:pt x="3424" y="1523"/>
                  <a:pt x="3424" y="1522"/>
                </a:cubicBezTo>
                <a:cubicBezTo>
                  <a:pt x="3425" y="1520"/>
                  <a:pt x="3425" y="1518"/>
                  <a:pt x="3426" y="1516"/>
                </a:cubicBezTo>
                <a:cubicBezTo>
                  <a:pt x="3426" y="1516"/>
                  <a:pt x="3426" y="1516"/>
                  <a:pt x="3425" y="1516"/>
                </a:cubicBezTo>
                <a:cubicBezTo>
                  <a:pt x="3424" y="1517"/>
                  <a:pt x="3423" y="1518"/>
                  <a:pt x="3422" y="1519"/>
                </a:cubicBezTo>
                <a:cubicBezTo>
                  <a:pt x="3422" y="1520"/>
                  <a:pt x="3423" y="1525"/>
                  <a:pt x="3425" y="1526"/>
                </a:cubicBezTo>
                <a:cubicBezTo>
                  <a:pt x="3426" y="1527"/>
                  <a:pt x="3428" y="1526"/>
                  <a:pt x="3428" y="1524"/>
                </a:cubicBezTo>
                <a:close/>
                <a:moveTo>
                  <a:pt x="3428" y="1542"/>
                </a:moveTo>
                <a:cubicBezTo>
                  <a:pt x="3427" y="1543"/>
                  <a:pt x="3426" y="1544"/>
                  <a:pt x="3424" y="1545"/>
                </a:cubicBezTo>
                <a:cubicBezTo>
                  <a:pt x="3424" y="1545"/>
                  <a:pt x="3424" y="1546"/>
                  <a:pt x="3424" y="1547"/>
                </a:cubicBezTo>
                <a:cubicBezTo>
                  <a:pt x="3424" y="1550"/>
                  <a:pt x="3428" y="1554"/>
                  <a:pt x="3431" y="1554"/>
                </a:cubicBezTo>
                <a:cubicBezTo>
                  <a:pt x="3433" y="1554"/>
                  <a:pt x="3434" y="1553"/>
                  <a:pt x="3433" y="1551"/>
                </a:cubicBezTo>
                <a:cubicBezTo>
                  <a:pt x="3431" y="1548"/>
                  <a:pt x="3430" y="1545"/>
                  <a:pt x="3428" y="1542"/>
                </a:cubicBezTo>
                <a:close/>
                <a:moveTo>
                  <a:pt x="3481" y="1544"/>
                </a:moveTo>
                <a:cubicBezTo>
                  <a:pt x="3478" y="1549"/>
                  <a:pt x="3476" y="1553"/>
                  <a:pt x="3474" y="1558"/>
                </a:cubicBezTo>
                <a:cubicBezTo>
                  <a:pt x="3476" y="1558"/>
                  <a:pt x="3479" y="1558"/>
                  <a:pt x="3481" y="1558"/>
                </a:cubicBezTo>
                <a:cubicBezTo>
                  <a:pt x="3482" y="1558"/>
                  <a:pt x="3482" y="1556"/>
                  <a:pt x="3482" y="1556"/>
                </a:cubicBezTo>
                <a:cubicBezTo>
                  <a:pt x="3482" y="1553"/>
                  <a:pt x="3482" y="1551"/>
                  <a:pt x="3482" y="1548"/>
                </a:cubicBezTo>
                <a:cubicBezTo>
                  <a:pt x="3481" y="1547"/>
                  <a:pt x="3481" y="1546"/>
                  <a:pt x="3481" y="1544"/>
                </a:cubicBezTo>
                <a:close/>
                <a:moveTo>
                  <a:pt x="3428" y="1524"/>
                </a:moveTo>
                <a:cubicBezTo>
                  <a:pt x="3427" y="1524"/>
                  <a:pt x="3427" y="1525"/>
                  <a:pt x="3426" y="1525"/>
                </a:cubicBezTo>
                <a:cubicBezTo>
                  <a:pt x="3425" y="1525"/>
                  <a:pt x="3425" y="1525"/>
                  <a:pt x="3425" y="1524"/>
                </a:cubicBezTo>
                <a:cubicBezTo>
                  <a:pt x="3424" y="1524"/>
                  <a:pt x="3424" y="1523"/>
                  <a:pt x="3424" y="1522"/>
                </a:cubicBezTo>
                <a:cubicBezTo>
                  <a:pt x="3425" y="1520"/>
                  <a:pt x="3425" y="1518"/>
                  <a:pt x="3426" y="1516"/>
                </a:cubicBezTo>
                <a:cubicBezTo>
                  <a:pt x="3425" y="1516"/>
                  <a:pt x="3425" y="1516"/>
                  <a:pt x="3425" y="1516"/>
                </a:cubicBezTo>
                <a:cubicBezTo>
                  <a:pt x="3424" y="1517"/>
                  <a:pt x="3423" y="1518"/>
                  <a:pt x="3423" y="1519"/>
                </a:cubicBezTo>
                <a:cubicBezTo>
                  <a:pt x="3422" y="1520"/>
                  <a:pt x="3423" y="1526"/>
                  <a:pt x="3425" y="1526"/>
                </a:cubicBezTo>
                <a:cubicBezTo>
                  <a:pt x="3426" y="1527"/>
                  <a:pt x="3428" y="1526"/>
                  <a:pt x="3428" y="1524"/>
                </a:cubicBezTo>
                <a:close/>
                <a:moveTo>
                  <a:pt x="3480" y="1516"/>
                </a:moveTo>
                <a:cubicBezTo>
                  <a:pt x="3484" y="1512"/>
                  <a:pt x="3484" y="1512"/>
                  <a:pt x="3488" y="1511"/>
                </a:cubicBezTo>
                <a:cubicBezTo>
                  <a:pt x="3488" y="1513"/>
                  <a:pt x="3489" y="1514"/>
                  <a:pt x="3490" y="1514"/>
                </a:cubicBezTo>
                <a:cubicBezTo>
                  <a:pt x="3488" y="1515"/>
                  <a:pt x="3486" y="1517"/>
                  <a:pt x="3484" y="1518"/>
                </a:cubicBezTo>
                <a:cubicBezTo>
                  <a:pt x="3483" y="1517"/>
                  <a:pt x="3483" y="1517"/>
                  <a:pt x="3482" y="1515"/>
                </a:cubicBezTo>
                <a:cubicBezTo>
                  <a:pt x="3482" y="1515"/>
                  <a:pt x="3481" y="1515"/>
                  <a:pt x="3480" y="1516"/>
                </a:cubicBezTo>
                <a:close/>
                <a:moveTo>
                  <a:pt x="3486" y="1515"/>
                </a:moveTo>
                <a:cubicBezTo>
                  <a:pt x="3486" y="1515"/>
                  <a:pt x="3485" y="1515"/>
                  <a:pt x="3484" y="1515"/>
                </a:cubicBezTo>
                <a:cubicBezTo>
                  <a:pt x="3484" y="1515"/>
                  <a:pt x="3483" y="1515"/>
                  <a:pt x="3483" y="1516"/>
                </a:cubicBezTo>
                <a:cubicBezTo>
                  <a:pt x="3483" y="1516"/>
                  <a:pt x="3484" y="1517"/>
                  <a:pt x="3484" y="1517"/>
                </a:cubicBezTo>
                <a:cubicBezTo>
                  <a:pt x="3485" y="1517"/>
                  <a:pt x="3485" y="1516"/>
                  <a:pt x="3486" y="1515"/>
                </a:cubicBezTo>
                <a:close/>
                <a:moveTo>
                  <a:pt x="3467" y="1505"/>
                </a:moveTo>
                <a:cubicBezTo>
                  <a:pt x="3461" y="1505"/>
                  <a:pt x="3458" y="1507"/>
                  <a:pt x="3457" y="1515"/>
                </a:cubicBezTo>
                <a:cubicBezTo>
                  <a:pt x="3458" y="1513"/>
                  <a:pt x="3459" y="1511"/>
                  <a:pt x="3460" y="1508"/>
                </a:cubicBezTo>
                <a:cubicBezTo>
                  <a:pt x="3461" y="1508"/>
                  <a:pt x="3461" y="1508"/>
                  <a:pt x="3461" y="1508"/>
                </a:cubicBezTo>
                <a:cubicBezTo>
                  <a:pt x="3461" y="1510"/>
                  <a:pt x="3461" y="1510"/>
                  <a:pt x="3461" y="1511"/>
                </a:cubicBezTo>
                <a:cubicBezTo>
                  <a:pt x="3462" y="1508"/>
                  <a:pt x="3464" y="1506"/>
                  <a:pt x="3467" y="1505"/>
                </a:cubicBezTo>
                <a:close/>
                <a:moveTo>
                  <a:pt x="3511" y="1507"/>
                </a:moveTo>
                <a:cubicBezTo>
                  <a:pt x="3509" y="1508"/>
                  <a:pt x="3507" y="1510"/>
                  <a:pt x="3506" y="1511"/>
                </a:cubicBezTo>
                <a:cubicBezTo>
                  <a:pt x="3508" y="1511"/>
                  <a:pt x="3510" y="1510"/>
                  <a:pt x="3511" y="1507"/>
                </a:cubicBezTo>
                <a:close/>
                <a:moveTo>
                  <a:pt x="3478" y="1509"/>
                </a:moveTo>
                <a:cubicBezTo>
                  <a:pt x="3479" y="1508"/>
                  <a:pt x="3480" y="1506"/>
                  <a:pt x="3481" y="1505"/>
                </a:cubicBezTo>
                <a:cubicBezTo>
                  <a:pt x="3478" y="1506"/>
                  <a:pt x="3477" y="1507"/>
                  <a:pt x="3478" y="1509"/>
                </a:cubicBezTo>
                <a:close/>
                <a:moveTo>
                  <a:pt x="3488" y="1531"/>
                </a:moveTo>
                <a:cubicBezTo>
                  <a:pt x="3486" y="1531"/>
                  <a:pt x="3485" y="1532"/>
                  <a:pt x="3485" y="1533"/>
                </a:cubicBezTo>
                <a:cubicBezTo>
                  <a:pt x="3486" y="1532"/>
                  <a:pt x="3487" y="1531"/>
                  <a:pt x="3488" y="1531"/>
                </a:cubicBezTo>
                <a:close/>
                <a:moveTo>
                  <a:pt x="3487" y="1515"/>
                </a:moveTo>
                <a:cubicBezTo>
                  <a:pt x="3486" y="1515"/>
                  <a:pt x="3485" y="1514"/>
                  <a:pt x="3484" y="1514"/>
                </a:cubicBezTo>
                <a:cubicBezTo>
                  <a:pt x="3484" y="1514"/>
                  <a:pt x="3483" y="1515"/>
                  <a:pt x="3483" y="1515"/>
                </a:cubicBezTo>
                <a:cubicBezTo>
                  <a:pt x="3483" y="1516"/>
                  <a:pt x="3484" y="1516"/>
                  <a:pt x="3484" y="1517"/>
                </a:cubicBezTo>
                <a:cubicBezTo>
                  <a:pt x="3485" y="1516"/>
                  <a:pt x="3485" y="1516"/>
                  <a:pt x="3487" y="1515"/>
                </a:cubicBezTo>
                <a:close/>
                <a:moveTo>
                  <a:pt x="3034" y="1397"/>
                </a:moveTo>
                <a:cubicBezTo>
                  <a:pt x="3034" y="1397"/>
                  <a:pt x="3034" y="1397"/>
                  <a:pt x="3034" y="1397"/>
                </a:cubicBezTo>
                <a:cubicBezTo>
                  <a:pt x="3029" y="1397"/>
                  <a:pt x="3029" y="1397"/>
                  <a:pt x="3029" y="1397"/>
                </a:cubicBezTo>
                <a:cubicBezTo>
                  <a:pt x="3027" y="1398"/>
                  <a:pt x="3026" y="1400"/>
                  <a:pt x="3024" y="1400"/>
                </a:cubicBezTo>
                <a:cubicBezTo>
                  <a:pt x="3022" y="1402"/>
                  <a:pt x="3020" y="1402"/>
                  <a:pt x="3018" y="1403"/>
                </a:cubicBezTo>
                <a:cubicBezTo>
                  <a:pt x="3017" y="1405"/>
                  <a:pt x="3015" y="1405"/>
                  <a:pt x="3013" y="1406"/>
                </a:cubicBezTo>
                <a:cubicBezTo>
                  <a:pt x="3011" y="1407"/>
                  <a:pt x="3010" y="1408"/>
                  <a:pt x="3008" y="1408"/>
                </a:cubicBezTo>
                <a:cubicBezTo>
                  <a:pt x="3008" y="1408"/>
                  <a:pt x="3008" y="1408"/>
                  <a:pt x="3008" y="1418"/>
                </a:cubicBezTo>
                <a:cubicBezTo>
                  <a:pt x="3010" y="1417"/>
                  <a:pt x="3013" y="1416"/>
                  <a:pt x="3016" y="1415"/>
                </a:cubicBezTo>
                <a:cubicBezTo>
                  <a:pt x="3018" y="1414"/>
                  <a:pt x="3021" y="1413"/>
                  <a:pt x="3023" y="1411"/>
                </a:cubicBezTo>
                <a:cubicBezTo>
                  <a:pt x="3023" y="1411"/>
                  <a:pt x="3023" y="1411"/>
                  <a:pt x="3023" y="1470"/>
                </a:cubicBezTo>
                <a:cubicBezTo>
                  <a:pt x="3023" y="1470"/>
                  <a:pt x="3023" y="1470"/>
                  <a:pt x="3034" y="1470"/>
                </a:cubicBezTo>
                <a:cubicBezTo>
                  <a:pt x="3034" y="1470"/>
                  <a:pt x="3034" y="1470"/>
                  <a:pt x="3034" y="1397"/>
                </a:cubicBezTo>
                <a:close/>
                <a:moveTo>
                  <a:pt x="3081" y="1397"/>
                </a:moveTo>
                <a:cubicBezTo>
                  <a:pt x="3081" y="1397"/>
                  <a:pt x="3081" y="1397"/>
                  <a:pt x="3081" y="1397"/>
                </a:cubicBezTo>
                <a:cubicBezTo>
                  <a:pt x="3076" y="1397"/>
                  <a:pt x="3076" y="1397"/>
                  <a:pt x="3076" y="1397"/>
                </a:cubicBezTo>
                <a:cubicBezTo>
                  <a:pt x="3075" y="1398"/>
                  <a:pt x="3073" y="1400"/>
                  <a:pt x="3071" y="1400"/>
                </a:cubicBezTo>
                <a:cubicBezTo>
                  <a:pt x="3069" y="1402"/>
                  <a:pt x="3067" y="1402"/>
                  <a:pt x="3065" y="1403"/>
                </a:cubicBezTo>
                <a:cubicBezTo>
                  <a:pt x="3064" y="1405"/>
                  <a:pt x="3061" y="1405"/>
                  <a:pt x="3060" y="1406"/>
                </a:cubicBezTo>
                <a:cubicBezTo>
                  <a:pt x="3058" y="1407"/>
                  <a:pt x="3056" y="1408"/>
                  <a:pt x="3054" y="1408"/>
                </a:cubicBezTo>
                <a:cubicBezTo>
                  <a:pt x="3054" y="1408"/>
                  <a:pt x="3054" y="1408"/>
                  <a:pt x="3054" y="1418"/>
                </a:cubicBezTo>
                <a:cubicBezTo>
                  <a:pt x="3057" y="1417"/>
                  <a:pt x="3060" y="1416"/>
                  <a:pt x="3063" y="1415"/>
                </a:cubicBezTo>
                <a:cubicBezTo>
                  <a:pt x="3065" y="1414"/>
                  <a:pt x="3067" y="1413"/>
                  <a:pt x="3070" y="1411"/>
                </a:cubicBezTo>
                <a:cubicBezTo>
                  <a:pt x="3070" y="1411"/>
                  <a:pt x="3070" y="1411"/>
                  <a:pt x="3070" y="1470"/>
                </a:cubicBezTo>
                <a:cubicBezTo>
                  <a:pt x="3070" y="1470"/>
                  <a:pt x="3070" y="1470"/>
                  <a:pt x="3081" y="1470"/>
                </a:cubicBezTo>
                <a:cubicBezTo>
                  <a:pt x="3081" y="1470"/>
                  <a:pt x="3081" y="1470"/>
                  <a:pt x="3081" y="1397"/>
                </a:cubicBezTo>
                <a:close/>
                <a:moveTo>
                  <a:pt x="3127" y="1397"/>
                </a:moveTo>
                <a:cubicBezTo>
                  <a:pt x="3127" y="1397"/>
                  <a:pt x="3127" y="1397"/>
                  <a:pt x="3127" y="1397"/>
                </a:cubicBezTo>
                <a:cubicBezTo>
                  <a:pt x="3123" y="1397"/>
                  <a:pt x="3123" y="1397"/>
                  <a:pt x="3123" y="1397"/>
                </a:cubicBezTo>
                <a:cubicBezTo>
                  <a:pt x="3121" y="1398"/>
                  <a:pt x="3119" y="1400"/>
                  <a:pt x="3117" y="1400"/>
                </a:cubicBezTo>
                <a:cubicBezTo>
                  <a:pt x="3116" y="1402"/>
                  <a:pt x="3113" y="1402"/>
                  <a:pt x="3112" y="1403"/>
                </a:cubicBezTo>
                <a:cubicBezTo>
                  <a:pt x="3110" y="1404"/>
                  <a:pt x="3108" y="1405"/>
                  <a:pt x="3106" y="1405"/>
                </a:cubicBezTo>
                <a:cubicBezTo>
                  <a:pt x="3105" y="1406"/>
                  <a:pt x="3103" y="1407"/>
                  <a:pt x="3101" y="1408"/>
                </a:cubicBezTo>
                <a:cubicBezTo>
                  <a:pt x="3101" y="1408"/>
                  <a:pt x="3101" y="1408"/>
                  <a:pt x="3101" y="1418"/>
                </a:cubicBezTo>
                <a:cubicBezTo>
                  <a:pt x="3104" y="1417"/>
                  <a:pt x="3107" y="1416"/>
                  <a:pt x="3109" y="1415"/>
                </a:cubicBezTo>
                <a:cubicBezTo>
                  <a:pt x="3111" y="1414"/>
                  <a:pt x="3114" y="1413"/>
                  <a:pt x="3116" y="1411"/>
                </a:cubicBezTo>
                <a:cubicBezTo>
                  <a:pt x="3116" y="1411"/>
                  <a:pt x="3116" y="1411"/>
                  <a:pt x="3116" y="1470"/>
                </a:cubicBezTo>
                <a:cubicBezTo>
                  <a:pt x="3116" y="1470"/>
                  <a:pt x="3116" y="1470"/>
                  <a:pt x="3127" y="1470"/>
                </a:cubicBezTo>
                <a:cubicBezTo>
                  <a:pt x="3127" y="1470"/>
                  <a:pt x="3127" y="1470"/>
                  <a:pt x="3127" y="1397"/>
                </a:cubicBezTo>
                <a:close/>
                <a:moveTo>
                  <a:pt x="3264" y="1429"/>
                </a:moveTo>
                <a:cubicBezTo>
                  <a:pt x="3264" y="1429"/>
                  <a:pt x="3264" y="1429"/>
                  <a:pt x="3264" y="1429"/>
                </a:cubicBezTo>
                <a:cubicBezTo>
                  <a:pt x="3263" y="1437"/>
                  <a:pt x="3263" y="1437"/>
                  <a:pt x="3263" y="1437"/>
                </a:cubicBezTo>
                <a:cubicBezTo>
                  <a:pt x="3270" y="1438"/>
                  <a:pt x="3271" y="1441"/>
                  <a:pt x="3271" y="1443"/>
                </a:cubicBezTo>
                <a:cubicBezTo>
                  <a:pt x="3271" y="1445"/>
                  <a:pt x="3270" y="1448"/>
                  <a:pt x="3270" y="1450"/>
                </a:cubicBezTo>
                <a:cubicBezTo>
                  <a:pt x="3270" y="1453"/>
                  <a:pt x="3269" y="1455"/>
                  <a:pt x="3269" y="1457"/>
                </a:cubicBezTo>
                <a:cubicBezTo>
                  <a:pt x="3269" y="1467"/>
                  <a:pt x="3275" y="1470"/>
                  <a:pt x="3284" y="1470"/>
                </a:cubicBezTo>
                <a:cubicBezTo>
                  <a:pt x="3284" y="1470"/>
                  <a:pt x="3284" y="1470"/>
                  <a:pt x="3288" y="1470"/>
                </a:cubicBezTo>
                <a:cubicBezTo>
                  <a:pt x="3288" y="1470"/>
                  <a:pt x="3288" y="1470"/>
                  <a:pt x="3288" y="1461"/>
                </a:cubicBezTo>
                <a:cubicBezTo>
                  <a:pt x="3288" y="1461"/>
                  <a:pt x="3288" y="1461"/>
                  <a:pt x="3286" y="1461"/>
                </a:cubicBezTo>
                <a:cubicBezTo>
                  <a:pt x="3283" y="1461"/>
                  <a:pt x="3281" y="1459"/>
                  <a:pt x="3281" y="1455"/>
                </a:cubicBezTo>
                <a:cubicBezTo>
                  <a:pt x="3281" y="1454"/>
                  <a:pt x="3281" y="1452"/>
                  <a:pt x="3282" y="1450"/>
                </a:cubicBezTo>
                <a:cubicBezTo>
                  <a:pt x="3282" y="1449"/>
                  <a:pt x="3282" y="1447"/>
                  <a:pt x="3282" y="1444"/>
                </a:cubicBezTo>
                <a:cubicBezTo>
                  <a:pt x="3282" y="1437"/>
                  <a:pt x="3279" y="1434"/>
                  <a:pt x="3274" y="1433"/>
                </a:cubicBezTo>
                <a:cubicBezTo>
                  <a:pt x="3274" y="1433"/>
                  <a:pt x="3274" y="1433"/>
                  <a:pt x="3274" y="1433"/>
                </a:cubicBezTo>
                <a:cubicBezTo>
                  <a:pt x="3279" y="1432"/>
                  <a:pt x="3282" y="1429"/>
                  <a:pt x="3282" y="1422"/>
                </a:cubicBezTo>
                <a:cubicBezTo>
                  <a:pt x="3282" y="1419"/>
                  <a:pt x="3282" y="1417"/>
                  <a:pt x="3282" y="1416"/>
                </a:cubicBezTo>
                <a:cubicBezTo>
                  <a:pt x="3281" y="1414"/>
                  <a:pt x="3281" y="1412"/>
                  <a:pt x="3281" y="1411"/>
                </a:cubicBezTo>
                <a:cubicBezTo>
                  <a:pt x="3281" y="1407"/>
                  <a:pt x="3283" y="1405"/>
                  <a:pt x="3286" y="1405"/>
                </a:cubicBezTo>
                <a:cubicBezTo>
                  <a:pt x="3286" y="1405"/>
                  <a:pt x="3286" y="1405"/>
                  <a:pt x="3288" y="1405"/>
                </a:cubicBezTo>
                <a:cubicBezTo>
                  <a:pt x="3288" y="1405"/>
                  <a:pt x="3288" y="1405"/>
                  <a:pt x="3288" y="1396"/>
                </a:cubicBezTo>
                <a:cubicBezTo>
                  <a:pt x="3288" y="1396"/>
                  <a:pt x="3288" y="1396"/>
                  <a:pt x="3284" y="1396"/>
                </a:cubicBezTo>
                <a:cubicBezTo>
                  <a:pt x="3275" y="1396"/>
                  <a:pt x="3269" y="1400"/>
                  <a:pt x="3269" y="1408"/>
                </a:cubicBezTo>
                <a:cubicBezTo>
                  <a:pt x="3269" y="1411"/>
                  <a:pt x="3270" y="1413"/>
                  <a:pt x="3270" y="1416"/>
                </a:cubicBezTo>
                <a:cubicBezTo>
                  <a:pt x="3270" y="1418"/>
                  <a:pt x="3271" y="1421"/>
                  <a:pt x="3271" y="1423"/>
                </a:cubicBezTo>
                <a:cubicBezTo>
                  <a:pt x="3271" y="1425"/>
                  <a:pt x="3270" y="1429"/>
                  <a:pt x="3264" y="1429"/>
                </a:cubicBezTo>
                <a:close/>
                <a:moveTo>
                  <a:pt x="3319" y="1437"/>
                </a:moveTo>
                <a:cubicBezTo>
                  <a:pt x="3319" y="1437"/>
                  <a:pt x="3319" y="1437"/>
                  <a:pt x="3319" y="1437"/>
                </a:cubicBezTo>
                <a:cubicBezTo>
                  <a:pt x="3319" y="1429"/>
                  <a:pt x="3319" y="1429"/>
                  <a:pt x="3319" y="1429"/>
                </a:cubicBezTo>
                <a:cubicBezTo>
                  <a:pt x="3312" y="1429"/>
                  <a:pt x="3312" y="1425"/>
                  <a:pt x="3312" y="1423"/>
                </a:cubicBezTo>
                <a:cubicBezTo>
                  <a:pt x="3312" y="1421"/>
                  <a:pt x="3312" y="1418"/>
                  <a:pt x="3312" y="1416"/>
                </a:cubicBezTo>
                <a:cubicBezTo>
                  <a:pt x="3313" y="1413"/>
                  <a:pt x="3313" y="1411"/>
                  <a:pt x="3313" y="1408"/>
                </a:cubicBezTo>
                <a:cubicBezTo>
                  <a:pt x="3313" y="1400"/>
                  <a:pt x="3307" y="1396"/>
                  <a:pt x="3298" y="1396"/>
                </a:cubicBezTo>
                <a:cubicBezTo>
                  <a:pt x="3298" y="1396"/>
                  <a:pt x="3298" y="1396"/>
                  <a:pt x="3295" y="1396"/>
                </a:cubicBezTo>
                <a:cubicBezTo>
                  <a:pt x="3295" y="1396"/>
                  <a:pt x="3295" y="1396"/>
                  <a:pt x="3295" y="1405"/>
                </a:cubicBezTo>
                <a:cubicBezTo>
                  <a:pt x="3295" y="1405"/>
                  <a:pt x="3295" y="1405"/>
                  <a:pt x="3296" y="1405"/>
                </a:cubicBezTo>
                <a:cubicBezTo>
                  <a:pt x="3300" y="1405"/>
                  <a:pt x="3301" y="1407"/>
                  <a:pt x="3301" y="1411"/>
                </a:cubicBezTo>
                <a:cubicBezTo>
                  <a:pt x="3301" y="1412"/>
                  <a:pt x="3301" y="1414"/>
                  <a:pt x="3301" y="1416"/>
                </a:cubicBezTo>
                <a:cubicBezTo>
                  <a:pt x="3300" y="1417"/>
                  <a:pt x="3300" y="1419"/>
                  <a:pt x="3300" y="1422"/>
                </a:cubicBezTo>
                <a:cubicBezTo>
                  <a:pt x="3300" y="1429"/>
                  <a:pt x="3303" y="1432"/>
                  <a:pt x="3309" y="1433"/>
                </a:cubicBezTo>
                <a:cubicBezTo>
                  <a:pt x="3309" y="1433"/>
                  <a:pt x="3309" y="1433"/>
                  <a:pt x="3309" y="1433"/>
                </a:cubicBezTo>
                <a:cubicBezTo>
                  <a:pt x="3303" y="1434"/>
                  <a:pt x="3300" y="1437"/>
                  <a:pt x="3300" y="1444"/>
                </a:cubicBezTo>
                <a:cubicBezTo>
                  <a:pt x="3300" y="1447"/>
                  <a:pt x="3300" y="1449"/>
                  <a:pt x="3301" y="1450"/>
                </a:cubicBezTo>
                <a:cubicBezTo>
                  <a:pt x="3301" y="1452"/>
                  <a:pt x="3301" y="1454"/>
                  <a:pt x="3301" y="1455"/>
                </a:cubicBezTo>
                <a:cubicBezTo>
                  <a:pt x="3301" y="1459"/>
                  <a:pt x="3300" y="1461"/>
                  <a:pt x="3296" y="1461"/>
                </a:cubicBezTo>
                <a:cubicBezTo>
                  <a:pt x="3296" y="1461"/>
                  <a:pt x="3296" y="1461"/>
                  <a:pt x="3295" y="1461"/>
                </a:cubicBezTo>
                <a:cubicBezTo>
                  <a:pt x="3295" y="1461"/>
                  <a:pt x="3295" y="1461"/>
                  <a:pt x="3295" y="1470"/>
                </a:cubicBezTo>
                <a:cubicBezTo>
                  <a:pt x="3295" y="1470"/>
                  <a:pt x="3295" y="1470"/>
                  <a:pt x="3298" y="1470"/>
                </a:cubicBezTo>
                <a:cubicBezTo>
                  <a:pt x="3307" y="1470"/>
                  <a:pt x="3313" y="1467"/>
                  <a:pt x="3313" y="1457"/>
                </a:cubicBezTo>
                <a:cubicBezTo>
                  <a:pt x="3313" y="1455"/>
                  <a:pt x="3313" y="1453"/>
                  <a:pt x="3312" y="1450"/>
                </a:cubicBezTo>
                <a:cubicBezTo>
                  <a:pt x="3312" y="1448"/>
                  <a:pt x="3312" y="1445"/>
                  <a:pt x="3312" y="1443"/>
                </a:cubicBezTo>
                <a:cubicBezTo>
                  <a:pt x="3312" y="1441"/>
                  <a:pt x="3312" y="1438"/>
                  <a:pt x="3319" y="1437"/>
                </a:cubicBezTo>
                <a:close/>
                <a:moveTo>
                  <a:pt x="3366" y="1397"/>
                </a:moveTo>
                <a:cubicBezTo>
                  <a:pt x="3366" y="1397"/>
                  <a:pt x="3366" y="1397"/>
                  <a:pt x="3366" y="1397"/>
                </a:cubicBezTo>
                <a:cubicBezTo>
                  <a:pt x="3360" y="1397"/>
                  <a:pt x="3360" y="1397"/>
                  <a:pt x="3360" y="1397"/>
                </a:cubicBezTo>
                <a:cubicBezTo>
                  <a:pt x="3358" y="1398"/>
                  <a:pt x="3357" y="1400"/>
                  <a:pt x="3355" y="1400"/>
                </a:cubicBezTo>
                <a:cubicBezTo>
                  <a:pt x="3353" y="1402"/>
                  <a:pt x="3351" y="1402"/>
                  <a:pt x="3349" y="1403"/>
                </a:cubicBezTo>
                <a:cubicBezTo>
                  <a:pt x="3347" y="1404"/>
                  <a:pt x="3346" y="1405"/>
                  <a:pt x="3344" y="1405"/>
                </a:cubicBezTo>
                <a:cubicBezTo>
                  <a:pt x="3342" y="1406"/>
                  <a:pt x="3340" y="1407"/>
                  <a:pt x="3338" y="1408"/>
                </a:cubicBezTo>
                <a:cubicBezTo>
                  <a:pt x="3338" y="1408"/>
                  <a:pt x="3338" y="1408"/>
                  <a:pt x="3338" y="1418"/>
                </a:cubicBezTo>
                <a:cubicBezTo>
                  <a:pt x="3341" y="1417"/>
                  <a:pt x="3344" y="1416"/>
                  <a:pt x="3346" y="1415"/>
                </a:cubicBezTo>
                <a:cubicBezTo>
                  <a:pt x="3349" y="1414"/>
                  <a:pt x="3352" y="1413"/>
                  <a:pt x="3354" y="1411"/>
                </a:cubicBezTo>
                <a:cubicBezTo>
                  <a:pt x="3354" y="1411"/>
                  <a:pt x="3354" y="1411"/>
                  <a:pt x="3354" y="1470"/>
                </a:cubicBezTo>
                <a:cubicBezTo>
                  <a:pt x="3354" y="1470"/>
                  <a:pt x="3354" y="1470"/>
                  <a:pt x="3366" y="1470"/>
                </a:cubicBezTo>
                <a:cubicBezTo>
                  <a:pt x="3366" y="1470"/>
                  <a:pt x="3366" y="1470"/>
                  <a:pt x="3366" y="1397"/>
                </a:cubicBezTo>
                <a:close/>
                <a:moveTo>
                  <a:pt x="3412" y="1397"/>
                </a:moveTo>
                <a:cubicBezTo>
                  <a:pt x="3412" y="1397"/>
                  <a:pt x="3412" y="1397"/>
                  <a:pt x="3412" y="1397"/>
                </a:cubicBezTo>
                <a:cubicBezTo>
                  <a:pt x="3407" y="1397"/>
                  <a:pt x="3407" y="1397"/>
                  <a:pt x="3407" y="1397"/>
                </a:cubicBezTo>
                <a:cubicBezTo>
                  <a:pt x="3405" y="1398"/>
                  <a:pt x="3403" y="1400"/>
                  <a:pt x="3401" y="1400"/>
                </a:cubicBezTo>
                <a:cubicBezTo>
                  <a:pt x="3400" y="1402"/>
                  <a:pt x="3397" y="1402"/>
                  <a:pt x="3396" y="1403"/>
                </a:cubicBezTo>
                <a:cubicBezTo>
                  <a:pt x="3395" y="1405"/>
                  <a:pt x="3392" y="1405"/>
                  <a:pt x="3391" y="1406"/>
                </a:cubicBezTo>
                <a:cubicBezTo>
                  <a:pt x="3389" y="1407"/>
                  <a:pt x="3387" y="1408"/>
                  <a:pt x="3385" y="1408"/>
                </a:cubicBezTo>
                <a:cubicBezTo>
                  <a:pt x="3385" y="1408"/>
                  <a:pt x="3385" y="1408"/>
                  <a:pt x="3385" y="1418"/>
                </a:cubicBezTo>
                <a:cubicBezTo>
                  <a:pt x="3388" y="1417"/>
                  <a:pt x="3391" y="1416"/>
                  <a:pt x="3393" y="1415"/>
                </a:cubicBezTo>
                <a:cubicBezTo>
                  <a:pt x="3396" y="1414"/>
                  <a:pt x="3398" y="1413"/>
                  <a:pt x="3400" y="1411"/>
                </a:cubicBezTo>
                <a:cubicBezTo>
                  <a:pt x="3400" y="1411"/>
                  <a:pt x="3400" y="1411"/>
                  <a:pt x="3400" y="1470"/>
                </a:cubicBezTo>
                <a:cubicBezTo>
                  <a:pt x="3400" y="1470"/>
                  <a:pt x="3400" y="1470"/>
                  <a:pt x="3412" y="1470"/>
                </a:cubicBezTo>
                <a:cubicBezTo>
                  <a:pt x="3412" y="1470"/>
                  <a:pt x="3412" y="1470"/>
                  <a:pt x="3412" y="1397"/>
                </a:cubicBezTo>
                <a:close/>
                <a:moveTo>
                  <a:pt x="3458" y="1397"/>
                </a:moveTo>
                <a:cubicBezTo>
                  <a:pt x="3458" y="1397"/>
                  <a:pt x="3458" y="1397"/>
                  <a:pt x="3458" y="1397"/>
                </a:cubicBezTo>
                <a:cubicBezTo>
                  <a:pt x="3453" y="1397"/>
                  <a:pt x="3453" y="1397"/>
                  <a:pt x="3453" y="1397"/>
                </a:cubicBezTo>
                <a:cubicBezTo>
                  <a:pt x="3451" y="1398"/>
                  <a:pt x="3450" y="1400"/>
                  <a:pt x="3448" y="1400"/>
                </a:cubicBezTo>
                <a:cubicBezTo>
                  <a:pt x="3446" y="1402"/>
                  <a:pt x="3444" y="1402"/>
                  <a:pt x="3443" y="1403"/>
                </a:cubicBezTo>
                <a:cubicBezTo>
                  <a:pt x="3440" y="1405"/>
                  <a:pt x="3439" y="1405"/>
                  <a:pt x="3437" y="1406"/>
                </a:cubicBezTo>
                <a:cubicBezTo>
                  <a:pt x="3435" y="1407"/>
                  <a:pt x="3433" y="1408"/>
                  <a:pt x="3432" y="1408"/>
                </a:cubicBezTo>
                <a:cubicBezTo>
                  <a:pt x="3432" y="1408"/>
                  <a:pt x="3432" y="1408"/>
                  <a:pt x="3432" y="1418"/>
                </a:cubicBezTo>
                <a:cubicBezTo>
                  <a:pt x="3435" y="1417"/>
                  <a:pt x="3438" y="1416"/>
                  <a:pt x="3440" y="1415"/>
                </a:cubicBezTo>
                <a:cubicBezTo>
                  <a:pt x="3442" y="1414"/>
                  <a:pt x="3445" y="1413"/>
                  <a:pt x="3446" y="1411"/>
                </a:cubicBezTo>
                <a:cubicBezTo>
                  <a:pt x="3446" y="1411"/>
                  <a:pt x="3446" y="1411"/>
                  <a:pt x="3446" y="1470"/>
                </a:cubicBezTo>
                <a:cubicBezTo>
                  <a:pt x="3446" y="1470"/>
                  <a:pt x="3446" y="1470"/>
                  <a:pt x="3458" y="1470"/>
                </a:cubicBezTo>
                <a:cubicBezTo>
                  <a:pt x="3458" y="1470"/>
                  <a:pt x="3458" y="1470"/>
                  <a:pt x="3458" y="1397"/>
                </a:cubicBezTo>
                <a:close/>
                <a:moveTo>
                  <a:pt x="3207" y="1444"/>
                </a:moveTo>
                <a:cubicBezTo>
                  <a:pt x="3208" y="1446"/>
                  <a:pt x="3208" y="1447"/>
                  <a:pt x="3209" y="1448"/>
                </a:cubicBezTo>
                <a:cubicBezTo>
                  <a:pt x="3209" y="1450"/>
                  <a:pt x="3210" y="1452"/>
                  <a:pt x="3210" y="1453"/>
                </a:cubicBezTo>
                <a:cubicBezTo>
                  <a:pt x="3210" y="1455"/>
                  <a:pt x="3210" y="1457"/>
                  <a:pt x="3210" y="1458"/>
                </a:cubicBezTo>
                <a:cubicBezTo>
                  <a:pt x="3211" y="1461"/>
                  <a:pt x="3210" y="1463"/>
                  <a:pt x="3207" y="1463"/>
                </a:cubicBezTo>
                <a:cubicBezTo>
                  <a:pt x="3204" y="1463"/>
                  <a:pt x="3201" y="1463"/>
                  <a:pt x="3199" y="1463"/>
                </a:cubicBezTo>
                <a:cubicBezTo>
                  <a:pt x="3198" y="1463"/>
                  <a:pt x="3197" y="1463"/>
                  <a:pt x="3197" y="1463"/>
                </a:cubicBezTo>
                <a:cubicBezTo>
                  <a:pt x="3195" y="1465"/>
                  <a:pt x="3194" y="1466"/>
                  <a:pt x="3193" y="1467"/>
                </a:cubicBezTo>
                <a:cubicBezTo>
                  <a:pt x="3191" y="1470"/>
                  <a:pt x="3188" y="1470"/>
                  <a:pt x="3185" y="1468"/>
                </a:cubicBezTo>
                <a:cubicBezTo>
                  <a:pt x="3183" y="1466"/>
                  <a:pt x="3182" y="1463"/>
                  <a:pt x="3181" y="1461"/>
                </a:cubicBezTo>
                <a:cubicBezTo>
                  <a:pt x="3180" y="1459"/>
                  <a:pt x="3180" y="1457"/>
                  <a:pt x="3183" y="1456"/>
                </a:cubicBezTo>
                <a:cubicBezTo>
                  <a:pt x="3180" y="1456"/>
                  <a:pt x="3178" y="1456"/>
                  <a:pt x="3177" y="1456"/>
                </a:cubicBezTo>
                <a:cubicBezTo>
                  <a:pt x="3176" y="1458"/>
                  <a:pt x="3175" y="1460"/>
                  <a:pt x="3174" y="1462"/>
                </a:cubicBezTo>
                <a:cubicBezTo>
                  <a:pt x="3174" y="1463"/>
                  <a:pt x="3173" y="1463"/>
                  <a:pt x="3173" y="1464"/>
                </a:cubicBezTo>
                <a:cubicBezTo>
                  <a:pt x="3173" y="1467"/>
                  <a:pt x="3172" y="1469"/>
                  <a:pt x="3169" y="1468"/>
                </a:cubicBezTo>
                <a:cubicBezTo>
                  <a:pt x="3166" y="1468"/>
                  <a:pt x="3163" y="1467"/>
                  <a:pt x="3160" y="1466"/>
                </a:cubicBezTo>
                <a:cubicBezTo>
                  <a:pt x="3158" y="1465"/>
                  <a:pt x="3158" y="1464"/>
                  <a:pt x="3158" y="1462"/>
                </a:cubicBezTo>
                <a:cubicBezTo>
                  <a:pt x="3159" y="1461"/>
                  <a:pt x="3159" y="1460"/>
                  <a:pt x="3159" y="1460"/>
                </a:cubicBezTo>
                <a:cubicBezTo>
                  <a:pt x="3157" y="1459"/>
                  <a:pt x="3154" y="1458"/>
                  <a:pt x="3152" y="1457"/>
                </a:cubicBezTo>
                <a:cubicBezTo>
                  <a:pt x="3151" y="1456"/>
                  <a:pt x="3150" y="1454"/>
                  <a:pt x="3149" y="1452"/>
                </a:cubicBezTo>
                <a:cubicBezTo>
                  <a:pt x="3148" y="1450"/>
                  <a:pt x="3148" y="1449"/>
                  <a:pt x="3150" y="1447"/>
                </a:cubicBezTo>
                <a:cubicBezTo>
                  <a:pt x="3153" y="1445"/>
                  <a:pt x="3154" y="1442"/>
                  <a:pt x="3153" y="1438"/>
                </a:cubicBezTo>
                <a:cubicBezTo>
                  <a:pt x="3153" y="1436"/>
                  <a:pt x="3153" y="1434"/>
                  <a:pt x="3153" y="1432"/>
                </a:cubicBezTo>
                <a:cubicBezTo>
                  <a:pt x="3152" y="1431"/>
                  <a:pt x="3150" y="1431"/>
                  <a:pt x="3150" y="1430"/>
                </a:cubicBezTo>
                <a:cubicBezTo>
                  <a:pt x="3148" y="1428"/>
                  <a:pt x="3148" y="1426"/>
                  <a:pt x="3148" y="1424"/>
                </a:cubicBezTo>
                <a:cubicBezTo>
                  <a:pt x="3147" y="1421"/>
                  <a:pt x="3151" y="1419"/>
                  <a:pt x="3153" y="1418"/>
                </a:cubicBezTo>
                <a:cubicBezTo>
                  <a:pt x="3154" y="1419"/>
                  <a:pt x="3154" y="1419"/>
                  <a:pt x="3154" y="1420"/>
                </a:cubicBezTo>
                <a:cubicBezTo>
                  <a:pt x="3154" y="1421"/>
                  <a:pt x="3154" y="1422"/>
                  <a:pt x="3155" y="1423"/>
                </a:cubicBezTo>
                <a:cubicBezTo>
                  <a:pt x="3154" y="1423"/>
                  <a:pt x="3153" y="1423"/>
                  <a:pt x="3153" y="1423"/>
                </a:cubicBezTo>
                <a:cubicBezTo>
                  <a:pt x="3153" y="1424"/>
                  <a:pt x="3152" y="1425"/>
                  <a:pt x="3152" y="1427"/>
                </a:cubicBezTo>
                <a:cubicBezTo>
                  <a:pt x="3153" y="1427"/>
                  <a:pt x="3153" y="1427"/>
                  <a:pt x="3154" y="1427"/>
                </a:cubicBezTo>
                <a:cubicBezTo>
                  <a:pt x="3155" y="1425"/>
                  <a:pt x="3156" y="1425"/>
                  <a:pt x="3157" y="1423"/>
                </a:cubicBezTo>
                <a:cubicBezTo>
                  <a:pt x="3161" y="1417"/>
                  <a:pt x="3167" y="1413"/>
                  <a:pt x="3175" y="1411"/>
                </a:cubicBezTo>
                <a:cubicBezTo>
                  <a:pt x="3178" y="1411"/>
                  <a:pt x="3181" y="1410"/>
                  <a:pt x="3183" y="1407"/>
                </a:cubicBezTo>
                <a:cubicBezTo>
                  <a:pt x="3183" y="1406"/>
                  <a:pt x="3184" y="1406"/>
                  <a:pt x="3184" y="1406"/>
                </a:cubicBezTo>
                <a:cubicBezTo>
                  <a:pt x="3187" y="1406"/>
                  <a:pt x="3189" y="1403"/>
                  <a:pt x="3191" y="1401"/>
                </a:cubicBezTo>
                <a:cubicBezTo>
                  <a:pt x="3198" y="1394"/>
                  <a:pt x="3210" y="1393"/>
                  <a:pt x="3218" y="1400"/>
                </a:cubicBezTo>
                <a:cubicBezTo>
                  <a:pt x="3220" y="1402"/>
                  <a:pt x="3223" y="1404"/>
                  <a:pt x="3225" y="1406"/>
                </a:cubicBezTo>
                <a:cubicBezTo>
                  <a:pt x="3227" y="1407"/>
                  <a:pt x="3228" y="1409"/>
                  <a:pt x="3229" y="1411"/>
                </a:cubicBezTo>
                <a:cubicBezTo>
                  <a:pt x="3230" y="1412"/>
                  <a:pt x="3231" y="1412"/>
                  <a:pt x="3232" y="1411"/>
                </a:cubicBezTo>
                <a:cubicBezTo>
                  <a:pt x="3233" y="1411"/>
                  <a:pt x="3233" y="1410"/>
                  <a:pt x="3234" y="1409"/>
                </a:cubicBezTo>
                <a:cubicBezTo>
                  <a:pt x="3236" y="1406"/>
                  <a:pt x="3239" y="1406"/>
                  <a:pt x="3241" y="1410"/>
                </a:cubicBezTo>
                <a:cubicBezTo>
                  <a:pt x="3242" y="1413"/>
                  <a:pt x="3243" y="1415"/>
                  <a:pt x="3243" y="1419"/>
                </a:cubicBezTo>
                <a:cubicBezTo>
                  <a:pt x="3244" y="1423"/>
                  <a:pt x="3243" y="1427"/>
                  <a:pt x="3242" y="1432"/>
                </a:cubicBezTo>
                <a:cubicBezTo>
                  <a:pt x="3239" y="1438"/>
                  <a:pt x="3235" y="1442"/>
                  <a:pt x="3228" y="1442"/>
                </a:cubicBezTo>
                <a:cubicBezTo>
                  <a:pt x="3227" y="1442"/>
                  <a:pt x="3227" y="1442"/>
                  <a:pt x="3226" y="1442"/>
                </a:cubicBezTo>
                <a:cubicBezTo>
                  <a:pt x="3224" y="1441"/>
                  <a:pt x="3223" y="1442"/>
                  <a:pt x="3222" y="1444"/>
                </a:cubicBezTo>
                <a:cubicBezTo>
                  <a:pt x="3220" y="1448"/>
                  <a:pt x="3215" y="1450"/>
                  <a:pt x="3211" y="1447"/>
                </a:cubicBezTo>
                <a:cubicBezTo>
                  <a:pt x="3210" y="1446"/>
                  <a:pt x="3209" y="1445"/>
                  <a:pt x="3208" y="1444"/>
                </a:cubicBezTo>
                <a:cubicBezTo>
                  <a:pt x="3208" y="1444"/>
                  <a:pt x="3208" y="1444"/>
                  <a:pt x="3207" y="1444"/>
                </a:cubicBezTo>
                <a:close/>
                <a:moveTo>
                  <a:pt x="3202" y="1440"/>
                </a:moveTo>
                <a:cubicBezTo>
                  <a:pt x="3205" y="1441"/>
                  <a:pt x="3209" y="1442"/>
                  <a:pt x="3212" y="1445"/>
                </a:cubicBezTo>
                <a:cubicBezTo>
                  <a:pt x="3213" y="1447"/>
                  <a:pt x="3215" y="1448"/>
                  <a:pt x="3217" y="1447"/>
                </a:cubicBezTo>
                <a:cubicBezTo>
                  <a:pt x="3220" y="1446"/>
                  <a:pt x="3221" y="1444"/>
                  <a:pt x="3221" y="1441"/>
                </a:cubicBezTo>
                <a:cubicBezTo>
                  <a:pt x="3221" y="1441"/>
                  <a:pt x="3220" y="1441"/>
                  <a:pt x="3220" y="1442"/>
                </a:cubicBezTo>
                <a:cubicBezTo>
                  <a:pt x="3220" y="1443"/>
                  <a:pt x="3219" y="1444"/>
                  <a:pt x="3218" y="1445"/>
                </a:cubicBezTo>
                <a:cubicBezTo>
                  <a:pt x="3217" y="1446"/>
                  <a:pt x="3215" y="1446"/>
                  <a:pt x="3215" y="1446"/>
                </a:cubicBezTo>
                <a:cubicBezTo>
                  <a:pt x="3214" y="1446"/>
                  <a:pt x="3213" y="1444"/>
                  <a:pt x="3213" y="1444"/>
                </a:cubicBezTo>
                <a:cubicBezTo>
                  <a:pt x="3213" y="1441"/>
                  <a:pt x="3214" y="1439"/>
                  <a:pt x="3214" y="1437"/>
                </a:cubicBezTo>
                <a:cubicBezTo>
                  <a:pt x="3217" y="1438"/>
                  <a:pt x="3221" y="1439"/>
                  <a:pt x="3224" y="1440"/>
                </a:cubicBezTo>
                <a:cubicBezTo>
                  <a:pt x="3232" y="1441"/>
                  <a:pt x="3237" y="1439"/>
                  <a:pt x="3241" y="1431"/>
                </a:cubicBezTo>
                <a:cubicBezTo>
                  <a:pt x="3242" y="1426"/>
                  <a:pt x="3242" y="1421"/>
                  <a:pt x="3241" y="1416"/>
                </a:cubicBezTo>
                <a:cubicBezTo>
                  <a:pt x="3241" y="1414"/>
                  <a:pt x="3240" y="1412"/>
                  <a:pt x="3239" y="1410"/>
                </a:cubicBezTo>
                <a:cubicBezTo>
                  <a:pt x="3238" y="1409"/>
                  <a:pt x="3237" y="1408"/>
                  <a:pt x="3236" y="1410"/>
                </a:cubicBezTo>
                <a:cubicBezTo>
                  <a:pt x="3234" y="1412"/>
                  <a:pt x="3233" y="1413"/>
                  <a:pt x="3231" y="1414"/>
                </a:cubicBezTo>
                <a:cubicBezTo>
                  <a:pt x="3230" y="1414"/>
                  <a:pt x="3229" y="1415"/>
                  <a:pt x="3230" y="1416"/>
                </a:cubicBezTo>
                <a:cubicBezTo>
                  <a:pt x="3230" y="1419"/>
                  <a:pt x="3230" y="1423"/>
                  <a:pt x="3228" y="1426"/>
                </a:cubicBezTo>
                <a:cubicBezTo>
                  <a:pt x="3228" y="1424"/>
                  <a:pt x="3229" y="1422"/>
                  <a:pt x="3229" y="1420"/>
                </a:cubicBezTo>
                <a:cubicBezTo>
                  <a:pt x="3229" y="1419"/>
                  <a:pt x="3228" y="1419"/>
                  <a:pt x="3228" y="1419"/>
                </a:cubicBezTo>
                <a:cubicBezTo>
                  <a:pt x="3228" y="1419"/>
                  <a:pt x="3227" y="1419"/>
                  <a:pt x="3227" y="1419"/>
                </a:cubicBezTo>
                <a:cubicBezTo>
                  <a:pt x="3226" y="1421"/>
                  <a:pt x="3225" y="1422"/>
                  <a:pt x="3224" y="1423"/>
                </a:cubicBezTo>
                <a:cubicBezTo>
                  <a:pt x="3224" y="1423"/>
                  <a:pt x="3224" y="1423"/>
                  <a:pt x="3224" y="1423"/>
                </a:cubicBezTo>
                <a:cubicBezTo>
                  <a:pt x="3224" y="1422"/>
                  <a:pt x="3225" y="1420"/>
                  <a:pt x="3225" y="1418"/>
                </a:cubicBezTo>
                <a:cubicBezTo>
                  <a:pt x="3224" y="1419"/>
                  <a:pt x="3224" y="1419"/>
                  <a:pt x="3223" y="1420"/>
                </a:cubicBezTo>
                <a:cubicBezTo>
                  <a:pt x="3223" y="1420"/>
                  <a:pt x="3222" y="1421"/>
                  <a:pt x="3222" y="1422"/>
                </a:cubicBezTo>
                <a:cubicBezTo>
                  <a:pt x="3222" y="1418"/>
                  <a:pt x="3223" y="1418"/>
                  <a:pt x="3228" y="1417"/>
                </a:cubicBezTo>
                <a:cubicBezTo>
                  <a:pt x="3228" y="1417"/>
                  <a:pt x="3227" y="1416"/>
                  <a:pt x="3227" y="1416"/>
                </a:cubicBezTo>
                <a:cubicBezTo>
                  <a:pt x="3224" y="1417"/>
                  <a:pt x="3224" y="1415"/>
                  <a:pt x="3223" y="1413"/>
                </a:cubicBezTo>
                <a:cubicBezTo>
                  <a:pt x="3225" y="1412"/>
                  <a:pt x="3226" y="1412"/>
                  <a:pt x="3228" y="1412"/>
                </a:cubicBezTo>
                <a:cubicBezTo>
                  <a:pt x="3226" y="1409"/>
                  <a:pt x="3225" y="1406"/>
                  <a:pt x="3222" y="1406"/>
                </a:cubicBezTo>
                <a:cubicBezTo>
                  <a:pt x="3221" y="1406"/>
                  <a:pt x="3221" y="1406"/>
                  <a:pt x="3221" y="1405"/>
                </a:cubicBezTo>
                <a:cubicBezTo>
                  <a:pt x="3219" y="1403"/>
                  <a:pt x="3216" y="1401"/>
                  <a:pt x="3213" y="1399"/>
                </a:cubicBezTo>
                <a:cubicBezTo>
                  <a:pt x="3211" y="1398"/>
                  <a:pt x="3208" y="1397"/>
                  <a:pt x="3206" y="1397"/>
                </a:cubicBezTo>
                <a:cubicBezTo>
                  <a:pt x="3203" y="1397"/>
                  <a:pt x="3200" y="1398"/>
                  <a:pt x="3197" y="1399"/>
                </a:cubicBezTo>
                <a:cubicBezTo>
                  <a:pt x="3194" y="1400"/>
                  <a:pt x="3191" y="1402"/>
                  <a:pt x="3190" y="1405"/>
                </a:cubicBezTo>
                <a:cubicBezTo>
                  <a:pt x="3191" y="1405"/>
                  <a:pt x="3192" y="1405"/>
                  <a:pt x="3193" y="1405"/>
                </a:cubicBezTo>
                <a:cubicBezTo>
                  <a:pt x="3193" y="1406"/>
                  <a:pt x="3192" y="1406"/>
                  <a:pt x="3192" y="1406"/>
                </a:cubicBezTo>
                <a:cubicBezTo>
                  <a:pt x="3189" y="1407"/>
                  <a:pt x="3186" y="1406"/>
                  <a:pt x="3184" y="1408"/>
                </a:cubicBezTo>
                <a:cubicBezTo>
                  <a:pt x="3181" y="1412"/>
                  <a:pt x="3177" y="1416"/>
                  <a:pt x="3173" y="1420"/>
                </a:cubicBezTo>
                <a:cubicBezTo>
                  <a:pt x="3172" y="1422"/>
                  <a:pt x="3171" y="1425"/>
                  <a:pt x="3170" y="1427"/>
                </a:cubicBezTo>
                <a:cubicBezTo>
                  <a:pt x="3170" y="1427"/>
                  <a:pt x="3170" y="1428"/>
                  <a:pt x="3170" y="1429"/>
                </a:cubicBezTo>
                <a:cubicBezTo>
                  <a:pt x="3172" y="1431"/>
                  <a:pt x="3173" y="1433"/>
                  <a:pt x="3174" y="1434"/>
                </a:cubicBezTo>
                <a:cubicBezTo>
                  <a:pt x="3175" y="1433"/>
                  <a:pt x="3177" y="1431"/>
                  <a:pt x="3178" y="1430"/>
                </a:cubicBezTo>
                <a:cubicBezTo>
                  <a:pt x="3177" y="1431"/>
                  <a:pt x="3177" y="1433"/>
                  <a:pt x="3176" y="1434"/>
                </a:cubicBezTo>
                <a:cubicBezTo>
                  <a:pt x="3175" y="1435"/>
                  <a:pt x="3175" y="1436"/>
                  <a:pt x="3174" y="1438"/>
                </a:cubicBezTo>
                <a:cubicBezTo>
                  <a:pt x="3174" y="1439"/>
                  <a:pt x="3174" y="1440"/>
                  <a:pt x="3175" y="1441"/>
                </a:cubicBezTo>
                <a:cubicBezTo>
                  <a:pt x="3177" y="1444"/>
                  <a:pt x="3180" y="1444"/>
                  <a:pt x="3184" y="1442"/>
                </a:cubicBezTo>
                <a:cubicBezTo>
                  <a:pt x="3186" y="1441"/>
                  <a:pt x="3189" y="1440"/>
                  <a:pt x="3192" y="1439"/>
                </a:cubicBezTo>
                <a:cubicBezTo>
                  <a:pt x="3193" y="1438"/>
                  <a:pt x="3195" y="1438"/>
                  <a:pt x="3195" y="1436"/>
                </a:cubicBezTo>
                <a:cubicBezTo>
                  <a:pt x="3195" y="1433"/>
                  <a:pt x="3195" y="1429"/>
                  <a:pt x="3195" y="1426"/>
                </a:cubicBezTo>
                <a:cubicBezTo>
                  <a:pt x="3195" y="1423"/>
                  <a:pt x="3195" y="1420"/>
                  <a:pt x="3195" y="1417"/>
                </a:cubicBezTo>
                <a:cubicBezTo>
                  <a:pt x="3195" y="1420"/>
                  <a:pt x="3196" y="1423"/>
                  <a:pt x="3196" y="1425"/>
                </a:cubicBezTo>
                <a:cubicBezTo>
                  <a:pt x="3197" y="1430"/>
                  <a:pt x="3197" y="1434"/>
                  <a:pt x="3196" y="1438"/>
                </a:cubicBezTo>
                <a:cubicBezTo>
                  <a:pt x="3195" y="1439"/>
                  <a:pt x="3195" y="1440"/>
                  <a:pt x="3194" y="1440"/>
                </a:cubicBezTo>
                <a:cubicBezTo>
                  <a:pt x="3191" y="1440"/>
                  <a:pt x="3188" y="1442"/>
                  <a:pt x="3184" y="1444"/>
                </a:cubicBezTo>
                <a:cubicBezTo>
                  <a:pt x="3179" y="1447"/>
                  <a:pt x="3176" y="1445"/>
                  <a:pt x="3172" y="1441"/>
                </a:cubicBezTo>
                <a:cubicBezTo>
                  <a:pt x="3172" y="1441"/>
                  <a:pt x="3172" y="1440"/>
                  <a:pt x="3172" y="1439"/>
                </a:cubicBezTo>
                <a:cubicBezTo>
                  <a:pt x="3173" y="1437"/>
                  <a:pt x="3172" y="1435"/>
                  <a:pt x="3171" y="1433"/>
                </a:cubicBezTo>
                <a:cubicBezTo>
                  <a:pt x="3169" y="1431"/>
                  <a:pt x="3168" y="1429"/>
                  <a:pt x="3169" y="1426"/>
                </a:cubicBezTo>
                <a:cubicBezTo>
                  <a:pt x="3169" y="1424"/>
                  <a:pt x="3170" y="1422"/>
                  <a:pt x="3172" y="1421"/>
                </a:cubicBezTo>
                <a:cubicBezTo>
                  <a:pt x="3173" y="1418"/>
                  <a:pt x="3175" y="1415"/>
                  <a:pt x="3177" y="1413"/>
                </a:cubicBezTo>
                <a:cubicBezTo>
                  <a:pt x="3177" y="1413"/>
                  <a:pt x="3176" y="1413"/>
                  <a:pt x="3176" y="1413"/>
                </a:cubicBezTo>
                <a:cubicBezTo>
                  <a:pt x="3171" y="1414"/>
                  <a:pt x="3167" y="1415"/>
                  <a:pt x="3163" y="1419"/>
                </a:cubicBezTo>
                <a:cubicBezTo>
                  <a:pt x="3158" y="1423"/>
                  <a:pt x="3155" y="1428"/>
                  <a:pt x="3155" y="1435"/>
                </a:cubicBezTo>
                <a:cubicBezTo>
                  <a:pt x="3155" y="1442"/>
                  <a:pt x="3157" y="1448"/>
                  <a:pt x="3161" y="1453"/>
                </a:cubicBezTo>
                <a:cubicBezTo>
                  <a:pt x="3161" y="1454"/>
                  <a:pt x="3162" y="1456"/>
                  <a:pt x="3161" y="1457"/>
                </a:cubicBezTo>
                <a:cubicBezTo>
                  <a:pt x="3161" y="1459"/>
                  <a:pt x="3161" y="1460"/>
                  <a:pt x="3160" y="1461"/>
                </a:cubicBezTo>
                <a:cubicBezTo>
                  <a:pt x="3160" y="1463"/>
                  <a:pt x="3160" y="1464"/>
                  <a:pt x="3161" y="1465"/>
                </a:cubicBezTo>
                <a:cubicBezTo>
                  <a:pt x="3164" y="1465"/>
                  <a:pt x="3167" y="1466"/>
                  <a:pt x="3170" y="1466"/>
                </a:cubicBezTo>
                <a:cubicBezTo>
                  <a:pt x="3171" y="1466"/>
                  <a:pt x="3172" y="1465"/>
                  <a:pt x="3172" y="1465"/>
                </a:cubicBezTo>
                <a:cubicBezTo>
                  <a:pt x="3172" y="1464"/>
                  <a:pt x="3172" y="1462"/>
                  <a:pt x="3173" y="1461"/>
                </a:cubicBezTo>
                <a:cubicBezTo>
                  <a:pt x="3175" y="1459"/>
                  <a:pt x="3175" y="1456"/>
                  <a:pt x="3175" y="1453"/>
                </a:cubicBezTo>
                <a:cubicBezTo>
                  <a:pt x="3175" y="1453"/>
                  <a:pt x="3175" y="1453"/>
                  <a:pt x="3175" y="1452"/>
                </a:cubicBezTo>
                <a:cubicBezTo>
                  <a:pt x="3175" y="1452"/>
                  <a:pt x="3175" y="1452"/>
                  <a:pt x="3175" y="1452"/>
                </a:cubicBezTo>
                <a:cubicBezTo>
                  <a:pt x="3175" y="1454"/>
                  <a:pt x="3177" y="1454"/>
                  <a:pt x="3179" y="1454"/>
                </a:cubicBezTo>
                <a:cubicBezTo>
                  <a:pt x="3179" y="1454"/>
                  <a:pt x="3181" y="1454"/>
                  <a:pt x="3181" y="1454"/>
                </a:cubicBezTo>
                <a:cubicBezTo>
                  <a:pt x="3184" y="1454"/>
                  <a:pt x="3187" y="1455"/>
                  <a:pt x="3188" y="1451"/>
                </a:cubicBezTo>
                <a:cubicBezTo>
                  <a:pt x="3188" y="1453"/>
                  <a:pt x="3188" y="1455"/>
                  <a:pt x="3188" y="1455"/>
                </a:cubicBezTo>
                <a:cubicBezTo>
                  <a:pt x="3186" y="1456"/>
                  <a:pt x="3185" y="1457"/>
                  <a:pt x="3184" y="1457"/>
                </a:cubicBezTo>
                <a:cubicBezTo>
                  <a:pt x="3182" y="1458"/>
                  <a:pt x="3182" y="1460"/>
                  <a:pt x="3183" y="1461"/>
                </a:cubicBezTo>
                <a:cubicBezTo>
                  <a:pt x="3184" y="1463"/>
                  <a:pt x="3185" y="1465"/>
                  <a:pt x="3186" y="1467"/>
                </a:cubicBezTo>
                <a:cubicBezTo>
                  <a:pt x="3188" y="1468"/>
                  <a:pt x="3190" y="1468"/>
                  <a:pt x="3192" y="1466"/>
                </a:cubicBezTo>
                <a:cubicBezTo>
                  <a:pt x="3192" y="1465"/>
                  <a:pt x="3193" y="1465"/>
                  <a:pt x="3193" y="1464"/>
                </a:cubicBezTo>
                <a:cubicBezTo>
                  <a:pt x="3195" y="1463"/>
                  <a:pt x="3197" y="1461"/>
                  <a:pt x="3198" y="1460"/>
                </a:cubicBezTo>
                <a:cubicBezTo>
                  <a:pt x="3203" y="1456"/>
                  <a:pt x="3204" y="1450"/>
                  <a:pt x="3206" y="1444"/>
                </a:cubicBezTo>
                <a:cubicBezTo>
                  <a:pt x="3206" y="1444"/>
                  <a:pt x="3205" y="1443"/>
                  <a:pt x="3205" y="1442"/>
                </a:cubicBezTo>
                <a:cubicBezTo>
                  <a:pt x="3204" y="1441"/>
                  <a:pt x="3203" y="1440"/>
                  <a:pt x="3202" y="1440"/>
                </a:cubicBezTo>
                <a:close/>
                <a:moveTo>
                  <a:pt x="3155" y="1446"/>
                </a:moveTo>
                <a:cubicBezTo>
                  <a:pt x="3154" y="1447"/>
                  <a:pt x="3152" y="1448"/>
                  <a:pt x="3151" y="1449"/>
                </a:cubicBezTo>
                <a:cubicBezTo>
                  <a:pt x="3151" y="1449"/>
                  <a:pt x="3150" y="1450"/>
                  <a:pt x="3150" y="1451"/>
                </a:cubicBezTo>
                <a:cubicBezTo>
                  <a:pt x="3150" y="1453"/>
                  <a:pt x="3155" y="1458"/>
                  <a:pt x="3158" y="1457"/>
                </a:cubicBezTo>
                <a:cubicBezTo>
                  <a:pt x="3159" y="1457"/>
                  <a:pt x="3160" y="1456"/>
                  <a:pt x="3159" y="1455"/>
                </a:cubicBezTo>
                <a:cubicBezTo>
                  <a:pt x="3158" y="1452"/>
                  <a:pt x="3156" y="1449"/>
                  <a:pt x="3155" y="1446"/>
                </a:cubicBezTo>
                <a:close/>
                <a:moveTo>
                  <a:pt x="3207" y="1448"/>
                </a:moveTo>
                <a:cubicBezTo>
                  <a:pt x="3205" y="1453"/>
                  <a:pt x="3203" y="1457"/>
                  <a:pt x="3200" y="1461"/>
                </a:cubicBezTo>
                <a:cubicBezTo>
                  <a:pt x="3203" y="1461"/>
                  <a:pt x="3205" y="1462"/>
                  <a:pt x="3208" y="1461"/>
                </a:cubicBezTo>
                <a:cubicBezTo>
                  <a:pt x="3208" y="1461"/>
                  <a:pt x="3209" y="1460"/>
                  <a:pt x="3209" y="1460"/>
                </a:cubicBezTo>
                <a:cubicBezTo>
                  <a:pt x="3209" y="1457"/>
                  <a:pt x="3209" y="1455"/>
                  <a:pt x="3208" y="1452"/>
                </a:cubicBezTo>
                <a:cubicBezTo>
                  <a:pt x="3208" y="1451"/>
                  <a:pt x="3208" y="1450"/>
                  <a:pt x="3207" y="1448"/>
                </a:cubicBezTo>
                <a:close/>
                <a:moveTo>
                  <a:pt x="3155" y="1428"/>
                </a:moveTo>
                <a:cubicBezTo>
                  <a:pt x="3154" y="1428"/>
                  <a:pt x="3153" y="1429"/>
                  <a:pt x="3153" y="1429"/>
                </a:cubicBezTo>
                <a:cubicBezTo>
                  <a:pt x="3152" y="1429"/>
                  <a:pt x="3151" y="1429"/>
                  <a:pt x="3151" y="1428"/>
                </a:cubicBezTo>
                <a:cubicBezTo>
                  <a:pt x="3151" y="1428"/>
                  <a:pt x="3150" y="1427"/>
                  <a:pt x="3150" y="1426"/>
                </a:cubicBezTo>
                <a:cubicBezTo>
                  <a:pt x="3151" y="1424"/>
                  <a:pt x="3152" y="1422"/>
                  <a:pt x="3152" y="1420"/>
                </a:cubicBezTo>
                <a:cubicBezTo>
                  <a:pt x="3152" y="1420"/>
                  <a:pt x="3152" y="1420"/>
                  <a:pt x="3152" y="1420"/>
                </a:cubicBezTo>
                <a:cubicBezTo>
                  <a:pt x="3151" y="1421"/>
                  <a:pt x="3150" y="1422"/>
                  <a:pt x="3149" y="1423"/>
                </a:cubicBezTo>
                <a:cubicBezTo>
                  <a:pt x="3148" y="1424"/>
                  <a:pt x="3150" y="1429"/>
                  <a:pt x="3151" y="1430"/>
                </a:cubicBezTo>
                <a:cubicBezTo>
                  <a:pt x="3153" y="1431"/>
                  <a:pt x="3155" y="1430"/>
                  <a:pt x="3155" y="1428"/>
                </a:cubicBezTo>
                <a:close/>
                <a:moveTo>
                  <a:pt x="3155" y="1446"/>
                </a:moveTo>
                <a:cubicBezTo>
                  <a:pt x="3154" y="1447"/>
                  <a:pt x="3152" y="1448"/>
                  <a:pt x="3151" y="1449"/>
                </a:cubicBezTo>
                <a:cubicBezTo>
                  <a:pt x="3150" y="1449"/>
                  <a:pt x="3150" y="1450"/>
                  <a:pt x="3150" y="1451"/>
                </a:cubicBezTo>
                <a:cubicBezTo>
                  <a:pt x="3150" y="1454"/>
                  <a:pt x="3155" y="1458"/>
                  <a:pt x="3158" y="1458"/>
                </a:cubicBezTo>
                <a:cubicBezTo>
                  <a:pt x="3159" y="1458"/>
                  <a:pt x="3160" y="1457"/>
                  <a:pt x="3159" y="1455"/>
                </a:cubicBezTo>
                <a:cubicBezTo>
                  <a:pt x="3158" y="1452"/>
                  <a:pt x="3156" y="1449"/>
                  <a:pt x="3155" y="1446"/>
                </a:cubicBezTo>
                <a:close/>
                <a:moveTo>
                  <a:pt x="3207" y="1448"/>
                </a:moveTo>
                <a:cubicBezTo>
                  <a:pt x="3205" y="1453"/>
                  <a:pt x="3202" y="1457"/>
                  <a:pt x="3200" y="1462"/>
                </a:cubicBezTo>
                <a:cubicBezTo>
                  <a:pt x="3203" y="1462"/>
                  <a:pt x="3205" y="1462"/>
                  <a:pt x="3208" y="1462"/>
                </a:cubicBezTo>
                <a:cubicBezTo>
                  <a:pt x="3208" y="1462"/>
                  <a:pt x="3209" y="1460"/>
                  <a:pt x="3209" y="1460"/>
                </a:cubicBezTo>
                <a:cubicBezTo>
                  <a:pt x="3209" y="1457"/>
                  <a:pt x="3209" y="1455"/>
                  <a:pt x="3208" y="1452"/>
                </a:cubicBezTo>
                <a:cubicBezTo>
                  <a:pt x="3208" y="1451"/>
                  <a:pt x="3207" y="1450"/>
                  <a:pt x="3207" y="1448"/>
                </a:cubicBezTo>
                <a:close/>
                <a:moveTo>
                  <a:pt x="3154" y="1428"/>
                </a:moveTo>
                <a:cubicBezTo>
                  <a:pt x="3154" y="1428"/>
                  <a:pt x="3153" y="1429"/>
                  <a:pt x="3152" y="1429"/>
                </a:cubicBezTo>
                <a:cubicBezTo>
                  <a:pt x="3152" y="1429"/>
                  <a:pt x="3151" y="1429"/>
                  <a:pt x="3151" y="1428"/>
                </a:cubicBezTo>
                <a:cubicBezTo>
                  <a:pt x="3150" y="1428"/>
                  <a:pt x="3150" y="1427"/>
                  <a:pt x="3150" y="1426"/>
                </a:cubicBezTo>
                <a:cubicBezTo>
                  <a:pt x="3151" y="1424"/>
                  <a:pt x="3151" y="1422"/>
                  <a:pt x="3152" y="1420"/>
                </a:cubicBezTo>
                <a:cubicBezTo>
                  <a:pt x="3152" y="1420"/>
                  <a:pt x="3152" y="1420"/>
                  <a:pt x="3151" y="1420"/>
                </a:cubicBezTo>
                <a:cubicBezTo>
                  <a:pt x="3150" y="1421"/>
                  <a:pt x="3149" y="1422"/>
                  <a:pt x="3148" y="1423"/>
                </a:cubicBezTo>
                <a:cubicBezTo>
                  <a:pt x="3148" y="1424"/>
                  <a:pt x="3149" y="1430"/>
                  <a:pt x="3151" y="1430"/>
                </a:cubicBezTo>
                <a:cubicBezTo>
                  <a:pt x="3152" y="1431"/>
                  <a:pt x="3154" y="1430"/>
                  <a:pt x="3154" y="1428"/>
                </a:cubicBezTo>
                <a:close/>
                <a:moveTo>
                  <a:pt x="3207" y="1420"/>
                </a:moveTo>
                <a:cubicBezTo>
                  <a:pt x="3210" y="1416"/>
                  <a:pt x="3210" y="1416"/>
                  <a:pt x="3214" y="1415"/>
                </a:cubicBezTo>
                <a:cubicBezTo>
                  <a:pt x="3214" y="1417"/>
                  <a:pt x="3215" y="1418"/>
                  <a:pt x="3216" y="1418"/>
                </a:cubicBezTo>
                <a:cubicBezTo>
                  <a:pt x="3214" y="1419"/>
                  <a:pt x="3212" y="1421"/>
                  <a:pt x="3210" y="1422"/>
                </a:cubicBezTo>
                <a:cubicBezTo>
                  <a:pt x="3209" y="1421"/>
                  <a:pt x="3209" y="1421"/>
                  <a:pt x="3208" y="1419"/>
                </a:cubicBezTo>
                <a:cubicBezTo>
                  <a:pt x="3208" y="1419"/>
                  <a:pt x="3208" y="1419"/>
                  <a:pt x="3207" y="1420"/>
                </a:cubicBezTo>
                <a:close/>
                <a:moveTo>
                  <a:pt x="3212" y="1419"/>
                </a:moveTo>
                <a:cubicBezTo>
                  <a:pt x="3212" y="1419"/>
                  <a:pt x="3211" y="1419"/>
                  <a:pt x="3211" y="1419"/>
                </a:cubicBezTo>
                <a:cubicBezTo>
                  <a:pt x="3210" y="1419"/>
                  <a:pt x="3209" y="1419"/>
                  <a:pt x="3209" y="1420"/>
                </a:cubicBezTo>
                <a:cubicBezTo>
                  <a:pt x="3209" y="1420"/>
                  <a:pt x="3210" y="1421"/>
                  <a:pt x="3210" y="1421"/>
                </a:cubicBezTo>
                <a:cubicBezTo>
                  <a:pt x="3211" y="1421"/>
                  <a:pt x="3211" y="1420"/>
                  <a:pt x="3212" y="1419"/>
                </a:cubicBezTo>
                <a:close/>
                <a:moveTo>
                  <a:pt x="3194" y="1409"/>
                </a:moveTo>
                <a:cubicBezTo>
                  <a:pt x="3187" y="1409"/>
                  <a:pt x="3184" y="1411"/>
                  <a:pt x="3183" y="1419"/>
                </a:cubicBezTo>
                <a:cubicBezTo>
                  <a:pt x="3184" y="1417"/>
                  <a:pt x="3186" y="1415"/>
                  <a:pt x="3187" y="1412"/>
                </a:cubicBezTo>
                <a:cubicBezTo>
                  <a:pt x="3187" y="1412"/>
                  <a:pt x="3187" y="1412"/>
                  <a:pt x="3187" y="1412"/>
                </a:cubicBezTo>
                <a:cubicBezTo>
                  <a:pt x="3187" y="1414"/>
                  <a:pt x="3188" y="1414"/>
                  <a:pt x="3188" y="1415"/>
                </a:cubicBezTo>
                <a:cubicBezTo>
                  <a:pt x="3189" y="1412"/>
                  <a:pt x="3190" y="1410"/>
                  <a:pt x="3194" y="1409"/>
                </a:cubicBezTo>
                <a:close/>
                <a:moveTo>
                  <a:pt x="3237" y="1411"/>
                </a:moveTo>
                <a:cubicBezTo>
                  <a:pt x="3236" y="1412"/>
                  <a:pt x="3234" y="1414"/>
                  <a:pt x="3232" y="1415"/>
                </a:cubicBezTo>
                <a:cubicBezTo>
                  <a:pt x="3234" y="1416"/>
                  <a:pt x="3236" y="1414"/>
                  <a:pt x="3237" y="1411"/>
                </a:cubicBezTo>
                <a:close/>
                <a:moveTo>
                  <a:pt x="3204" y="1413"/>
                </a:moveTo>
                <a:cubicBezTo>
                  <a:pt x="3205" y="1412"/>
                  <a:pt x="3206" y="1410"/>
                  <a:pt x="3208" y="1409"/>
                </a:cubicBezTo>
                <a:cubicBezTo>
                  <a:pt x="3204" y="1410"/>
                  <a:pt x="3203" y="1411"/>
                  <a:pt x="3204" y="1413"/>
                </a:cubicBezTo>
                <a:close/>
                <a:moveTo>
                  <a:pt x="3214" y="1435"/>
                </a:moveTo>
                <a:cubicBezTo>
                  <a:pt x="3212" y="1435"/>
                  <a:pt x="3212" y="1436"/>
                  <a:pt x="3212" y="1437"/>
                </a:cubicBezTo>
                <a:cubicBezTo>
                  <a:pt x="3212" y="1436"/>
                  <a:pt x="3213" y="1435"/>
                  <a:pt x="3214" y="1435"/>
                </a:cubicBezTo>
                <a:close/>
                <a:moveTo>
                  <a:pt x="3212" y="1419"/>
                </a:moveTo>
                <a:cubicBezTo>
                  <a:pt x="3212" y="1419"/>
                  <a:pt x="3211" y="1418"/>
                  <a:pt x="3211" y="1418"/>
                </a:cubicBezTo>
                <a:cubicBezTo>
                  <a:pt x="3210" y="1418"/>
                  <a:pt x="3210" y="1419"/>
                  <a:pt x="3210" y="1419"/>
                </a:cubicBezTo>
                <a:cubicBezTo>
                  <a:pt x="3210" y="1420"/>
                  <a:pt x="3210" y="1420"/>
                  <a:pt x="3210" y="1421"/>
                </a:cubicBezTo>
                <a:cubicBezTo>
                  <a:pt x="3211" y="1420"/>
                  <a:pt x="3211" y="1420"/>
                  <a:pt x="3212" y="1419"/>
                </a:cubicBezTo>
                <a:close/>
                <a:moveTo>
                  <a:pt x="3504" y="1397"/>
                </a:moveTo>
                <a:cubicBezTo>
                  <a:pt x="3504" y="1397"/>
                  <a:pt x="3504" y="1397"/>
                  <a:pt x="3504" y="1397"/>
                </a:cubicBezTo>
                <a:cubicBezTo>
                  <a:pt x="3499" y="1397"/>
                  <a:pt x="3499" y="1397"/>
                  <a:pt x="3499" y="1397"/>
                </a:cubicBezTo>
                <a:cubicBezTo>
                  <a:pt x="3497" y="1398"/>
                  <a:pt x="3496" y="1400"/>
                  <a:pt x="3494" y="1400"/>
                </a:cubicBezTo>
                <a:cubicBezTo>
                  <a:pt x="3492" y="1402"/>
                  <a:pt x="3490" y="1402"/>
                  <a:pt x="3488" y="1403"/>
                </a:cubicBezTo>
                <a:cubicBezTo>
                  <a:pt x="3486" y="1405"/>
                  <a:pt x="3485" y="1405"/>
                  <a:pt x="3483" y="1406"/>
                </a:cubicBezTo>
                <a:cubicBezTo>
                  <a:pt x="3481" y="1407"/>
                  <a:pt x="3479" y="1408"/>
                  <a:pt x="3477" y="1408"/>
                </a:cubicBezTo>
                <a:cubicBezTo>
                  <a:pt x="3477" y="1408"/>
                  <a:pt x="3477" y="1408"/>
                  <a:pt x="3477" y="1418"/>
                </a:cubicBezTo>
                <a:cubicBezTo>
                  <a:pt x="3480" y="1417"/>
                  <a:pt x="3483" y="1416"/>
                  <a:pt x="3486" y="1415"/>
                </a:cubicBezTo>
                <a:cubicBezTo>
                  <a:pt x="3488" y="1414"/>
                  <a:pt x="3491" y="1413"/>
                  <a:pt x="3492" y="1411"/>
                </a:cubicBezTo>
                <a:cubicBezTo>
                  <a:pt x="3492" y="1411"/>
                  <a:pt x="3492" y="1411"/>
                  <a:pt x="3492" y="1470"/>
                </a:cubicBezTo>
                <a:cubicBezTo>
                  <a:pt x="3492" y="1470"/>
                  <a:pt x="3492" y="1470"/>
                  <a:pt x="3504" y="1470"/>
                </a:cubicBezTo>
                <a:cubicBezTo>
                  <a:pt x="3504" y="1470"/>
                  <a:pt x="3504" y="1470"/>
                  <a:pt x="3504" y="1397"/>
                </a:cubicBezTo>
                <a:close/>
                <a:moveTo>
                  <a:pt x="3625" y="1397"/>
                </a:moveTo>
                <a:cubicBezTo>
                  <a:pt x="3625" y="1397"/>
                  <a:pt x="3625" y="1397"/>
                  <a:pt x="3625" y="1397"/>
                </a:cubicBezTo>
                <a:cubicBezTo>
                  <a:pt x="3620" y="1397"/>
                  <a:pt x="3620" y="1397"/>
                  <a:pt x="3620" y="1397"/>
                </a:cubicBezTo>
                <a:cubicBezTo>
                  <a:pt x="3618" y="1398"/>
                  <a:pt x="3617" y="1400"/>
                  <a:pt x="3614" y="1400"/>
                </a:cubicBezTo>
                <a:cubicBezTo>
                  <a:pt x="3613" y="1402"/>
                  <a:pt x="3611" y="1402"/>
                  <a:pt x="3609" y="1403"/>
                </a:cubicBezTo>
                <a:cubicBezTo>
                  <a:pt x="3608" y="1405"/>
                  <a:pt x="3606" y="1405"/>
                  <a:pt x="3604" y="1406"/>
                </a:cubicBezTo>
                <a:cubicBezTo>
                  <a:pt x="3602" y="1407"/>
                  <a:pt x="3601" y="1408"/>
                  <a:pt x="3598" y="1408"/>
                </a:cubicBezTo>
                <a:cubicBezTo>
                  <a:pt x="3598" y="1408"/>
                  <a:pt x="3598" y="1408"/>
                  <a:pt x="3598" y="1418"/>
                </a:cubicBezTo>
                <a:cubicBezTo>
                  <a:pt x="3601" y="1417"/>
                  <a:pt x="3604" y="1416"/>
                  <a:pt x="3607" y="1415"/>
                </a:cubicBezTo>
                <a:cubicBezTo>
                  <a:pt x="3609" y="1414"/>
                  <a:pt x="3611" y="1413"/>
                  <a:pt x="3614" y="1411"/>
                </a:cubicBezTo>
                <a:cubicBezTo>
                  <a:pt x="3614" y="1411"/>
                  <a:pt x="3614" y="1411"/>
                  <a:pt x="3614" y="1470"/>
                </a:cubicBezTo>
                <a:cubicBezTo>
                  <a:pt x="3614" y="1470"/>
                  <a:pt x="3614" y="1470"/>
                  <a:pt x="3625" y="1470"/>
                </a:cubicBezTo>
                <a:cubicBezTo>
                  <a:pt x="3625" y="1470"/>
                  <a:pt x="3625" y="1470"/>
                  <a:pt x="3625" y="1397"/>
                </a:cubicBezTo>
                <a:close/>
                <a:moveTo>
                  <a:pt x="3672" y="1397"/>
                </a:moveTo>
                <a:cubicBezTo>
                  <a:pt x="3672" y="1397"/>
                  <a:pt x="3672" y="1397"/>
                  <a:pt x="3672" y="1397"/>
                </a:cubicBezTo>
                <a:cubicBezTo>
                  <a:pt x="3667" y="1397"/>
                  <a:pt x="3667" y="1397"/>
                  <a:pt x="3667" y="1397"/>
                </a:cubicBezTo>
                <a:cubicBezTo>
                  <a:pt x="3665" y="1398"/>
                  <a:pt x="3664" y="1400"/>
                  <a:pt x="3661" y="1400"/>
                </a:cubicBezTo>
                <a:cubicBezTo>
                  <a:pt x="3660" y="1402"/>
                  <a:pt x="3658" y="1402"/>
                  <a:pt x="3656" y="1403"/>
                </a:cubicBezTo>
                <a:cubicBezTo>
                  <a:pt x="3655" y="1405"/>
                  <a:pt x="3653" y="1405"/>
                  <a:pt x="3651" y="1406"/>
                </a:cubicBezTo>
                <a:cubicBezTo>
                  <a:pt x="3649" y="1407"/>
                  <a:pt x="3648" y="1408"/>
                  <a:pt x="3645" y="1408"/>
                </a:cubicBezTo>
                <a:cubicBezTo>
                  <a:pt x="3645" y="1408"/>
                  <a:pt x="3645" y="1408"/>
                  <a:pt x="3645" y="1418"/>
                </a:cubicBezTo>
                <a:cubicBezTo>
                  <a:pt x="3648" y="1417"/>
                  <a:pt x="3651" y="1416"/>
                  <a:pt x="3653" y="1415"/>
                </a:cubicBezTo>
                <a:cubicBezTo>
                  <a:pt x="3656" y="1414"/>
                  <a:pt x="3659" y="1413"/>
                  <a:pt x="3661" y="1411"/>
                </a:cubicBezTo>
                <a:cubicBezTo>
                  <a:pt x="3661" y="1411"/>
                  <a:pt x="3661" y="1411"/>
                  <a:pt x="3661" y="1470"/>
                </a:cubicBezTo>
                <a:cubicBezTo>
                  <a:pt x="3661" y="1470"/>
                  <a:pt x="3661" y="1470"/>
                  <a:pt x="3672" y="1470"/>
                </a:cubicBezTo>
                <a:cubicBezTo>
                  <a:pt x="3672" y="1470"/>
                  <a:pt x="3672" y="1470"/>
                  <a:pt x="3672" y="1397"/>
                </a:cubicBezTo>
                <a:close/>
                <a:moveTo>
                  <a:pt x="3718" y="1397"/>
                </a:moveTo>
                <a:cubicBezTo>
                  <a:pt x="3718" y="1397"/>
                  <a:pt x="3718" y="1397"/>
                  <a:pt x="3718" y="1397"/>
                </a:cubicBezTo>
                <a:cubicBezTo>
                  <a:pt x="3714" y="1397"/>
                  <a:pt x="3714" y="1397"/>
                  <a:pt x="3714" y="1397"/>
                </a:cubicBezTo>
                <a:cubicBezTo>
                  <a:pt x="3712" y="1398"/>
                  <a:pt x="3710" y="1400"/>
                  <a:pt x="3708" y="1400"/>
                </a:cubicBezTo>
                <a:cubicBezTo>
                  <a:pt x="3707" y="1402"/>
                  <a:pt x="3704" y="1402"/>
                  <a:pt x="3703" y="1403"/>
                </a:cubicBezTo>
                <a:cubicBezTo>
                  <a:pt x="3701" y="1404"/>
                  <a:pt x="3699" y="1405"/>
                  <a:pt x="3697" y="1405"/>
                </a:cubicBezTo>
                <a:cubicBezTo>
                  <a:pt x="3696" y="1406"/>
                  <a:pt x="3693" y="1407"/>
                  <a:pt x="3692" y="1408"/>
                </a:cubicBezTo>
                <a:cubicBezTo>
                  <a:pt x="3692" y="1408"/>
                  <a:pt x="3692" y="1408"/>
                  <a:pt x="3692" y="1418"/>
                </a:cubicBezTo>
                <a:cubicBezTo>
                  <a:pt x="3695" y="1417"/>
                  <a:pt x="3698" y="1416"/>
                  <a:pt x="3700" y="1415"/>
                </a:cubicBezTo>
                <a:cubicBezTo>
                  <a:pt x="3702" y="1414"/>
                  <a:pt x="3705" y="1413"/>
                  <a:pt x="3707" y="1411"/>
                </a:cubicBezTo>
                <a:cubicBezTo>
                  <a:pt x="3707" y="1411"/>
                  <a:pt x="3707" y="1411"/>
                  <a:pt x="3707" y="1470"/>
                </a:cubicBezTo>
                <a:cubicBezTo>
                  <a:pt x="3707" y="1470"/>
                  <a:pt x="3707" y="1470"/>
                  <a:pt x="3718" y="1470"/>
                </a:cubicBezTo>
                <a:cubicBezTo>
                  <a:pt x="3718" y="1470"/>
                  <a:pt x="3718" y="1470"/>
                  <a:pt x="3718" y="1397"/>
                </a:cubicBezTo>
                <a:close/>
                <a:moveTo>
                  <a:pt x="3524" y="1429"/>
                </a:moveTo>
                <a:cubicBezTo>
                  <a:pt x="3524" y="1429"/>
                  <a:pt x="3524" y="1429"/>
                  <a:pt x="3524" y="1429"/>
                </a:cubicBezTo>
                <a:cubicBezTo>
                  <a:pt x="3524" y="1437"/>
                  <a:pt x="3524" y="1437"/>
                  <a:pt x="3524" y="1437"/>
                </a:cubicBezTo>
                <a:cubicBezTo>
                  <a:pt x="3530" y="1438"/>
                  <a:pt x="3531" y="1441"/>
                  <a:pt x="3531" y="1443"/>
                </a:cubicBezTo>
                <a:cubicBezTo>
                  <a:pt x="3531" y="1445"/>
                  <a:pt x="3530" y="1448"/>
                  <a:pt x="3530" y="1450"/>
                </a:cubicBezTo>
                <a:cubicBezTo>
                  <a:pt x="3530" y="1453"/>
                  <a:pt x="3529" y="1455"/>
                  <a:pt x="3529" y="1457"/>
                </a:cubicBezTo>
                <a:cubicBezTo>
                  <a:pt x="3529" y="1467"/>
                  <a:pt x="3535" y="1470"/>
                  <a:pt x="3544" y="1470"/>
                </a:cubicBezTo>
                <a:cubicBezTo>
                  <a:pt x="3544" y="1470"/>
                  <a:pt x="3544" y="1470"/>
                  <a:pt x="3548" y="1470"/>
                </a:cubicBezTo>
                <a:cubicBezTo>
                  <a:pt x="3548" y="1470"/>
                  <a:pt x="3548" y="1470"/>
                  <a:pt x="3548" y="1461"/>
                </a:cubicBezTo>
                <a:cubicBezTo>
                  <a:pt x="3548" y="1461"/>
                  <a:pt x="3548" y="1461"/>
                  <a:pt x="3546" y="1461"/>
                </a:cubicBezTo>
                <a:cubicBezTo>
                  <a:pt x="3542" y="1461"/>
                  <a:pt x="3541" y="1459"/>
                  <a:pt x="3541" y="1455"/>
                </a:cubicBezTo>
                <a:cubicBezTo>
                  <a:pt x="3541" y="1454"/>
                  <a:pt x="3541" y="1452"/>
                  <a:pt x="3542" y="1450"/>
                </a:cubicBezTo>
                <a:cubicBezTo>
                  <a:pt x="3542" y="1449"/>
                  <a:pt x="3542" y="1447"/>
                  <a:pt x="3542" y="1444"/>
                </a:cubicBezTo>
                <a:cubicBezTo>
                  <a:pt x="3542" y="1437"/>
                  <a:pt x="3539" y="1434"/>
                  <a:pt x="3534" y="1433"/>
                </a:cubicBezTo>
                <a:cubicBezTo>
                  <a:pt x="3534" y="1433"/>
                  <a:pt x="3534" y="1433"/>
                  <a:pt x="3534" y="1433"/>
                </a:cubicBezTo>
                <a:cubicBezTo>
                  <a:pt x="3539" y="1432"/>
                  <a:pt x="3542" y="1429"/>
                  <a:pt x="3542" y="1422"/>
                </a:cubicBezTo>
                <a:cubicBezTo>
                  <a:pt x="3542" y="1419"/>
                  <a:pt x="3542" y="1417"/>
                  <a:pt x="3542" y="1416"/>
                </a:cubicBezTo>
                <a:cubicBezTo>
                  <a:pt x="3541" y="1414"/>
                  <a:pt x="3541" y="1412"/>
                  <a:pt x="3541" y="1411"/>
                </a:cubicBezTo>
                <a:cubicBezTo>
                  <a:pt x="3541" y="1407"/>
                  <a:pt x="3542" y="1405"/>
                  <a:pt x="3546" y="1405"/>
                </a:cubicBezTo>
                <a:cubicBezTo>
                  <a:pt x="3546" y="1405"/>
                  <a:pt x="3546" y="1405"/>
                  <a:pt x="3548" y="1405"/>
                </a:cubicBezTo>
                <a:cubicBezTo>
                  <a:pt x="3548" y="1405"/>
                  <a:pt x="3548" y="1405"/>
                  <a:pt x="3548" y="1396"/>
                </a:cubicBezTo>
                <a:cubicBezTo>
                  <a:pt x="3548" y="1396"/>
                  <a:pt x="3548" y="1396"/>
                  <a:pt x="3544" y="1396"/>
                </a:cubicBezTo>
                <a:cubicBezTo>
                  <a:pt x="3535" y="1396"/>
                  <a:pt x="3529" y="1400"/>
                  <a:pt x="3529" y="1408"/>
                </a:cubicBezTo>
                <a:cubicBezTo>
                  <a:pt x="3529" y="1411"/>
                  <a:pt x="3530" y="1413"/>
                  <a:pt x="3530" y="1416"/>
                </a:cubicBezTo>
                <a:cubicBezTo>
                  <a:pt x="3530" y="1418"/>
                  <a:pt x="3531" y="1421"/>
                  <a:pt x="3531" y="1423"/>
                </a:cubicBezTo>
                <a:cubicBezTo>
                  <a:pt x="3531" y="1425"/>
                  <a:pt x="3530" y="1429"/>
                  <a:pt x="3524" y="1429"/>
                </a:cubicBezTo>
                <a:close/>
                <a:moveTo>
                  <a:pt x="3579" y="1437"/>
                </a:moveTo>
                <a:cubicBezTo>
                  <a:pt x="3579" y="1437"/>
                  <a:pt x="3579" y="1437"/>
                  <a:pt x="3579" y="1437"/>
                </a:cubicBezTo>
                <a:cubicBezTo>
                  <a:pt x="3579" y="1429"/>
                  <a:pt x="3579" y="1429"/>
                  <a:pt x="3579" y="1429"/>
                </a:cubicBezTo>
                <a:cubicBezTo>
                  <a:pt x="3572" y="1429"/>
                  <a:pt x="3572" y="1425"/>
                  <a:pt x="3572" y="1423"/>
                </a:cubicBezTo>
                <a:cubicBezTo>
                  <a:pt x="3572" y="1421"/>
                  <a:pt x="3572" y="1418"/>
                  <a:pt x="3572" y="1416"/>
                </a:cubicBezTo>
                <a:cubicBezTo>
                  <a:pt x="3573" y="1413"/>
                  <a:pt x="3573" y="1411"/>
                  <a:pt x="3573" y="1408"/>
                </a:cubicBezTo>
                <a:cubicBezTo>
                  <a:pt x="3573" y="1400"/>
                  <a:pt x="3567" y="1396"/>
                  <a:pt x="3558" y="1396"/>
                </a:cubicBezTo>
                <a:cubicBezTo>
                  <a:pt x="3558" y="1396"/>
                  <a:pt x="3558" y="1396"/>
                  <a:pt x="3554" y="1396"/>
                </a:cubicBezTo>
                <a:cubicBezTo>
                  <a:pt x="3554" y="1396"/>
                  <a:pt x="3554" y="1396"/>
                  <a:pt x="3554" y="1405"/>
                </a:cubicBezTo>
                <a:cubicBezTo>
                  <a:pt x="3554" y="1405"/>
                  <a:pt x="3554" y="1405"/>
                  <a:pt x="3556" y="1405"/>
                </a:cubicBezTo>
                <a:cubicBezTo>
                  <a:pt x="3560" y="1405"/>
                  <a:pt x="3561" y="1407"/>
                  <a:pt x="3561" y="1411"/>
                </a:cubicBezTo>
                <a:cubicBezTo>
                  <a:pt x="3561" y="1412"/>
                  <a:pt x="3561" y="1414"/>
                  <a:pt x="3561" y="1416"/>
                </a:cubicBezTo>
                <a:cubicBezTo>
                  <a:pt x="3560" y="1417"/>
                  <a:pt x="3560" y="1419"/>
                  <a:pt x="3560" y="1422"/>
                </a:cubicBezTo>
                <a:cubicBezTo>
                  <a:pt x="3560" y="1429"/>
                  <a:pt x="3563" y="1432"/>
                  <a:pt x="3569" y="1433"/>
                </a:cubicBezTo>
                <a:cubicBezTo>
                  <a:pt x="3569" y="1433"/>
                  <a:pt x="3569" y="1433"/>
                  <a:pt x="3569" y="1433"/>
                </a:cubicBezTo>
                <a:cubicBezTo>
                  <a:pt x="3563" y="1434"/>
                  <a:pt x="3560" y="1437"/>
                  <a:pt x="3560" y="1444"/>
                </a:cubicBezTo>
                <a:cubicBezTo>
                  <a:pt x="3560" y="1447"/>
                  <a:pt x="3560" y="1449"/>
                  <a:pt x="3561" y="1450"/>
                </a:cubicBezTo>
                <a:cubicBezTo>
                  <a:pt x="3561" y="1452"/>
                  <a:pt x="3561" y="1454"/>
                  <a:pt x="3561" y="1455"/>
                </a:cubicBezTo>
                <a:cubicBezTo>
                  <a:pt x="3561" y="1459"/>
                  <a:pt x="3560" y="1461"/>
                  <a:pt x="3556" y="1461"/>
                </a:cubicBezTo>
                <a:cubicBezTo>
                  <a:pt x="3556" y="1461"/>
                  <a:pt x="3556" y="1461"/>
                  <a:pt x="3554" y="1461"/>
                </a:cubicBezTo>
                <a:cubicBezTo>
                  <a:pt x="3554" y="1461"/>
                  <a:pt x="3554" y="1461"/>
                  <a:pt x="3554" y="1470"/>
                </a:cubicBezTo>
                <a:cubicBezTo>
                  <a:pt x="3554" y="1470"/>
                  <a:pt x="3554" y="1470"/>
                  <a:pt x="3558" y="1470"/>
                </a:cubicBezTo>
                <a:cubicBezTo>
                  <a:pt x="3567" y="1470"/>
                  <a:pt x="3573" y="1467"/>
                  <a:pt x="3573" y="1457"/>
                </a:cubicBezTo>
                <a:cubicBezTo>
                  <a:pt x="3573" y="1455"/>
                  <a:pt x="3573" y="1453"/>
                  <a:pt x="3572" y="1450"/>
                </a:cubicBezTo>
                <a:cubicBezTo>
                  <a:pt x="3572" y="1448"/>
                  <a:pt x="3572" y="1445"/>
                  <a:pt x="3572" y="1443"/>
                </a:cubicBezTo>
                <a:cubicBezTo>
                  <a:pt x="3572" y="1441"/>
                  <a:pt x="3572" y="1438"/>
                  <a:pt x="3579" y="1437"/>
                </a:cubicBezTo>
                <a:close/>
                <a:moveTo>
                  <a:pt x="3762" y="1470"/>
                </a:moveTo>
                <a:cubicBezTo>
                  <a:pt x="3755" y="1470"/>
                  <a:pt x="3748" y="1467"/>
                  <a:pt x="3744" y="1461"/>
                </a:cubicBezTo>
                <a:cubicBezTo>
                  <a:pt x="3740" y="1455"/>
                  <a:pt x="3738" y="1446"/>
                  <a:pt x="3738" y="1434"/>
                </a:cubicBezTo>
                <a:cubicBezTo>
                  <a:pt x="3738" y="1421"/>
                  <a:pt x="3740" y="1411"/>
                  <a:pt x="3745" y="1404"/>
                </a:cubicBezTo>
                <a:cubicBezTo>
                  <a:pt x="3749" y="1398"/>
                  <a:pt x="3756" y="1394"/>
                  <a:pt x="3764" y="1394"/>
                </a:cubicBezTo>
                <a:cubicBezTo>
                  <a:pt x="3780" y="1394"/>
                  <a:pt x="3788" y="1407"/>
                  <a:pt x="3788" y="1432"/>
                </a:cubicBezTo>
                <a:cubicBezTo>
                  <a:pt x="3788" y="1445"/>
                  <a:pt x="3786" y="1454"/>
                  <a:pt x="3781" y="1461"/>
                </a:cubicBezTo>
                <a:cubicBezTo>
                  <a:pt x="3777" y="1467"/>
                  <a:pt x="3770" y="1470"/>
                  <a:pt x="3762" y="1470"/>
                </a:cubicBezTo>
                <a:close/>
                <a:moveTo>
                  <a:pt x="3764" y="1404"/>
                </a:moveTo>
                <a:cubicBezTo>
                  <a:pt x="3754" y="1404"/>
                  <a:pt x="3750" y="1414"/>
                  <a:pt x="3750" y="1434"/>
                </a:cubicBezTo>
                <a:cubicBezTo>
                  <a:pt x="3750" y="1452"/>
                  <a:pt x="3754" y="1461"/>
                  <a:pt x="3763" y="1461"/>
                </a:cubicBezTo>
                <a:cubicBezTo>
                  <a:pt x="3772" y="1461"/>
                  <a:pt x="3776" y="1452"/>
                  <a:pt x="3776" y="1433"/>
                </a:cubicBezTo>
                <a:cubicBezTo>
                  <a:pt x="3776" y="1413"/>
                  <a:pt x="3772" y="1404"/>
                  <a:pt x="3764" y="1404"/>
                </a:cubicBezTo>
                <a:close/>
                <a:moveTo>
                  <a:pt x="3833" y="1470"/>
                </a:moveTo>
                <a:cubicBezTo>
                  <a:pt x="3825" y="1470"/>
                  <a:pt x="3818" y="1467"/>
                  <a:pt x="3815" y="1461"/>
                </a:cubicBezTo>
                <a:cubicBezTo>
                  <a:pt x="3810" y="1455"/>
                  <a:pt x="3808" y="1446"/>
                  <a:pt x="3808" y="1434"/>
                </a:cubicBezTo>
                <a:cubicBezTo>
                  <a:pt x="3808" y="1421"/>
                  <a:pt x="3810" y="1411"/>
                  <a:pt x="3815" y="1404"/>
                </a:cubicBezTo>
                <a:cubicBezTo>
                  <a:pt x="3819" y="1398"/>
                  <a:pt x="3826" y="1394"/>
                  <a:pt x="3835" y="1394"/>
                </a:cubicBezTo>
                <a:cubicBezTo>
                  <a:pt x="3851" y="1394"/>
                  <a:pt x="3859" y="1407"/>
                  <a:pt x="3859" y="1432"/>
                </a:cubicBezTo>
                <a:cubicBezTo>
                  <a:pt x="3859" y="1445"/>
                  <a:pt x="3857" y="1454"/>
                  <a:pt x="3852" y="1461"/>
                </a:cubicBezTo>
                <a:cubicBezTo>
                  <a:pt x="3847" y="1467"/>
                  <a:pt x="3841" y="1470"/>
                  <a:pt x="3833" y="1470"/>
                </a:cubicBezTo>
                <a:close/>
                <a:moveTo>
                  <a:pt x="3834" y="1404"/>
                </a:moveTo>
                <a:cubicBezTo>
                  <a:pt x="3825" y="1404"/>
                  <a:pt x="3820" y="1414"/>
                  <a:pt x="3820" y="1434"/>
                </a:cubicBezTo>
                <a:cubicBezTo>
                  <a:pt x="3820" y="1452"/>
                  <a:pt x="3824" y="1461"/>
                  <a:pt x="3833" y="1461"/>
                </a:cubicBezTo>
                <a:cubicBezTo>
                  <a:pt x="3842" y="1461"/>
                  <a:pt x="3847" y="1452"/>
                  <a:pt x="3847" y="1433"/>
                </a:cubicBezTo>
                <a:cubicBezTo>
                  <a:pt x="3847" y="1413"/>
                  <a:pt x="3842" y="1404"/>
                  <a:pt x="3834" y="1404"/>
                </a:cubicBezTo>
                <a:close/>
                <a:moveTo>
                  <a:pt x="1978" y="1493"/>
                </a:moveTo>
                <a:cubicBezTo>
                  <a:pt x="1978" y="1493"/>
                  <a:pt x="1978" y="1493"/>
                  <a:pt x="1978" y="1493"/>
                </a:cubicBezTo>
                <a:cubicBezTo>
                  <a:pt x="1973" y="1493"/>
                  <a:pt x="1973" y="1493"/>
                  <a:pt x="1973" y="1493"/>
                </a:cubicBezTo>
                <a:cubicBezTo>
                  <a:pt x="1971" y="1494"/>
                  <a:pt x="1969" y="1496"/>
                  <a:pt x="1967" y="1496"/>
                </a:cubicBezTo>
                <a:cubicBezTo>
                  <a:pt x="1966" y="1498"/>
                  <a:pt x="1964" y="1498"/>
                  <a:pt x="1962" y="1499"/>
                </a:cubicBezTo>
                <a:cubicBezTo>
                  <a:pt x="1960" y="1501"/>
                  <a:pt x="1958" y="1501"/>
                  <a:pt x="1957" y="1502"/>
                </a:cubicBezTo>
                <a:cubicBezTo>
                  <a:pt x="1955" y="1503"/>
                  <a:pt x="1953" y="1504"/>
                  <a:pt x="1951" y="1504"/>
                </a:cubicBezTo>
                <a:cubicBezTo>
                  <a:pt x="1951" y="1504"/>
                  <a:pt x="1951" y="1504"/>
                  <a:pt x="1951" y="1514"/>
                </a:cubicBezTo>
                <a:cubicBezTo>
                  <a:pt x="1954" y="1513"/>
                  <a:pt x="1957" y="1512"/>
                  <a:pt x="1960" y="1511"/>
                </a:cubicBezTo>
                <a:cubicBezTo>
                  <a:pt x="1962" y="1510"/>
                  <a:pt x="1964" y="1509"/>
                  <a:pt x="1966" y="1507"/>
                </a:cubicBezTo>
                <a:cubicBezTo>
                  <a:pt x="1966" y="1507"/>
                  <a:pt x="1966" y="1507"/>
                  <a:pt x="1966" y="1566"/>
                </a:cubicBezTo>
                <a:cubicBezTo>
                  <a:pt x="1966" y="1566"/>
                  <a:pt x="1966" y="1566"/>
                  <a:pt x="1978" y="1566"/>
                </a:cubicBezTo>
                <a:cubicBezTo>
                  <a:pt x="1978" y="1566"/>
                  <a:pt x="1978" y="1566"/>
                  <a:pt x="1978" y="1493"/>
                </a:cubicBezTo>
                <a:close/>
                <a:moveTo>
                  <a:pt x="2025" y="1493"/>
                </a:moveTo>
                <a:cubicBezTo>
                  <a:pt x="2025" y="1493"/>
                  <a:pt x="2025" y="1493"/>
                  <a:pt x="2025" y="1493"/>
                </a:cubicBezTo>
                <a:cubicBezTo>
                  <a:pt x="2020" y="1493"/>
                  <a:pt x="2020" y="1493"/>
                  <a:pt x="2020" y="1493"/>
                </a:cubicBezTo>
                <a:cubicBezTo>
                  <a:pt x="2018" y="1494"/>
                  <a:pt x="2017" y="1496"/>
                  <a:pt x="2015" y="1496"/>
                </a:cubicBezTo>
                <a:cubicBezTo>
                  <a:pt x="2013" y="1498"/>
                  <a:pt x="2011" y="1498"/>
                  <a:pt x="2009" y="1499"/>
                </a:cubicBezTo>
                <a:cubicBezTo>
                  <a:pt x="2008" y="1501"/>
                  <a:pt x="2006" y="1501"/>
                  <a:pt x="2004" y="1502"/>
                </a:cubicBezTo>
                <a:cubicBezTo>
                  <a:pt x="2002" y="1503"/>
                  <a:pt x="2001" y="1504"/>
                  <a:pt x="1999" y="1504"/>
                </a:cubicBezTo>
                <a:cubicBezTo>
                  <a:pt x="1999" y="1504"/>
                  <a:pt x="1999" y="1504"/>
                  <a:pt x="1999" y="1514"/>
                </a:cubicBezTo>
                <a:cubicBezTo>
                  <a:pt x="2001" y="1513"/>
                  <a:pt x="2004" y="1512"/>
                  <a:pt x="2007" y="1511"/>
                </a:cubicBezTo>
                <a:cubicBezTo>
                  <a:pt x="2009" y="1510"/>
                  <a:pt x="2012" y="1509"/>
                  <a:pt x="2014" y="1507"/>
                </a:cubicBezTo>
                <a:cubicBezTo>
                  <a:pt x="2014" y="1507"/>
                  <a:pt x="2014" y="1507"/>
                  <a:pt x="2014" y="1566"/>
                </a:cubicBezTo>
                <a:cubicBezTo>
                  <a:pt x="2014" y="1566"/>
                  <a:pt x="2014" y="1566"/>
                  <a:pt x="2025" y="1566"/>
                </a:cubicBezTo>
                <a:cubicBezTo>
                  <a:pt x="2025" y="1566"/>
                  <a:pt x="2025" y="1566"/>
                  <a:pt x="2025" y="1493"/>
                </a:cubicBezTo>
                <a:close/>
                <a:moveTo>
                  <a:pt x="2072" y="1493"/>
                </a:moveTo>
                <a:cubicBezTo>
                  <a:pt x="2072" y="1493"/>
                  <a:pt x="2072" y="1493"/>
                  <a:pt x="2072" y="1493"/>
                </a:cubicBezTo>
                <a:cubicBezTo>
                  <a:pt x="2068" y="1493"/>
                  <a:pt x="2068" y="1493"/>
                  <a:pt x="2068" y="1493"/>
                </a:cubicBezTo>
                <a:cubicBezTo>
                  <a:pt x="2066" y="1494"/>
                  <a:pt x="2064" y="1496"/>
                  <a:pt x="2062" y="1496"/>
                </a:cubicBezTo>
                <a:cubicBezTo>
                  <a:pt x="2060" y="1498"/>
                  <a:pt x="2058" y="1498"/>
                  <a:pt x="2057" y="1499"/>
                </a:cubicBezTo>
                <a:cubicBezTo>
                  <a:pt x="2055" y="1500"/>
                  <a:pt x="2053" y="1501"/>
                  <a:pt x="2051" y="1501"/>
                </a:cubicBezTo>
                <a:cubicBezTo>
                  <a:pt x="2050" y="1502"/>
                  <a:pt x="2048" y="1503"/>
                  <a:pt x="2046" y="1504"/>
                </a:cubicBezTo>
                <a:cubicBezTo>
                  <a:pt x="2046" y="1504"/>
                  <a:pt x="2046" y="1504"/>
                  <a:pt x="2046" y="1514"/>
                </a:cubicBezTo>
                <a:cubicBezTo>
                  <a:pt x="2049" y="1513"/>
                  <a:pt x="2052" y="1512"/>
                  <a:pt x="2054" y="1511"/>
                </a:cubicBezTo>
                <a:cubicBezTo>
                  <a:pt x="2056" y="1510"/>
                  <a:pt x="2059" y="1509"/>
                  <a:pt x="2060" y="1507"/>
                </a:cubicBezTo>
                <a:cubicBezTo>
                  <a:pt x="2060" y="1507"/>
                  <a:pt x="2060" y="1507"/>
                  <a:pt x="2060" y="1566"/>
                </a:cubicBezTo>
                <a:cubicBezTo>
                  <a:pt x="2060" y="1566"/>
                  <a:pt x="2060" y="1566"/>
                  <a:pt x="2072" y="1566"/>
                </a:cubicBezTo>
                <a:cubicBezTo>
                  <a:pt x="2072" y="1566"/>
                  <a:pt x="2072" y="1566"/>
                  <a:pt x="2072" y="1493"/>
                </a:cubicBezTo>
                <a:close/>
                <a:moveTo>
                  <a:pt x="2117" y="1566"/>
                </a:moveTo>
                <a:cubicBezTo>
                  <a:pt x="2109" y="1566"/>
                  <a:pt x="2103" y="1563"/>
                  <a:pt x="2098" y="1557"/>
                </a:cubicBezTo>
                <a:cubicBezTo>
                  <a:pt x="2095" y="1551"/>
                  <a:pt x="2093" y="1542"/>
                  <a:pt x="2093" y="1530"/>
                </a:cubicBezTo>
                <a:cubicBezTo>
                  <a:pt x="2093" y="1517"/>
                  <a:pt x="2095" y="1507"/>
                  <a:pt x="2099" y="1500"/>
                </a:cubicBezTo>
                <a:cubicBezTo>
                  <a:pt x="2104" y="1494"/>
                  <a:pt x="2110" y="1490"/>
                  <a:pt x="2119" y="1490"/>
                </a:cubicBezTo>
                <a:cubicBezTo>
                  <a:pt x="2135" y="1490"/>
                  <a:pt x="2143" y="1503"/>
                  <a:pt x="2143" y="1528"/>
                </a:cubicBezTo>
                <a:cubicBezTo>
                  <a:pt x="2143" y="1541"/>
                  <a:pt x="2141" y="1550"/>
                  <a:pt x="2136" y="1557"/>
                </a:cubicBezTo>
                <a:cubicBezTo>
                  <a:pt x="2131" y="1563"/>
                  <a:pt x="2125" y="1566"/>
                  <a:pt x="2117" y="1566"/>
                </a:cubicBezTo>
                <a:close/>
                <a:moveTo>
                  <a:pt x="2118" y="1500"/>
                </a:moveTo>
                <a:cubicBezTo>
                  <a:pt x="2109" y="1500"/>
                  <a:pt x="2104" y="1510"/>
                  <a:pt x="2104" y="1530"/>
                </a:cubicBezTo>
                <a:cubicBezTo>
                  <a:pt x="2104" y="1548"/>
                  <a:pt x="2109" y="1557"/>
                  <a:pt x="2117" y="1557"/>
                </a:cubicBezTo>
                <a:cubicBezTo>
                  <a:pt x="2126" y="1557"/>
                  <a:pt x="2131" y="1548"/>
                  <a:pt x="2131" y="1529"/>
                </a:cubicBezTo>
                <a:cubicBezTo>
                  <a:pt x="2131" y="1509"/>
                  <a:pt x="2126" y="1500"/>
                  <a:pt x="2118" y="1500"/>
                </a:cubicBezTo>
                <a:close/>
                <a:moveTo>
                  <a:pt x="2188" y="1566"/>
                </a:moveTo>
                <a:cubicBezTo>
                  <a:pt x="2180" y="1566"/>
                  <a:pt x="2174" y="1563"/>
                  <a:pt x="2170" y="1557"/>
                </a:cubicBezTo>
                <a:cubicBezTo>
                  <a:pt x="2166" y="1551"/>
                  <a:pt x="2164" y="1542"/>
                  <a:pt x="2164" y="1530"/>
                </a:cubicBezTo>
                <a:cubicBezTo>
                  <a:pt x="2164" y="1517"/>
                  <a:pt x="2166" y="1507"/>
                  <a:pt x="2170" y="1500"/>
                </a:cubicBezTo>
                <a:cubicBezTo>
                  <a:pt x="2175" y="1494"/>
                  <a:pt x="2181" y="1490"/>
                  <a:pt x="2190" y="1490"/>
                </a:cubicBezTo>
                <a:cubicBezTo>
                  <a:pt x="2206" y="1490"/>
                  <a:pt x="2214" y="1503"/>
                  <a:pt x="2214" y="1528"/>
                </a:cubicBezTo>
                <a:cubicBezTo>
                  <a:pt x="2214" y="1541"/>
                  <a:pt x="2212" y="1550"/>
                  <a:pt x="2208" y="1557"/>
                </a:cubicBezTo>
                <a:cubicBezTo>
                  <a:pt x="2202" y="1563"/>
                  <a:pt x="2197" y="1566"/>
                  <a:pt x="2188" y="1566"/>
                </a:cubicBezTo>
                <a:close/>
                <a:moveTo>
                  <a:pt x="2189" y="1500"/>
                </a:moveTo>
                <a:cubicBezTo>
                  <a:pt x="2180" y="1500"/>
                  <a:pt x="2175" y="1510"/>
                  <a:pt x="2175" y="1530"/>
                </a:cubicBezTo>
                <a:cubicBezTo>
                  <a:pt x="2175" y="1548"/>
                  <a:pt x="2180" y="1557"/>
                  <a:pt x="2189" y="1557"/>
                </a:cubicBezTo>
                <a:cubicBezTo>
                  <a:pt x="2197" y="1557"/>
                  <a:pt x="2202" y="1548"/>
                  <a:pt x="2202" y="1529"/>
                </a:cubicBezTo>
                <a:cubicBezTo>
                  <a:pt x="2202" y="1509"/>
                  <a:pt x="2197" y="1500"/>
                  <a:pt x="2189" y="1500"/>
                </a:cubicBezTo>
                <a:close/>
                <a:moveTo>
                  <a:pt x="2400" y="1566"/>
                </a:moveTo>
                <a:cubicBezTo>
                  <a:pt x="2393" y="1566"/>
                  <a:pt x="2387" y="1563"/>
                  <a:pt x="2383" y="1557"/>
                </a:cubicBezTo>
                <a:cubicBezTo>
                  <a:pt x="2379" y="1551"/>
                  <a:pt x="2376" y="1541"/>
                  <a:pt x="2376" y="1530"/>
                </a:cubicBezTo>
                <a:cubicBezTo>
                  <a:pt x="2376" y="1517"/>
                  <a:pt x="2379" y="1507"/>
                  <a:pt x="2383" y="1500"/>
                </a:cubicBezTo>
                <a:cubicBezTo>
                  <a:pt x="2387" y="1493"/>
                  <a:pt x="2394" y="1490"/>
                  <a:pt x="2403" y="1490"/>
                </a:cubicBezTo>
                <a:cubicBezTo>
                  <a:pt x="2419" y="1490"/>
                  <a:pt x="2427" y="1503"/>
                  <a:pt x="2427" y="1527"/>
                </a:cubicBezTo>
                <a:cubicBezTo>
                  <a:pt x="2427" y="1541"/>
                  <a:pt x="2425" y="1550"/>
                  <a:pt x="2420" y="1557"/>
                </a:cubicBezTo>
                <a:cubicBezTo>
                  <a:pt x="2415" y="1563"/>
                  <a:pt x="2409" y="1566"/>
                  <a:pt x="2400" y="1566"/>
                </a:cubicBezTo>
                <a:close/>
                <a:moveTo>
                  <a:pt x="2402" y="1500"/>
                </a:moveTo>
                <a:cubicBezTo>
                  <a:pt x="2393" y="1500"/>
                  <a:pt x="2389" y="1509"/>
                  <a:pt x="2389" y="1529"/>
                </a:cubicBezTo>
                <a:cubicBezTo>
                  <a:pt x="2389" y="1547"/>
                  <a:pt x="2393" y="1557"/>
                  <a:pt x="2402" y="1557"/>
                </a:cubicBezTo>
                <a:cubicBezTo>
                  <a:pt x="2410" y="1557"/>
                  <a:pt x="2414" y="1547"/>
                  <a:pt x="2414" y="1529"/>
                </a:cubicBezTo>
                <a:cubicBezTo>
                  <a:pt x="2414" y="1509"/>
                  <a:pt x="2411" y="1500"/>
                  <a:pt x="2402" y="1500"/>
                </a:cubicBezTo>
                <a:close/>
                <a:moveTo>
                  <a:pt x="2519" y="1566"/>
                </a:moveTo>
                <a:cubicBezTo>
                  <a:pt x="2511" y="1566"/>
                  <a:pt x="2505" y="1563"/>
                  <a:pt x="2501" y="1557"/>
                </a:cubicBezTo>
                <a:cubicBezTo>
                  <a:pt x="2497" y="1551"/>
                  <a:pt x="2494" y="1541"/>
                  <a:pt x="2494" y="1530"/>
                </a:cubicBezTo>
                <a:cubicBezTo>
                  <a:pt x="2494" y="1517"/>
                  <a:pt x="2497" y="1507"/>
                  <a:pt x="2501" y="1500"/>
                </a:cubicBezTo>
                <a:cubicBezTo>
                  <a:pt x="2505" y="1493"/>
                  <a:pt x="2512" y="1490"/>
                  <a:pt x="2521" y="1490"/>
                </a:cubicBezTo>
                <a:cubicBezTo>
                  <a:pt x="2537" y="1490"/>
                  <a:pt x="2545" y="1503"/>
                  <a:pt x="2545" y="1527"/>
                </a:cubicBezTo>
                <a:cubicBezTo>
                  <a:pt x="2545" y="1541"/>
                  <a:pt x="2543" y="1550"/>
                  <a:pt x="2538" y="1557"/>
                </a:cubicBezTo>
                <a:cubicBezTo>
                  <a:pt x="2533" y="1563"/>
                  <a:pt x="2527" y="1566"/>
                  <a:pt x="2519" y="1566"/>
                </a:cubicBezTo>
                <a:close/>
                <a:moveTo>
                  <a:pt x="2520" y="1500"/>
                </a:moveTo>
                <a:cubicBezTo>
                  <a:pt x="2511" y="1500"/>
                  <a:pt x="2507" y="1509"/>
                  <a:pt x="2507" y="1529"/>
                </a:cubicBezTo>
                <a:cubicBezTo>
                  <a:pt x="2507" y="1547"/>
                  <a:pt x="2511" y="1557"/>
                  <a:pt x="2520" y="1557"/>
                </a:cubicBezTo>
                <a:cubicBezTo>
                  <a:pt x="2528" y="1557"/>
                  <a:pt x="2532" y="1547"/>
                  <a:pt x="2532" y="1529"/>
                </a:cubicBezTo>
                <a:cubicBezTo>
                  <a:pt x="2532" y="1509"/>
                  <a:pt x="2529" y="1500"/>
                  <a:pt x="2520" y="1500"/>
                </a:cubicBezTo>
                <a:close/>
                <a:moveTo>
                  <a:pt x="2474" y="1493"/>
                </a:moveTo>
                <a:cubicBezTo>
                  <a:pt x="2474" y="1493"/>
                  <a:pt x="2474" y="1493"/>
                  <a:pt x="2474" y="1493"/>
                </a:cubicBezTo>
                <a:cubicBezTo>
                  <a:pt x="2469" y="1493"/>
                  <a:pt x="2469" y="1493"/>
                  <a:pt x="2469" y="1493"/>
                </a:cubicBezTo>
                <a:cubicBezTo>
                  <a:pt x="2467" y="1494"/>
                  <a:pt x="2465" y="1496"/>
                  <a:pt x="2463" y="1496"/>
                </a:cubicBezTo>
                <a:cubicBezTo>
                  <a:pt x="2462" y="1498"/>
                  <a:pt x="2460" y="1498"/>
                  <a:pt x="2458" y="1499"/>
                </a:cubicBezTo>
                <a:cubicBezTo>
                  <a:pt x="2457" y="1500"/>
                  <a:pt x="2455" y="1501"/>
                  <a:pt x="2453" y="1501"/>
                </a:cubicBezTo>
                <a:cubicBezTo>
                  <a:pt x="2451" y="1502"/>
                  <a:pt x="2450" y="1503"/>
                  <a:pt x="2447" y="1504"/>
                </a:cubicBezTo>
                <a:cubicBezTo>
                  <a:pt x="2447" y="1504"/>
                  <a:pt x="2447" y="1504"/>
                  <a:pt x="2447" y="1514"/>
                </a:cubicBezTo>
                <a:cubicBezTo>
                  <a:pt x="2450" y="1513"/>
                  <a:pt x="2453" y="1512"/>
                  <a:pt x="2455" y="1511"/>
                </a:cubicBezTo>
                <a:cubicBezTo>
                  <a:pt x="2458" y="1510"/>
                  <a:pt x="2460" y="1509"/>
                  <a:pt x="2462" y="1507"/>
                </a:cubicBezTo>
                <a:cubicBezTo>
                  <a:pt x="2462" y="1507"/>
                  <a:pt x="2462" y="1507"/>
                  <a:pt x="2462" y="1566"/>
                </a:cubicBezTo>
                <a:cubicBezTo>
                  <a:pt x="2462" y="1566"/>
                  <a:pt x="2462" y="1566"/>
                  <a:pt x="2474" y="1566"/>
                </a:cubicBezTo>
                <a:cubicBezTo>
                  <a:pt x="2474" y="1566"/>
                  <a:pt x="2474" y="1566"/>
                  <a:pt x="2474" y="1493"/>
                </a:cubicBezTo>
                <a:close/>
                <a:moveTo>
                  <a:pt x="2590" y="1566"/>
                </a:moveTo>
                <a:cubicBezTo>
                  <a:pt x="2582" y="1566"/>
                  <a:pt x="2576" y="1563"/>
                  <a:pt x="2572" y="1557"/>
                </a:cubicBezTo>
                <a:cubicBezTo>
                  <a:pt x="2568" y="1551"/>
                  <a:pt x="2565" y="1542"/>
                  <a:pt x="2565" y="1530"/>
                </a:cubicBezTo>
                <a:cubicBezTo>
                  <a:pt x="2565" y="1517"/>
                  <a:pt x="2568" y="1507"/>
                  <a:pt x="2572" y="1500"/>
                </a:cubicBezTo>
                <a:cubicBezTo>
                  <a:pt x="2576" y="1494"/>
                  <a:pt x="2583" y="1490"/>
                  <a:pt x="2592" y="1490"/>
                </a:cubicBezTo>
                <a:cubicBezTo>
                  <a:pt x="2608" y="1490"/>
                  <a:pt x="2616" y="1503"/>
                  <a:pt x="2616" y="1528"/>
                </a:cubicBezTo>
                <a:cubicBezTo>
                  <a:pt x="2616" y="1541"/>
                  <a:pt x="2614" y="1550"/>
                  <a:pt x="2609" y="1557"/>
                </a:cubicBezTo>
                <a:cubicBezTo>
                  <a:pt x="2604" y="1563"/>
                  <a:pt x="2598" y="1566"/>
                  <a:pt x="2590" y="1566"/>
                </a:cubicBezTo>
                <a:close/>
                <a:moveTo>
                  <a:pt x="2591" y="1500"/>
                </a:moveTo>
                <a:cubicBezTo>
                  <a:pt x="2582" y="1500"/>
                  <a:pt x="2577" y="1510"/>
                  <a:pt x="2577" y="1530"/>
                </a:cubicBezTo>
                <a:cubicBezTo>
                  <a:pt x="2577" y="1548"/>
                  <a:pt x="2582" y="1557"/>
                  <a:pt x="2590" y="1557"/>
                </a:cubicBezTo>
                <a:cubicBezTo>
                  <a:pt x="2599" y="1557"/>
                  <a:pt x="2603" y="1548"/>
                  <a:pt x="2603" y="1529"/>
                </a:cubicBezTo>
                <a:cubicBezTo>
                  <a:pt x="2603" y="1509"/>
                  <a:pt x="2599" y="1500"/>
                  <a:pt x="2591" y="1500"/>
                </a:cubicBezTo>
                <a:close/>
                <a:moveTo>
                  <a:pt x="2637" y="1525"/>
                </a:moveTo>
                <a:cubicBezTo>
                  <a:pt x="2637" y="1525"/>
                  <a:pt x="2637" y="1525"/>
                  <a:pt x="2637" y="1525"/>
                </a:cubicBezTo>
                <a:cubicBezTo>
                  <a:pt x="2636" y="1533"/>
                  <a:pt x="2636" y="1533"/>
                  <a:pt x="2636" y="1533"/>
                </a:cubicBezTo>
                <a:cubicBezTo>
                  <a:pt x="2643" y="1534"/>
                  <a:pt x="2644" y="1537"/>
                  <a:pt x="2644" y="1539"/>
                </a:cubicBezTo>
                <a:cubicBezTo>
                  <a:pt x="2644" y="1541"/>
                  <a:pt x="2643" y="1544"/>
                  <a:pt x="2643" y="1546"/>
                </a:cubicBezTo>
                <a:cubicBezTo>
                  <a:pt x="2643" y="1549"/>
                  <a:pt x="2642" y="1551"/>
                  <a:pt x="2642" y="1553"/>
                </a:cubicBezTo>
                <a:cubicBezTo>
                  <a:pt x="2642" y="1563"/>
                  <a:pt x="2648" y="1566"/>
                  <a:pt x="2657" y="1566"/>
                </a:cubicBezTo>
                <a:cubicBezTo>
                  <a:pt x="2657" y="1566"/>
                  <a:pt x="2657" y="1566"/>
                  <a:pt x="2660" y="1566"/>
                </a:cubicBezTo>
                <a:cubicBezTo>
                  <a:pt x="2660" y="1566"/>
                  <a:pt x="2660" y="1566"/>
                  <a:pt x="2660" y="1557"/>
                </a:cubicBezTo>
                <a:cubicBezTo>
                  <a:pt x="2660" y="1557"/>
                  <a:pt x="2660" y="1557"/>
                  <a:pt x="2659" y="1557"/>
                </a:cubicBezTo>
                <a:cubicBezTo>
                  <a:pt x="2655" y="1557"/>
                  <a:pt x="2654" y="1555"/>
                  <a:pt x="2654" y="1551"/>
                </a:cubicBezTo>
                <a:cubicBezTo>
                  <a:pt x="2654" y="1550"/>
                  <a:pt x="2654" y="1548"/>
                  <a:pt x="2655" y="1546"/>
                </a:cubicBezTo>
                <a:cubicBezTo>
                  <a:pt x="2655" y="1545"/>
                  <a:pt x="2655" y="1543"/>
                  <a:pt x="2655" y="1540"/>
                </a:cubicBezTo>
                <a:cubicBezTo>
                  <a:pt x="2655" y="1533"/>
                  <a:pt x="2652" y="1530"/>
                  <a:pt x="2646" y="1529"/>
                </a:cubicBezTo>
                <a:cubicBezTo>
                  <a:pt x="2646" y="1529"/>
                  <a:pt x="2646" y="1529"/>
                  <a:pt x="2646" y="1529"/>
                </a:cubicBezTo>
                <a:cubicBezTo>
                  <a:pt x="2652" y="1528"/>
                  <a:pt x="2655" y="1525"/>
                  <a:pt x="2655" y="1518"/>
                </a:cubicBezTo>
                <a:cubicBezTo>
                  <a:pt x="2655" y="1515"/>
                  <a:pt x="2655" y="1513"/>
                  <a:pt x="2655" y="1512"/>
                </a:cubicBezTo>
                <a:cubicBezTo>
                  <a:pt x="2654" y="1510"/>
                  <a:pt x="2654" y="1508"/>
                  <a:pt x="2654" y="1507"/>
                </a:cubicBezTo>
                <a:cubicBezTo>
                  <a:pt x="2654" y="1503"/>
                  <a:pt x="2655" y="1501"/>
                  <a:pt x="2659" y="1501"/>
                </a:cubicBezTo>
                <a:cubicBezTo>
                  <a:pt x="2659" y="1501"/>
                  <a:pt x="2659" y="1501"/>
                  <a:pt x="2660" y="1501"/>
                </a:cubicBezTo>
                <a:cubicBezTo>
                  <a:pt x="2660" y="1501"/>
                  <a:pt x="2660" y="1501"/>
                  <a:pt x="2660" y="1492"/>
                </a:cubicBezTo>
                <a:cubicBezTo>
                  <a:pt x="2660" y="1492"/>
                  <a:pt x="2660" y="1492"/>
                  <a:pt x="2657" y="1492"/>
                </a:cubicBezTo>
                <a:cubicBezTo>
                  <a:pt x="2648" y="1492"/>
                  <a:pt x="2642" y="1496"/>
                  <a:pt x="2642" y="1504"/>
                </a:cubicBezTo>
                <a:cubicBezTo>
                  <a:pt x="2642" y="1507"/>
                  <a:pt x="2643" y="1509"/>
                  <a:pt x="2643" y="1512"/>
                </a:cubicBezTo>
                <a:cubicBezTo>
                  <a:pt x="2643" y="1514"/>
                  <a:pt x="2644" y="1517"/>
                  <a:pt x="2644" y="1519"/>
                </a:cubicBezTo>
                <a:cubicBezTo>
                  <a:pt x="2644" y="1521"/>
                  <a:pt x="2643" y="1525"/>
                  <a:pt x="2637" y="1525"/>
                </a:cubicBezTo>
                <a:close/>
                <a:moveTo>
                  <a:pt x="2692" y="1533"/>
                </a:moveTo>
                <a:cubicBezTo>
                  <a:pt x="2692" y="1533"/>
                  <a:pt x="2692" y="1533"/>
                  <a:pt x="2692" y="1533"/>
                </a:cubicBezTo>
                <a:cubicBezTo>
                  <a:pt x="2692" y="1525"/>
                  <a:pt x="2692" y="1525"/>
                  <a:pt x="2692" y="1525"/>
                </a:cubicBezTo>
                <a:cubicBezTo>
                  <a:pt x="2685" y="1525"/>
                  <a:pt x="2685" y="1521"/>
                  <a:pt x="2685" y="1519"/>
                </a:cubicBezTo>
                <a:cubicBezTo>
                  <a:pt x="2685" y="1517"/>
                  <a:pt x="2685" y="1514"/>
                  <a:pt x="2685" y="1512"/>
                </a:cubicBezTo>
                <a:cubicBezTo>
                  <a:pt x="2686" y="1509"/>
                  <a:pt x="2686" y="1507"/>
                  <a:pt x="2686" y="1504"/>
                </a:cubicBezTo>
                <a:cubicBezTo>
                  <a:pt x="2686" y="1496"/>
                  <a:pt x="2681" y="1492"/>
                  <a:pt x="2671" y="1492"/>
                </a:cubicBezTo>
                <a:cubicBezTo>
                  <a:pt x="2671" y="1492"/>
                  <a:pt x="2671" y="1492"/>
                  <a:pt x="2668" y="1492"/>
                </a:cubicBezTo>
                <a:cubicBezTo>
                  <a:pt x="2668" y="1492"/>
                  <a:pt x="2668" y="1492"/>
                  <a:pt x="2668" y="1501"/>
                </a:cubicBezTo>
                <a:cubicBezTo>
                  <a:pt x="2668" y="1501"/>
                  <a:pt x="2668" y="1501"/>
                  <a:pt x="2669" y="1501"/>
                </a:cubicBezTo>
                <a:cubicBezTo>
                  <a:pt x="2673" y="1501"/>
                  <a:pt x="2674" y="1503"/>
                  <a:pt x="2674" y="1507"/>
                </a:cubicBezTo>
                <a:cubicBezTo>
                  <a:pt x="2674" y="1508"/>
                  <a:pt x="2674" y="1510"/>
                  <a:pt x="2674" y="1512"/>
                </a:cubicBezTo>
                <a:cubicBezTo>
                  <a:pt x="2674" y="1513"/>
                  <a:pt x="2674" y="1515"/>
                  <a:pt x="2674" y="1518"/>
                </a:cubicBezTo>
                <a:cubicBezTo>
                  <a:pt x="2674" y="1525"/>
                  <a:pt x="2676" y="1528"/>
                  <a:pt x="2682" y="1529"/>
                </a:cubicBezTo>
                <a:cubicBezTo>
                  <a:pt x="2682" y="1529"/>
                  <a:pt x="2682" y="1529"/>
                  <a:pt x="2682" y="1529"/>
                </a:cubicBezTo>
                <a:cubicBezTo>
                  <a:pt x="2676" y="1530"/>
                  <a:pt x="2674" y="1533"/>
                  <a:pt x="2674" y="1540"/>
                </a:cubicBezTo>
                <a:cubicBezTo>
                  <a:pt x="2674" y="1543"/>
                  <a:pt x="2674" y="1545"/>
                  <a:pt x="2674" y="1546"/>
                </a:cubicBezTo>
                <a:cubicBezTo>
                  <a:pt x="2674" y="1548"/>
                  <a:pt x="2674" y="1550"/>
                  <a:pt x="2674" y="1551"/>
                </a:cubicBezTo>
                <a:cubicBezTo>
                  <a:pt x="2674" y="1555"/>
                  <a:pt x="2673" y="1557"/>
                  <a:pt x="2669" y="1557"/>
                </a:cubicBezTo>
                <a:cubicBezTo>
                  <a:pt x="2669" y="1557"/>
                  <a:pt x="2669" y="1557"/>
                  <a:pt x="2668" y="1557"/>
                </a:cubicBezTo>
                <a:cubicBezTo>
                  <a:pt x="2668" y="1557"/>
                  <a:pt x="2668" y="1557"/>
                  <a:pt x="2668" y="1566"/>
                </a:cubicBezTo>
                <a:cubicBezTo>
                  <a:pt x="2668" y="1566"/>
                  <a:pt x="2668" y="1566"/>
                  <a:pt x="2671" y="1566"/>
                </a:cubicBezTo>
                <a:cubicBezTo>
                  <a:pt x="2680" y="1566"/>
                  <a:pt x="2686" y="1563"/>
                  <a:pt x="2686" y="1553"/>
                </a:cubicBezTo>
                <a:cubicBezTo>
                  <a:pt x="2686" y="1551"/>
                  <a:pt x="2686" y="1549"/>
                  <a:pt x="2685" y="1546"/>
                </a:cubicBezTo>
                <a:cubicBezTo>
                  <a:pt x="2685" y="1544"/>
                  <a:pt x="2685" y="1541"/>
                  <a:pt x="2685" y="1539"/>
                </a:cubicBezTo>
                <a:cubicBezTo>
                  <a:pt x="2685" y="1537"/>
                  <a:pt x="2685" y="1534"/>
                  <a:pt x="2692" y="1533"/>
                </a:cubicBezTo>
                <a:close/>
                <a:moveTo>
                  <a:pt x="2812" y="1566"/>
                </a:moveTo>
                <a:cubicBezTo>
                  <a:pt x="2804" y="1566"/>
                  <a:pt x="2798" y="1563"/>
                  <a:pt x="2794" y="1557"/>
                </a:cubicBezTo>
                <a:cubicBezTo>
                  <a:pt x="2790" y="1551"/>
                  <a:pt x="2788" y="1542"/>
                  <a:pt x="2788" y="1530"/>
                </a:cubicBezTo>
                <a:cubicBezTo>
                  <a:pt x="2788" y="1517"/>
                  <a:pt x="2790" y="1507"/>
                  <a:pt x="2794" y="1500"/>
                </a:cubicBezTo>
                <a:cubicBezTo>
                  <a:pt x="2799" y="1494"/>
                  <a:pt x="2805" y="1490"/>
                  <a:pt x="2814" y="1490"/>
                </a:cubicBezTo>
                <a:cubicBezTo>
                  <a:pt x="2830" y="1490"/>
                  <a:pt x="2838" y="1503"/>
                  <a:pt x="2838" y="1528"/>
                </a:cubicBezTo>
                <a:cubicBezTo>
                  <a:pt x="2838" y="1541"/>
                  <a:pt x="2836" y="1550"/>
                  <a:pt x="2831" y="1557"/>
                </a:cubicBezTo>
                <a:cubicBezTo>
                  <a:pt x="2826" y="1563"/>
                  <a:pt x="2820" y="1566"/>
                  <a:pt x="2812" y="1566"/>
                </a:cubicBezTo>
                <a:close/>
                <a:moveTo>
                  <a:pt x="2813" y="1500"/>
                </a:moveTo>
                <a:cubicBezTo>
                  <a:pt x="2804" y="1500"/>
                  <a:pt x="2799" y="1510"/>
                  <a:pt x="2799" y="1530"/>
                </a:cubicBezTo>
                <a:cubicBezTo>
                  <a:pt x="2799" y="1548"/>
                  <a:pt x="2804" y="1557"/>
                  <a:pt x="2813" y="1557"/>
                </a:cubicBezTo>
                <a:cubicBezTo>
                  <a:pt x="2821" y="1557"/>
                  <a:pt x="2826" y="1548"/>
                  <a:pt x="2826" y="1529"/>
                </a:cubicBezTo>
                <a:cubicBezTo>
                  <a:pt x="2826" y="1509"/>
                  <a:pt x="2821" y="1500"/>
                  <a:pt x="2813" y="1500"/>
                </a:cubicBezTo>
                <a:close/>
                <a:moveTo>
                  <a:pt x="2886" y="1493"/>
                </a:moveTo>
                <a:cubicBezTo>
                  <a:pt x="2886" y="1493"/>
                  <a:pt x="2886" y="1493"/>
                  <a:pt x="2886" y="1493"/>
                </a:cubicBezTo>
                <a:cubicBezTo>
                  <a:pt x="2881" y="1493"/>
                  <a:pt x="2881" y="1493"/>
                  <a:pt x="2881" y="1493"/>
                </a:cubicBezTo>
                <a:cubicBezTo>
                  <a:pt x="2879" y="1494"/>
                  <a:pt x="2877" y="1496"/>
                  <a:pt x="2875" y="1496"/>
                </a:cubicBezTo>
                <a:cubicBezTo>
                  <a:pt x="2874" y="1498"/>
                  <a:pt x="2871" y="1498"/>
                  <a:pt x="2870" y="1499"/>
                </a:cubicBezTo>
                <a:cubicBezTo>
                  <a:pt x="2868" y="1500"/>
                  <a:pt x="2866" y="1501"/>
                  <a:pt x="2865" y="1501"/>
                </a:cubicBezTo>
                <a:cubicBezTo>
                  <a:pt x="2862" y="1502"/>
                  <a:pt x="2861" y="1503"/>
                  <a:pt x="2859" y="1504"/>
                </a:cubicBezTo>
                <a:cubicBezTo>
                  <a:pt x="2859" y="1504"/>
                  <a:pt x="2859" y="1504"/>
                  <a:pt x="2859" y="1514"/>
                </a:cubicBezTo>
                <a:cubicBezTo>
                  <a:pt x="2862" y="1513"/>
                  <a:pt x="2865" y="1512"/>
                  <a:pt x="2867" y="1511"/>
                </a:cubicBezTo>
                <a:cubicBezTo>
                  <a:pt x="2870" y="1510"/>
                  <a:pt x="2872" y="1509"/>
                  <a:pt x="2874" y="1507"/>
                </a:cubicBezTo>
                <a:cubicBezTo>
                  <a:pt x="2874" y="1507"/>
                  <a:pt x="2874" y="1507"/>
                  <a:pt x="2874" y="1566"/>
                </a:cubicBezTo>
                <a:cubicBezTo>
                  <a:pt x="2874" y="1566"/>
                  <a:pt x="2874" y="1566"/>
                  <a:pt x="2886" y="1566"/>
                </a:cubicBezTo>
                <a:cubicBezTo>
                  <a:pt x="2886" y="1566"/>
                  <a:pt x="2886" y="1566"/>
                  <a:pt x="2886" y="1493"/>
                </a:cubicBezTo>
                <a:close/>
                <a:moveTo>
                  <a:pt x="2718" y="1566"/>
                </a:moveTo>
                <a:cubicBezTo>
                  <a:pt x="2721" y="1547"/>
                  <a:pt x="2721" y="1547"/>
                  <a:pt x="2721" y="1547"/>
                </a:cubicBezTo>
                <a:cubicBezTo>
                  <a:pt x="2712" y="1547"/>
                  <a:pt x="2712" y="1547"/>
                  <a:pt x="2712" y="1547"/>
                </a:cubicBezTo>
                <a:cubicBezTo>
                  <a:pt x="2712" y="1535"/>
                  <a:pt x="2712" y="1535"/>
                  <a:pt x="2712" y="1535"/>
                </a:cubicBezTo>
                <a:cubicBezTo>
                  <a:pt x="2723" y="1535"/>
                  <a:pt x="2723" y="1535"/>
                  <a:pt x="2723" y="1535"/>
                </a:cubicBezTo>
                <a:cubicBezTo>
                  <a:pt x="2725" y="1524"/>
                  <a:pt x="2725" y="1524"/>
                  <a:pt x="2725" y="1524"/>
                </a:cubicBezTo>
                <a:cubicBezTo>
                  <a:pt x="2715" y="1524"/>
                  <a:pt x="2715" y="1524"/>
                  <a:pt x="2715" y="1524"/>
                </a:cubicBezTo>
                <a:cubicBezTo>
                  <a:pt x="2715" y="1512"/>
                  <a:pt x="2715" y="1512"/>
                  <a:pt x="2715" y="1512"/>
                </a:cubicBezTo>
                <a:cubicBezTo>
                  <a:pt x="2726" y="1512"/>
                  <a:pt x="2726" y="1512"/>
                  <a:pt x="2726" y="1512"/>
                </a:cubicBezTo>
                <a:cubicBezTo>
                  <a:pt x="2729" y="1494"/>
                  <a:pt x="2729" y="1494"/>
                  <a:pt x="2729" y="1494"/>
                </a:cubicBezTo>
                <a:cubicBezTo>
                  <a:pt x="2740" y="1494"/>
                  <a:pt x="2740" y="1494"/>
                  <a:pt x="2740" y="1494"/>
                </a:cubicBezTo>
                <a:cubicBezTo>
                  <a:pt x="2737" y="1512"/>
                  <a:pt x="2737" y="1512"/>
                  <a:pt x="2737" y="1512"/>
                </a:cubicBezTo>
                <a:cubicBezTo>
                  <a:pt x="2747" y="1512"/>
                  <a:pt x="2747" y="1512"/>
                  <a:pt x="2747" y="1512"/>
                </a:cubicBezTo>
                <a:cubicBezTo>
                  <a:pt x="2750" y="1494"/>
                  <a:pt x="2750" y="1494"/>
                  <a:pt x="2750" y="1494"/>
                </a:cubicBezTo>
                <a:cubicBezTo>
                  <a:pt x="2761" y="1494"/>
                  <a:pt x="2761" y="1494"/>
                  <a:pt x="2761" y="1494"/>
                </a:cubicBezTo>
                <a:cubicBezTo>
                  <a:pt x="2758" y="1512"/>
                  <a:pt x="2758" y="1512"/>
                  <a:pt x="2758" y="1512"/>
                </a:cubicBezTo>
                <a:cubicBezTo>
                  <a:pt x="2767" y="1512"/>
                  <a:pt x="2767" y="1512"/>
                  <a:pt x="2767" y="1512"/>
                </a:cubicBezTo>
                <a:cubicBezTo>
                  <a:pt x="2767" y="1524"/>
                  <a:pt x="2767" y="1524"/>
                  <a:pt x="2767" y="1524"/>
                </a:cubicBezTo>
                <a:cubicBezTo>
                  <a:pt x="2756" y="1524"/>
                  <a:pt x="2756" y="1524"/>
                  <a:pt x="2756" y="1524"/>
                </a:cubicBezTo>
                <a:cubicBezTo>
                  <a:pt x="2755" y="1535"/>
                  <a:pt x="2755" y="1535"/>
                  <a:pt x="2755" y="1535"/>
                </a:cubicBezTo>
                <a:cubicBezTo>
                  <a:pt x="2764" y="1535"/>
                  <a:pt x="2764" y="1535"/>
                  <a:pt x="2764" y="1535"/>
                </a:cubicBezTo>
                <a:cubicBezTo>
                  <a:pt x="2764" y="1547"/>
                  <a:pt x="2764" y="1547"/>
                  <a:pt x="2764" y="1547"/>
                </a:cubicBezTo>
                <a:cubicBezTo>
                  <a:pt x="2753" y="1547"/>
                  <a:pt x="2753" y="1547"/>
                  <a:pt x="2753" y="1547"/>
                </a:cubicBezTo>
                <a:cubicBezTo>
                  <a:pt x="2750" y="1566"/>
                  <a:pt x="2750" y="1566"/>
                  <a:pt x="2750" y="1566"/>
                </a:cubicBezTo>
                <a:cubicBezTo>
                  <a:pt x="2739" y="1566"/>
                  <a:pt x="2739" y="1566"/>
                  <a:pt x="2739" y="1566"/>
                </a:cubicBezTo>
                <a:cubicBezTo>
                  <a:pt x="2742" y="1547"/>
                  <a:pt x="2742" y="1547"/>
                  <a:pt x="2742" y="1547"/>
                </a:cubicBezTo>
                <a:cubicBezTo>
                  <a:pt x="2732" y="1547"/>
                  <a:pt x="2732" y="1547"/>
                  <a:pt x="2732" y="1547"/>
                </a:cubicBezTo>
                <a:cubicBezTo>
                  <a:pt x="2729" y="1566"/>
                  <a:pt x="2729" y="1566"/>
                  <a:pt x="2729" y="1566"/>
                </a:cubicBezTo>
                <a:cubicBezTo>
                  <a:pt x="2718" y="1566"/>
                  <a:pt x="2718" y="1566"/>
                  <a:pt x="2718" y="1566"/>
                </a:cubicBezTo>
                <a:cubicBezTo>
                  <a:pt x="2718" y="1566"/>
                  <a:pt x="2718" y="1566"/>
                  <a:pt x="2718" y="1566"/>
                </a:cubicBezTo>
                <a:close/>
                <a:moveTo>
                  <a:pt x="2744" y="1535"/>
                </a:moveTo>
                <a:cubicBezTo>
                  <a:pt x="2745" y="1524"/>
                  <a:pt x="2745" y="1524"/>
                  <a:pt x="2745" y="1524"/>
                </a:cubicBezTo>
                <a:cubicBezTo>
                  <a:pt x="2736" y="1524"/>
                  <a:pt x="2736" y="1524"/>
                  <a:pt x="2736" y="1524"/>
                </a:cubicBezTo>
                <a:cubicBezTo>
                  <a:pt x="2734" y="1535"/>
                  <a:pt x="2734" y="1535"/>
                  <a:pt x="2734" y="1535"/>
                </a:cubicBezTo>
                <a:cubicBezTo>
                  <a:pt x="2744" y="1535"/>
                  <a:pt x="2744" y="1535"/>
                  <a:pt x="2744" y="1535"/>
                </a:cubicBezTo>
                <a:cubicBezTo>
                  <a:pt x="2744" y="1535"/>
                  <a:pt x="2744" y="1535"/>
                  <a:pt x="2744" y="1535"/>
                </a:cubicBezTo>
                <a:close/>
                <a:moveTo>
                  <a:pt x="2262" y="1493"/>
                </a:moveTo>
                <a:cubicBezTo>
                  <a:pt x="2262" y="1493"/>
                  <a:pt x="2262" y="1493"/>
                  <a:pt x="2262" y="1493"/>
                </a:cubicBezTo>
                <a:cubicBezTo>
                  <a:pt x="2257" y="1493"/>
                  <a:pt x="2257" y="1493"/>
                  <a:pt x="2257" y="1493"/>
                </a:cubicBezTo>
                <a:cubicBezTo>
                  <a:pt x="2254" y="1494"/>
                  <a:pt x="2253" y="1496"/>
                  <a:pt x="2251" y="1496"/>
                </a:cubicBezTo>
                <a:cubicBezTo>
                  <a:pt x="2249" y="1498"/>
                  <a:pt x="2248" y="1498"/>
                  <a:pt x="2246" y="1499"/>
                </a:cubicBezTo>
                <a:cubicBezTo>
                  <a:pt x="2244" y="1501"/>
                  <a:pt x="2242" y="1501"/>
                  <a:pt x="2241" y="1502"/>
                </a:cubicBezTo>
                <a:cubicBezTo>
                  <a:pt x="2238" y="1503"/>
                  <a:pt x="2237" y="1504"/>
                  <a:pt x="2235" y="1504"/>
                </a:cubicBezTo>
                <a:cubicBezTo>
                  <a:pt x="2235" y="1504"/>
                  <a:pt x="2235" y="1504"/>
                  <a:pt x="2235" y="1514"/>
                </a:cubicBezTo>
                <a:cubicBezTo>
                  <a:pt x="2238" y="1513"/>
                  <a:pt x="2241" y="1512"/>
                  <a:pt x="2243" y="1511"/>
                </a:cubicBezTo>
                <a:cubicBezTo>
                  <a:pt x="2246" y="1510"/>
                  <a:pt x="2248" y="1509"/>
                  <a:pt x="2250" y="1507"/>
                </a:cubicBezTo>
                <a:cubicBezTo>
                  <a:pt x="2250" y="1507"/>
                  <a:pt x="2250" y="1507"/>
                  <a:pt x="2250" y="1566"/>
                </a:cubicBezTo>
                <a:cubicBezTo>
                  <a:pt x="2250" y="1566"/>
                  <a:pt x="2250" y="1566"/>
                  <a:pt x="2262" y="1566"/>
                </a:cubicBezTo>
                <a:cubicBezTo>
                  <a:pt x="2262" y="1566"/>
                  <a:pt x="2262" y="1566"/>
                  <a:pt x="2262" y="1493"/>
                </a:cubicBezTo>
                <a:close/>
                <a:moveTo>
                  <a:pt x="2309" y="1493"/>
                </a:moveTo>
                <a:cubicBezTo>
                  <a:pt x="2309" y="1493"/>
                  <a:pt x="2309" y="1493"/>
                  <a:pt x="2309" y="1493"/>
                </a:cubicBezTo>
                <a:cubicBezTo>
                  <a:pt x="2304" y="1493"/>
                  <a:pt x="2304" y="1493"/>
                  <a:pt x="2304" y="1493"/>
                </a:cubicBezTo>
                <a:cubicBezTo>
                  <a:pt x="2302" y="1494"/>
                  <a:pt x="2300" y="1496"/>
                  <a:pt x="2298" y="1496"/>
                </a:cubicBezTo>
                <a:cubicBezTo>
                  <a:pt x="2297" y="1498"/>
                  <a:pt x="2295" y="1498"/>
                  <a:pt x="2293" y="1499"/>
                </a:cubicBezTo>
                <a:cubicBezTo>
                  <a:pt x="2292" y="1501"/>
                  <a:pt x="2290" y="1501"/>
                  <a:pt x="2288" y="1502"/>
                </a:cubicBezTo>
                <a:cubicBezTo>
                  <a:pt x="2286" y="1503"/>
                  <a:pt x="2284" y="1504"/>
                  <a:pt x="2282" y="1504"/>
                </a:cubicBezTo>
                <a:cubicBezTo>
                  <a:pt x="2282" y="1504"/>
                  <a:pt x="2282" y="1504"/>
                  <a:pt x="2282" y="1514"/>
                </a:cubicBezTo>
                <a:cubicBezTo>
                  <a:pt x="2285" y="1513"/>
                  <a:pt x="2288" y="1512"/>
                  <a:pt x="2290" y="1511"/>
                </a:cubicBezTo>
                <a:cubicBezTo>
                  <a:pt x="2293" y="1510"/>
                  <a:pt x="2295" y="1509"/>
                  <a:pt x="2298" y="1507"/>
                </a:cubicBezTo>
                <a:cubicBezTo>
                  <a:pt x="2298" y="1507"/>
                  <a:pt x="2298" y="1507"/>
                  <a:pt x="2298" y="1566"/>
                </a:cubicBezTo>
                <a:cubicBezTo>
                  <a:pt x="2298" y="1566"/>
                  <a:pt x="2298" y="1566"/>
                  <a:pt x="2309" y="1566"/>
                </a:cubicBezTo>
                <a:cubicBezTo>
                  <a:pt x="2309" y="1566"/>
                  <a:pt x="2309" y="1566"/>
                  <a:pt x="2309" y="1493"/>
                </a:cubicBezTo>
                <a:close/>
                <a:moveTo>
                  <a:pt x="2356" y="1493"/>
                </a:moveTo>
                <a:cubicBezTo>
                  <a:pt x="2356" y="1493"/>
                  <a:pt x="2356" y="1493"/>
                  <a:pt x="2356" y="1493"/>
                </a:cubicBezTo>
                <a:cubicBezTo>
                  <a:pt x="2351" y="1493"/>
                  <a:pt x="2351" y="1493"/>
                  <a:pt x="2351" y="1493"/>
                </a:cubicBezTo>
                <a:cubicBezTo>
                  <a:pt x="2349" y="1494"/>
                  <a:pt x="2348" y="1496"/>
                  <a:pt x="2346" y="1496"/>
                </a:cubicBezTo>
                <a:cubicBezTo>
                  <a:pt x="2344" y="1498"/>
                  <a:pt x="2342" y="1498"/>
                  <a:pt x="2341" y="1499"/>
                </a:cubicBezTo>
                <a:cubicBezTo>
                  <a:pt x="2338" y="1500"/>
                  <a:pt x="2337" y="1501"/>
                  <a:pt x="2335" y="1501"/>
                </a:cubicBezTo>
                <a:cubicBezTo>
                  <a:pt x="2333" y="1502"/>
                  <a:pt x="2331" y="1503"/>
                  <a:pt x="2330" y="1504"/>
                </a:cubicBezTo>
                <a:cubicBezTo>
                  <a:pt x="2330" y="1504"/>
                  <a:pt x="2330" y="1504"/>
                  <a:pt x="2330" y="1514"/>
                </a:cubicBezTo>
                <a:cubicBezTo>
                  <a:pt x="2333" y="1513"/>
                  <a:pt x="2336" y="1512"/>
                  <a:pt x="2338" y="1511"/>
                </a:cubicBezTo>
                <a:cubicBezTo>
                  <a:pt x="2340" y="1510"/>
                  <a:pt x="2343" y="1509"/>
                  <a:pt x="2344" y="1507"/>
                </a:cubicBezTo>
                <a:cubicBezTo>
                  <a:pt x="2344" y="1507"/>
                  <a:pt x="2344" y="1507"/>
                  <a:pt x="2344" y="1566"/>
                </a:cubicBezTo>
                <a:cubicBezTo>
                  <a:pt x="2344" y="1566"/>
                  <a:pt x="2344" y="1566"/>
                  <a:pt x="2356" y="1566"/>
                </a:cubicBezTo>
                <a:cubicBezTo>
                  <a:pt x="2356" y="1566"/>
                  <a:pt x="2356" y="1566"/>
                  <a:pt x="2356" y="1493"/>
                </a:cubicBezTo>
                <a:close/>
                <a:moveTo>
                  <a:pt x="2563" y="1397"/>
                </a:moveTo>
                <a:cubicBezTo>
                  <a:pt x="2563" y="1397"/>
                  <a:pt x="2563" y="1397"/>
                  <a:pt x="2563" y="1397"/>
                </a:cubicBezTo>
                <a:cubicBezTo>
                  <a:pt x="2558" y="1397"/>
                  <a:pt x="2558" y="1397"/>
                  <a:pt x="2558" y="1397"/>
                </a:cubicBezTo>
                <a:cubicBezTo>
                  <a:pt x="2556" y="1398"/>
                  <a:pt x="2554" y="1400"/>
                  <a:pt x="2552" y="1400"/>
                </a:cubicBezTo>
                <a:cubicBezTo>
                  <a:pt x="2551" y="1402"/>
                  <a:pt x="2549" y="1402"/>
                  <a:pt x="2547" y="1403"/>
                </a:cubicBezTo>
                <a:cubicBezTo>
                  <a:pt x="2545" y="1404"/>
                  <a:pt x="2543" y="1405"/>
                  <a:pt x="2542" y="1405"/>
                </a:cubicBezTo>
                <a:cubicBezTo>
                  <a:pt x="2540" y="1406"/>
                  <a:pt x="2538" y="1407"/>
                  <a:pt x="2536" y="1408"/>
                </a:cubicBezTo>
                <a:cubicBezTo>
                  <a:pt x="2536" y="1408"/>
                  <a:pt x="2536" y="1408"/>
                  <a:pt x="2536" y="1418"/>
                </a:cubicBezTo>
                <a:cubicBezTo>
                  <a:pt x="2539" y="1417"/>
                  <a:pt x="2542" y="1416"/>
                  <a:pt x="2544" y="1415"/>
                </a:cubicBezTo>
                <a:cubicBezTo>
                  <a:pt x="2547" y="1414"/>
                  <a:pt x="2549" y="1413"/>
                  <a:pt x="2551" y="1411"/>
                </a:cubicBezTo>
                <a:cubicBezTo>
                  <a:pt x="2551" y="1411"/>
                  <a:pt x="2551" y="1411"/>
                  <a:pt x="2551" y="1470"/>
                </a:cubicBezTo>
                <a:cubicBezTo>
                  <a:pt x="2551" y="1470"/>
                  <a:pt x="2551" y="1470"/>
                  <a:pt x="2563" y="1470"/>
                </a:cubicBezTo>
                <a:cubicBezTo>
                  <a:pt x="2563" y="1470"/>
                  <a:pt x="2563" y="1470"/>
                  <a:pt x="2563" y="1397"/>
                </a:cubicBezTo>
                <a:close/>
                <a:moveTo>
                  <a:pt x="2610" y="1397"/>
                </a:moveTo>
                <a:cubicBezTo>
                  <a:pt x="2610" y="1397"/>
                  <a:pt x="2610" y="1397"/>
                  <a:pt x="2610" y="1397"/>
                </a:cubicBezTo>
                <a:cubicBezTo>
                  <a:pt x="2605" y="1397"/>
                  <a:pt x="2605" y="1397"/>
                  <a:pt x="2605" y="1397"/>
                </a:cubicBezTo>
                <a:cubicBezTo>
                  <a:pt x="2602" y="1398"/>
                  <a:pt x="2601" y="1400"/>
                  <a:pt x="2599" y="1400"/>
                </a:cubicBezTo>
                <a:cubicBezTo>
                  <a:pt x="2597" y="1402"/>
                  <a:pt x="2595" y="1402"/>
                  <a:pt x="2594" y="1403"/>
                </a:cubicBezTo>
                <a:cubicBezTo>
                  <a:pt x="2592" y="1405"/>
                  <a:pt x="2590" y="1405"/>
                  <a:pt x="2589" y="1406"/>
                </a:cubicBezTo>
                <a:cubicBezTo>
                  <a:pt x="2586" y="1407"/>
                  <a:pt x="2585" y="1408"/>
                  <a:pt x="2583" y="1408"/>
                </a:cubicBezTo>
                <a:cubicBezTo>
                  <a:pt x="2583" y="1408"/>
                  <a:pt x="2583" y="1408"/>
                  <a:pt x="2583" y="1418"/>
                </a:cubicBezTo>
                <a:cubicBezTo>
                  <a:pt x="2586" y="1417"/>
                  <a:pt x="2589" y="1416"/>
                  <a:pt x="2591" y="1415"/>
                </a:cubicBezTo>
                <a:cubicBezTo>
                  <a:pt x="2594" y="1414"/>
                  <a:pt x="2596" y="1413"/>
                  <a:pt x="2598" y="1411"/>
                </a:cubicBezTo>
                <a:cubicBezTo>
                  <a:pt x="2598" y="1411"/>
                  <a:pt x="2598" y="1411"/>
                  <a:pt x="2598" y="1470"/>
                </a:cubicBezTo>
                <a:cubicBezTo>
                  <a:pt x="2598" y="1470"/>
                  <a:pt x="2598" y="1470"/>
                  <a:pt x="2610" y="1470"/>
                </a:cubicBezTo>
                <a:cubicBezTo>
                  <a:pt x="2610" y="1470"/>
                  <a:pt x="2610" y="1470"/>
                  <a:pt x="2610" y="1397"/>
                </a:cubicBezTo>
                <a:close/>
                <a:moveTo>
                  <a:pt x="2655" y="1397"/>
                </a:moveTo>
                <a:cubicBezTo>
                  <a:pt x="2655" y="1397"/>
                  <a:pt x="2655" y="1397"/>
                  <a:pt x="2655" y="1397"/>
                </a:cubicBezTo>
                <a:cubicBezTo>
                  <a:pt x="2651" y="1397"/>
                  <a:pt x="2651" y="1397"/>
                  <a:pt x="2651" y="1397"/>
                </a:cubicBezTo>
                <a:cubicBezTo>
                  <a:pt x="2649" y="1398"/>
                  <a:pt x="2647" y="1400"/>
                  <a:pt x="2645" y="1400"/>
                </a:cubicBezTo>
                <a:cubicBezTo>
                  <a:pt x="2644" y="1402"/>
                  <a:pt x="2642" y="1402"/>
                  <a:pt x="2640" y="1403"/>
                </a:cubicBezTo>
                <a:cubicBezTo>
                  <a:pt x="2638" y="1405"/>
                  <a:pt x="2636" y="1405"/>
                  <a:pt x="2634" y="1406"/>
                </a:cubicBezTo>
                <a:cubicBezTo>
                  <a:pt x="2633" y="1407"/>
                  <a:pt x="2631" y="1408"/>
                  <a:pt x="2629" y="1408"/>
                </a:cubicBezTo>
                <a:cubicBezTo>
                  <a:pt x="2629" y="1408"/>
                  <a:pt x="2629" y="1408"/>
                  <a:pt x="2629" y="1418"/>
                </a:cubicBezTo>
                <a:cubicBezTo>
                  <a:pt x="2632" y="1417"/>
                  <a:pt x="2635" y="1416"/>
                  <a:pt x="2637" y="1415"/>
                </a:cubicBezTo>
                <a:cubicBezTo>
                  <a:pt x="2639" y="1414"/>
                  <a:pt x="2642" y="1413"/>
                  <a:pt x="2644" y="1411"/>
                </a:cubicBezTo>
                <a:cubicBezTo>
                  <a:pt x="2644" y="1411"/>
                  <a:pt x="2644" y="1411"/>
                  <a:pt x="2644" y="1470"/>
                </a:cubicBezTo>
                <a:cubicBezTo>
                  <a:pt x="2644" y="1470"/>
                  <a:pt x="2644" y="1470"/>
                  <a:pt x="2655" y="1470"/>
                </a:cubicBezTo>
                <a:cubicBezTo>
                  <a:pt x="2655" y="1470"/>
                  <a:pt x="2655" y="1470"/>
                  <a:pt x="2655" y="1397"/>
                </a:cubicBezTo>
                <a:close/>
                <a:moveTo>
                  <a:pt x="2702" y="1397"/>
                </a:moveTo>
                <a:cubicBezTo>
                  <a:pt x="2702" y="1397"/>
                  <a:pt x="2702" y="1397"/>
                  <a:pt x="2702" y="1397"/>
                </a:cubicBezTo>
                <a:cubicBezTo>
                  <a:pt x="2697" y="1397"/>
                  <a:pt x="2697" y="1397"/>
                  <a:pt x="2697" y="1397"/>
                </a:cubicBezTo>
                <a:cubicBezTo>
                  <a:pt x="2695" y="1398"/>
                  <a:pt x="2694" y="1400"/>
                  <a:pt x="2691" y="1400"/>
                </a:cubicBezTo>
                <a:cubicBezTo>
                  <a:pt x="2690" y="1402"/>
                  <a:pt x="2688" y="1402"/>
                  <a:pt x="2686" y="1403"/>
                </a:cubicBezTo>
                <a:cubicBezTo>
                  <a:pt x="2685" y="1405"/>
                  <a:pt x="2683" y="1405"/>
                  <a:pt x="2681" y="1406"/>
                </a:cubicBezTo>
                <a:cubicBezTo>
                  <a:pt x="2679" y="1407"/>
                  <a:pt x="2678" y="1408"/>
                  <a:pt x="2675" y="1408"/>
                </a:cubicBezTo>
                <a:cubicBezTo>
                  <a:pt x="2675" y="1408"/>
                  <a:pt x="2675" y="1408"/>
                  <a:pt x="2675" y="1418"/>
                </a:cubicBezTo>
                <a:cubicBezTo>
                  <a:pt x="2678" y="1417"/>
                  <a:pt x="2681" y="1416"/>
                  <a:pt x="2683" y="1415"/>
                </a:cubicBezTo>
                <a:cubicBezTo>
                  <a:pt x="2686" y="1414"/>
                  <a:pt x="2688" y="1413"/>
                  <a:pt x="2691" y="1411"/>
                </a:cubicBezTo>
                <a:cubicBezTo>
                  <a:pt x="2691" y="1411"/>
                  <a:pt x="2691" y="1411"/>
                  <a:pt x="2691" y="1470"/>
                </a:cubicBezTo>
                <a:cubicBezTo>
                  <a:pt x="2691" y="1470"/>
                  <a:pt x="2691" y="1470"/>
                  <a:pt x="2702" y="1470"/>
                </a:cubicBezTo>
                <a:cubicBezTo>
                  <a:pt x="2702" y="1470"/>
                  <a:pt x="2702" y="1470"/>
                  <a:pt x="2702" y="1397"/>
                </a:cubicBezTo>
                <a:close/>
                <a:moveTo>
                  <a:pt x="2824" y="1397"/>
                </a:moveTo>
                <a:cubicBezTo>
                  <a:pt x="2824" y="1397"/>
                  <a:pt x="2824" y="1397"/>
                  <a:pt x="2824" y="1397"/>
                </a:cubicBezTo>
                <a:cubicBezTo>
                  <a:pt x="2819" y="1397"/>
                  <a:pt x="2819" y="1397"/>
                  <a:pt x="2819" y="1397"/>
                </a:cubicBezTo>
                <a:cubicBezTo>
                  <a:pt x="2817" y="1398"/>
                  <a:pt x="2815" y="1400"/>
                  <a:pt x="2813" y="1400"/>
                </a:cubicBezTo>
                <a:cubicBezTo>
                  <a:pt x="2812" y="1402"/>
                  <a:pt x="2810" y="1402"/>
                  <a:pt x="2808" y="1403"/>
                </a:cubicBezTo>
                <a:cubicBezTo>
                  <a:pt x="2806" y="1405"/>
                  <a:pt x="2804" y="1405"/>
                  <a:pt x="2803" y="1406"/>
                </a:cubicBezTo>
                <a:cubicBezTo>
                  <a:pt x="2801" y="1407"/>
                  <a:pt x="2799" y="1408"/>
                  <a:pt x="2797" y="1408"/>
                </a:cubicBezTo>
                <a:cubicBezTo>
                  <a:pt x="2797" y="1408"/>
                  <a:pt x="2797" y="1408"/>
                  <a:pt x="2797" y="1418"/>
                </a:cubicBezTo>
                <a:cubicBezTo>
                  <a:pt x="2800" y="1417"/>
                  <a:pt x="2803" y="1416"/>
                  <a:pt x="2806" y="1415"/>
                </a:cubicBezTo>
                <a:cubicBezTo>
                  <a:pt x="2808" y="1414"/>
                  <a:pt x="2810" y="1413"/>
                  <a:pt x="2812" y="1411"/>
                </a:cubicBezTo>
                <a:cubicBezTo>
                  <a:pt x="2812" y="1411"/>
                  <a:pt x="2812" y="1411"/>
                  <a:pt x="2812" y="1470"/>
                </a:cubicBezTo>
                <a:cubicBezTo>
                  <a:pt x="2812" y="1470"/>
                  <a:pt x="2812" y="1470"/>
                  <a:pt x="2824" y="1470"/>
                </a:cubicBezTo>
                <a:cubicBezTo>
                  <a:pt x="2824" y="1470"/>
                  <a:pt x="2824" y="1470"/>
                  <a:pt x="2824" y="1397"/>
                </a:cubicBezTo>
                <a:close/>
                <a:moveTo>
                  <a:pt x="2871" y="1397"/>
                </a:moveTo>
                <a:cubicBezTo>
                  <a:pt x="2871" y="1397"/>
                  <a:pt x="2871" y="1397"/>
                  <a:pt x="2871" y="1397"/>
                </a:cubicBezTo>
                <a:cubicBezTo>
                  <a:pt x="2866" y="1397"/>
                  <a:pt x="2866" y="1397"/>
                  <a:pt x="2866" y="1397"/>
                </a:cubicBezTo>
                <a:cubicBezTo>
                  <a:pt x="2864" y="1398"/>
                  <a:pt x="2862" y="1400"/>
                  <a:pt x="2860" y="1400"/>
                </a:cubicBezTo>
                <a:cubicBezTo>
                  <a:pt x="2859" y="1402"/>
                  <a:pt x="2856" y="1402"/>
                  <a:pt x="2855" y="1403"/>
                </a:cubicBezTo>
                <a:cubicBezTo>
                  <a:pt x="2853" y="1405"/>
                  <a:pt x="2851" y="1405"/>
                  <a:pt x="2850" y="1406"/>
                </a:cubicBezTo>
                <a:cubicBezTo>
                  <a:pt x="2848" y="1407"/>
                  <a:pt x="2846" y="1408"/>
                  <a:pt x="2844" y="1408"/>
                </a:cubicBezTo>
                <a:cubicBezTo>
                  <a:pt x="2844" y="1408"/>
                  <a:pt x="2844" y="1408"/>
                  <a:pt x="2844" y="1418"/>
                </a:cubicBezTo>
                <a:cubicBezTo>
                  <a:pt x="2847" y="1417"/>
                  <a:pt x="2850" y="1416"/>
                  <a:pt x="2852" y="1415"/>
                </a:cubicBezTo>
                <a:cubicBezTo>
                  <a:pt x="2855" y="1414"/>
                  <a:pt x="2857" y="1413"/>
                  <a:pt x="2859" y="1411"/>
                </a:cubicBezTo>
                <a:cubicBezTo>
                  <a:pt x="2859" y="1411"/>
                  <a:pt x="2859" y="1411"/>
                  <a:pt x="2859" y="1470"/>
                </a:cubicBezTo>
                <a:cubicBezTo>
                  <a:pt x="2859" y="1470"/>
                  <a:pt x="2859" y="1470"/>
                  <a:pt x="2871" y="1470"/>
                </a:cubicBezTo>
                <a:cubicBezTo>
                  <a:pt x="2871" y="1470"/>
                  <a:pt x="2871" y="1470"/>
                  <a:pt x="2871" y="1397"/>
                </a:cubicBezTo>
                <a:close/>
                <a:moveTo>
                  <a:pt x="2722" y="1429"/>
                </a:moveTo>
                <a:cubicBezTo>
                  <a:pt x="2722" y="1429"/>
                  <a:pt x="2722" y="1429"/>
                  <a:pt x="2722" y="1429"/>
                </a:cubicBezTo>
                <a:cubicBezTo>
                  <a:pt x="2722" y="1437"/>
                  <a:pt x="2722" y="1437"/>
                  <a:pt x="2722" y="1437"/>
                </a:cubicBezTo>
                <a:cubicBezTo>
                  <a:pt x="2728" y="1438"/>
                  <a:pt x="2729" y="1441"/>
                  <a:pt x="2729" y="1443"/>
                </a:cubicBezTo>
                <a:cubicBezTo>
                  <a:pt x="2729" y="1445"/>
                  <a:pt x="2729" y="1448"/>
                  <a:pt x="2729" y="1450"/>
                </a:cubicBezTo>
                <a:cubicBezTo>
                  <a:pt x="2728" y="1453"/>
                  <a:pt x="2728" y="1455"/>
                  <a:pt x="2728" y="1457"/>
                </a:cubicBezTo>
                <a:cubicBezTo>
                  <a:pt x="2728" y="1467"/>
                  <a:pt x="2734" y="1470"/>
                  <a:pt x="2743" y="1470"/>
                </a:cubicBezTo>
                <a:cubicBezTo>
                  <a:pt x="2743" y="1470"/>
                  <a:pt x="2743" y="1470"/>
                  <a:pt x="2746" y="1470"/>
                </a:cubicBezTo>
                <a:cubicBezTo>
                  <a:pt x="2746" y="1470"/>
                  <a:pt x="2746" y="1470"/>
                  <a:pt x="2746" y="1461"/>
                </a:cubicBezTo>
                <a:cubicBezTo>
                  <a:pt x="2746" y="1461"/>
                  <a:pt x="2746" y="1461"/>
                  <a:pt x="2745" y="1461"/>
                </a:cubicBezTo>
                <a:cubicBezTo>
                  <a:pt x="2741" y="1461"/>
                  <a:pt x="2740" y="1459"/>
                  <a:pt x="2740" y="1455"/>
                </a:cubicBezTo>
                <a:cubicBezTo>
                  <a:pt x="2740" y="1454"/>
                  <a:pt x="2740" y="1452"/>
                  <a:pt x="2740" y="1450"/>
                </a:cubicBezTo>
                <a:cubicBezTo>
                  <a:pt x="2740" y="1449"/>
                  <a:pt x="2741" y="1447"/>
                  <a:pt x="2741" y="1444"/>
                </a:cubicBezTo>
                <a:cubicBezTo>
                  <a:pt x="2741" y="1437"/>
                  <a:pt x="2738" y="1434"/>
                  <a:pt x="2732" y="1433"/>
                </a:cubicBezTo>
                <a:cubicBezTo>
                  <a:pt x="2732" y="1433"/>
                  <a:pt x="2732" y="1433"/>
                  <a:pt x="2732" y="1433"/>
                </a:cubicBezTo>
                <a:cubicBezTo>
                  <a:pt x="2738" y="1432"/>
                  <a:pt x="2741" y="1429"/>
                  <a:pt x="2741" y="1422"/>
                </a:cubicBezTo>
                <a:cubicBezTo>
                  <a:pt x="2741" y="1419"/>
                  <a:pt x="2740" y="1417"/>
                  <a:pt x="2740" y="1416"/>
                </a:cubicBezTo>
                <a:cubicBezTo>
                  <a:pt x="2740" y="1414"/>
                  <a:pt x="2740" y="1412"/>
                  <a:pt x="2740" y="1411"/>
                </a:cubicBezTo>
                <a:cubicBezTo>
                  <a:pt x="2740" y="1407"/>
                  <a:pt x="2741" y="1405"/>
                  <a:pt x="2745" y="1405"/>
                </a:cubicBezTo>
                <a:cubicBezTo>
                  <a:pt x="2745" y="1405"/>
                  <a:pt x="2745" y="1405"/>
                  <a:pt x="2746" y="1405"/>
                </a:cubicBezTo>
                <a:cubicBezTo>
                  <a:pt x="2746" y="1405"/>
                  <a:pt x="2746" y="1405"/>
                  <a:pt x="2746" y="1396"/>
                </a:cubicBezTo>
                <a:cubicBezTo>
                  <a:pt x="2746" y="1396"/>
                  <a:pt x="2746" y="1396"/>
                  <a:pt x="2743" y="1396"/>
                </a:cubicBezTo>
                <a:cubicBezTo>
                  <a:pt x="2734" y="1396"/>
                  <a:pt x="2728" y="1400"/>
                  <a:pt x="2728" y="1408"/>
                </a:cubicBezTo>
                <a:cubicBezTo>
                  <a:pt x="2728" y="1411"/>
                  <a:pt x="2728" y="1413"/>
                  <a:pt x="2728" y="1416"/>
                </a:cubicBezTo>
                <a:cubicBezTo>
                  <a:pt x="2729" y="1418"/>
                  <a:pt x="2729" y="1421"/>
                  <a:pt x="2729" y="1423"/>
                </a:cubicBezTo>
                <a:cubicBezTo>
                  <a:pt x="2729" y="1425"/>
                  <a:pt x="2728" y="1429"/>
                  <a:pt x="2722" y="1429"/>
                </a:cubicBezTo>
                <a:close/>
                <a:moveTo>
                  <a:pt x="2777" y="1437"/>
                </a:moveTo>
                <a:cubicBezTo>
                  <a:pt x="2777" y="1437"/>
                  <a:pt x="2777" y="1437"/>
                  <a:pt x="2777" y="1437"/>
                </a:cubicBezTo>
                <a:cubicBezTo>
                  <a:pt x="2777" y="1429"/>
                  <a:pt x="2777" y="1429"/>
                  <a:pt x="2777" y="1429"/>
                </a:cubicBezTo>
                <a:cubicBezTo>
                  <a:pt x="2771" y="1429"/>
                  <a:pt x="2770" y="1425"/>
                  <a:pt x="2770" y="1423"/>
                </a:cubicBezTo>
                <a:cubicBezTo>
                  <a:pt x="2770" y="1421"/>
                  <a:pt x="2770" y="1418"/>
                  <a:pt x="2771" y="1416"/>
                </a:cubicBezTo>
                <a:cubicBezTo>
                  <a:pt x="2771" y="1413"/>
                  <a:pt x="2771" y="1411"/>
                  <a:pt x="2771" y="1408"/>
                </a:cubicBezTo>
                <a:cubicBezTo>
                  <a:pt x="2771" y="1400"/>
                  <a:pt x="2766" y="1396"/>
                  <a:pt x="2757" y="1396"/>
                </a:cubicBezTo>
                <a:cubicBezTo>
                  <a:pt x="2757" y="1396"/>
                  <a:pt x="2757" y="1396"/>
                  <a:pt x="2753" y="1396"/>
                </a:cubicBezTo>
                <a:cubicBezTo>
                  <a:pt x="2753" y="1396"/>
                  <a:pt x="2753" y="1396"/>
                  <a:pt x="2753" y="1405"/>
                </a:cubicBezTo>
                <a:cubicBezTo>
                  <a:pt x="2753" y="1405"/>
                  <a:pt x="2753" y="1405"/>
                  <a:pt x="2755" y="1405"/>
                </a:cubicBezTo>
                <a:cubicBezTo>
                  <a:pt x="2758" y="1405"/>
                  <a:pt x="2760" y="1407"/>
                  <a:pt x="2760" y="1411"/>
                </a:cubicBezTo>
                <a:cubicBezTo>
                  <a:pt x="2760" y="1412"/>
                  <a:pt x="2759" y="1414"/>
                  <a:pt x="2759" y="1416"/>
                </a:cubicBezTo>
                <a:cubicBezTo>
                  <a:pt x="2759" y="1417"/>
                  <a:pt x="2759" y="1419"/>
                  <a:pt x="2759" y="1422"/>
                </a:cubicBezTo>
                <a:cubicBezTo>
                  <a:pt x="2759" y="1429"/>
                  <a:pt x="2762" y="1432"/>
                  <a:pt x="2768" y="1433"/>
                </a:cubicBezTo>
                <a:cubicBezTo>
                  <a:pt x="2768" y="1433"/>
                  <a:pt x="2768" y="1433"/>
                  <a:pt x="2768" y="1433"/>
                </a:cubicBezTo>
                <a:cubicBezTo>
                  <a:pt x="2762" y="1434"/>
                  <a:pt x="2759" y="1437"/>
                  <a:pt x="2759" y="1444"/>
                </a:cubicBezTo>
                <a:cubicBezTo>
                  <a:pt x="2759" y="1447"/>
                  <a:pt x="2759" y="1449"/>
                  <a:pt x="2759" y="1450"/>
                </a:cubicBezTo>
                <a:cubicBezTo>
                  <a:pt x="2759" y="1452"/>
                  <a:pt x="2760" y="1454"/>
                  <a:pt x="2760" y="1455"/>
                </a:cubicBezTo>
                <a:cubicBezTo>
                  <a:pt x="2760" y="1459"/>
                  <a:pt x="2759" y="1461"/>
                  <a:pt x="2755" y="1461"/>
                </a:cubicBezTo>
                <a:cubicBezTo>
                  <a:pt x="2755" y="1461"/>
                  <a:pt x="2755" y="1461"/>
                  <a:pt x="2753" y="1461"/>
                </a:cubicBezTo>
                <a:cubicBezTo>
                  <a:pt x="2753" y="1461"/>
                  <a:pt x="2753" y="1461"/>
                  <a:pt x="2753" y="1470"/>
                </a:cubicBezTo>
                <a:cubicBezTo>
                  <a:pt x="2753" y="1470"/>
                  <a:pt x="2753" y="1470"/>
                  <a:pt x="2757" y="1470"/>
                </a:cubicBezTo>
                <a:cubicBezTo>
                  <a:pt x="2766" y="1470"/>
                  <a:pt x="2771" y="1467"/>
                  <a:pt x="2771" y="1457"/>
                </a:cubicBezTo>
                <a:cubicBezTo>
                  <a:pt x="2771" y="1455"/>
                  <a:pt x="2771" y="1453"/>
                  <a:pt x="2771" y="1450"/>
                </a:cubicBezTo>
                <a:cubicBezTo>
                  <a:pt x="2770" y="1448"/>
                  <a:pt x="2770" y="1445"/>
                  <a:pt x="2770" y="1443"/>
                </a:cubicBezTo>
                <a:cubicBezTo>
                  <a:pt x="2770" y="1441"/>
                  <a:pt x="2771" y="1438"/>
                  <a:pt x="2777" y="1437"/>
                </a:cubicBezTo>
                <a:close/>
                <a:moveTo>
                  <a:pt x="2163" y="1470"/>
                </a:moveTo>
                <a:cubicBezTo>
                  <a:pt x="2156" y="1470"/>
                  <a:pt x="2149" y="1467"/>
                  <a:pt x="2145" y="1461"/>
                </a:cubicBezTo>
                <a:cubicBezTo>
                  <a:pt x="2141" y="1455"/>
                  <a:pt x="2139" y="1446"/>
                  <a:pt x="2139" y="1434"/>
                </a:cubicBezTo>
                <a:cubicBezTo>
                  <a:pt x="2139" y="1421"/>
                  <a:pt x="2141" y="1411"/>
                  <a:pt x="2145" y="1404"/>
                </a:cubicBezTo>
                <a:cubicBezTo>
                  <a:pt x="2150" y="1398"/>
                  <a:pt x="2156" y="1394"/>
                  <a:pt x="2165" y="1394"/>
                </a:cubicBezTo>
                <a:cubicBezTo>
                  <a:pt x="2182" y="1394"/>
                  <a:pt x="2190" y="1407"/>
                  <a:pt x="2190" y="1432"/>
                </a:cubicBezTo>
                <a:cubicBezTo>
                  <a:pt x="2190" y="1445"/>
                  <a:pt x="2187" y="1454"/>
                  <a:pt x="2182" y="1461"/>
                </a:cubicBezTo>
                <a:cubicBezTo>
                  <a:pt x="2178" y="1467"/>
                  <a:pt x="2171" y="1470"/>
                  <a:pt x="2163" y="1470"/>
                </a:cubicBezTo>
                <a:close/>
                <a:moveTo>
                  <a:pt x="2165" y="1404"/>
                </a:moveTo>
                <a:cubicBezTo>
                  <a:pt x="2155" y="1404"/>
                  <a:pt x="2151" y="1414"/>
                  <a:pt x="2151" y="1434"/>
                </a:cubicBezTo>
                <a:cubicBezTo>
                  <a:pt x="2151" y="1452"/>
                  <a:pt x="2155" y="1461"/>
                  <a:pt x="2164" y="1461"/>
                </a:cubicBezTo>
                <a:cubicBezTo>
                  <a:pt x="2173" y="1461"/>
                  <a:pt x="2177" y="1452"/>
                  <a:pt x="2177" y="1433"/>
                </a:cubicBezTo>
                <a:cubicBezTo>
                  <a:pt x="2177" y="1413"/>
                  <a:pt x="2173" y="1404"/>
                  <a:pt x="2165" y="1404"/>
                </a:cubicBezTo>
                <a:close/>
                <a:moveTo>
                  <a:pt x="2233" y="1470"/>
                </a:moveTo>
                <a:cubicBezTo>
                  <a:pt x="2226" y="1470"/>
                  <a:pt x="2220" y="1467"/>
                  <a:pt x="2216" y="1461"/>
                </a:cubicBezTo>
                <a:cubicBezTo>
                  <a:pt x="2211" y="1455"/>
                  <a:pt x="2209" y="1446"/>
                  <a:pt x="2209" y="1434"/>
                </a:cubicBezTo>
                <a:cubicBezTo>
                  <a:pt x="2209" y="1421"/>
                  <a:pt x="2211" y="1411"/>
                  <a:pt x="2216" y="1404"/>
                </a:cubicBezTo>
                <a:cubicBezTo>
                  <a:pt x="2220" y="1398"/>
                  <a:pt x="2227" y="1394"/>
                  <a:pt x="2236" y="1394"/>
                </a:cubicBezTo>
                <a:cubicBezTo>
                  <a:pt x="2252" y="1394"/>
                  <a:pt x="2260" y="1407"/>
                  <a:pt x="2260" y="1432"/>
                </a:cubicBezTo>
                <a:cubicBezTo>
                  <a:pt x="2260" y="1445"/>
                  <a:pt x="2258" y="1454"/>
                  <a:pt x="2253" y="1461"/>
                </a:cubicBezTo>
                <a:cubicBezTo>
                  <a:pt x="2248" y="1467"/>
                  <a:pt x="2242" y="1470"/>
                  <a:pt x="2233" y="1470"/>
                </a:cubicBezTo>
                <a:close/>
                <a:moveTo>
                  <a:pt x="2235" y="1404"/>
                </a:moveTo>
                <a:cubicBezTo>
                  <a:pt x="2226" y="1404"/>
                  <a:pt x="2221" y="1414"/>
                  <a:pt x="2221" y="1434"/>
                </a:cubicBezTo>
                <a:cubicBezTo>
                  <a:pt x="2221" y="1452"/>
                  <a:pt x="2225" y="1461"/>
                  <a:pt x="2234" y="1461"/>
                </a:cubicBezTo>
                <a:cubicBezTo>
                  <a:pt x="2243" y="1461"/>
                  <a:pt x="2247" y="1452"/>
                  <a:pt x="2247" y="1433"/>
                </a:cubicBezTo>
                <a:cubicBezTo>
                  <a:pt x="2247" y="1413"/>
                  <a:pt x="2243" y="1404"/>
                  <a:pt x="2235" y="1404"/>
                </a:cubicBezTo>
                <a:close/>
                <a:moveTo>
                  <a:pt x="2444" y="1470"/>
                </a:moveTo>
                <a:cubicBezTo>
                  <a:pt x="2436" y="1470"/>
                  <a:pt x="2430" y="1467"/>
                  <a:pt x="2426" y="1461"/>
                </a:cubicBezTo>
                <a:cubicBezTo>
                  <a:pt x="2422" y="1455"/>
                  <a:pt x="2420" y="1445"/>
                  <a:pt x="2420" y="1434"/>
                </a:cubicBezTo>
                <a:cubicBezTo>
                  <a:pt x="2420" y="1421"/>
                  <a:pt x="2422" y="1411"/>
                  <a:pt x="2426" y="1404"/>
                </a:cubicBezTo>
                <a:cubicBezTo>
                  <a:pt x="2430" y="1397"/>
                  <a:pt x="2437" y="1394"/>
                  <a:pt x="2446" y="1394"/>
                </a:cubicBezTo>
                <a:cubicBezTo>
                  <a:pt x="2462" y="1394"/>
                  <a:pt x="2470" y="1407"/>
                  <a:pt x="2470" y="1431"/>
                </a:cubicBezTo>
                <a:cubicBezTo>
                  <a:pt x="2470" y="1445"/>
                  <a:pt x="2468" y="1454"/>
                  <a:pt x="2463" y="1461"/>
                </a:cubicBezTo>
                <a:cubicBezTo>
                  <a:pt x="2458" y="1467"/>
                  <a:pt x="2452" y="1470"/>
                  <a:pt x="2444" y="1470"/>
                </a:cubicBezTo>
                <a:close/>
                <a:moveTo>
                  <a:pt x="2445" y="1404"/>
                </a:moveTo>
                <a:cubicBezTo>
                  <a:pt x="2436" y="1404"/>
                  <a:pt x="2432" y="1413"/>
                  <a:pt x="2432" y="1433"/>
                </a:cubicBezTo>
                <a:cubicBezTo>
                  <a:pt x="2432" y="1451"/>
                  <a:pt x="2436" y="1461"/>
                  <a:pt x="2445" y="1461"/>
                </a:cubicBezTo>
                <a:cubicBezTo>
                  <a:pt x="2453" y="1461"/>
                  <a:pt x="2458" y="1451"/>
                  <a:pt x="2458" y="1433"/>
                </a:cubicBezTo>
                <a:cubicBezTo>
                  <a:pt x="2458" y="1413"/>
                  <a:pt x="2454" y="1404"/>
                  <a:pt x="2445" y="1404"/>
                </a:cubicBezTo>
                <a:close/>
                <a:moveTo>
                  <a:pt x="2516" y="1397"/>
                </a:moveTo>
                <a:cubicBezTo>
                  <a:pt x="2516" y="1397"/>
                  <a:pt x="2516" y="1397"/>
                  <a:pt x="2516" y="1397"/>
                </a:cubicBezTo>
                <a:cubicBezTo>
                  <a:pt x="2511" y="1397"/>
                  <a:pt x="2511" y="1397"/>
                  <a:pt x="2511" y="1397"/>
                </a:cubicBezTo>
                <a:cubicBezTo>
                  <a:pt x="2509" y="1398"/>
                  <a:pt x="2507" y="1400"/>
                  <a:pt x="2505" y="1400"/>
                </a:cubicBezTo>
                <a:cubicBezTo>
                  <a:pt x="2504" y="1402"/>
                  <a:pt x="2502" y="1402"/>
                  <a:pt x="2500" y="1403"/>
                </a:cubicBezTo>
                <a:cubicBezTo>
                  <a:pt x="2499" y="1404"/>
                  <a:pt x="2497" y="1405"/>
                  <a:pt x="2495" y="1405"/>
                </a:cubicBezTo>
                <a:cubicBezTo>
                  <a:pt x="2493" y="1406"/>
                  <a:pt x="2492" y="1407"/>
                  <a:pt x="2490" y="1408"/>
                </a:cubicBezTo>
                <a:cubicBezTo>
                  <a:pt x="2490" y="1408"/>
                  <a:pt x="2490" y="1408"/>
                  <a:pt x="2490" y="1418"/>
                </a:cubicBezTo>
                <a:cubicBezTo>
                  <a:pt x="2492" y="1417"/>
                  <a:pt x="2495" y="1416"/>
                  <a:pt x="2497" y="1415"/>
                </a:cubicBezTo>
                <a:cubicBezTo>
                  <a:pt x="2500" y="1414"/>
                  <a:pt x="2502" y="1413"/>
                  <a:pt x="2505" y="1411"/>
                </a:cubicBezTo>
                <a:cubicBezTo>
                  <a:pt x="2505" y="1411"/>
                  <a:pt x="2505" y="1411"/>
                  <a:pt x="2505" y="1470"/>
                </a:cubicBezTo>
                <a:cubicBezTo>
                  <a:pt x="2505" y="1470"/>
                  <a:pt x="2505" y="1470"/>
                  <a:pt x="2516" y="1470"/>
                </a:cubicBezTo>
                <a:cubicBezTo>
                  <a:pt x="2516" y="1470"/>
                  <a:pt x="2516" y="1470"/>
                  <a:pt x="2516" y="1397"/>
                </a:cubicBezTo>
                <a:close/>
                <a:moveTo>
                  <a:pt x="2307" y="1397"/>
                </a:moveTo>
                <a:cubicBezTo>
                  <a:pt x="2307" y="1397"/>
                  <a:pt x="2307" y="1397"/>
                  <a:pt x="2307" y="1397"/>
                </a:cubicBezTo>
                <a:cubicBezTo>
                  <a:pt x="2302" y="1397"/>
                  <a:pt x="2302" y="1397"/>
                  <a:pt x="2302" y="1397"/>
                </a:cubicBezTo>
                <a:cubicBezTo>
                  <a:pt x="2299" y="1398"/>
                  <a:pt x="2298" y="1400"/>
                  <a:pt x="2296" y="1400"/>
                </a:cubicBezTo>
                <a:cubicBezTo>
                  <a:pt x="2294" y="1402"/>
                  <a:pt x="2293" y="1402"/>
                  <a:pt x="2290" y="1403"/>
                </a:cubicBezTo>
                <a:cubicBezTo>
                  <a:pt x="2289" y="1405"/>
                  <a:pt x="2287" y="1405"/>
                  <a:pt x="2285" y="1406"/>
                </a:cubicBezTo>
                <a:cubicBezTo>
                  <a:pt x="2283" y="1407"/>
                  <a:pt x="2282" y="1408"/>
                  <a:pt x="2279" y="1408"/>
                </a:cubicBezTo>
                <a:cubicBezTo>
                  <a:pt x="2279" y="1408"/>
                  <a:pt x="2279" y="1408"/>
                  <a:pt x="2279" y="1418"/>
                </a:cubicBezTo>
                <a:cubicBezTo>
                  <a:pt x="2282" y="1417"/>
                  <a:pt x="2285" y="1416"/>
                  <a:pt x="2288" y="1415"/>
                </a:cubicBezTo>
                <a:cubicBezTo>
                  <a:pt x="2290" y="1414"/>
                  <a:pt x="2293" y="1413"/>
                  <a:pt x="2295" y="1411"/>
                </a:cubicBezTo>
                <a:cubicBezTo>
                  <a:pt x="2295" y="1411"/>
                  <a:pt x="2295" y="1411"/>
                  <a:pt x="2295" y="1470"/>
                </a:cubicBezTo>
                <a:cubicBezTo>
                  <a:pt x="2295" y="1470"/>
                  <a:pt x="2295" y="1470"/>
                  <a:pt x="2307" y="1470"/>
                </a:cubicBezTo>
                <a:cubicBezTo>
                  <a:pt x="2307" y="1470"/>
                  <a:pt x="2307" y="1470"/>
                  <a:pt x="2307" y="1397"/>
                </a:cubicBezTo>
                <a:close/>
                <a:moveTo>
                  <a:pt x="2354" y="1397"/>
                </a:moveTo>
                <a:cubicBezTo>
                  <a:pt x="2354" y="1397"/>
                  <a:pt x="2354" y="1397"/>
                  <a:pt x="2354" y="1397"/>
                </a:cubicBezTo>
                <a:cubicBezTo>
                  <a:pt x="2349" y="1397"/>
                  <a:pt x="2349" y="1397"/>
                  <a:pt x="2349" y="1397"/>
                </a:cubicBezTo>
                <a:cubicBezTo>
                  <a:pt x="2346" y="1398"/>
                  <a:pt x="2345" y="1400"/>
                  <a:pt x="2343" y="1400"/>
                </a:cubicBezTo>
                <a:cubicBezTo>
                  <a:pt x="2341" y="1402"/>
                  <a:pt x="2339" y="1402"/>
                  <a:pt x="2338" y="1403"/>
                </a:cubicBezTo>
                <a:cubicBezTo>
                  <a:pt x="2336" y="1405"/>
                  <a:pt x="2334" y="1405"/>
                  <a:pt x="2332" y="1406"/>
                </a:cubicBezTo>
                <a:cubicBezTo>
                  <a:pt x="2330" y="1407"/>
                  <a:pt x="2329" y="1408"/>
                  <a:pt x="2326" y="1408"/>
                </a:cubicBezTo>
                <a:cubicBezTo>
                  <a:pt x="2326" y="1408"/>
                  <a:pt x="2326" y="1408"/>
                  <a:pt x="2326" y="1418"/>
                </a:cubicBezTo>
                <a:cubicBezTo>
                  <a:pt x="2329" y="1417"/>
                  <a:pt x="2332" y="1416"/>
                  <a:pt x="2335" y="1415"/>
                </a:cubicBezTo>
                <a:cubicBezTo>
                  <a:pt x="2338" y="1414"/>
                  <a:pt x="2340" y="1413"/>
                  <a:pt x="2342" y="1411"/>
                </a:cubicBezTo>
                <a:cubicBezTo>
                  <a:pt x="2342" y="1411"/>
                  <a:pt x="2342" y="1411"/>
                  <a:pt x="2342" y="1470"/>
                </a:cubicBezTo>
                <a:cubicBezTo>
                  <a:pt x="2342" y="1470"/>
                  <a:pt x="2342" y="1470"/>
                  <a:pt x="2354" y="1470"/>
                </a:cubicBezTo>
                <a:cubicBezTo>
                  <a:pt x="2354" y="1470"/>
                  <a:pt x="2354" y="1470"/>
                  <a:pt x="2354" y="1397"/>
                </a:cubicBezTo>
                <a:close/>
                <a:moveTo>
                  <a:pt x="2399" y="1397"/>
                </a:moveTo>
                <a:cubicBezTo>
                  <a:pt x="2399" y="1397"/>
                  <a:pt x="2399" y="1397"/>
                  <a:pt x="2399" y="1397"/>
                </a:cubicBezTo>
                <a:cubicBezTo>
                  <a:pt x="2395" y="1397"/>
                  <a:pt x="2395" y="1397"/>
                  <a:pt x="2395" y="1397"/>
                </a:cubicBezTo>
                <a:cubicBezTo>
                  <a:pt x="2393" y="1398"/>
                  <a:pt x="2391" y="1400"/>
                  <a:pt x="2389" y="1400"/>
                </a:cubicBezTo>
                <a:cubicBezTo>
                  <a:pt x="2388" y="1402"/>
                  <a:pt x="2386" y="1402"/>
                  <a:pt x="2384" y="1403"/>
                </a:cubicBezTo>
                <a:cubicBezTo>
                  <a:pt x="2382" y="1404"/>
                  <a:pt x="2381" y="1405"/>
                  <a:pt x="2378" y="1405"/>
                </a:cubicBezTo>
                <a:cubicBezTo>
                  <a:pt x="2377" y="1406"/>
                  <a:pt x="2375" y="1407"/>
                  <a:pt x="2373" y="1408"/>
                </a:cubicBezTo>
                <a:cubicBezTo>
                  <a:pt x="2373" y="1408"/>
                  <a:pt x="2373" y="1408"/>
                  <a:pt x="2373" y="1418"/>
                </a:cubicBezTo>
                <a:cubicBezTo>
                  <a:pt x="2376" y="1417"/>
                  <a:pt x="2379" y="1416"/>
                  <a:pt x="2381" y="1415"/>
                </a:cubicBezTo>
                <a:cubicBezTo>
                  <a:pt x="2384" y="1414"/>
                  <a:pt x="2386" y="1413"/>
                  <a:pt x="2388" y="1411"/>
                </a:cubicBezTo>
                <a:cubicBezTo>
                  <a:pt x="2388" y="1411"/>
                  <a:pt x="2388" y="1411"/>
                  <a:pt x="2388" y="1470"/>
                </a:cubicBezTo>
                <a:cubicBezTo>
                  <a:pt x="2388" y="1470"/>
                  <a:pt x="2388" y="1470"/>
                  <a:pt x="2399" y="1470"/>
                </a:cubicBezTo>
                <a:cubicBezTo>
                  <a:pt x="2399" y="1470"/>
                  <a:pt x="2399" y="1470"/>
                  <a:pt x="2399" y="1397"/>
                </a:cubicBezTo>
                <a:close/>
                <a:moveTo>
                  <a:pt x="1965" y="1470"/>
                </a:moveTo>
                <a:cubicBezTo>
                  <a:pt x="1958" y="1470"/>
                  <a:pt x="1951" y="1467"/>
                  <a:pt x="1948" y="1461"/>
                </a:cubicBezTo>
                <a:cubicBezTo>
                  <a:pt x="1943" y="1455"/>
                  <a:pt x="1941" y="1446"/>
                  <a:pt x="1941" y="1434"/>
                </a:cubicBezTo>
                <a:cubicBezTo>
                  <a:pt x="1941" y="1421"/>
                  <a:pt x="1943" y="1411"/>
                  <a:pt x="1948" y="1404"/>
                </a:cubicBezTo>
                <a:cubicBezTo>
                  <a:pt x="1952" y="1398"/>
                  <a:pt x="1959" y="1394"/>
                  <a:pt x="1967" y="1394"/>
                </a:cubicBezTo>
                <a:cubicBezTo>
                  <a:pt x="1983" y="1394"/>
                  <a:pt x="1991" y="1407"/>
                  <a:pt x="1991" y="1432"/>
                </a:cubicBezTo>
                <a:cubicBezTo>
                  <a:pt x="1991" y="1445"/>
                  <a:pt x="1989" y="1454"/>
                  <a:pt x="1985" y="1461"/>
                </a:cubicBezTo>
                <a:cubicBezTo>
                  <a:pt x="1980" y="1467"/>
                  <a:pt x="1974" y="1470"/>
                  <a:pt x="1965" y="1470"/>
                </a:cubicBezTo>
                <a:close/>
                <a:moveTo>
                  <a:pt x="1967" y="1404"/>
                </a:moveTo>
                <a:cubicBezTo>
                  <a:pt x="1958" y="1404"/>
                  <a:pt x="1953" y="1414"/>
                  <a:pt x="1953" y="1434"/>
                </a:cubicBezTo>
                <a:cubicBezTo>
                  <a:pt x="1953" y="1452"/>
                  <a:pt x="1957" y="1461"/>
                  <a:pt x="1966" y="1461"/>
                </a:cubicBezTo>
                <a:cubicBezTo>
                  <a:pt x="1975" y="1461"/>
                  <a:pt x="1979" y="1452"/>
                  <a:pt x="1979" y="1433"/>
                </a:cubicBezTo>
                <a:cubicBezTo>
                  <a:pt x="1979" y="1413"/>
                  <a:pt x="1975" y="1404"/>
                  <a:pt x="1967" y="1404"/>
                </a:cubicBezTo>
                <a:close/>
                <a:moveTo>
                  <a:pt x="2026" y="1397"/>
                </a:moveTo>
                <a:cubicBezTo>
                  <a:pt x="2026" y="1397"/>
                  <a:pt x="2026" y="1397"/>
                  <a:pt x="2026" y="1397"/>
                </a:cubicBezTo>
                <a:cubicBezTo>
                  <a:pt x="2021" y="1397"/>
                  <a:pt x="2021" y="1397"/>
                  <a:pt x="2021" y="1397"/>
                </a:cubicBezTo>
                <a:cubicBezTo>
                  <a:pt x="2019" y="1398"/>
                  <a:pt x="2018" y="1400"/>
                  <a:pt x="2015" y="1400"/>
                </a:cubicBezTo>
                <a:cubicBezTo>
                  <a:pt x="2014" y="1402"/>
                  <a:pt x="2012" y="1402"/>
                  <a:pt x="2010" y="1403"/>
                </a:cubicBezTo>
                <a:cubicBezTo>
                  <a:pt x="2009" y="1405"/>
                  <a:pt x="2006" y="1405"/>
                  <a:pt x="2005" y="1406"/>
                </a:cubicBezTo>
                <a:cubicBezTo>
                  <a:pt x="2003" y="1407"/>
                  <a:pt x="2001" y="1408"/>
                  <a:pt x="1999" y="1408"/>
                </a:cubicBezTo>
                <a:cubicBezTo>
                  <a:pt x="1999" y="1408"/>
                  <a:pt x="1999" y="1408"/>
                  <a:pt x="1999" y="1418"/>
                </a:cubicBezTo>
                <a:cubicBezTo>
                  <a:pt x="2002" y="1417"/>
                  <a:pt x="2005" y="1416"/>
                  <a:pt x="2008" y="1415"/>
                </a:cubicBezTo>
                <a:cubicBezTo>
                  <a:pt x="2010" y="1414"/>
                  <a:pt x="2012" y="1413"/>
                  <a:pt x="2015" y="1411"/>
                </a:cubicBezTo>
                <a:cubicBezTo>
                  <a:pt x="2015" y="1411"/>
                  <a:pt x="2015" y="1411"/>
                  <a:pt x="2015" y="1470"/>
                </a:cubicBezTo>
                <a:cubicBezTo>
                  <a:pt x="2015" y="1470"/>
                  <a:pt x="2015" y="1470"/>
                  <a:pt x="2026" y="1470"/>
                </a:cubicBezTo>
                <a:cubicBezTo>
                  <a:pt x="2026" y="1470"/>
                  <a:pt x="2026" y="1470"/>
                  <a:pt x="2026" y="1397"/>
                </a:cubicBezTo>
                <a:close/>
                <a:moveTo>
                  <a:pt x="2073" y="1397"/>
                </a:moveTo>
                <a:cubicBezTo>
                  <a:pt x="2073" y="1397"/>
                  <a:pt x="2073" y="1397"/>
                  <a:pt x="2073" y="1397"/>
                </a:cubicBezTo>
                <a:cubicBezTo>
                  <a:pt x="2068" y="1397"/>
                  <a:pt x="2068" y="1397"/>
                  <a:pt x="2068" y="1397"/>
                </a:cubicBezTo>
                <a:cubicBezTo>
                  <a:pt x="2066" y="1398"/>
                  <a:pt x="2065" y="1400"/>
                  <a:pt x="2062" y="1400"/>
                </a:cubicBezTo>
                <a:cubicBezTo>
                  <a:pt x="2061" y="1402"/>
                  <a:pt x="2059" y="1402"/>
                  <a:pt x="2057" y="1403"/>
                </a:cubicBezTo>
                <a:cubicBezTo>
                  <a:pt x="2056" y="1405"/>
                  <a:pt x="2053" y="1405"/>
                  <a:pt x="2052" y="1406"/>
                </a:cubicBezTo>
                <a:cubicBezTo>
                  <a:pt x="2050" y="1407"/>
                  <a:pt x="2048" y="1408"/>
                  <a:pt x="2046" y="1408"/>
                </a:cubicBezTo>
                <a:cubicBezTo>
                  <a:pt x="2046" y="1408"/>
                  <a:pt x="2046" y="1408"/>
                  <a:pt x="2046" y="1418"/>
                </a:cubicBezTo>
                <a:cubicBezTo>
                  <a:pt x="2049" y="1417"/>
                  <a:pt x="2052" y="1416"/>
                  <a:pt x="2054" y="1415"/>
                </a:cubicBezTo>
                <a:cubicBezTo>
                  <a:pt x="2057" y="1414"/>
                  <a:pt x="2059" y="1413"/>
                  <a:pt x="2062" y="1411"/>
                </a:cubicBezTo>
                <a:cubicBezTo>
                  <a:pt x="2062" y="1411"/>
                  <a:pt x="2062" y="1411"/>
                  <a:pt x="2062" y="1470"/>
                </a:cubicBezTo>
                <a:cubicBezTo>
                  <a:pt x="2062" y="1470"/>
                  <a:pt x="2062" y="1470"/>
                  <a:pt x="2073" y="1470"/>
                </a:cubicBezTo>
                <a:cubicBezTo>
                  <a:pt x="2073" y="1470"/>
                  <a:pt x="2073" y="1470"/>
                  <a:pt x="2073" y="1397"/>
                </a:cubicBezTo>
                <a:close/>
                <a:moveTo>
                  <a:pt x="2119" y="1397"/>
                </a:moveTo>
                <a:cubicBezTo>
                  <a:pt x="2119" y="1397"/>
                  <a:pt x="2119" y="1397"/>
                  <a:pt x="2119" y="1397"/>
                </a:cubicBezTo>
                <a:cubicBezTo>
                  <a:pt x="2115" y="1397"/>
                  <a:pt x="2115" y="1397"/>
                  <a:pt x="2115" y="1397"/>
                </a:cubicBezTo>
                <a:cubicBezTo>
                  <a:pt x="2113" y="1398"/>
                  <a:pt x="2111" y="1400"/>
                  <a:pt x="2109" y="1400"/>
                </a:cubicBezTo>
                <a:cubicBezTo>
                  <a:pt x="2108" y="1402"/>
                  <a:pt x="2105" y="1402"/>
                  <a:pt x="2104" y="1403"/>
                </a:cubicBezTo>
                <a:cubicBezTo>
                  <a:pt x="2102" y="1404"/>
                  <a:pt x="2100" y="1405"/>
                  <a:pt x="2098" y="1405"/>
                </a:cubicBezTo>
                <a:cubicBezTo>
                  <a:pt x="2097" y="1406"/>
                  <a:pt x="2095" y="1407"/>
                  <a:pt x="2093" y="1408"/>
                </a:cubicBezTo>
                <a:cubicBezTo>
                  <a:pt x="2093" y="1408"/>
                  <a:pt x="2093" y="1408"/>
                  <a:pt x="2093" y="1418"/>
                </a:cubicBezTo>
                <a:cubicBezTo>
                  <a:pt x="2096" y="1417"/>
                  <a:pt x="2099" y="1416"/>
                  <a:pt x="2101" y="1415"/>
                </a:cubicBezTo>
                <a:cubicBezTo>
                  <a:pt x="2103" y="1414"/>
                  <a:pt x="2106" y="1413"/>
                  <a:pt x="2108" y="1411"/>
                </a:cubicBezTo>
                <a:cubicBezTo>
                  <a:pt x="2108" y="1411"/>
                  <a:pt x="2108" y="1411"/>
                  <a:pt x="2108" y="1470"/>
                </a:cubicBezTo>
                <a:cubicBezTo>
                  <a:pt x="2108" y="1470"/>
                  <a:pt x="2108" y="1470"/>
                  <a:pt x="2119" y="1470"/>
                </a:cubicBezTo>
                <a:cubicBezTo>
                  <a:pt x="2119" y="1470"/>
                  <a:pt x="2119" y="1470"/>
                  <a:pt x="2119" y="1397"/>
                </a:cubicBezTo>
                <a:close/>
                <a:moveTo>
                  <a:pt x="1978" y="1696"/>
                </a:moveTo>
                <a:cubicBezTo>
                  <a:pt x="1978" y="1696"/>
                  <a:pt x="1978" y="1696"/>
                  <a:pt x="1978" y="1696"/>
                </a:cubicBezTo>
                <a:cubicBezTo>
                  <a:pt x="1973" y="1696"/>
                  <a:pt x="1973" y="1696"/>
                  <a:pt x="1973" y="1696"/>
                </a:cubicBezTo>
                <a:cubicBezTo>
                  <a:pt x="1971" y="1697"/>
                  <a:pt x="1969" y="1699"/>
                  <a:pt x="1967" y="1699"/>
                </a:cubicBezTo>
                <a:cubicBezTo>
                  <a:pt x="1966" y="1701"/>
                  <a:pt x="1963" y="1702"/>
                  <a:pt x="1962" y="1702"/>
                </a:cubicBezTo>
                <a:cubicBezTo>
                  <a:pt x="1960" y="1704"/>
                  <a:pt x="1958" y="1704"/>
                  <a:pt x="1957" y="1705"/>
                </a:cubicBezTo>
                <a:cubicBezTo>
                  <a:pt x="1955" y="1706"/>
                  <a:pt x="1953" y="1707"/>
                  <a:pt x="1951" y="1707"/>
                </a:cubicBezTo>
                <a:cubicBezTo>
                  <a:pt x="1951" y="1707"/>
                  <a:pt x="1951" y="1707"/>
                  <a:pt x="1951" y="1717"/>
                </a:cubicBezTo>
                <a:cubicBezTo>
                  <a:pt x="1954" y="1716"/>
                  <a:pt x="1957" y="1715"/>
                  <a:pt x="1959" y="1714"/>
                </a:cubicBezTo>
                <a:cubicBezTo>
                  <a:pt x="1962" y="1713"/>
                  <a:pt x="1964" y="1712"/>
                  <a:pt x="1966" y="1710"/>
                </a:cubicBezTo>
                <a:cubicBezTo>
                  <a:pt x="1966" y="1710"/>
                  <a:pt x="1966" y="1710"/>
                  <a:pt x="1966" y="1769"/>
                </a:cubicBezTo>
                <a:cubicBezTo>
                  <a:pt x="1966" y="1769"/>
                  <a:pt x="1966" y="1769"/>
                  <a:pt x="1978" y="1769"/>
                </a:cubicBezTo>
                <a:cubicBezTo>
                  <a:pt x="1978" y="1769"/>
                  <a:pt x="1978" y="1769"/>
                  <a:pt x="1978" y="1696"/>
                </a:cubicBezTo>
                <a:close/>
                <a:moveTo>
                  <a:pt x="1978" y="1592"/>
                </a:moveTo>
                <a:cubicBezTo>
                  <a:pt x="1978" y="1592"/>
                  <a:pt x="1978" y="1592"/>
                  <a:pt x="1978" y="1592"/>
                </a:cubicBezTo>
                <a:cubicBezTo>
                  <a:pt x="1974" y="1592"/>
                  <a:pt x="1974" y="1592"/>
                  <a:pt x="1974" y="1592"/>
                </a:cubicBezTo>
                <a:cubicBezTo>
                  <a:pt x="1972" y="1593"/>
                  <a:pt x="1970" y="1594"/>
                  <a:pt x="1968" y="1595"/>
                </a:cubicBezTo>
                <a:cubicBezTo>
                  <a:pt x="1967" y="1597"/>
                  <a:pt x="1965" y="1597"/>
                  <a:pt x="1963" y="1598"/>
                </a:cubicBezTo>
                <a:cubicBezTo>
                  <a:pt x="1961" y="1599"/>
                  <a:pt x="1960" y="1600"/>
                  <a:pt x="1958" y="1600"/>
                </a:cubicBezTo>
                <a:cubicBezTo>
                  <a:pt x="1956" y="1601"/>
                  <a:pt x="1954" y="1602"/>
                  <a:pt x="1952" y="1602"/>
                </a:cubicBezTo>
                <a:cubicBezTo>
                  <a:pt x="1952" y="1602"/>
                  <a:pt x="1952" y="1602"/>
                  <a:pt x="1952" y="1613"/>
                </a:cubicBezTo>
                <a:cubicBezTo>
                  <a:pt x="1955" y="1612"/>
                  <a:pt x="1958" y="1610"/>
                  <a:pt x="1960" y="1610"/>
                </a:cubicBezTo>
                <a:cubicBezTo>
                  <a:pt x="1963" y="1609"/>
                  <a:pt x="1965" y="1608"/>
                  <a:pt x="1967" y="1606"/>
                </a:cubicBezTo>
                <a:cubicBezTo>
                  <a:pt x="1967" y="1606"/>
                  <a:pt x="1967" y="1606"/>
                  <a:pt x="1967" y="1665"/>
                </a:cubicBezTo>
                <a:cubicBezTo>
                  <a:pt x="1967" y="1665"/>
                  <a:pt x="1967" y="1665"/>
                  <a:pt x="1978" y="1665"/>
                </a:cubicBezTo>
                <a:cubicBezTo>
                  <a:pt x="1978" y="1665"/>
                  <a:pt x="1978" y="1665"/>
                  <a:pt x="1978" y="1592"/>
                </a:cubicBezTo>
                <a:close/>
                <a:moveTo>
                  <a:pt x="2922" y="1380"/>
                </a:moveTo>
                <a:cubicBezTo>
                  <a:pt x="2915" y="1380"/>
                  <a:pt x="2908" y="1377"/>
                  <a:pt x="2904" y="1371"/>
                </a:cubicBezTo>
                <a:cubicBezTo>
                  <a:pt x="2900" y="1364"/>
                  <a:pt x="2898" y="1356"/>
                  <a:pt x="2898" y="1343"/>
                </a:cubicBezTo>
                <a:cubicBezTo>
                  <a:pt x="2898" y="1330"/>
                  <a:pt x="2900" y="1320"/>
                  <a:pt x="2905" y="1314"/>
                </a:cubicBezTo>
                <a:cubicBezTo>
                  <a:pt x="2909" y="1307"/>
                  <a:pt x="2916" y="1304"/>
                  <a:pt x="2924" y="1304"/>
                </a:cubicBezTo>
                <a:cubicBezTo>
                  <a:pt x="2940" y="1304"/>
                  <a:pt x="2948" y="1316"/>
                  <a:pt x="2948" y="1342"/>
                </a:cubicBezTo>
                <a:cubicBezTo>
                  <a:pt x="2948" y="1354"/>
                  <a:pt x="2946" y="1364"/>
                  <a:pt x="2941" y="1370"/>
                </a:cubicBezTo>
                <a:cubicBezTo>
                  <a:pt x="2937" y="1377"/>
                  <a:pt x="2930" y="1380"/>
                  <a:pt x="2922" y="1380"/>
                </a:cubicBezTo>
                <a:close/>
                <a:moveTo>
                  <a:pt x="2924" y="1313"/>
                </a:moveTo>
                <a:cubicBezTo>
                  <a:pt x="2914" y="1313"/>
                  <a:pt x="2910" y="1323"/>
                  <a:pt x="2910" y="1343"/>
                </a:cubicBezTo>
                <a:cubicBezTo>
                  <a:pt x="2910" y="1362"/>
                  <a:pt x="2914" y="1370"/>
                  <a:pt x="2923" y="1370"/>
                </a:cubicBezTo>
                <a:cubicBezTo>
                  <a:pt x="2932" y="1370"/>
                  <a:pt x="2936" y="1362"/>
                  <a:pt x="2936" y="1342"/>
                </a:cubicBezTo>
                <a:cubicBezTo>
                  <a:pt x="2936" y="1323"/>
                  <a:pt x="2932" y="1313"/>
                  <a:pt x="2924" y="1313"/>
                </a:cubicBezTo>
                <a:close/>
                <a:moveTo>
                  <a:pt x="2996" y="1306"/>
                </a:moveTo>
                <a:cubicBezTo>
                  <a:pt x="2996" y="1306"/>
                  <a:pt x="2996" y="1306"/>
                  <a:pt x="2996" y="1306"/>
                </a:cubicBezTo>
                <a:cubicBezTo>
                  <a:pt x="2991" y="1306"/>
                  <a:pt x="2991" y="1306"/>
                  <a:pt x="2991" y="1306"/>
                </a:cubicBezTo>
                <a:cubicBezTo>
                  <a:pt x="2989" y="1308"/>
                  <a:pt x="2987" y="1309"/>
                  <a:pt x="2985" y="1310"/>
                </a:cubicBezTo>
                <a:cubicBezTo>
                  <a:pt x="2984" y="1312"/>
                  <a:pt x="2981" y="1312"/>
                  <a:pt x="2980" y="1313"/>
                </a:cubicBezTo>
                <a:cubicBezTo>
                  <a:pt x="2978" y="1314"/>
                  <a:pt x="2976" y="1314"/>
                  <a:pt x="2975" y="1315"/>
                </a:cubicBezTo>
                <a:cubicBezTo>
                  <a:pt x="2973" y="1316"/>
                  <a:pt x="2971" y="1317"/>
                  <a:pt x="2969" y="1317"/>
                </a:cubicBezTo>
                <a:cubicBezTo>
                  <a:pt x="2969" y="1317"/>
                  <a:pt x="2969" y="1317"/>
                  <a:pt x="2969" y="1328"/>
                </a:cubicBezTo>
                <a:cubicBezTo>
                  <a:pt x="2972" y="1327"/>
                  <a:pt x="2975" y="1325"/>
                  <a:pt x="2977" y="1325"/>
                </a:cubicBezTo>
                <a:cubicBezTo>
                  <a:pt x="2980" y="1324"/>
                  <a:pt x="2982" y="1322"/>
                  <a:pt x="2984" y="1321"/>
                </a:cubicBezTo>
                <a:cubicBezTo>
                  <a:pt x="2984" y="1321"/>
                  <a:pt x="2984" y="1321"/>
                  <a:pt x="2984" y="1380"/>
                </a:cubicBezTo>
                <a:cubicBezTo>
                  <a:pt x="2984" y="1380"/>
                  <a:pt x="2984" y="1380"/>
                  <a:pt x="2996" y="1380"/>
                </a:cubicBezTo>
                <a:cubicBezTo>
                  <a:pt x="2996" y="1380"/>
                  <a:pt x="2996" y="1380"/>
                  <a:pt x="2996" y="1306"/>
                </a:cubicBezTo>
                <a:close/>
                <a:moveTo>
                  <a:pt x="3043" y="1306"/>
                </a:moveTo>
                <a:cubicBezTo>
                  <a:pt x="3043" y="1306"/>
                  <a:pt x="3043" y="1306"/>
                  <a:pt x="3043" y="1306"/>
                </a:cubicBezTo>
                <a:cubicBezTo>
                  <a:pt x="3038" y="1306"/>
                  <a:pt x="3038" y="1306"/>
                  <a:pt x="3038" y="1306"/>
                </a:cubicBezTo>
                <a:cubicBezTo>
                  <a:pt x="3036" y="1308"/>
                  <a:pt x="3034" y="1309"/>
                  <a:pt x="3032" y="1310"/>
                </a:cubicBezTo>
                <a:cubicBezTo>
                  <a:pt x="3031" y="1312"/>
                  <a:pt x="3029" y="1312"/>
                  <a:pt x="3027" y="1313"/>
                </a:cubicBezTo>
                <a:cubicBezTo>
                  <a:pt x="3026" y="1314"/>
                  <a:pt x="3024" y="1315"/>
                  <a:pt x="3022" y="1316"/>
                </a:cubicBezTo>
                <a:cubicBezTo>
                  <a:pt x="3020" y="1317"/>
                  <a:pt x="3019" y="1317"/>
                  <a:pt x="3017" y="1317"/>
                </a:cubicBezTo>
                <a:cubicBezTo>
                  <a:pt x="3017" y="1317"/>
                  <a:pt x="3017" y="1317"/>
                  <a:pt x="3017" y="1328"/>
                </a:cubicBezTo>
                <a:cubicBezTo>
                  <a:pt x="3020" y="1327"/>
                  <a:pt x="3022" y="1326"/>
                  <a:pt x="3025" y="1325"/>
                </a:cubicBezTo>
                <a:cubicBezTo>
                  <a:pt x="3027" y="1324"/>
                  <a:pt x="3029" y="1322"/>
                  <a:pt x="3032" y="1321"/>
                </a:cubicBezTo>
                <a:cubicBezTo>
                  <a:pt x="3032" y="1321"/>
                  <a:pt x="3032" y="1321"/>
                  <a:pt x="3032" y="1380"/>
                </a:cubicBezTo>
                <a:cubicBezTo>
                  <a:pt x="3032" y="1380"/>
                  <a:pt x="3032" y="1380"/>
                  <a:pt x="3043" y="1380"/>
                </a:cubicBezTo>
                <a:cubicBezTo>
                  <a:pt x="3043" y="1380"/>
                  <a:pt x="3043" y="1380"/>
                  <a:pt x="3043" y="1306"/>
                </a:cubicBezTo>
                <a:close/>
                <a:moveTo>
                  <a:pt x="3090" y="1306"/>
                </a:moveTo>
                <a:cubicBezTo>
                  <a:pt x="3090" y="1306"/>
                  <a:pt x="3090" y="1306"/>
                  <a:pt x="3090" y="1306"/>
                </a:cubicBezTo>
                <a:cubicBezTo>
                  <a:pt x="3085" y="1306"/>
                  <a:pt x="3085" y="1306"/>
                  <a:pt x="3085" y="1306"/>
                </a:cubicBezTo>
                <a:cubicBezTo>
                  <a:pt x="3083" y="1308"/>
                  <a:pt x="3082" y="1309"/>
                  <a:pt x="3080" y="1310"/>
                </a:cubicBezTo>
                <a:cubicBezTo>
                  <a:pt x="3078" y="1312"/>
                  <a:pt x="3076" y="1312"/>
                  <a:pt x="3074" y="1313"/>
                </a:cubicBezTo>
                <a:cubicBezTo>
                  <a:pt x="3072" y="1314"/>
                  <a:pt x="3071" y="1315"/>
                  <a:pt x="3069" y="1316"/>
                </a:cubicBezTo>
                <a:cubicBezTo>
                  <a:pt x="3067" y="1317"/>
                  <a:pt x="3065" y="1317"/>
                  <a:pt x="3064" y="1317"/>
                </a:cubicBezTo>
                <a:cubicBezTo>
                  <a:pt x="3064" y="1317"/>
                  <a:pt x="3064" y="1317"/>
                  <a:pt x="3064" y="1328"/>
                </a:cubicBezTo>
                <a:cubicBezTo>
                  <a:pt x="3067" y="1327"/>
                  <a:pt x="3069" y="1326"/>
                  <a:pt x="3072" y="1325"/>
                </a:cubicBezTo>
                <a:cubicBezTo>
                  <a:pt x="3074" y="1324"/>
                  <a:pt x="3077" y="1322"/>
                  <a:pt x="3078" y="1321"/>
                </a:cubicBezTo>
                <a:cubicBezTo>
                  <a:pt x="3078" y="1321"/>
                  <a:pt x="3078" y="1321"/>
                  <a:pt x="3078" y="1380"/>
                </a:cubicBezTo>
                <a:cubicBezTo>
                  <a:pt x="3078" y="1380"/>
                  <a:pt x="3078" y="1380"/>
                  <a:pt x="3090" y="1380"/>
                </a:cubicBezTo>
                <a:cubicBezTo>
                  <a:pt x="3090" y="1380"/>
                  <a:pt x="3090" y="1380"/>
                  <a:pt x="3090" y="1306"/>
                </a:cubicBezTo>
                <a:close/>
                <a:moveTo>
                  <a:pt x="3137" y="1306"/>
                </a:moveTo>
                <a:cubicBezTo>
                  <a:pt x="3137" y="1306"/>
                  <a:pt x="3137" y="1306"/>
                  <a:pt x="3137" y="1306"/>
                </a:cubicBezTo>
                <a:cubicBezTo>
                  <a:pt x="3132" y="1306"/>
                  <a:pt x="3132" y="1306"/>
                  <a:pt x="3132" y="1306"/>
                </a:cubicBezTo>
                <a:cubicBezTo>
                  <a:pt x="3130" y="1308"/>
                  <a:pt x="3128" y="1309"/>
                  <a:pt x="3126" y="1310"/>
                </a:cubicBezTo>
                <a:cubicBezTo>
                  <a:pt x="3125" y="1312"/>
                  <a:pt x="3123" y="1312"/>
                  <a:pt x="3121" y="1313"/>
                </a:cubicBezTo>
                <a:cubicBezTo>
                  <a:pt x="3120" y="1314"/>
                  <a:pt x="3118" y="1315"/>
                  <a:pt x="3116" y="1316"/>
                </a:cubicBezTo>
                <a:cubicBezTo>
                  <a:pt x="3114" y="1317"/>
                  <a:pt x="3112" y="1317"/>
                  <a:pt x="3110" y="1317"/>
                </a:cubicBezTo>
                <a:cubicBezTo>
                  <a:pt x="3110" y="1317"/>
                  <a:pt x="3110" y="1317"/>
                  <a:pt x="3110" y="1328"/>
                </a:cubicBezTo>
                <a:cubicBezTo>
                  <a:pt x="3113" y="1327"/>
                  <a:pt x="3116" y="1326"/>
                  <a:pt x="3118" y="1325"/>
                </a:cubicBezTo>
                <a:cubicBezTo>
                  <a:pt x="3121" y="1324"/>
                  <a:pt x="3123" y="1322"/>
                  <a:pt x="3126" y="1321"/>
                </a:cubicBezTo>
                <a:cubicBezTo>
                  <a:pt x="3126" y="1321"/>
                  <a:pt x="3126" y="1321"/>
                  <a:pt x="3126" y="1380"/>
                </a:cubicBezTo>
                <a:cubicBezTo>
                  <a:pt x="3126" y="1380"/>
                  <a:pt x="3126" y="1380"/>
                  <a:pt x="3137" y="1380"/>
                </a:cubicBezTo>
                <a:cubicBezTo>
                  <a:pt x="3137" y="1380"/>
                  <a:pt x="3137" y="1380"/>
                  <a:pt x="3137" y="1306"/>
                </a:cubicBezTo>
                <a:close/>
                <a:moveTo>
                  <a:pt x="3260" y="1306"/>
                </a:moveTo>
                <a:cubicBezTo>
                  <a:pt x="3260" y="1306"/>
                  <a:pt x="3260" y="1306"/>
                  <a:pt x="3260" y="1306"/>
                </a:cubicBezTo>
                <a:cubicBezTo>
                  <a:pt x="3255" y="1306"/>
                  <a:pt x="3255" y="1306"/>
                  <a:pt x="3255" y="1306"/>
                </a:cubicBezTo>
                <a:cubicBezTo>
                  <a:pt x="3253" y="1308"/>
                  <a:pt x="3252" y="1309"/>
                  <a:pt x="3250" y="1310"/>
                </a:cubicBezTo>
                <a:cubicBezTo>
                  <a:pt x="3248" y="1312"/>
                  <a:pt x="3247" y="1312"/>
                  <a:pt x="3245" y="1313"/>
                </a:cubicBezTo>
                <a:cubicBezTo>
                  <a:pt x="3243" y="1314"/>
                  <a:pt x="3241" y="1315"/>
                  <a:pt x="3239" y="1316"/>
                </a:cubicBezTo>
                <a:cubicBezTo>
                  <a:pt x="3237" y="1317"/>
                  <a:pt x="3236" y="1317"/>
                  <a:pt x="3234" y="1317"/>
                </a:cubicBezTo>
                <a:cubicBezTo>
                  <a:pt x="3234" y="1317"/>
                  <a:pt x="3234" y="1317"/>
                  <a:pt x="3234" y="1328"/>
                </a:cubicBezTo>
                <a:cubicBezTo>
                  <a:pt x="3237" y="1327"/>
                  <a:pt x="3239" y="1326"/>
                  <a:pt x="3242" y="1325"/>
                </a:cubicBezTo>
                <a:cubicBezTo>
                  <a:pt x="3245" y="1324"/>
                  <a:pt x="3247" y="1322"/>
                  <a:pt x="3249" y="1321"/>
                </a:cubicBezTo>
                <a:cubicBezTo>
                  <a:pt x="3249" y="1321"/>
                  <a:pt x="3249" y="1321"/>
                  <a:pt x="3249" y="1380"/>
                </a:cubicBezTo>
                <a:cubicBezTo>
                  <a:pt x="3249" y="1380"/>
                  <a:pt x="3249" y="1380"/>
                  <a:pt x="3260" y="1380"/>
                </a:cubicBezTo>
                <a:cubicBezTo>
                  <a:pt x="3260" y="1380"/>
                  <a:pt x="3260" y="1380"/>
                  <a:pt x="3260" y="1306"/>
                </a:cubicBezTo>
                <a:close/>
                <a:moveTo>
                  <a:pt x="3308" y="1306"/>
                </a:moveTo>
                <a:cubicBezTo>
                  <a:pt x="3308" y="1306"/>
                  <a:pt x="3308" y="1306"/>
                  <a:pt x="3308" y="1306"/>
                </a:cubicBezTo>
                <a:cubicBezTo>
                  <a:pt x="3303" y="1306"/>
                  <a:pt x="3303" y="1306"/>
                  <a:pt x="3303" y="1306"/>
                </a:cubicBezTo>
                <a:cubicBezTo>
                  <a:pt x="3301" y="1308"/>
                  <a:pt x="3299" y="1309"/>
                  <a:pt x="3297" y="1310"/>
                </a:cubicBezTo>
                <a:cubicBezTo>
                  <a:pt x="3296" y="1312"/>
                  <a:pt x="3293" y="1312"/>
                  <a:pt x="3292" y="1313"/>
                </a:cubicBezTo>
                <a:cubicBezTo>
                  <a:pt x="3291" y="1314"/>
                  <a:pt x="3288" y="1315"/>
                  <a:pt x="3287" y="1316"/>
                </a:cubicBezTo>
                <a:cubicBezTo>
                  <a:pt x="3285" y="1317"/>
                  <a:pt x="3283" y="1317"/>
                  <a:pt x="3281" y="1317"/>
                </a:cubicBezTo>
                <a:cubicBezTo>
                  <a:pt x="3281" y="1317"/>
                  <a:pt x="3281" y="1317"/>
                  <a:pt x="3281" y="1328"/>
                </a:cubicBezTo>
                <a:cubicBezTo>
                  <a:pt x="3284" y="1327"/>
                  <a:pt x="3287" y="1326"/>
                  <a:pt x="3289" y="1325"/>
                </a:cubicBezTo>
                <a:cubicBezTo>
                  <a:pt x="3292" y="1324"/>
                  <a:pt x="3294" y="1322"/>
                  <a:pt x="3296" y="1321"/>
                </a:cubicBezTo>
                <a:cubicBezTo>
                  <a:pt x="3296" y="1321"/>
                  <a:pt x="3296" y="1321"/>
                  <a:pt x="3296" y="1380"/>
                </a:cubicBezTo>
                <a:cubicBezTo>
                  <a:pt x="3296" y="1380"/>
                  <a:pt x="3296" y="1380"/>
                  <a:pt x="3308" y="1380"/>
                </a:cubicBezTo>
                <a:cubicBezTo>
                  <a:pt x="3308" y="1380"/>
                  <a:pt x="3308" y="1380"/>
                  <a:pt x="3308" y="1306"/>
                </a:cubicBezTo>
                <a:close/>
                <a:moveTo>
                  <a:pt x="3356" y="1306"/>
                </a:moveTo>
                <a:cubicBezTo>
                  <a:pt x="3356" y="1306"/>
                  <a:pt x="3356" y="1306"/>
                  <a:pt x="3356" y="1306"/>
                </a:cubicBezTo>
                <a:cubicBezTo>
                  <a:pt x="3350" y="1306"/>
                  <a:pt x="3350" y="1306"/>
                  <a:pt x="3350" y="1306"/>
                </a:cubicBezTo>
                <a:cubicBezTo>
                  <a:pt x="3349" y="1308"/>
                  <a:pt x="3347" y="1309"/>
                  <a:pt x="3345" y="1310"/>
                </a:cubicBezTo>
                <a:cubicBezTo>
                  <a:pt x="3343" y="1312"/>
                  <a:pt x="3342" y="1312"/>
                  <a:pt x="3340" y="1313"/>
                </a:cubicBezTo>
                <a:cubicBezTo>
                  <a:pt x="3338" y="1314"/>
                  <a:pt x="3336" y="1315"/>
                  <a:pt x="3334" y="1316"/>
                </a:cubicBezTo>
                <a:cubicBezTo>
                  <a:pt x="3332" y="1317"/>
                  <a:pt x="3331" y="1317"/>
                  <a:pt x="3329" y="1317"/>
                </a:cubicBezTo>
                <a:cubicBezTo>
                  <a:pt x="3329" y="1317"/>
                  <a:pt x="3329" y="1317"/>
                  <a:pt x="3329" y="1328"/>
                </a:cubicBezTo>
                <a:cubicBezTo>
                  <a:pt x="3332" y="1327"/>
                  <a:pt x="3334" y="1326"/>
                  <a:pt x="3337" y="1325"/>
                </a:cubicBezTo>
                <a:cubicBezTo>
                  <a:pt x="3340" y="1324"/>
                  <a:pt x="3342" y="1322"/>
                  <a:pt x="3344" y="1321"/>
                </a:cubicBezTo>
                <a:cubicBezTo>
                  <a:pt x="3344" y="1321"/>
                  <a:pt x="3344" y="1321"/>
                  <a:pt x="3344" y="1380"/>
                </a:cubicBezTo>
                <a:cubicBezTo>
                  <a:pt x="3344" y="1380"/>
                  <a:pt x="3344" y="1380"/>
                  <a:pt x="3356" y="1380"/>
                </a:cubicBezTo>
                <a:cubicBezTo>
                  <a:pt x="3356" y="1380"/>
                  <a:pt x="3356" y="1380"/>
                  <a:pt x="3356" y="1306"/>
                </a:cubicBezTo>
                <a:close/>
                <a:moveTo>
                  <a:pt x="3402" y="1306"/>
                </a:moveTo>
                <a:cubicBezTo>
                  <a:pt x="3402" y="1306"/>
                  <a:pt x="3402" y="1306"/>
                  <a:pt x="3402" y="1306"/>
                </a:cubicBezTo>
                <a:cubicBezTo>
                  <a:pt x="3398" y="1306"/>
                  <a:pt x="3398" y="1306"/>
                  <a:pt x="3398" y="1306"/>
                </a:cubicBezTo>
                <a:cubicBezTo>
                  <a:pt x="3396" y="1308"/>
                  <a:pt x="3394" y="1309"/>
                  <a:pt x="3392" y="1310"/>
                </a:cubicBezTo>
                <a:cubicBezTo>
                  <a:pt x="3391" y="1312"/>
                  <a:pt x="3388" y="1312"/>
                  <a:pt x="3387" y="1313"/>
                </a:cubicBezTo>
                <a:cubicBezTo>
                  <a:pt x="3385" y="1314"/>
                  <a:pt x="3383" y="1314"/>
                  <a:pt x="3381" y="1315"/>
                </a:cubicBezTo>
                <a:cubicBezTo>
                  <a:pt x="3380" y="1316"/>
                  <a:pt x="3378" y="1317"/>
                  <a:pt x="3376" y="1317"/>
                </a:cubicBezTo>
                <a:cubicBezTo>
                  <a:pt x="3376" y="1317"/>
                  <a:pt x="3376" y="1317"/>
                  <a:pt x="3376" y="1328"/>
                </a:cubicBezTo>
                <a:cubicBezTo>
                  <a:pt x="3379" y="1327"/>
                  <a:pt x="3382" y="1325"/>
                  <a:pt x="3384" y="1325"/>
                </a:cubicBezTo>
                <a:cubicBezTo>
                  <a:pt x="3386" y="1324"/>
                  <a:pt x="3389" y="1322"/>
                  <a:pt x="3391" y="1321"/>
                </a:cubicBezTo>
                <a:cubicBezTo>
                  <a:pt x="3391" y="1321"/>
                  <a:pt x="3391" y="1321"/>
                  <a:pt x="3391" y="1380"/>
                </a:cubicBezTo>
                <a:cubicBezTo>
                  <a:pt x="3391" y="1380"/>
                  <a:pt x="3391" y="1380"/>
                  <a:pt x="3402" y="1380"/>
                </a:cubicBezTo>
                <a:cubicBezTo>
                  <a:pt x="3402" y="1380"/>
                  <a:pt x="3402" y="1380"/>
                  <a:pt x="3402" y="1306"/>
                </a:cubicBezTo>
                <a:close/>
                <a:moveTo>
                  <a:pt x="3158" y="1339"/>
                </a:moveTo>
                <a:cubicBezTo>
                  <a:pt x="3158" y="1339"/>
                  <a:pt x="3158" y="1339"/>
                  <a:pt x="3158" y="1339"/>
                </a:cubicBezTo>
                <a:cubicBezTo>
                  <a:pt x="3158" y="1347"/>
                  <a:pt x="3158" y="1347"/>
                  <a:pt x="3158" y="1347"/>
                </a:cubicBezTo>
                <a:cubicBezTo>
                  <a:pt x="3164" y="1347"/>
                  <a:pt x="3165" y="1350"/>
                  <a:pt x="3165" y="1353"/>
                </a:cubicBezTo>
                <a:cubicBezTo>
                  <a:pt x="3165" y="1355"/>
                  <a:pt x="3164" y="1357"/>
                  <a:pt x="3164" y="1360"/>
                </a:cubicBezTo>
                <a:cubicBezTo>
                  <a:pt x="3164" y="1363"/>
                  <a:pt x="3164" y="1365"/>
                  <a:pt x="3164" y="1367"/>
                </a:cubicBezTo>
                <a:cubicBezTo>
                  <a:pt x="3164" y="1377"/>
                  <a:pt x="3170" y="1380"/>
                  <a:pt x="3178" y="1380"/>
                </a:cubicBezTo>
                <a:cubicBezTo>
                  <a:pt x="3178" y="1380"/>
                  <a:pt x="3178" y="1380"/>
                  <a:pt x="3182" y="1380"/>
                </a:cubicBezTo>
                <a:cubicBezTo>
                  <a:pt x="3182" y="1380"/>
                  <a:pt x="3182" y="1380"/>
                  <a:pt x="3182" y="1371"/>
                </a:cubicBezTo>
                <a:cubicBezTo>
                  <a:pt x="3182" y="1371"/>
                  <a:pt x="3182" y="1371"/>
                  <a:pt x="3180" y="1371"/>
                </a:cubicBezTo>
                <a:cubicBezTo>
                  <a:pt x="3177" y="1371"/>
                  <a:pt x="3175" y="1368"/>
                  <a:pt x="3175" y="1365"/>
                </a:cubicBezTo>
                <a:cubicBezTo>
                  <a:pt x="3175" y="1363"/>
                  <a:pt x="3175" y="1362"/>
                  <a:pt x="3176" y="1360"/>
                </a:cubicBezTo>
                <a:cubicBezTo>
                  <a:pt x="3176" y="1359"/>
                  <a:pt x="3176" y="1356"/>
                  <a:pt x="3176" y="1354"/>
                </a:cubicBezTo>
                <a:cubicBezTo>
                  <a:pt x="3176" y="1347"/>
                  <a:pt x="3173" y="1344"/>
                  <a:pt x="3168" y="1343"/>
                </a:cubicBezTo>
                <a:cubicBezTo>
                  <a:pt x="3168" y="1343"/>
                  <a:pt x="3168" y="1343"/>
                  <a:pt x="3168" y="1342"/>
                </a:cubicBezTo>
                <a:cubicBezTo>
                  <a:pt x="3173" y="1341"/>
                  <a:pt x="3176" y="1339"/>
                  <a:pt x="3176" y="1332"/>
                </a:cubicBezTo>
                <a:cubicBezTo>
                  <a:pt x="3176" y="1329"/>
                  <a:pt x="3176" y="1327"/>
                  <a:pt x="3176" y="1325"/>
                </a:cubicBezTo>
                <a:cubicBezTo>
                  <a:pt x="3175" y="1324"/>
                  <a:pt x="3175" y="1322"/>
                  <a:pt x="3175" y="1321"/>
                </a:cubicBezTo>
                <a:cubicBezTo>
                  <a:pt x="3175" y="1317"/>
                  <a:pt x="3177" y="1315"/>
                  <a:pt x="3180" y="1315"/>
                </a:cubicBezTo>
                <a:cubicBezTo>
                  <a:pt x="3180" y="1315"/>
                  <a:pt x="3180" y="1315"/>
                  <a:pt x="3182" y="1315"/>
                </a:cubicBezTo>
                <a:cubicBezTo>
                  <a:pt x="3182" y="1315"/>
                  <a:pt x="3182" y="1315"/>
                  <a:pt x="3182" y="1305"/>
                </a:cubicBezTo>
                <a:cubicBezTo>
                  <a:pt x="3182" y="1305"/>
                  <a:pt x="3182" y="1305"/>
                  <a:pt x="3178" y="1305"/>
                </a:cubicBezTo>
                <a:cubicBezTo>
                  <a:pt x="3169" y="1305"/>
                  <a:pt x="3164" y="1310"/>
                  <a:pt x="3164" y="1318"/>
                </a:cubicBezTo>
                <a:cubicBezTo>
                  <a:pt x="3164" y="1320"/>
                  <a:pt x="3164" y="1323"/>
                  <a:pt x="3164" y="1326"/>
                </a:cubicBezTo>
                <a:cubicBezTo>
                  <a:pt x="3164" y="1328"/>
                  <a:pt x="3165" y="1331"/>
                  <a:pt x="3165" y="1332"/>
                </a:cubicBezTo>
                <a:cubicBezTo>
                  <a:pt x="3165" y="1335"/>
                  <a:pt x="3164" y="1338"/>
                  <a:pt x="3158" y="1339"/>
                </a:cubicBezTo>
                <a:close/>
                <a:moveTo>
                  <a:pt x="3213" y="1347"/>
                </a:moveTo>
                <a:cubicBezTo>
                  <a:pt x="3213" y="1347"/>
                  <a:pt x="3213" y="1347"/>
                  <a:pt x="3213" y="1347"/>
                </a:cubicBezTo>
                <a:cubicBezTo>
                  <a:pt x="3213" y="1339"/>
                  <a:pt x="3213" y="1339"/>
                  <a:pt x="3213" y="1339"/>
                </a:cubicBezTo>
                <a:cubicBezTo>
                  <a:pt x="3207" y="1338"/>
                  <a:pt x="3206" y="1335"/>
                  <a:pt x="3206" y="1332"/>
                </a:cubicBezTo>
                <a:cubicBezTo>
                  <a:pt x="3206" y="1331"/>
                  <a:pt x="3206" y="1328"/>
                  <a:pt x="3207" y="1326"/>
                </a:cubicBezTo>
                <a:cubicBezTo>
                  <a:pt x="3207" y="1323"/>
                  <a:pt x="3207" y="1320"/>
                  <a:pt x="3207" y="1318"/>
                </a:cubicBezTo>
                <a:cubicBezTo>
                  <a:pt x="3207" y="1310"/>
                  <a:pt x="3202" y="1305"/>
                  <a:pt x="3193" y="1305"/>
                </a:cubicBezTo>
                <a:cubicBezTo>
                  <a:pt x="3193" y="1305"/>
                  <a:pt x="3193" y="1305"/>
                  <a:pt x="3189" y="1305"/>
                </a:cubicBezTo>
                <a:cubicBezTo>
                  <a:pt x="3189" y="1305"/>
                  <a:pt x="3189" y="1305"/>
                  <a:pt x="3189" y="1315"/>
                </a:cubicBezTo>
                <a:cubicBezTo>
                  <a:pt x="3189" y="1315"/>
                  <a:pt x="3189" y="1315"/>
                  <a:pt x="3190" y="1315"/>
                </a:cubicBezTo>
                <a:cubicBezTo>
                  <a:pt x="3194" y="1315"/>
                  <a:pt x="3196" y="1317"/>
                  <a:pt x="3196" y="1321"/>
                </a:cubicBezTo>
                <a:cubicBezTo>
                  <a:pt x="3196" y="1322"/>
                  <a:pt x="3195" y="1324"/>
                  <a:pt x="3195" y="1325"/>
                </a:cubicBezTo>
                <a:cubicBezTo>
                  <a:pt x="3195" y="1327"/>
                  <a:pt x="3195" y="1329"/>
                  <a:pt x="3195" y="1332"/>
                </a:cubicBezTo>
                <a:cubicBezTo>
                  <a:pt x="3195" y="1339"/>
                  <a:pt x="3197" y="1341"/>
                  <a:pt x="3203" y="1342"/>
                </a:cubicBezTo>
                <a:cubicBezTo>
                  <a:pt x="3203" y="1342"/>
                  <a:pt x="3203" y="1342"/>
                  <a:pt x="3203" y="1343"/>
                </a:cubicBezTo>
                <a:cubicBezTo>
                  <a:pt x="3197" y="1344"/>
                  <a:pt x="3195" y="1347"/>
                  <a:pt x="3195" y="1354"/>
                </a:cubicBezTo>
                <a:cubicBezTo>
                  <a:pt x="3195" y="1356"/>
                  <a:pt x="3195" y="1359"/>
                  <a:pt x="3195" y="1360"/>
                </a:cubicBezTo>
                <a:cubicBezTo>
                  <a:pt x="3195" y="1362"/>
                  <a:pt x="3196" y="1363"/>
                  <a:pt x="3196" y="1365"/>
                </a:cubicBezTo>
                <a:cubicBezTo>
                  <a:pt x="3196" y="1368"/>
                  <a:pt x="3195" y="1371"/>
                  <a:pt x="3190" y="1371"/>
                </a:cubicBezTo>
                <a:cubicBezTo>
                  <a:pt x="3190" y="1371"/>
                  <a:pt x="3190" y="1371"/>
                  <a:pt x="3189" y="1371"/>
                </a:cubicBezTo>
                <a:cubicBezTo>
                  <a:pt x="3189" y="1371"/>
                  <a:pt x="3189" y="1371"/>
                  <a:pt x="3189" y="1380"/>
                </a:cubicBezTo>
                <a:cubicBezTo>
                  <a:pt x="3189" y="1380"/>
                  <a:pt x="3189" y="1380"/>
                  <a:pt x="3193" y="1380"/>
                </a:cubicBezTo>
                <a:cubicBezTo>
                  <a:pt x="3202" y="1380"/>
                  <a:pt x="3207" y="1377"/>
                  <a:pt x="3207" y="1367"/>
                </a:cubicBezTo>
                <a:cubicBezTo>
                  <a:pt x="3207" y="1365"/>
                  <a:pt x="3207" y="1363"/>
                  <a:pt x="3207" y="1360"/>
                </a:cubicBezTo>
                <a:cubicBezTo>
                  <a:pt x="3206" y="1357"/>
                  <a:pt x="3206" y="1355"/>
                  <a:pt x="3206" y="1353"/>
                </a:cubicBezTo>
                <a:cubicBezTo>
                  <a:pt x="3206" y="1350"/>
                  <a:pt x="3207" y="1347"/>
                  <a:pt x="3213" y="1347"/>
                </a:cubicBezTo>
                <a:close/>
                <a:moveTo>
                  <a:pt x="3540" y="1339"/>
                </a:moveTo>
                <a:cubicBezTo>
                  <a:pt x="3540" y="1339"/>
                  <a:pt x="3540" y="1339"/>
                  <a:pt x="3540" y="1339"/>
                </a:cubicBezTo>
                <a:cubicBezTo>
                  <a:pt x="3540" y="1347"/>
                  <a:pt x="3540" y="1347"/>
                  <a:pt x="3540" y="1347"/>
                </a:cubicBezTo>
                <a:cubicBezTo>
                  <a:pt x="3546" y="1347"/>
                  <a:pt x="3547" y="1350"/>
                  <a:pt x="3547" y="1353"/>
                </a:cubicBezTo>
                <a:cubicBezTo>
                  <a:pt x="3547" y="1355"/>
                  <a:pt x="3547" y="1357"/>
                  <a:pt x="3547" y="1360"/>
                </a:cubicBezTo>
                <a:cubicBezTo>
                  <a:pt x="3546" y="1363"/>
                  <a:pt x="3546" y="1365"/>
                  <a:pt x="3546" y="1367"/>
                </a:cubicBezTo>
                <a:cubicBezTo>
                  <a:pt x="3546" y="1377"/>
                  <a:pt x="3552" y="1380"/>
                  <a:pt x="3561" y="1380"/>
                </a:cubicBezTo>
                <a:cubicBezTo>
                  <a:pt x="3561" y="1380"/>
                  <a:pt x="3561" y="1380"/>
                  <a:pt x="3564" y="1380"/>
                </a:cubicBezTo>
                <a:cubicBezTo>
                  <a:pt x="3564" y="1380"/>
                  <a:pt x="3564" y="1380"/>
                  <a:pt x="3564" y="1371"/>
                </a:cubicBezTo>
                <a:cubicBezTo>
                  <a:pt x="3564" y="1371"/>
                  <a:pt x="3564" y="1371"/>
                  <a:pt x="3563" y="1371"/>
                </a:cubicBezTo>
                <a:cubicBezTo>
                  <a:pt x="3559" y="1371"/>
                  <a:pt x="3558" y="1368"/>
                  <a:pt x="3558" y="1365"/>
                </a:cubicBezTo>
                <a:cubicBezTo>
                  <a:pt x="3558" y="1363"/>
                  <a:pt x="3558" y="1362"/>
                  <a:pt x="3558" y="1360"/>
                </a:cubicBezTo>
                <a:cubicBezTo>
                  <a:pt x="3558" y="1359"/>
                  <a:pt x="3559" y="1356"/>
                  <a:pt x="3559" y="1354"/>
                </a:cubicBezTo>
                <a:cubicBezTo>
                  <a:pt x="3559" y="1347"/>
                  <a:pt x="3556" y="1344"/>
                  <a:pt x="3550" y="1343"/>
                </a:cubicBezTo>
                <a:cubicBezTo>
                  <a:pt x="3550" y="1343"/>
                  <a:pt x="3550" y="1343"/>
                  <a:pt x="3550" y="1342"/>
                </a:cubicBezTo>
                <a:cubicBezTo>
                  <a:pt x="3556" y="1341"/>
                  <a:pt x="3559" y="1339"/>
                  <a:pt x="3559" y="1332"/>
                </a:cubicBezTo>
                <a:cubicBezTo>
                  <a:pt x="3559" y="1329"/>
                  <a:pt x="3558" y="1327"/>
                  <a:pt x="3558" y="1325"/>
                </a:cubicBezTo>
                <a:cubicBezTo>
                  <a:pt x="3558" y="1324"/>
                  <a:pt x="3558" y="1322"/>
                  <a:pt x="3558" y="1321"/>
                </a:cubicBezTo>
                <a:cubicBezTo>
                  <a:pt x="3558" y="1317"/>
                  <a:pt x="3559" y="1315"/>
                  <a:pt x="3563" y="1315"/>
                </a:cubicBezTo>
                <a:cubicBezTo>
                  <a:pt x="3563" y="1315"/>
                  <a:pt x="3563" y="1315"/>
                  <a:pt x="3564" y="1315"/>
                </a:cubicBezTo>
                <a:cubicBezTo>
                  <a:pt x="3564" y="1315"/>
                  <a:pt x="3564" y="1315"/>
                  <a:pt x="3564" y="1305"/>
                </a:cubicBezTo>
                <a:cubicBezTo>
                  <a:pt x="3564" y="1305"/>
                  <a:pt x="3564" y="1305"/>
                  <a:pt x="3561" y="1305"/>
                </a:cubicBezTo>
                <a:cubicBezTo>
                  <a:pt x="3552" y="1305"/>
                  <a:pt x="3546" y="1310"/>
                  <a:pt x="3546" y="1318"/>
                </a:cubicBezTo>
                <a:cubicBezTo>
                  <a:pt x="3546" y="1320"/>
                  <a:pt x="3546" y="1323"/>
                  <a:pt x="3546" y="1326"/>
                </a:cubicBezTo>
                <a:cubicBezTo>
                  <a:pt x="3547" y="1328"/>
                  <a:pt x="3547" y="1331"/>
                  <a:pt x="3547" y="1332"/>
                </a:cubicBezTo>
                <a:cubicBezTo>
                  <a:pt x="3547" y="1335"/>
                  <a:pt x="3546" y="1338"/>
                  <a:pt x="3540" y="1339"/>
                </a:cubicBezTo>
                <a:close/>
                <a:moveTo>
                  <a:pt x="3595" y="1347"/>
                </a:moveTo>
                <a:cubicBezTo>
                  <a:pt x="3595" y="1347"/>
                  <a:pt x="3595" y="1347"/>
                  <a:pt x="3595" y="1347"/>
                </a:cubicBezTo>
                <a:cubicBezTo>
                  <a:pt x="3595" y="1339"/>
                  <a:pt x="3595" y="1339"/>
                  <a:pt x="3595" y="1339"/>
                </a:cubicBezTo>
                <a:cubicBezTo>
                  <a:pt x="3589" y="1338"/>
                  <a:pt x="3588" y="1335"/>
                  <a:pt x="3588" y="1332"/>
                </a:cubicBezTo>
                <a:cubicBezTo>
                  <a:pt x="3588" y="1331"/>
                  <a:pt x="3588" y="1328"/>
                  <a:pt x="3589" y="1326"/>
                </a:cubicBezTo>
                <a:cubicBezTo>
                  <a:pt x="3589" y="1323"/>
                  <a:pt x="3589" y="1320"/>
                  <a:pt x="3589" y="1318"/>
                </a:cubicBezTo>
                <a:cubicBezTo>
                  <a:pt x="3589" y="1310"/>
                  <a:pt x="3584" y="1305"/>
                  <a:pt x="3575" y="1305"/>
                </a:cubicBezTo>
                <a:cubicBezTo>
                  <a:pt x="3575" y="1305"/>
                  <a:pt x="3575" y="1305"/>
                  <a:pt x="3571" y="1305"/>
                </a:cubicBezTo>
                <a:cubicBezTo>
                  <a:pt x="3571" y="1305"/>
                  <a:pt x="3571" y="1305"/>
                  <a:pt x="3571" y="1315"/>
                </a:cubicBezTo>
                <a:cubicBezTo>
                  <a:pt x="3571" y="1315"/>
                  <a:pt x="3571" y="1315"/>
                  <a:pt x="3573" y="1315"/>
                </a:cubicBezTo>
                <a:cubicBezTo>
                  <a:pt x="3576" y="1315"/>
                  <a:pt x="3578" y="1317"/>
                  <a:pt x="3578" y="1321"/>
                </a:cubicBezTo>
                <a:cubicBezTo>
                  <a:pt x="3578" y="1322"/>
                  <a:pt x="3577" y="1324"/>
                  <a:pt x="3577" y="1325"/>
                </a:cubicBezTo>
                <a:cubicBezTo>
                  <a:pt x="3577" y="1327"/>
                  <a:pt x="3577" y="1329"/>
                  <a:pt x="3577" y="1332"/>
                </a:cubicBezTo>
                <a:cubicBezTo>
                  <a:pt x="3577" y="1339"/>
                  <a:pt x="3580" y="1341"/>
                  <a:pt x="3585" y="1342"/>
                </a:cubicBezTo>
                <a:cubicBezTo>
                  <a:pt x="3585" y="1342"/>
                  <a:pt x="3585" y="1342"/>
                  <a:pt x="3585" y="1343"/>
                </a:cubicBezTo>
                <a:cubicBezTo>
                  <a:pt x="3580" y="1344"/>
                  <a:pt x="3577" y="1347"/>
                  <a:pt x="3577" y="1354"/>
                </a:cubicBezTo>
                <a:cubicBezTo>
                  <a:pt x="3577" y="1356"/>
                  <a:pt x="3577" y="1359"/>
                  <a:pt x="3577" y="1360"/>
                </a:cubicBezTo>
                <a:cubicBezTo>
                  <a:pt x="3577" y="1362"/>
                  <a:pt x="3578" y="1363"/>
                  <a:pt x="3578" y="1365"/>
                </a:cubicBezTo>
                <a:cubicBezTo>
                  <a:pt x="3578" y="1368"/>
                  <a:pt x="3577" y="1371"/>
                  <a:pt x="3573" y="1371"/>
                </a:cubicBezTo>
                <a:cubicBezTo>
                  <a:pt x="3573" y="1371"/>
                  <a:pt x="3573" y="1371"/>
                  <a:pt x="3571" y="1371"/>
                </a:cubicBezTo>
                <a:cubicBezTo>
                  <a:pt x="3571" y="1371"/>
                  <a:pt x="3571" y="1371"/>
                  <a:pt x="3571" y="1380"/>
                </a:cubicBezTo>
                <a:cubicBezTo>
                  <a:pt x="3571" y="1380"/>
                  <a:pt x="3571" y="1380"/>
                  <a:pt x="3575" y="1380"/>
                </a:cubicBezTo>
                <a:cubicBezTo>
                  <a:pt x="3584" y="1380"/>
                  <a:pt x="3589" y="1377"/>
                  <a:pt x="3589" y="1367"/>
                </a:cubicBezTo>
                <a:cubicBezTo>
                  <a:pt x="3589" y="1365"/>
                  <a:pt x="3589" y="1363"/>
                  <a:pt x="3589" y="1360"/>
                </a:cubicBezTo>
                <a:cubicBezTo>
                  <a:pt x="3588" y="1357"/>
                  <a:pt x="3588" y="1355"/>
                  <a:pt x="3588" y="1353"/>
                </a:cubicBezTo>
                <a:cubicBezTo>
                  <a:pt x="3588" y="1350"/>
                  <a:pt x="3589" y="1347"/>
                  <a:pt x="3595" y="1347"/>
                </a:cubicBezTo>
                <a:close/>
                <a:moveTo>
                  <a:pt x="3643" y="1306"/>
                </a:moveTo>
                <a:cubicBezTo>
                  <a:pt x="3643" y="1306"/>
                  <a:pt x="3643" y="1306"/>
                  <a:pt x="3643" y="1306"/>
                </a:cubicBezTo>
                <a:cubicBezTo>
                  <a:pt x="3637" y="1306"/>
                  <a:pt x="3637" y="1306"/>
                  <a:pt x="3637" y="1306"/>
                </a:cubicBezTo>
                <a:cubicBezTo>
                  <a:pt x="3635" y="1308"/>
                  <a:pt x="3634" y="1309"/>
                  <a:pt x="3632" y="1310"/>
                </a:cubicBezTo>
                <a:cubicBezTo>
                  <a:pt x="3630" y="1312"/>
                  <a:pt x="3628" y="1312"/>
                  <a:pt x="3627" y="1313"/>
                </a:cubicBezTo>
                <a:cubicBezTo>
                  <a:pt x="3624" y="1314"/>
                  <a:pt x="3623" y="1314"/>
                  <a:pt x="3622" y="1315"/>
                </a:cubicBezTo>
                <a:cubicBezTo>
                  <a:pt x="3619" y="1316"/>
                  <a:pt x="3618" y="1317"/>
                  <a:pt x="3616" y="1317"/>
                </a:cubicBezTo>
                <a:cubicBezTo>
                  <a:pt x="3616" y="1317"/>
                  <a:pt x="3616" y="1317"/>
                  <a:pt x="3616" y="1328"/>
                </a:cubicBezTo>
                <a:cubicBezTo>
                  <a:pt x="3619" y="1327"/>
                  <a:pt x="3622" y="1325"/>
                  <a:pt x="3624" y="1325"/>
                </a:cubicBezTo>
                <a:cubicBezTo>
                  <a:pt x="3627" y="1324"/>
                  <a:pt x="3629" y="1322"/>
                  <a:pt x="3631" y="1321"/>
                </a:cubicBezTo>
                <a:cubicBezTo>
                  <a:pt x="3631" y="1321"/>
                  <a:pt x="3631" y="1321"/>
                  <a:pt x="3631" y="1380"/>
                </a:cubicBezTo>
                <a:cubicBezTo>
                  <a:pt x="3631" y="1380"/>
                  <a:pt x="3631" y="1380"/>
                  <a:pt x="3643" y="1380"/>
                </a:cubicBezTo>
                <a:cubicBezTo>
                  <a:pt x="3643" y="1380"/>
                  <a:pt x="3643" y="1380"/>
                  <a:pt x="3643" y="1306"/>
                </a:cubicBezTo>
                <a:close/>
                <a:moveTo>
                  <a:pt x="3690" y="1306"/>
                </a:moveTo>
                <a:cubicBezTo>
                  <a:pt x="3690" y="1306"/>
                  <a:pt x="3690" y="1306"/>
                  <a:pt x="3690" y="1306"/>
                </a:cubicBezTo>
                <a:cubicBezTo>
                  <a:pt x="3685" y="1306"/>
                  <a:pt x="3685" y="1306"/>
                  <a:pt x="3685" y="1306"/>
                </a:cubicBezTo>
                <a:cubicBezTo>
                  <a:pt x="3682" y="1308"/>
                  <a:pt x="3681" y="1309"/>
                  <a:pt x="3679" y="1310"/>
                </a:cubicBezTo>
                <a:cubicBezTo>
                  <a:pt x="3677" y="1312"/>
                  <a:pt x="3675" y="1312"/>
                  <a:pt x="3674" y="1313"/>
                </a:cubicBezTo>
                <a:cubicBezTo>
                  <a:pt x="3672" y="1314"/>
                  <a:pt x="3670" y="1315"/>
                  <a:pt x="3669" y="1316"/>
                </a:cubicBezTo>
                <a:cubicBezTo>
                  <a:pt x="3667" y="1317"/>
                  <a:pt x="3665" y="1317"/>
                  <a:pt x="3663" y="1317"/>
                </a:cubicBezTo>
                <a:cubicBezTo>
                  <a:pt x="3663" y="1317"/>
                  <a:pt x="3663" y="1317"/>
                  <a:pt x="3663" y="1328"/>
                </a:cubicBezTo>
                <a:cubicBezTo>
                  <a:pt x="3666" y="1327"/>
                  <a:pt x="3669" y="1326"/>
                  <a:pt x="3671" y="1325"/>
                </a:cubicBezTo>
                <a:cubicBezTo>
                  <a:pt x="3674" y="1324"/>
                  <a:pt x="3676" y="1322"/>
                  <a:pt x="3678" y="1321"/>
                </a:cubicBezTo>
                <a:cubicBezTo>
                  <a:pt x="3678" y="1321"/>
                  <a:pt x="3678" y="1321"/>
                  <a:pt x="3678" y="1380"/>
                </a:cubicBezTo>
                <a:cubicBezTo>
                  <a:pt x="3678" y="1380"/>
                  <a:pt x="3678" y="1380"/>
                  <a:pt x="3690" y="1380"/>
                </a:cubicBezTo>
                <a:cubicBezTo>
                  <a:pt x="3690" y="1380"/>
                  <a:pt x="3690" y="1380"/>
                  <a:pt x="3690" y="1306"/>
                </a:cubicBezTo>
                <a:close/>
                <a:moveTo>
                  <a:pt x="3736" y="1306"/>
                </a:moveTo>
                <a:cubicBezTo>
                  <a:pt x="3736" y="1306"/>
                  <a:pt x="3736" y="1306"/>
                  <a:pt x="3736" y="1306"/>
                </a:cubicBezTo>
                <a:cubicBezTo>
                  <a:pt x="3732" y="1306"/>
                  <a:pt x="3732" y="1306"/>
                  <a:pt x="3732" y="1306"/>
                </a:cubicBezTo>
                <a:cubicBezTo>
                  <a:pt x="3730" y="1308"/>
                  <a:pt x="3728" y="1309"/>
                  <a:pt x="3726" y="1310"/>
                </a:cubicBezTo>
                <a:cubicBezTo>
                  <a:pt x="3725" y="1312"/>
                  <a:pt x="3722" y="1312"/>
                  <a:pt x="3721" y="1313"/>
                </a:cubicBezTo>
                <a:cubicBezTo>
                  <a:pt x="3719" y="1314"/>
                  <a:pt x="3717" y="1315"/>
                  <a:pt x="3715" y="1316"/>
                </a:cubicBezTo>
                <a:cubicBezTo>
                  <a:pt x="3714" y="1317"/>
                  <a:pt x="3712" y="1317"/>
                  <a:pt x="3710" y="1317"/>
                </a:cubicBezTo>
                <a:cubicBezTo>
                  <a:pt x="3710" y="1317"/>
                  <a:pt x="3710" y="1317"/>
                  <a:pt x="3710" y="1328"/>
                </a:cubicBezTo>
                <a:cubicBezTo>
                  <a:pt x="3713" y="1327"/>
                  <a:pt x="3716" y="1326"/>
                  <a:pt x="3718" y="1325"/>
                </a:cubicBezTo>
                <a:cubicBezTo>
                  <a:pt x="3720" y="1324"/>
                  <a:pt x="3723" y="1322"/>
                  <a:pt x="3725" y="1321"/>
                </a:cubicBezTo>
                <a:cubicBezTo>
                  <a:pt x="3725" y="1321"/>
                  <a:pt x="3725" y="1321"/>
                  <a:pt x="3725" y="1380"/>
                </a:cubicBezTo>
                <a:cubicBezTo>
                  <a:pt x="3725" y="1380"/>
                  <a:pt x="3725" y="1380"/>
                  <a:pt x="3736" y="1380"/>
                </a:cubicBezTo>
                <a:cubicBezTo>
                  <a:pt x="3736" y="1380"/>
                  <a:pt x="3736" y="1380"/>
                  <a:pt x="3736" y="1306"/>
                </a:cubicBezTo>
                <a:close/>
                <a:moveTo>
                  <a:pt x="3860" y="1306"/>
                </a:moveTo>
                <a:cubicBezTo>
                  <a:pt x="3860" y="1306"/>
                  <a:pt x="3860" y="1306"/>
                  <a:pt x="3860" y="1306"/>
                </a:cubicBezTo>
                <a:cubicBezTo>
                  <a:pt x="3854" y="1306"/>
                  <a:pt x="3854" y="1306"/>
                  <a:pt x="3854" y="1306"/>
                </a:cubicBezTo>
                <a:cubicBezTo>
                  <a:pt x="3852" y="1308"/>
                  <a:pt x="3851" y="1309"/>
                  <a:pt x="3848" y="1310"/>
                </a:cubicBezTo>
                <a:cubicBezTo>
                  <a:pt x="3847" y="1312"/>
                  <a:pt x="3845" y="1312"/>
                  <a:pt x="3843" y="1313"/>
                </a:cubicBezTo>
                <a:cubicBezTo>
                  <a:pt x="3842" y="1314"/>
                  <a:pt x="3840" y="1315"/>
                  <a:pt x="3838" y="1316"/>
                </a:cubicBezTo>
                <a:cubicBezTo>
                  <a:pt x="3836" y="1317"/>
                  <a:pt x="3834" y="1317"/>
                  <a:pt x="3832" y="1317"/>
                </a:cubicBezTo>
                <a:cubicBezTo>
                  <a:pt x="3832" y="1317"/>
                  <a:pt x="3832" y="1317"/>
                  <a:pt x="3832" y="1328"/>
                </a:cubicBezTo>
                <a:cubicBezTo>
                  <a:pt x="3835" y="1327"/>
                  <a:pt x="3838" y="1326"/>
                  <a:pt x="3841" y="1325"/>
                </a:cubicBezTo>
                <a:cubicBezTo>
                  <a:pt x="3843" y="1324"/>
                  <a:pt x="3845" y="1322"/>
                  <a:pt x="3848" y="1321"/>
                </a:cubicBezTo>
                <a:cubicBezTo>
                  <a:pt x="3848" y="1321"/>
                  <a:pt x="3848" y="1321"/>
                  <a:pt x="3848" y="1380"/>
                </a:cubicBezTo>
                <a:cubicBezTo>
                  <a:pt x="3848" y="1380"/>
                  <a:pt x="3848" y="1380"/>
                  <a:pt x="3860" y="1380"/>
                </a:cubicBezTo>
                <a:cubicBezTo>
                  <a:pt x="3860" y="1380"/>
                  <a:pt x="3860" y="1380"/>
                  <a:pt x="3860" y="1306"/>
                </a:cubicBezTo>
                <a:close/>
                <a:moveTo>
                  <a:pt x="3757" y="1339"/>
                </a:moveTo>
                <a:cubicBezTo>
                  <a:pt x="3757" y="1339"/>
                  <a:pt x="3757" y="1339"/>
                  <a:pt x="3757" y="1339"/>
                </a:cubicBezTo>
                <a:cubicBezTo>
                  <a:pt x="3757" y="1347"/>
                  <a:pt x="3757" y="1347"/>
                  <a:pt x="3757" y="1347"/>
                </a:cubicBezTo>
                <a:cubicBezTo>
                  <a:pt x="3763" y="1347"/>
                  <a:pt x="3764" y="1350"/>
                  <a:pt x="3764" y="1353"/>
                </a:cubicBezTo>
                <a:cubicBezTo>
                  <a:pt x="3764" y="1355"/>
                  <a:pt x="3763" y="1357"/>
                  <a:pt x="3763" y="1360"/>
                </a:cubicBezTo>
                <a:cubicBezTo>
                  <a:pt x="3763" y="1363"/>
                  <a:pt x="3763" y="1365"/>
                  <a:pt x="3763" y="1367"/>
                </a:cubicBezTo>
                <a:cubicBezTo>
                  <a:pt x="3763" y="1377"/>
                  <a:pt x="3769" y="1380"/>
                  <a:pt x="3777" y="1380"/>
                </a:cubicBezTo>
                <a:cubicBezTo>
                  <a:pt x="3777" y="1380"/>
                  <a:pt x="3777" y="1380"/>
                  <a:pt x="3781" y="1380"/>
                </a:cubicBezTo>
                <a:cubicBezTo>
                  <a:pt x="3781" y="1380"/>
                  <a:pt x="3781" y="1380"/>
                  <a:pt x="3781" y="1371"/>
                </a:cubicBezTo>
                <a:cubicBezTo>
                  <a:pt x="3781" y="1371"/>
                  <a:pt x="3781" y="1371"/>
                  <a:pt x="3779" y="1371"/>
                </a:cubicBezTo>
                <a:cubicBezTo>
                  <a:pt x="3776" y="1371"/>
                  <a:pt x="3775" y="1368"/>
                  <a:pt x="3775" y="1365"/>
                </a:cubicBezTo>
                <a:cubicBezTo>
                  <a:pt x="3775" y="1363"/>
                  <a:pt x="3775" y="1362"/>
                  <a:pt x="3775" y="1360"/>
                </a:cubicBezTo>
                <a:cubicBezTo>
                  <a:pt x="3775" y="1359"/>
                  <a:pt x="3775" y="1356"/>
                  <a:pt x="3775" y="1354"/>
                </a:cubicBezTo>
                <a:cubicBezTo>
                  <a:pt x="3775" y="1347"/>
                  <a:pt x="3772" y="1344"/>
                  <a:pt x="3767" y="1343"/>
                </a:cubicBezTo>
                <a:cubicBezTo>
                  <a:pt x="3767" y="1343"/>
                  <a:pt x="3767" y="1343"/>
                  <a:pt x="3767" y="1342"/>
                </a:cubicBezTo>
                <a:cubicBezTo>
                  <a:pt x="3772" y="1341"/>
                  <a:pt x="3775" y="1339"/>
                  <a:pt x="3775" y="1332"/>
                </a:cubicBezTo>
                <a:cubicBezTo>
                  <a:pt x="3775" y="1329"/>
                  <a:pt x="3775" y="1327"/>
                  <a:pt x="3775" y="1325"/>
                </a:cubicBezTo>
                <a:cubicBezTo>
                  <a:pt x="3775" y="1324"/>
                  <a:pt x="3775" y="1322"/>
                  <a:pt x="3775" y="1321"/>
                </a:cubicBezTo>
                <a:cubicBezTo>
                  <a:pt x="3775" y="1317"/>
                  <a:pt x="3776" y="1315"/>
                  <a:pt x="3779" y="1315"/>
                </a:cubicBezTo>
                <a:cubicBezTo>
                  <a:pt x="3779" y="1315"/>
                  <a:pt x="3779" y="1315"/>
                  <a:pt x="3781" y="1315"/>
                </a:cubicBezTo>
                <a:cubicBezTo>
                  <a:pt x="3781" y="1315"/>
                  <a:pt x="3781" y="1315"/>
                  <a:pt x="3781" y="1305"/>
                </a:cubicBezTo>
                <a:cubicBezTo>
                  <a:pt x="3781" y="1305"/>
                  <a:pt x="3781" y="1305"/>
                  <a:pt x="3777" y="1305"/>
                </a:cubicBezTo>
                <a:cubicBezTo>
                  <a:pt x="3768" y="1305"/>
                  <a:pt x="3763" y="1310"/>
                  <a:pt x="3763" y="1318"/>
                </a:cubicBezTo>
                <a:cubicBezTo>
                  <a:pt x="3763" y="1320"/>
                  <a:pt x="3763" y="1323"/>
                  <a:pt x="3763" y="1326"/>
                </a:cubicBezTo>
                <a:cubicBezTo>
                  <a:pt x="3763" y="1328"/>
                  <a:pt x="3764" y="1331"/>
                  <a:pt x="3764" y="1332"/>
                </a:cubicBezTo>
                <a:cubicBezTo>
                  <a:pt x="3764" y="1335"/>
                  <a:pt x="3763" y="1338"/>
                  <a:pt x="3757" y="1339"/>
                </a:cubicBezTo>
                <a:close/>
                <a:moveTo>
                  <a:pt x="3812" y="1347"/>
                </a:moveTo>
                <a:cubicBezTo>
                  <a:pt x="3812" y="1347"/>
                  <a:pt x="3812" y="1347"/>
                  <a:pt x="3812" y="1347"/>
                </a:cubicBezTo>
                <a:cubicBezTo>
                  <a:pt x="3812" y="1339"/>
                  <a:pt x="3812" y="1339"/>
                  <a:pt x="3812" y="1339"/>
                </a:cubicBezTo>
                <a:cubicBezTo>
                  <a:pt x="3806" y="1338"/>
                  <a:pt x="3805" y="1335"/>
                  <a:pt x="3805" y="1332"/>
                </a:cubicBezTo>
                <a:cubicBezTo>
                  <a:pt x="3805" y="1331"/>
                  <a:pt x="3805" y="1328"/>
                  <a:pt x="3806" y="1326"/>
                </a:cubicBezTo>
                <a:cubicBezTo>
                  <a:pt x="3806" y="1323"/>
                  <a:pt x="3806" y="1320"/>
                  <a:pt x="3806" y="1318"/>
                </a:cubicBezTo>
                <a:cubicBezTo>
                  <a:pt x="3806" y="1310"/>
                  <a:pt x="3801" y="1305"/>
                  <a:pt x="3791" y="1305"/>
                </a:cubicBezTo>
                <a:cubicBezTo>
                  <a:pt x="3791" y="1305"/>
                  <a:pt x="3791" y="1305"/>
                  <a:pt x="3788" y="1305"/>
                </a:cubicBezTo>
                <a:cubicBezTo>
                  <a:pt x="3788" y="1305"/>
                  <a:pt x="3788" y="1305"/>
                  <a:pt x="3788" y="1315"/>
                </a:cubicBezTo>
                <a:cubicBezTo>
                  <a:pt x="3788" y="1315"/>
                  <a:pt x="3788" y="1315"/>
                  <a:pt x="3789" y="1315"/>
                </a:cubicBezTo>
                <a:cubicBezTo>
                  <a:pt x="3793" y="1315"/>
                  <a:pt x="3794" y="1317"/>
                  <a:pt x="3794" y="1321"/>
                </a:cubicBezTo>
                <a:cubicBezTo>
                  <a:pt x="3794" y="1322"/>
                  <a:pt x="3794" y="1324"/>
                  <a:pt x="3794" y="1325"/>
                </a:cubicBezTo>
                <a:cubicBezTo>
                  <a:pt x="3794" y="1327"/>
                  <a:pt x="3794" y="1329"/>
                  <a:pt x="3794" y="1332"/>
                </a:cubicBezTo>
                <a:cubicBezTo>
                  <a:pt x="3794" y="1339"/>
                  <a:pt x="3796" y="1341"/>
                  <a:pt x="3802" y="1342"/>
                </a:cubicBezTo>
                <a:cubicBezTo>
                  <a:pt x="3802" y="1342"/>
                  <a:pt x="3802" y="1342"/>
                  <a:pt x="3802" y="1343"/>
                </a:cubicBezTo>
                <a:cubicBezTo>
                  <a:pt x="3796" y="1344"/>
                  <a:pt x="3794" y="1347"/>
                  <a:pt x="3794" y="1354"/>
                </a:cubicBezTo>
                <a:cubicBezTo>
                  <a:pt x="3794" y="1356"/>
                  <a:pt x="3794" y="1359"/>
                  <a:pt x="3794" y="1360"/>
                </a:cubicBezTo>
                <a:cubicBezTo>
                  <a:pt x="3794" y="1362"/>
                  <a:pt x="3794" y="1363"/>
                  <a:pt x="3794" y="1365"/>
                </a:cubicBezTo>
                <a:cubicBezTo>
                  <a:pt x="3794" y="1368"/>
                  <a:pt x="3793" y="1371"/>
                  <a:pt x="3789" y="1371"/>
                </a:cubicBezTo>
                <a:cubicBezTo>
                  <a:pt x="3789" y="1371"/>
                  <a:pt x="3789" y="1371"/>
                  <a:pt x="3788" y="1371"/>
                </a:cubicBezTo>
                <a:cubicBezTo>
                  <a:pt x="3788" y="1371"/>
                  <a:pt x="3788" y="1371"/>
                  <a:pt x="3788" y="1380"/>
                </a:cubicBezTo>
                <a:cubicBezTo>
                  <a:pt x="3788" y="1380"/>
                  <a:pt x="3788" y="1380"/>
                  <a:pt x="3791" y="1380"/>
                </a:cubicBezTo>
                <a:cubicBezTo>
                  <a:pt x="3800" y="1380"/>
                  <a:pt x="3806" y="1377"/>
                  <a:pt x="3806" y="1367"/>
                </a:cubicBezTo>
                <a:cubicBezTo>
                  <a:pt x="3806" y="1365"/>
                  <a:pt x="3806" y="1363"/>
                  <a:pt x="3806" y="1360"/>
                </a:cubicBezTo>
                <a:cubicBezTo>
                  <a:pt x="3805" y="1357"/>
                  <a:pt x="3805" y="1355"/>
                  <a:pt x="3805" y="1353"/>
                </a:cubicBezTo>
                <a:cubicBezTo>
                  <a:pt x="3805" y="1350"/>
                  <a:pt x="3806" y="1347"/>
                  <a:pt x="3812" y="1347"/>
                </a:cubicBezTo>
                <a:close/>
                <a:moveTo>
                  <a:pt x="2953" y="1258"/>
                </a:moveTo>
                <a:cubicBezTo>
                  <a:pt x="2953" y="1259"/>
                  <a:pt x="2954" y="1261"/>
                  <a:pt x="2954" y="1262"/>
                </a:cubicBezTo>
                <a:cubicBezTo>
                  <a:pt x="2955" y="1264"/>
                  <a:pt x="2955" y="1266"/>
                  <a:pt x="2956" y="1267"/>
                </a:cubicBezTo>
                <a:cubicBezTo>
                  <a:pt x="2956" y="1269"/>
                  <a:pt x="2956" y="1270"/>
                  <a:pt x="2956" y="1272"/>
                </a:cubicBezTo>
                <a:cubicBezTo>
                  <a:pt x="2957" y="1275"/>
                  <a:pt x="2956" y="1277"/>
                  <a:pt x="2952" y="1277"/>
                </a:cubicBezTo>
                <a:cubicBezTo>
                  <a:pt x="2950" y="1277"/>
                  <a:pt x="2947" y="1276"/>
                  <a:pt x="2944" y="1276"/>
                </a:cubicBezTo>
                <a:cubicBezTo>
                  <a:pt x="2944" y="1276"/>
                  <a:pt x="2943" y="1276"/>
                  <a:pt x="2943" y="1277"/>
                </a:cubicBezTo>
                <a:cubicBezTo>
                  <a:pt x="2941" y="1278"/>
                  <a:pt x="2939" y="1280"/>
                  <a:pt x="2938" y="1281"/>
                </a:cubicBezTo>
                <a:cubicBezTo>
                  <a:pt x="2936" y="1283"/>
                  <a:pt x="2933" y="1284"/>
                  <a:pt x="2931" y="1282"/>
                </a:cubicBezTo>
                <a:cubicBezTo>
                  <a:pt x="2929" y="1280"/>
                  <a:pt x="2928" y="1277"/>
                  <a:pt x="2926" y="1274"/>
                </a:cubicBezTo>
                <a:cubicBezTo>
                  <a:pt x="2925" y="1273"/>
                  <a:pt x="2926" y="1271"/>
                  <a:pt x="2928" y="1270"/>
                </a:cubicBezTo>
                <a:cubicBezTo>
                  <a:pt x="2925" y="1270"/>
                  <a:pt x="2924" y="1270"/>
                  <a:pt x="2922" y="1270"/>
                </a:cubicBezTo>
                <a:cubicBezTo>
                  <a:pt x="2921" y="1272"/>
                  <a:pt x="2920" y="1274"/>
                  <a:pt x="2919" y="1276"/>
                </a:cubicBezTo>
                <a:cubicBezTo>
                  <a:pt x="2919" y="1276"/>
                  <a:pt x="2919" y="1277"/>
                  <a:pt x="2919" y="1278"/>
                </a:cubicBezTo>
                <a:cubicBezTo>
                  <a:pt x="2919" y="1281"/>
                  <a:pt x="2918" y="1282"/>
                  <a:pt x="2915" y="1282"/>
                </a:cubicBezTo>
                <a:cubicBezTo>
                  <a:pt x="2912" y="1282"/>
                  <a:pt x="2909" y="1281"/>
                  <a:pt x="2906" y="1280"/>
                </a:cubicBezTo>
                <a:cubicBezTo>
                  <a:pt x="2904" y="1279"/>
                  <a:pt x="2903" y="1278"/>
                  <a:pt x="2904" y="1276"/>
                </a:cubicBezTo>
                <a:cubicBezTo>
                  <a:pt x="2904" y="1275"/>
                  <a:pt x="2904" y="1274"/>
                  <a:pt x="2905" y="1274"/>
                </a:cubicBezTo>
                <a:cubicBezTo>
                  <a:pt x="2902" y="1273"/>
                  <a:pt x="2900" y="1272"/>
                  <a:pt x="2898" y="1270"/>
                </a:cubicBezTo>
                <a:cubicBezTo>
                  <a:pt x="2897" y="1270"/>
                  <a:pt x="2896" y="1268"/>
                  <a:pt x="2895" y="1266"/>
                </a:cubicBezTo>
                <a:cubicBezTo>
                  <a:pt x="2894" y="1264"/>
                  <a:pt x="2894" y="1263"/>
                  <a:pt x="2896" y="1261"/>
                </a:cubicBezTo>
                <a:cubicBezTo>
                  <a:pt x="2899" y="1259"/>
                  <a:pt x="2900" y="1256"/>
                  <a:pt x="2899" y="1252"/>
                </a:cubicBezTo>
                <a:cubicBezTo>
                  <a:pt x="2899" y="1250"/>
                  <a:pt x="2899" y="1247"/>
                  <a:pt x="2899" y="1246"/>
                </a:cubicBezTo>
                <a:cubicBezTo>
                  <a:pt x="2898" y="1245"/>
                  <a:pt x="2896" y="1245"/>
                  <a:pt x="2895" y="1244"/>
                </a:cubicBezTo>
                <a:cubicBezTo>
                  <a:pt x="2894" y="1242"/>
                  <a:pt x="2893" y="1240"/>
                  <a:pt x="2893" y="1238"/>
                </a:cubicBezTo>
                <a:cubicBezTo>
                  <a:pt x="2893" y="1235"/>
                  <a:pt x="2896" y="1232"/>
                  <a:pt x="2899" y="1232"/>
                </a:cubicBezTo>
                <a:cubicBezTo>
                  <a:pt x="2899" y="1232"/>
                  <a:pt x="2899" y="1233"/>
                  <a:pt x="2900" y="1234"/>
                </a:cubicBezTo>
                <a:cubicBezTo>
                  <a:pt x="2900" y="1235"/>
                  <a:pt x="2900" y="1236"/>
                  <a:pt x="2900" y="1237"/>
                </a:cubicBezTo>
                <a:cubicBezTo>
                  <a:pt x="2899" y="1237"/>
                  <a:pt x="2899" y="1237"/>
                  <a:pt x="2899" y="1237"/>
                </a:cubicBezTo>
                <a:cubicBezTo>
                  <a:pt x="2898" y="1238"/>
                  <a:pt x="2898" y="1239"/>
                  <a:pt x="2897" y="1241"/>
                </a:cubicBezTo>
                <a:cubicBezTo>
                  <a:pt x="2898" y="1241"/>
                  <a:pt x="2899" y="1241"/>
                  <a:pt x="2899" y="1240"/>
                </a:cubicBezTo>
                <a:cubicBezTo>
                  <a:pt x="2901" y="1239"/>
                  <a:pt x="2901" y="1238"/>
                  <a:pt x="2902" y="1237"/>
                </a:cubicBezTo>
                <a:cubicBezTo>
                  <a:pt x="2907" y="1230"/>
                  <a:pt x="2912" y="1226"/>
                  <a:pt x="2920" y="1225"/>
                </a:cubicBezTo>
                <a:cubicBezTo>
                  <a:pt x="2923" y="1224"/>
                  <a:pt x="2927" y="1223"/>
                  <a:pt x="2929" y="1221"/>
                </a:cubicBezTo>
                <a:cubicBezTo>
                  <a:pt x="2929" y="1220"/>
                  <a:pt x="2930" y="1220"/>
                  <a:pt x="2930" y="1220"/>
                </a:cubicBezTo>
                <a:cubicBezTo>
                  <a:pt x="2933" y="1219"/>
                  <a:pt x="2934" y="1217"/>
                  <a:pt x="2936" y="1215"/>
                </a:cubicBezTo>
                <a:cubicBezTo>
                  <a:pt x="2944" y="1207"/>
                  <a:pt x="2956" y="1207"/>
                  <a:pt x="2963" y="1214"/>
                </a:cubicBezTo>
                <a:cubicBezTo>
                  <a:pt x="2966" y="1216"/>
                  <a:pt x="2969" y="1218"/>
                  <a:pt x="2971" y="1220"/>
                </a:cubicBezTo>
                <a:cubicBezTo>
                  <a:pt x="2972" y="1221"/>
                  <a:pt x="2974" y="1223"/>
                  <a:pt x="2975" y="1224"/>
                </a:cubicBezTo>
                <a:cubicBezTo>
                  <a:pt x="2976" y="1226"/>
                  <a:pt x="2976" y="1226"/>
                  <a:pt x="2978" y="1225"/>
                </a:cubicBezTo>
                <a:cubicBezTo>
                  <a:pt x="2978" y="1224"/>
                  <a:pt x="2979" y="1224"/>
                  <a:pt x="2980" y="1223"/>
                </a:cubicBezTo>
                <a:cubicBezTo>
                  <a:pt x="2982" y="1220"/>
                  <a:pt x="2985" y="1220"/>
                  <a:pt x="2986" y="1223"/>
                </a:cubicBezTo>
                <a:cubicBezTo>
                  <a:pt x="2987" y="1226"/>
                  <a:pt x="2988" y="1229"/>
                  <a:pt x="2989" y="1232"/>
                </a:cubicBezTo>
                <a:cubicBezTo>
                  <a:pt x="2989" y="1237"/>
                  <a:pt x="2989" y="1241"/>
                  <a:pt x="2987" y="1245"/>
                </a:cubicBezTo>
                <a:cubicBezTo>
                  <a:pt x="2985" y="1252"/>
                  <a:pt x="2980" y="1255"/>
                  <a:pt x="2974" y="1255"/>
                </a:cubicBezTo>
                <a:cubicBezTo>
                  <a:pt x="2973" y="1255"/>
                  <a:pt x="2972" y="1255"/>
                  <a:pt x="2972" y="1255"/>
                </a:cubicBezTo>
                <a:cubicBezTo>
                  <a:pt x="2969" y="1255"/>
                  <a:pt x="2968" y="1255"/>
                  <a:pt x="2967" y="1258"/>
                </a:cubicBezTo>
                <a:cubicBezTo>
                  <a:pt x="2966" y="1262"/>
                  <a:pt x="2960" y="1264"/>
                  <a:pt x="2957" y="1261"/>
                </a:cubicBezTo>
                <a:cubicBezTo>
                  <a:pt x="2956" y="1259"/>
                  <a:pt x="2955" y="1259"/>
                  <a:pt x="2954" y="1257"/>
                </a:cubicBezTo>
                <a:cubicBezTo>
                  <a:pt x="2953" y="1258"/>
                  <a:pt x="2953" y="1258"/>
                  <a:pt x="2953" y="1258"/>
                </a:cubicBezTo>
                <a:close/>
                <a:moveTo>
                  <a:pt x="2947" y="1253"/>
                </a:moveTo>
                <a:cubicBezTo>
                  <a:pt x="2951" y="1255"/>
                  <a:pt x="2954" y="1256"/>
                  <a:pt x="2957" y="1259"/>
                </a:cubicBezTo>
                <a:cubicBezTo>
                  <a:pt x="2959" y="1261"/>
                  <a:pt x="2961" y="1261"/>
                  <a:pt x="2963" y="1261"/>
                </a:cubicBezTo>
                <a:cubicBezTo>
                  <a:pt x="2965" y="1260"/>
                  <a:pt x="2967" y="1258"/>
                  <a:pt x="2967" y="1255"/>
                </a:cubicBezTo>
                <a:cubicBezTo>
                  <a:pt x="2967" y="1255"/>
                  <a:pt x="2966" y="1255"/>
                  <a:pt x="2966" y="1255"/>
                </a:cubicBezTo>
                <a:cubicBezTo>
                  <a:pt x="2965" y="1257"/>
                  <a:pt x="2964" y="1258"/>
                  <a:pt x="2963" y="1259"/>
                </a:cubicBezTo>
                <a:cubicBezTo>
                  <a:pt x="2962" y="1260"/>
                  <a:pt x="2961" y="1260"/>
                  <a:pt x="2960" y="1259"/>
                </a:cubicBezTo>
                <a:cubicBezTo>
                  <a:pt x="2959" y="1259"/>
                  <a:pt x="2959" y="1258"/>
                  <a:pt x="2959" y="1257"/>
                </a:cubicBezTo>
                <a:cubicBezTo>
                  <a:pt x="2959" y="1255"/>
                  <a:pt x="2959" y="1253"/>
                  <a:pt x="2960" y="1251"/>
                </a:cubicBezTo>
                <a:cubicBezTo>
                  <a:pt x="2963" y="1252"/>
                  <a:pt x="2966" y="1253"/>
                  <a:pt x="2970" y="1253"/>
                </a:cubicBezTo>
                <a:cubicBezTo>
                  <a:pt x="2977" y="1255"/>
                  <a:pt x="2983" y="1253"/>
                  <a:pt x="2986" y="1244"/>
                </a:cubicBezTo>
                <a:cubicBezTo>
                  <a:pt x="2988" y="1240"/>
                  <a:pt x="2987" y="1235"/>
                  <a:pt x="2987" y="1230"/>
                </a:cubicBezTo>
                <a:cubicBezTo>
                  <a:pt x="2986" y="1228"/>
                  <a:pt x="2985" y="1226"/>
                  <a:pt x="2985" y="1224"/>
                </a:cubicBezTo>
                <a:cubicBezTo>
                  <a:pt x="2984" y="1223"/>
                  <a:pt x="2983" y="1222"/>
                  <a:pt x="2981" y="1224"/>
                </a:cubicBezTo>
                <a:cubicBezTo>
                  <a:pt x="2980" y="1225"/>
                  <a:pt x="2978" y="1227"/>
                  <a:pt x="2976" y="1228"/>
                </a:cubicBezTo>
                <a:cubicBezTo>
                  <a:pt x="2976" y="1228"/>
                  <a:pt x="2975" y="1229"/>
                  <a:pt x="2975" y="1230"/>
                </a:cubicBezTo>
                <a:cubicBezTo>
                  <a:pt x="2976" y="1233"/>
                  <a:pt x="2975" y="1236"/>
                  <a:pt x="2974" y="1240"/>
                </a:cubicBezTo>
                <a:cubicBezTo>
                  <a:pt x="2974" y="1238"/>
                  <a:pt x="2974" y="1236"/>
                  <a:pt x="2974" y="1234"/>
                </a:cubicBezTo>
                <a:cubicBezTo>
                  <a:pt x="2974" y="1233"/>
                  <a:pt x="2974" y="1233"/>
                  <a:pt x="2974" y="1232"/>
                </a:cubicBezTo>
                <a:cubicBezTo>
                  <a:pt x="2973" y="1233"/>
                  <a:pt x="2972" y="1233"/>
                  <a:pt x="2972" y="1233"/>
                </a:cubicBezTo>
                <a:cubicBezTo>
                  <a:pt x="2972" y="1234"/>
                  <a:pt x="2971" y="1236"/>
                  <a:pt x="2970" y="1237"/>
                </a:cubicBezTo>
                <a:cubicBezTo>
                  <a:pt x="2970" y="1237"/>
                  <a:pt x="2970" y="1237"/>
                  <a:pt x="2970" y="1237"/>
                </a:cubicBezTo>
                <a:cubicBezTo>
                  <a:pt x="2970" y="1236"/>
                  <a:pt x="2970" y="1234"/>
                  <a:pt x="2971" y="1232"/>
                </a:cubicBezTo>
                <a:cubicBezTo>
                  <a:pt x="2970" y="1232"/>
                  <a:pt x="2969" y="1233"/>
                  <a:pt x="2969" y="1234"/>
                </a:cubicBezTo>
                <a:cubicBezTo>
                  <a:pt x="2968" y="1234"/>
                  <a:pt x="2968" y="1235"/>
                  <a:pt x="2967" y="1236"/>
                </a:cubicBezTo>
                <a:cubicBezTo>
                  <a:pt x="2968" y="1232"/>
                  <a:pt x="2968" y="1232"/>
                  <a:pt x="2974" y="1231"/>
                </a:cubicBezTo>
                <a:cubicBezTo>
                  <a:pt x="2974" y="1230"/>
                  <a:pt x="2973" y="1230"/>
                  <a:pt x="2973" y="1230"/>
                </a:cubicBezTo>
                <a:cubicBezTo>
                  <a:pt x="2970" y="1230"/>
                  <a:pt x="2969" y="1229"/>
                  <a:pt x="2969" y="1226"/>
                </a:cubicBezTo>
                <a:cubicBezTo>
                  <a:pt x="2970" y="1226"/>
                  <a:pt x="2972" y="1226"/>
                  <a:pt x="2974" y="1225"/>
                </a:cubicBezTo>
                <a:cubicBezTo>
                  <a:pt x="2972" y="1223"/>
                  <a:pt x="2970" y="1220"/>
                  <a:pt x="2967" y="1220"/>
                </a:cubicBezTo>
                <a:cubicBezTo>
                  <a:pt x="2967" y="1220"/>
                  <a:pt x="2967" y="1219"/>
                  <a:pt x="2967" y="1219"/>
                </a:cubicBezTo>
                <a:cubicBezTo>
                  <a:pt x="2964" y="1217"/>
                  <a:pt x="2962" y="1215"/>
                  <a:pt x="2959" y="1213"/>
                </a:cubicBezTo>
                <a:cubicBezTo>
                  <a:pt x="2957" y="1211"/>
                  <a:pt x="2954" y="1211"/>
                  <a:pt x="2952" y="1211"/>
                </a:cubicBezTo>
                <a:cubicBezTo>
                  <a:pt x="2949" y="1211"/>
                  <a:pt x="2945" y="1212"/>
                  <a:pt x="2942" y="1213"/>
                </a:cubicBezTo>
                <a:cubicBezTo>
                  <a:pt x="2939" y="1214"/>
                  <a:pt x="2937" y="1216"/>
                  <a:pt x="2935" y="1219"/>
                </a:cubicBezTo>
                <a:cubicBezTo>
                  <a:pt x="2937" y="1219"/>
                  <a:pt x="2938" y="1219"/>
                  <a:pt x="2939" y="1219"/>
                </a:cubicBezTo>
                <a:cubicBezTo>
                  <a:pt x="2939" y="1219"/>
                  <a:pt x="2938" y="1220"/>
                  <a:pt x="2937" y="1220"/>
                </a:cubicBezTo>
                <a:cubicBezTo>
                  <a:pt x="2935" y="1221"/>
                  <a:pt x="2932" y="1220"/>
                  <a:pt x="2930" y="1222"/>
                </a:cubicBezTo>
                <a:cubicBezTo>
                  <a:pt x="2927" y="1226"/>
                  <a:pt x="2923" y="1230"/>
                  <a:pt x="2919" y="1234"/>
                </a:cubicBezTo>
                <a:cubicBezTo>
                  <a:pt x="2918" y="1236"/>
                  <a:pt x="2917" y="1238"/>
                  <a:pt x="2916" y="1241"/>
                </a:cubicBezTo>
                <a:cubicBezTo>
                  <a:pt x="2916" y="1241"/>
                  <a:pt x="2916" y="1242"/>
                  <a:pt x="2916" y="1242"/>
                </a:cubicBezTo>
                <a:cubicBezTo>
                  <a:pt x="2917" y="1244"/>
                  <a:pt x="2918" y="1246"/>
                  <a:pt x="2920" y="1248"/>
                </a:cubicBezTo>
                <a:cubicBezTo>
                  <a:pt x="2921" y="1247"/>
                  <a:pt x="2922" y="1245"/>
                  <a:pt x="2923" y="1244"/>
                </a:cubicBezTo>
                <a:cubicBezTo>
                  <a:pt x="2923" y="1245"/>
                  <a:pt x="2923" y="1246"/>
                  <a:pt x="2922" y="1248"/>
                </a:cubicBezTo>
                <a:cubicBezTo>
                  <a:pt x="2921" y="1249"/>
                  <a:pt x="2920" y="1250"/>
                  <a:pt x="2920" y="1252"/>
                </a:cubicBezTo>
                <a:cubicBezTo>
                  <a:pt x="2919" y="1253"/>
                  <a:pt x="2920" y="1254"/>
                  <a:pt x="2920" y="1255"/>
                </a:cubicBezTo>
                <a:cubicBezTo>
                  <a:pt x="2923" y="1258"/>
                  <a:pt x="2926" y="1258"/>
                  <a:pt x="2930" y="1256"/>
                </a:cubicBezTo>
                <a:cubicBezTo>
                  <a:pt x="2932" y="1255"/>
                  <a:pt x="2935" y="1253"/>
                  <a:pt x="2938" y="1253"/>
                </a:cubicBezTo>
                <a:cubicBezTo>
                  <a:pt x="2939" y="1252"/>
                  <a:pt x="2940" y="1251"/>
                  <a:pt x="2940" y="1250"/>
                </a:cubicBezTo>
                <a:cubicBezTo>
                  <a:pt x="2940" y="1247"/>
                  <a:pt x="2940" y="1243"/>
                  <a:pt x="2940" y="1240"/>
                </a:cubicBezTo>
                <a:cubicBezTo>
                  <a:pt x="2940" y="1237"/>
                  <a:pt x="2940" y="1234"/>
                  <a:pt x="2940" y="1231"/>
                </a:cubicBezTo>
                <a:cubicBezTo>
                  <a:pt x="2941" y="1234"/>
                  <a:pt x="2941" y="1236"/>
                  <a:pt x="2942" y="1239"/>
                </a:cubicBezTo>
                <a:cubicBezTo>
                  <a:pt x="2943" y="1244"/>
                  <a:pt x="2943" y="1248"/>
                  <a:pt x="2941" y="1252"/>
                </a:cubicBezTo>
                <a:cubicBezTo>
                  <a:pt x="2941" y="1253"/>
                  <a:pt x="2940" y="1254"/>
                  <a:pt x="2940" y="1254"/>
                </a:cubicBezTo>
                <a:cubicBezTo>
                  <a:pt x="2936" y="1254"/>
                  <a:pt x="2933" y="1256"/>
                  <a:pt x="2930" y="1258"/>
                </a:cubicBezTo>
                <a:cubicBezTo>
                  <a:pt x="2925" y="1261"/>
                  <a:pt x="2921" y="1259"/>
                  <a:pt x="2918" y="1255"/>
                </a:cubicBezTo>
                <a:cubicBezTo>
                  <a:pt x="2918" y="1255"/>
                  <a:pt x="2918" y="1253"/>
                  <a:pt x="2918" y="1253"/>
                </a:cubicBezTo>
                <a:cubicBezTo>
                  <a:pt x="2919" y="1251"/>
                  <a:pt x="2918" y="1249"/>
                  <a:pt x="2916" y="1247"/>
                </a:cubicBezTo>
                <a:cubicBezTo>
                  <a:pt x="2915" y="1245"/>
                  <a:pt x="2913" y="1242"/>
                  <a:pt x="2914" y="1240"/>
                </a:cubicBezTo>
                <a:cubicBezTo>
                  <a:pt x="2915" y="1238"/>
                  <a:pt x="2916" y="1236"/>
                  <a:pt x="2917" y="1234"/>
                </a:cubicBezTo>
                <a:cubicBezTo>
                  <a:pt x="2919" y="1232"/>
                  <a:pt x="2921" y="1229"/>
                  <a:pt x="2923" y="1226"/>
                </a:cubicBezTo>
                <a:cubicBezTo>
                  <a:pt x="2923" y="1226"/>
                  <a:pt x="2922" y="1226"/>
                  <a:pt x="2922" y="1226"/>
                </a:cubicBezTo>
                <a:cubicBezTo>
                  <a:pt x="2917" y="1228"/>
                  <a:pt x="2912" y="1229"/>
                  <a:pt x="2909" y="1232"/>
                </a:cubicBezTo>
                <a:cubicBezTo>
                  <a:pt x="2904" y="1237"/>
                  <a:pt x="2901" y="1242"/>
                  <a:pt x="2901" y="1249"/>
                </a:cubicBezTo>
                <a:cubicBezTo>
                  <a:pt x="2900" y="1255"/>
                  <a:pt x="2903" y="1261"/>
                  <a:pt x="2906" y="1267"/>
                </a:cubicBezTo>
                <a:cubicBezTo>
                  <a:pt x="2907" y="1268"/>
                  <a:pt x="2907" y="1270"/>
                  <a:pt x="2907" y="1271"/>
                </a:cubicBezTo>
                <a:cubicBezTo>
                  <a:pt x="2907" y="1272"/>
                  <a:pt x="2907" y="1274"/>
                  <a:pt x="2906" y="1275"/>
                </a:cubicBezTo>
                <a:cubicBezTo>
                  <a:pt x="2905" y="1277"/>
                  <a:pt x="2906" y="1278"/>
                  <a:pt x="2907" y="1278"/>
                </a:cubicBezTo>
                <a:cubicBezTo>
                  <a:pt x="2910" y="1279"/>
                  <a:pt x="2913" y="1280"/>
                  <a:pt x="2916" y="1280"/>
                </a:cubicBezTo>
                <a:cubicBezTo>
                  <a:pt x="2916" y="1280"/>
                  <a:pt x="2917" y="1279"/>
                  <a:pt x="2917" y="1279"/>
                </a:cubicBezTo>
                <a:cubicBezTo>
                  <a:pt x="2918" y="1278"/>
                  <a:pt x="2918" y="1276"/>
                  <a:pt x="2918" y="1275"/>
                </a:cubicBezTo>
                <a:cubicBezTo>
                  <a:pt x="2920" y="1273"/>
                  <a:pt x="2920" y="1270"/>
                  <a:pt x="2920" y="1267"/>
                </a:cubicBezTo>
                <a:cubicBezTo>
                  <a:pt x="2920" y="1267"/>
                  <a:pt x="2920" y="1266"/>
                  <a:pt x="2920" y="1266"/>
                </a:cubicBezTo>
                <a:cubicBezTo>
                  <a:pt x="2920" y="1266"/>
                  <a:pt x="2920" y="1266"/>
                  <a:pt x="2920" y="1265"/>
                </a:cubicBezTo>
                <a:cubicBezTo>
                  <a:pt x="2921" y="1268"/>
                  <a:pt x="2922" y="1268"/>
                  <a:pt x="2924" y="1268"/>
                </a:cubicBezTo>
                <a:cubicBezTo>
                  <a:pt x="2925" y="1268"/>
                  <a:pt x="2926" y="1268"/>
                  <a:pt x="2927" y="1268"/>
                </a:cubicBezTo>
                <a:cubicBezTo>
                  <a:pt x="2929" y="1268"/>
                  <a:pt x="2932" y="1269"/>
                  <a:pt x="2933" y="1264"/>
                </a:cubicBezTo>
                <a:cubicBezTo>
                  <a:pt x="2933" y="1267"/>
                  <a:pt x="2933" y="1268"/>
                  <a:pt x="2933" y="1269"/>
                </a:cubicBezTo>
                <a:cubicBezTo>
                  <a:pt x="2932" y="1270"/>
                  <a:pt x="2930" y="1271"/>
                  <a:pt x="2929" y="1271"/>
                </a:cubicBezTo>
                <a:cubicBezTo>
                  <a:pt x="2928" y="1272"/>
                  <a:pt x="2927" y="1274"/>
                  <a:pt x="2928" y="1274"/>
                </a:cubicBezTo>
                <a:cubicBezTo>
                  <a:pt x="2929" y="1277"/>
                  <a:pt x="2930" y="1279"/>
                  <a:pt x="2932" y="1281"/>
                </a:cubicBezTo>
                <a:cubicBezTo>
                  <a:pt x="2934" y="1282"/>
                  <a:pt x="2936" y="1282"/>
                  <a:pt x="2937" y="1280"/>
                </a:cubicBezTo>
                <a:cubicBezTo>
                  <a:pt x="2938" y="1279"/>
                  <a:pt x="2938" y="1278"/>
                  <a:pt x="2939" y="1278"/>
                </a:cubicBezTo>
                <a:cubicBezTo>
                  <a:pt x="2941" y="1276"/>
                  <a:pt x="2942" y="1275"/>
                  <a:pt x="2944" y="1274"/>
                </a:cubicBezTo>
                <a:cubicBezTo>
                  <a:pt x="2948" y="1270"/>
                  <a:pt x="2950" y="1264"/>
                  <a:pt x="2952" y="1258"/>
                </a:cubicBezTo>
                <a:cubicBezTo>
                  <a:pt x="2952" y="1257"/>
                  <a:pt x="2951" y="1257"/>
                  <a:pt x="2950" y="1256"/>
                </a:cubicBezTo>
                <a:cubicBezTo>
                  <a:pt x="2950" y="1255"/>
                  <a:pt x="2949" y="1254"/>
                  <a:pt x="2947" y="1253"/>
                </a:cubicBezTo>
                <a:close/>
                <a:moveTo>
                  <a:pt x="2900" y="1260"/>
                </a:moveTo>
                <a:cubicBezTo>
                  <a:pt x="2899" y="1261"/>
                  <a:pt x="2898" y="1261"/>
                  <a:pt x="2897" y="1263"/>
                </a:cubicBezTo>
                <a:cubicBezTo>
                  <a:pt x="2896" y="1263"/>
                  <a:pt x="2896" y="1264"/>
                  <a:pt x="2896" y="1264"/>
                </a:cubicBezTo>
                <a:cubicBezTo>
                  <a:pt x="2896" y="1267"/>
                  <a:pt x="2900" y="1272"/>
                  <a:pt x="2903" y="1271"/>
                </a:cubicBezTo>
                <a:cubicBezTo>
                  <a:pt x="2905" y="1271"/>
                  <a:pt x="2906" y="1270"/>
                  <a:pt x="2905" y="1268"/>
                </a:cubicBezTo>
                <a:cubicBezTo>
                  <a:pt x="2903" y="1265"/>
                  <a:pt x="2902" y="1263"/>
                  <a:pt x="2900" y="1260"/>
                </a:cubicBezTo>
                <a:close/>
                <a:moveTo>
                  <a:pt x="2953" y="1262"/>
                </a:moveTo>
                <a:cubicBezTo>
                  <a:pt x="2950" y="1266"/>
                  <a:pt x="2948" y="1271"/>
                  <a:pt x="2946" y="1275"/>
                </a:cubicBezTo>
                <a:cubicBezTo>
                  <a:pt x="2949" y="1275"/>
                  <a:pt x="2951" y="1276"/>
                  <a:pt x="2954" y="1275"/>
                </a:cubicBezTo>
                <a:cubicBezTo>
                  <a:pt x="2954" y="1275"/>
                  <a:pt x="2954" y="1274"/>
                  <a:pt x="2954" y="1274"/>
                </a:cubicBezTo>
                <a:cubicBezTo>
                  <a:pt x="2954" y="1271"/>
                  <a:pt x="2954" y="1268"/>
                  <a:pt x="2954" y="1266"/>
                </a:cubicBezTo>
                <a:cubicBezTo>
                  <a:pt x="2954" y="1264"/>
                  <a:pt x="2953" y="1263"/>
                  <a:pt x="2953" y="1262"/>
                </a:cubicBezTo>
                <a:close/>
                <a:moveTo>
                  <a:pt x="2900" y="1242"/>
                </a:moveTo>
                <a:cubicBezTo>
                  <a:pt x="2899" y="1242"/>
                  <a:pt x="2899" y="1242"/>
                  <a:pt x="2898" y="1242"/>
                </a:cubicBezTo>
                <a:cubicBezTo>
                  <a:pt x="2898" y="1242"/>
                  <a:pt x="2897" y="1242"/>
                  <a:pt x="2897" y="1242"/>
                </a:cubicBezTo>
                <a:cubicBezTo>
                  <a:pt x="2896" y="1242"/>
                  <a:pt x="2896" y="1241"/>
                  <a:pt x="2896" y="1240"/>
                </a:cubicBezTo>
                <a:cubicBezTo>
                  <a:pt x="2897" y="1238"/>
                  <a:pt x="2897" y="1236"/>
                  <a:pt x="2898" y="1234"/>
                </a:cubicBezTo>
                <a:cubicBezTo>
                  <a:pt x="2898" y="1234"/>
                  <a:pt x="2898" y="1234"/>
                  <a:pt x="2897" y="1234"/>
                </a:cubicBezTo>
                <a:cubicBezTo>
                  <a:pt x="2896" y="1235"/>
                  <a:pt x="2895" y="1236"/>
                  <a:pt x="2894" y="1237"/>
                </a:cubicBezTo>
                <a:cubicBezTo>
                  <a:pt x="2894" y="1238"/>
                  <a:pt x="2895" y="1243"/>
                  <a:pt x="2897" y="1244"/>
                </a:cubicBezTo>
                <a:cubicBezTo>
                  <a:pt x="2898" y="1245"/>
                  <a:pt x="2900" y="1244"/>
                  <a:pt x="2900" y="1242"/>
                </a:cubicBezTo>
                <a:close/>
                <a:moveTo>
                  <a:pt x="2900" y="1259"/>
                </a:moveTo>
                <a:cubicBezTo>
                  <a:pt x="2900" y="1260"/>
                  <a:pt x="2898" y="1261"/>
                  <a:pt x="2897" y="1262"/>
                </a:cubicBezTo>
                <a:cubicBezTo>
                  <a:pt x="2897" y="1263"/>
                  <a:pt x="2896" y="1263"/>
                  <a:pt x="2896" y="1264"/>
                </a:cubicBezTo>
                <a:cubicBezTo>
                  <a:pt x="2896" y="1267"/>
                  <a:pt x="2900" y="1271"/>
                  <a:pt x="2903" y="1271"/>
                </a:cubicBezTo>
                <a:cubicBezTo>
                  <a:pt x="2905" y="1271"/>
                  <a:pt x="2906" y="1270"/>
                  <a:pt x="2905" y="1268"/>
                </a:cubicBezTo>
                <a:cubicBezTo>
                  <a:pt x="2903" y="1265"/>
                  <a:pt x="2902" y="1262"/>
                  <a:pt x="2900" y="1259"/>
                </a:cubicBezTo>
                <a:close/>
                <a:moveTo>
                  <a:pt x="2953" y="1261"/>
                </a:moveTo>
                <a:cubicBezTo>
                  <a:pt x="2951" y="1266"/>
                  <a:pt x="2948" y="1270"/>
                  <a:pt x="2946" y="1275"/>
                </a:cubicBezTo>
                <a:cubicBezTo>
                  <a:pt x="2949" y="1275"/>
                  <a:pt x="2951" y="1275"/>
                  <a:pt x="2954" y="1275"/>
                </a:cubicBezTo>
                <a:cubicBezTo>
                  <a:pt x="2954" y="1275"/>
                  <a:pt x="2955" y="1274"/>
                  <a:pt x="2955" y="1273"/>
                </a:cubicBezTo>
                <a:cubicBezTo>
                  <a:pt x="2955" y="1270"/>
                  <a:pt x="2955" y="1268"/>
                  <a:pt x="2954" y="1266"/>
                </a:cubicBezTo>
                <a:cubicBezTo>
                  <a:pt x="2954" y="1264"/>
                  <a:pt x="2954" y="1263"/>
                  <a:pt x="2953" y="1261"/>
                </a:cubicBezTo>
                <a:close/>
                <a:moveTo>
                  <a:pt x="2900" y="1241"/>
                </a:moveTo>
                <a:cubicBezTo>
                  <a:pt x="2900" y="1242"/>
                  <a:pt x="2899" y="1242"/>
                  <a:pt x="2899" y="1242"/>
                </a:cubicBezTo>
                <a:cubicBezTo>
                  <a:pt x="2898" y="1242"/>
                  <a:pt x="2897" y="1242"/>
                  <a:pt x="2897" y="1242"/>
                </a:cubicBezTo>
                <a:cubicBezTo>
                  <a:pt x="2897" y="1241"/>
                  <a:pt x="2896" y="1241"/>
                  <a:pt x="2896" y="1240"/>
                </a:cubicBezTo>
                <a:cubicBezTo>
                  <a:pt x="2897" y="1238"/>
                  <a:pt x="2897" y="1236"/>
                  <a:pt x="2898" y="1234"/>
                </a:cubicBezTo>
                <a:cubicBezTo>
                  <a:pt x="2898" y="1234"/>
                  <a:pt x="2898" y="1234"/>
                  <a:pt x="2897" y="1234"/>
                </a:cubicBezTo>
                <a:cubicBezTo>
                  <a:pt x="2897" y="1235"/>
                  <a:pt x="2895" y="1236"/>
                  <a:pt x="2895" y="1237"/>
                </a:cubicBezTo>
                <a:cubicBezTo>
                  <a:pt x="2894" y="1238"/>
                  <a:pt x="2895" y="1243"/>
                  <a:pt x="2897" y="1244"/>
                </a:cubicBezTo>
                <a:cubicBezTo>
                  <a:pt x="2899" y="1245"/>
                  <a:pt x="2900" y="1243"/>
                  <a:pt x="2900" y="1241"/>
                </a:cubicBezTo>
                <a:close/>
                <a:moveTo>
                  <a:pt x="2952" y="1233"/>
                </a:moveTo>
                <a:cubicBezTo>
                  <a:pt x="2956" y="1229"/>
                  <a:pt x="2956" y="1229"/>
                  <a:pt x="2960" y="1228"/>
                </a:cubicBezTo>
                <a:cubicBezTo>
                  <a:pt x="2960" y="1230"/>
                  <a:pt x="2961" y="1231"/>
                  <a:pt x="2962" y="1231"/>
                </a:cubicBezTo>
                <a:cubicBezTo>
                  <a:pt x="2960" y="1233"/>
                  <a:pt x="2958" y="1234"/>
                  <a:pt x="2956" y="1235"/>
                </a:cubicBezTo>
                <a:cubicBezTo>
                  <a:pt x="2955" y="1235"/>
                  <a:pt x="2955" y="1234"/>
                  <a:pt x="2954" y="1233"/>
                </a:cubicBezTo>
                <a:cubicBezTo>
                  <a:pt x="2954" y="1233"/>
                  <a:pt x="2953" y="1233"/>
                  <a:pt x="2952" y="1233"/>
                </a:cubicBezTo>
                <a:close/>
                <a:moveTo>
                  <a:pt x="2958" y="1233"/>
                </a:moveTo>
                <a:cubicBezTo>
                  <a:pt x="2958" y="1232"/>
                  <a:pt x="2957" y="1232"/>
                  <a:pt x="2956" y="1232"/>
                </a:cubicBezTo>
                <a:cubicBezTo>
                  <a:pt x="2956" y="1232"/>
                  <a:pt x="2955" y="1233"/>
                  <a:pt x="2955" y="1233"/>
                </a:cubicBezTo>
                <a:cubicBezTo>
                  <a:pt x="2955" y="1233"/>
                  <a:pt x="2956" y="1234"/>
                  <a:pt x="2956" y="1234"/>
                </a:cubicBezTo>
                <a:cubicBezTo>
                  <a:pt x="2957" y="1234"/>
                  <a:pt x="2957" y="1233"/>
                  <a:pt x="2958" y="1233"/>
                </a:cubicBezTo>
                <a:close/>
                <a:moveTo>
                  <a:pt x="2939" y="1223"/>
                </a:moveTo>
                <a:cubicBezTo>
                  <a:pt x="2933" y="1222"/>
                  <a:pt x="2930" y="1225"/>
                  <a:pt x="2929" y="1233"/>
                </a:cubicBezTo>
                <a:cubicBezTo>
                  <a:pt x="2930" y="1231"/>
                  <a:pt x="2931" y="1228"/>
                  <a:pt x="2932" y="1226"/>
                </a:cubicBezTo>
                <a:cubicBezTo>
                  <a:pt x="2933" y="1226"/>
                  <a:pt x="2933" y="1226"/>
                  <a:pt x="2933" y="1226"/>
                </a:cubicBezTo>
                <a:cubicBezTo>
                  <a:pt x="2933" y="1227"/>
                  <a:pt x="2933" y="1228"/>
                  <a:pt x="2933" y="1229"/>
                </a:cubicBezTo>
                <a:cubicBezTo>
                  <a:pt x="2934" y="1226"/>
                  <a:pt x="2936" y="1224"/>
                  <a:pt x="2939" y="1223"/>
                </a:cubicBezTo>
                <a:close/>
                <a:moveTo>
                  <a:pt x="2983" y="1225"/>
                </a:moveTo>
                <a:cubicBezTo>
                  <a:pt x="2981" y="1226"/>
                  <a:pt x="2979" y="1228"/>
                  <a:pt x="2978" y="1229"/>
                </a:cubicBezTo>
                <a:cubicBezTo>
                  <a:pt x="2980" y="1229"/>
                  <a:pt x="2982" y="1228"/>
                  <a:pt x="2983" y="1225"/>
                </a:cubicBezTo>
                <a:close/>
                <a:moveTo>
                  <a:pt x="2950" y="1227"/>
                </a:moveTo>
                <a:cubicBezTo>
                  <a:pt x="2951" y="1226"/>
                  <a:pt x="2952" y="1224"/>
                  <a:pt x="2953" y="1223"/>
                </a:cubicBezTo>
                <a:cubicBezTo>
                  <a:pt x="2950" y="1224"/>
                  <a:pt x="2949" y="1225"/>
                  <a:pt x="2950" y="1227"/>
                </a:cubicBezTo>
                <a:close/>
                <a:moveTo>
                  <a:pt x="2960" y="1248"/>
                </a:moveTo>
                <a:cubicBezTo>
                  <a:pt x="2958" y="1248"/>
                  <a:pt x="2957" y="1249"/>
                  <a:pt x="2957" y="1250"/>
                </a:cubicBezTo>
                <a:cubicBezTo>
                  <a:pt x="2958" y="1249"/>
                  <a:pt x="2959" y="1249"/>
                  <a:pt x="2960" y="1248"/>
                </a:cubicBezTo>
                <a:close/>
                <a:moveTo>
                  <a:pt x="2959" y="1233"/>
                </a:moveTo>
                <a:cubicBezTo>
                  <a:pt x="2958" y="1232"/>
                  <a:pt x="2957" y="1232"/>
                  <a:pt x="2956" y="1232"/>
                </a:cubicBezTo>
                <a:cubicBezTo>
                  <a:pt x="2956" y="1232"/>
                  <a:pt x="2955" y="1233"/>
                  <a:pt x="2955" y="1233"/>
                </a:cubicBezTo>
                <a:cubicBezTo>
                  <a:pt x="2955" y="1234"/>
                  <a:pt x="2956" y="1234"/>
                  <a:pt x="2956" y="1234"/>
                </a:cubicBezTo>
                <a:cubicBezTo>
                  <a:pt x="2957" y="1234"/>
                  <a:pt x="2957" y="1234"/>
                  <a:pt x="2959" y="1233"/>
                </a:cubicBezTo>
                <a:close/>
                <a:moveTo>
                  <a:pt x="3483" y="1354"/>
                </a:moveTo>
                <a:cubicBezTo>
                  <a:pt x="3483" y="1355"/>
                  <a:pt x="3484" y="1357"/>
                  <a:pt x="3484" y="1358"/>
                </a:cubicBezTo>
                <a:cubicBezTo>
                  <a:pt x="3485" y="1360"/>
                  <a:pt x="3485" y="1362"/>
                  <a:pt x="3485" y="1363"/>
                </a:cubicBezTo>
                <a:cubicBezTo>
                  <a:pt x="3485" y="1365"/>
                  <a:pt x="3486" y="1366"/>
                  <a:pt x="3486" y="1368"/>
                </a:cubicBezTo>
                <a:cubicBezTo>
                  <a:pt x="3487" y="1371"/>
                  <a:pt x="3485" y="1373"/>
                  <a:pt x="3482" y="1373"/>
                </a:cubicBezTo>
                <a:cubicBezTo>
                  <a:pt x="3480" y="1373"/>
                  <a:pt x="3477" y="1372"/>
                  <a:pt x="3474" y="1372"/>
                </a:cubicBezTo>
                <a:cubicBezTo>
                  <a:pt x="3474" y="1372"/>
                  <a:pt x="3473" y="1372"/>
                  <a:pt x="3473" y="1373"/>
                </a:cubicBezTo>
                <a:cubicBezTo>
                  <a:pt x="3471" y="1374"/>
                  <a:pt x="3469" y="1376"/>
                  <a:pt x="3468" y="1377"/>
                </a:cubicBezTo>
                <a:cubicBezTo>
                  <a:pt x="3466" y="1379"/>
                  <a:pt x="3463" y="1380"/>
                  <a:pt x="3461" y="1378"/>
                </a:cubicBezTo>
                <a:cubicBezTo>
                  <a:pt x="3459" y="1376"/>
                  <a:pt x="3458" y="1373"/>
                  <a:pt x="3456" y="1370"/>
                </a:cubicBezTo>
                <a:cubicBezTo>
                  <a:pt x="3455" y="1369"/>
                  <a:pt x="3456" y="1367"/>
                  <a:pt x="3458" y="1366"/>
                </a:cubicBezTo>
                <a:cubicBezTo>
                  <a:pt x="3455" y="1366"/>
                  <a:pt x="3454" y="1366"/>
                  <a:pt x="3452" y="1366"/>
                </a:cubicBezTo>
                <a:cubicBezTo>
                  <a:pt x="3451" y="1368"/>
                  <a:pt x="3450" y="1370"/>
                  <a:pt x="3449" y="1372"/>
                </a:cubicBezTo>
                <a:cubicBezTo>
                  <a:pt x="3449" y="1372"/>
                  <a:pt x="3449" y="1373"/>
                  <a:pt x="3449" y="1374"/>
                </a:cubicBezTo>
                <a:cubicBezTo>
                  <a:pt x="3449" y="1377"/>
                  <a:pt x="3448" y="1378"/>
                  <a:pt x="3445" y="1378"/>
                </a:cubicBezTo>
                <a:cubicBezTo>
                  <a:pt x="3442" y="1378"/>
                  <a:pt x="3439" y="1377"/>
                  <a:pt x="3436" y="1376"/>
                </a:cubicBezTo>
                <a:cubicBezTo>
                  <a:pt x="3434" y="1375"/>
                  <a:pt x="3433" y="1374"/>
                  <a:pt x="3434" y="1372"/>
                </a:cubicBezTo>
                <a:cubicBezTo>
                  <a:pt x="3434" y="1371"/>
                  <a:pt x="3434" y="1370"/>
                  <a:pt x="3434" y="1370"/>
                </a:cubicBezTo>
                <a:cubicBezTo>
                  <a:pt x="3432" y="1369"/>
                  <a:pt x="3430" y="1368"/>
                  <a:pt x="3428" y="1366"/>
                </a:cubicBezTo>
                <a:cubicBezTo>
                  <a:pt x="3427" y="1366"/>
                  <a:pt x="3425" y="1364"/>
                  <a:pt x="3425" y="1362"/>
                </a:cubicBezTo>
                <a:cubicBezTo>
                  <a:pt x="3424" y="1360"/>
                  <a:pt x="3424" y="1359"/>
                  <a:pt x="3426" y="1357"/>
                </a:cubicBezTo>
                <a:cubicBezTo>
                  <a:pt x="3429" y="1355"/>
                  <a:pt x="3430" y="1352"/>
                  <a:pt x="3429" y="1348"/>
                </a:cubicBezTo>
                <a:cubicBezTo>
                  <a:pt x="3429" y="1346"/>
                  <a:pt x="3429" y="1343"/>
                  <a:pt x="3429" y="1342"/>
                </a:cubicBezTo>
                <a:cubicBezTo>
                  <a:pt x="3428" y="1341"/>
                  <a:pt x="3426" y="1341"/>
                  <a:pt x="3425" y="1340"/>
                </a:cubicBezTo>
                <a:cubicBezTo>
                  <a:pt x="3424" y="1338"/>
                  <a:pt x="3423" y="1336"/>
                  <a:pt x="3423" y="1334"/>
                </a:cubicBezTo>
                <a:cubicBezTo>
                  <a:pt x="3423" y="1331"/>
                  <a:pt x="3426" y="1328"/>
                  <a:pt x="3429" y="1328"/>
                </a:cubicBezTo>
                <a:cubicBezTo>
                  <a:pt x="3429" y="1328"/>
                  <a:pt x="3429" y="1329"/>
                  <a:pt x="3430" y="1330"/>
                </a:cubicBezTo>
                <a:cubicBezTo>
                  <a:pt x="3430" y="1331"/>
                  <a:pt x="3430" y="1332"/>
                  <a:pt x="3430" y="1333"/>
                </a:cubicBezTo>
                <a:cubicBezTo>
                  <a:pt x="3429" y="1333"/>
                  <a:pt x="3429" y="1333"/>
                  <a:pt x="3429" y="1333"/>
                </a:cubicBezTo>
                <a:cubicBezTo>
                  <a:pt x="3428" y="1334"/>
                  <a:pt x="3428" y="1335"/>
                  <a:pt x="3427" y="1337"/>
                </a:cubicBezTo>
                <a:cubicBezTo>
                  <a:pt x="3428" y="1337"/>
                  <a:pt x="3429" y="1337"/>
                  <a:pt x="3429" y="1336"/>
                </a:cubicBezTo>
                <a:cubicBezTo>
                  <a:pt x="3431" y="1335"/>
                  <a:pt x="3431" y="1334"/>
                  <a:pt x="3432" y="1333"/>
                </a:cubicBezTo>
                <a:cubicBezTo>
                  <a:pt x="3436" y="1326"/>
                  <a:pt x="3442" y="1322"/>
                  <a:pt x="3450" y="1321"/>
                </a:cubicBezTo>
                <a:cubicBezTo>
                  <a:pt x="3453" y="1320"/>
                  <a:pt x="3456" y="1319"/>
                  <a:pt x="3459" y="1317"/>
                </a:cubicBezTo>
                <a:cubicBezTo>
                  <a:pt x="3459" y="1316"/>
                  <a:pt x="3460" y="1316"/>
                  <a:pt x="3460" y="1316"/>
                </a:cubicBezTo>
                <a:cubicBezTo>
                  <a:pt x="3463" y="1315"/>
                  <a:pt x="3464" y="1313"/>
                  <a:pt x="3466" y="1311"/>
                </a:cubicBezTo>
                <a:cubicBezTo>
                  <a:pt x="3474" y="1303"/>
                  <a:pt x="3485" y="1303"/>
                  <a:pt x="3493" y="1310"/>
                </a:cubicBezTo>
                <a:cubicBezTo>
                  <a:pt x="3496" y="1312"/>
                  <a:pt x="3498" y="1314"/>
                  <a:pt x="3501" y="1316"/>
                </a:cubicBezTo>
                <a:cubicBezTo>
                  <a:pt x="3502" y="1317"/>
                  <a:pt x="3504" y="1319"/>
                  <a:pt x="3505" y="1320"/>
                </a:cubicBezTo>
                <a:cubicBezTo>
                  <a:pt x="3505" y="1322"/>
                  <a:pt x="3506" y="1322"/>
                  <a:pt x="3507" y="1321"/>
                </a:cubicBezTo>
                <a:cubicBezTo>
                  <a:pt x="3508" y="1320"/>
                  <a:pt x="3509" y="1320"/>
                  <a:pt x="3510" y="1319"/>
                </a:cubicBezTo>
                <a:cubicBezTo>
                  <a:pt x="3512" y="1316"/>
                  <a:pt x="3515" y="1316"/>
                  <a:pt x="3516" y="1319"/>
                </a:cubicBezTo>
                <a:cubicBezTo>
                  <a:pt x="3517" y="1322"/>
                  <a:pt x="3518" y="1325"/>
                  <a:pt x="3518" y="1328"/>
                </a:cubicBezTo>
                <a:cubicBezTo>
                  <a:pt x="3519" y="1333"/>
                  <a:pt x="3519" y="1337"/>
                  <a:pt x="3517" y="1341"/>
                </a:cubicBezTo>
                <a:cubicBezTo>
                  <a:pt x="3515" y="1348"/>
                  <a:pt x="3510" y="1351"/>
                  <a:pt x="3504" y="1351"/>
                </a:cubicBezTo>
                <a:cubicBezTo>
                  <a:pt x="3503" y="1351"/>
                  <a:pt x="3502" y="1351"/>
                  <a:pt x="3502" y="1351"/>
                </a:cubicBezTo>
                <a:cubicBezTo>
                  <a:pt x="3499" y="1351"/>
                  <a:pt x="3498" y="1351"/>
                  <a:pt x="3497" y="1354"/>
                </a:cubicBezTo>
                <a:cubicBezTo>
                  <a:pt x="3496" y="1358"/>
                  <a:pt x="3490" y="1360"/>
                  <a:pt x="3487" y="1357"/>
                </a:cubicBezTo>
                <a:cubicBezTo>
                  <a:pt x="3485" y="1355"/>
                  <a:pt x="3485" y="1355"/>
                  <a:pt x="3484" y="1353"/>
                </a:cubicBezTo>
                <a:cubicBezTo>
                  <a:pt x="3483" y="1354"/>
                  <a:pt x="3483" y="1354"/>
                  <a:pt x="3483" y="1354"/>
                </a:cubicBezTo>
                <a:close/>
                <a:moveTo>
                  <a:pt x="3477" y="1349"/>
                </a:moveTo>
                <a:cubicBezTo>
                  <a:pt x="3481" y="1351"/>
                  <a:pt x="3484" y="1352"/>
                  <a:pt x="3487" y="1355"/>
                </a:cubicBezTo>
                <a:cubicBezTo>
                  <a:pt x="3489" y="1357"/>
                  <a:pt x="3491" y="1357"/>
                  <a:pt x="3493" y="1357"/>
                </a:cubicBezTo>
                <a:cubicBezTo>
                  <a:pt x="3495" y="1356"/>
                  <a:pt x="3497" y="1354"/>
                  <a:pt x="3497" y="1351"/>
                </a:cubicBezTo>
                <a:cubicBezTo>
                  <a:pt x="3496" y="1351"/>
                  <a:pt x="3496" y="1351"/>
                  <a:pt x="3496" y="1351"/>
                </a:cubicBezTo>
                <a:cubicBezTo>
                  <a:pt x="3495" y="1353"/>
                  <a:pt x="3494" y="1354"/>
                  <a:pt x="3493" y="1355"/>
                </a:cubicBezTo>
                <a:cubicBezTo>
                  <a:pt x="3492" y="1356"/>
                  <a:pt x="3491" y="1356"/>
                  <a:pt x="3490" y="1355"/>
                </a:cubicBezTo>
                <a:cubicBezTo>
                  <a:pt x="3489" y="1355"/>
                  <a:pt x="3489" y="1354"/>
                  <a:pt x="3489" y="1353"/>
                </a:cubicBezTo>
                <a:cubicBezTo>
                  <a:pt x="3489" y="1351"/>
                  <a:pt x="3489" y="1349"/>
                  <a:pt x="3490" y="1347"/>
                </a:cubicBezTo>
                <a:cubicBezTo>
                  <a:pt x="3493" y="1348"/>
                  <a:pt x="3496" y="1349"/>
                  <a:pt x="3500" y="1349"/>
                </a:cubicBezTo>
                <a:cubicBezTo>
                  <a:pt x="3507" y="1351"/>
                  <a:pt x="3513" y="1349"/>
                  <a:pt x="3516" y="1340"/>
                </a:cubicBezTo>
                <a:cubicBezTo>
                  <a:pt x="3518" y="1336"/>
                  <a:pt x="3517" y="1331"/>
                  <a:pt x="3516" y="1326"/>
                </a:cubicBezTo>
                <a:cubicBezTo>
                  <a:pt x="3516" y="1324"/>
                  <a:pt x="3515" y="1322"/>
                  <a:pt x="3515" y="1320"/>
                </a:cubicBezTo>
                <a:cubicBezTo>
                  <a:pt x="3514" y="1319"/>
                  <a:pt x="3513" y="1318"/>
                  <a:pt x="3511" y="1320"/>
                </a:cubicBezTo>
                <a:cubicBezTo>
                  <a:pt x="3510" y="1321"/>
                  <a:pt x="3508" y="1323"/>
                  <a:pt x="3506" y="1324"/>
                </a:cubicBezTo>
                <a:cubicBezTo>
                  <a:pt x="3505" y="1324"/>
                  <a:pt x="3505" y="1325"/>
                  <a:pt x="3505" y="1326"/>
                </a:cubicBezTo>
                <a:cubicBezTo>
                  <a:pt x="3506" y="1329"/>
                  <a:pt x="3505" y="1332"/>
                  <a:pt x="3504" y="1336"/>
                </a:cubicBezTo>
                <a:cubicBezTo>
                  <a:pt x="3504" y="1334"/>
                  <a:pt x="3504" y="1332"/>
                  <a:pt x="3504" y="1330"/>
                </a:cubicBezTo>
                <a:cubicBezTo>
                  <a:pt x="3504" y="1329"/>
                  <a:pt x="3504" y="1329"/>
                  <a:pt x="3504" y="1328"/>
                </a:cubicBezTo>
                <a:cubicBezTo>
                  <a:pt x="3503" y="1329"/>
                  <a:pt x="3502" y="1329"/>
                  <a:pt x="3502" y="1329"/>
                </a:cubicBezTo>
                <a:cubicBezTo>
                  <a:pt x="3502" y="1330"/>
                  <a:pt x="3501" y="1332"/>
                  <a:pt x="3500" y="1333"/>
                </a:cubicBezTo>
                <a:cubicBezTo>
                  <a:pt x="3500" y="1333"/>
                  <a:pt x="3500" y="1333"/>
                  <a:pt x="3500" y="1333"/>
                </a:cubicBezTo>
                <a:cubicBezTo>
                  <a:pt x="3500" y="1332"/>
                  <a:pt x="3500" y="1330"/>
                  <a:pt x="3501" y="1328"/>
                </a:cubicBezTo>
                <a:cubicBezTo>
                  <a:pt x="3500" y="1328"/>
                  <a:pt x="3499" y="1329"/>
                  <a:pt x="3498" y="1330"/>
                </a:cubicBezTo>
                <a:cubicBezTo>
                  <a:pt x="3498" y="1330"/>
                  <a:pt x="3498" y="1331"/>
                  <a:pt x="3497" y="1332"/>
                </a:cubicBezTo>
                <a:cubicBezTo>
                  <a:pt x="3498" y="1328"/>
                  <a:pt x="3498" y="1328"/>
                  <a:pt x="3504" y="1327"/>
                </a:cubicBezTo>
                <a:cubicBezTo>
                  <a:pt x="3504" y="1326"/>
                  <a:pt x="3503" y="1326"/>
                  <a:pt x="3503" y="1326"/>
                </a:cubicBezTo>
                <a:cubicBezTo>
                  <a:pt x="3500" y="1326"/>
                  <a:pt x="3499" y="1325"/>
                  <a:pt x="3499" y="1322"/>
                </a:cubicBezTo>
                <a:cubicBezTo>
                  <a:pt x="3500" y="1322"/>
                  <a:pt x="3502" y="1322"/>
                  <a:pt x="3504" y="1321"/>
                </a:cubicBezTo>
                <a:cubicBezTo>
                  <a:pt x="3502" y="1319"/>
                  <a:pt x="3500" y="1316"/>
                  <a:pt x="3497" y="1316"/>
                </a:cubicBezTo>
                <a:cubicBezTo>
                  <a:pt x="3497" y="1316"/>
                  <a:pt x="3496" y="1315"/>
                  <a:pt x="3496" y="1315"/>
                </a:cubicBezTo>
                <a:cubicBezTo>
                  <a:pt x="3494" y="1313"/>
                  <a:pt x="3492" y="1311"/>
                  <a:pt x="3489" y="1309"/>
                </a:cubicBezTo>
                <a:cubicBezTo>
                  <a:pt x="3487" y="1307"/>
                  <a:pt x="3484" y="1307"/>
                  <a:pt x="3482" y="1307"/>
                </a:cubicBezTo>
                <a:cubicBezTo>
                  <a:pt x="3478" y="1307"/>
                  <a:pt x="3475" y="1308"/>
                  <a:pt x="3472" y="1309"/>
                </a:cubicBezTo>
                <a:cubicBezTo>
                  <a:pt x="3469" y="1310"/>
                  <a:pt x="3467" y="1312"/>
                  <a:pt x="3465" y="1315"/>
                </a:cubicBezTo>
                <a:cubicBezTo>
                  <a:pt x="3467" y="1315"/>
                  <a:pt x="3468" y="1315"/>
                  <a:pt x="3469" y="1315"/>
                </a:cubicBezTo>
                <a:cubicBezTo>
                  <a:pt x="3469" y="1315"/>
                  <a:pt x="3468" y="1316"/>
                  <a:pt x="3467" y="1316"/>
                </a:cubicBezTo>
                <a:cubicBezTo>
                  <a:pt x="3465" y="1317"/>
                  <a:pt x="3462" y="1316"/>
                  <a:pt x="3460" y="1318"/>
                </a:cubicBezTo>
                <a:cubicBezTo>
                  <a:pt x="3456" y="1322"/>
                  <a:pt x="3453" y="1326"/>
                  <a:pt x="3449" y="1330"/>
                </a:cubicBezTo>
                <a:cubicBezTo>
                  <a:pt x="3447" y="1332"/>
                  <a:pt x="3447" y="1334"/>
                  <a:pt x="3445" y="1337"/>
                </a:cubicBezTo>
                <a:cubicBezTo>
                  <a:pt x="3445" y="1337"/>
                  <a:pt x="3445" y="1338"/>
                  <a:pt x="3446" y="1338"/>
                </a:cubicBezTo>
                <a:cubicBezTo>
                  <a:pt x="3447" y="1340"/>
                  <a:pt x="3448" y="1342"/>
                  <a:pt x="3450" y="1344"/>
                </a:cubicBezTo>
                <a:cubicBezTo>
                  <a:pt x="3451" y="1343"/>
                  <a:pt x="3452" y="1341"/>
                  <a:pt x="3453" y="1340"/>
                </a:cubicBezTo>
                <a:cubicBezTo>
                  <a:pt x="3453" y="1341"/>
                  <a:pt x="3453" y="1342"/>
                  <a:pt x="3452" y="1344"/>
                </a:cubicBezTo>
                <a:cubicBezTo>
                  <a:pt x="3451" y="1345"/>
                  <a:pt x="3450" y="1346"/>
                  <a:pt x="3450" y="1348"/>
                </a:cubicBezTo>
                <a:cubicBezTo>
                  <a:pt x="3449" y="1349"/>
                  <a:pt x="3450" y="1350"/>
                  <a:pt x="3450" y="1351"/>
                </a:cubicBezTo>
                <a:cubicBezTo>
                  <a:pt x="3453" y="1354"/>
                  <a:pt x="3456" y="1354"/>
                  <a:pt x="3460" y="1352"/>
                </a:cubicBezTo>
                <a:cubicBezTo>
                  <a:pt x="3462" y="1351"/>
                  <a:pt x="3465" y="1349"/>
                  <a:pt x="3467" y="1349"/>
                </a:cubicBezTo>
                <a:cubicBezTo>
                  <a:pt x="3469" y="1348"/>
                  <a:pt x="3470" y="1347"/>
                  <a:pt x="3470" y="1346"/>
                </a:cubicBezTo>
                <a:cubicBezTo>
                  <a:pt x="3470" y="1343"/>
                  <a:pt x="3470" y="1339"/>
                  <a:pt x="3470" y="1336"/>
                </a:cubicBezTo>
                <a:cubicBezTo>
                  <a:pt x="3470" y="1333"/>
                  <a:pt x="3470" y="1330"/>
                  <a:pt x="3470" y="1327"/>
                </a:cubicBezTo>
                <a:cubicBezTo>
                  <a:pt x="3471" y="1330"/>
                  <a:pt x="3471" y="1332"/>
                  <a:pt x="3472" y="1335"/>
                </a:cubicBezTo>
                <a:cubicBezTo>
                  <a:pt x="3473" y="1340"/>
                  <a:pt x="3473" y="1344"/>
                  <a:pt x="3471" y="1348"/>
                </a:cubicBezTo>
                <a:cubicBezTo>
                  <a:pt x="3471" y="1349"/>
                  <a:pt x="3470" y="1350"/>
                  <a:pt x="3470" y="1350"/>
                </a:cubicBezTo>
                <a:cubicBezTo>
                  <a:pt x="3466" y="1350"/>
                  <a:pt x="3463" y="1352"/>
                  <a:pt x="3460" y="1354"/>
                </a:cubicBezTo>
                <a:cubicBezTo>
                  <a:pt x="3455" y="1357"/>
                  <a:pt x="3451" y="1355"/>
                  <a:pt x="3448" y="1351"/>
                </a:cubicBezTo>
                <a:cubicBezTo>
                  <a:pt x="3447" y="1351"/>
                  <a:pt x="3447" y="1349"/>
                  <a:pt x="3448" y="1349"/>
                </a:cubicBezTo>
                <a:cubicBezTo>
                  <a:pt x="3449" y="1347"/>
                  <a:pt x="3448" y="1345"/>
                  <a:pt x="3446" y="1343"/>
                </a:cubicBezTo>
                <a:cubicBezTo>
                  <a:pt x="3445" y="1341"/>
                  <a:pt x="3443" y="1338"/>
                  <a:pt x="3444" y="1336"/>
                </a:cubicBezTo>
                <a:cubicBezTo>
                  <a:pt x="3445" y="1334"/>
                  <a:pt x="3446" y="1332"/>
                  <a:pt x="3447" y="1330"/>
                </a:cubicBezTo>
                <a:cubicBezTo>
                  <a:pt x="3449" y="1328"/>
                  <a:pt x="3451" y="1325"/>
                  <a:pt x="3453" y="1322"/>
                </a:cubicBezTo>
                <a:cubicBezTo>
                  <a:pt x="3453" y="1322"/>
                  <a:pt x="3452" y="1322"/>
                  <a:pt x="3452" y="1322"/>
                </a:cubicBezTo>
                <a:cubicBezTo>
                  <a:pt x="3447" y="1324"/>
                  <a:pt x="3442" y="1325"/>
                  <a:pt x="3438" y="1328"/>
                </a:cubicBezTo>
                <a:cubicBezTo>
                  <a:pt x="3434" y="1333"/>
                  <a:pt x="3431" y="1338"/>
                  <a:pt x="3431" y="1345"/>
                </a:cubicBezTo>
                <a:cubicBezTo>
                  <a:pt x="3430" y="1351"/>
                  <a:pt x="3433" y="1357"/>
                  <a:pt x="3436" y="1363"/>
                </a:cubicBezTo>
                <a:cubicBezTo>
                  <a:pt x="3436" y="1364"/>
                  <a:pt x="3437" y="1366"/>
                  <a:pt x="3437" y="1367"/>
                </a:cubicBezTo>
                <a:cubicBezTo>
                  <a:pt x="3437" y="1368"/>
                  <a:pt x="3436" y="1370"/>
                  <a:pt x="3436" y="1371"/>
                </a:cubicBezTo>
                <a:cubicBezTo>
                  <a:pt x="3435" y="1373"/>
                  <a:pt x="3436" y="1374"/>
                  <a:pt x="3437" y="1374"/>
                </a:cubicBezTo>
                <a:cubicBezTo>
                  <a:pt x="3440" y="1375"/>
                  <a:pt x="3443" y="1376"/>
                  <a:pt x="3445" y="1376"/>
                </a:cubicBezTo>
                <a:cubicBezTo>
                  <a:pt x="3446" y="1376"/>
                  <a:pt x="3447" y="1375"/>
                  <a:pt x="3447" y="1375"/>
                </a:cubicBezTo>
                <a:cubicBezTo>
                  <a:pt x="3447" y="1374"/>
                  <a:pt x="3447" y="1372"/>
                  <a:pt x="3448" y="1371"/>
                </a:cubicBezTo>
                <a:cubicBezTo>
                  <a:pt x="3450" y="1369"/>
                  <a:pt x="3450" y="1366"/>
                  <a:pt x="3450" y="1363"/>
                </a:cubicBezTo>
                <a:cubicBezTo>
                  <a:pt x="3450" y="1363"/>
                  <a:pt x="3450" y="1362"/>
                  <a:pt x="3450" y="1362"/>
                </a:cubicBezTo>
                <a:cubicBezTo>
                  <a:pt x="3450" y="1362"/>
                  <a:pt x="3450" y="1362"/>
                  <a:pt x="3450" y="1361"/>
                </a:cubicBezTo>
                <a:cubicBezTo>
                  <a:pt x="3451" y="1364"/>
                  <a:pt x="3452" y="1364"/>
                  <a:pt x="3454" y="1364"/>
                </a:cubicBezTo>
                <a:cubicBezTo>
                  <a:pt x="3455" y="1364"/>
                  <a:pt x="3456" y="1364"/>
                  <a:pt x="3457" y="1364"/>
                </a:cubicBezTo>
                <a:cubicBezTo>
                  <a:pt x="3459" y="1364"/>
                  <a:pt x="3462" y="1365"/>
                  <a:pt x="3463" y="1360"/>
                </a:cubicBezTo>
                <a:cubicBezTo>
                  <a:pt x="3463" y="1363"/>
                  <a:pt x="3463" y="1364"/>
                  <a:pt x="3463" y="1365"/>
                </a:cubicBezTo>
                <a:cubicBezTo>
                  <a:pt x="3462" y="1366"/>
                  <a:pt x="3460" y="1367"/>
                  <a:pt x="3459" y="1367"/>
                </a:cubicBezTo>
                <a:cubicBezTo>
                  <a:pt x="3458" y="1368"/>
                  <a:pt x="3457" y="1370"/>
                  <a:pt x="3458" y="1370"/>
                </a:cubicBezTo>
                <a:cubicBezTo>
                  <a:pt x="3459" y="1373"/>
                  <a:pt x="3460" y="1375"/>
                  <a:pt x="3462" y="1377"/>
                </a:cubicBezTo>
                <a:cubicBezTo>
                  <a:pt x="3464" y="1378"/>
                  <a:pt x="3465" y="1378"/>
                  <a:pt x="3467" y="1376"/>
                </a:cubicBezTo>
                <a:cubicBezTo>
                  <a:pt x="3467" y="1375"/>
                  <a:pt x="3468" y="1374"/>
                  <a:pt x="3469" y="1374"/>
                </a:cubicBezTo>
                <a:cubicBezTo>
                  <a:pt x="3471" y="1372"/>
                  <a:pt x="3472" y="1371"/>
                  <a:pt x="3474" y="1370"/>
                </a:cubicBezTo>
                <a:cubicBezTo>
                  <a:pt x="3478" y="1366"/>
                  <a:pt x="3480" y="1360"/>
                  <a:pt x="3482" y="1354"/>
                </a:cubicBezTo>
                <a:cubicBezTo>
                  <a:pt x="3482" y="1353"/>
                  <a:pt x="3481" y="1353"/>
                  <a:pt x="3480" y="1352"/>
                </a:cubicBezTo>
                <a:cubicBezTo>
                  <a:pt x="3480" y="1351"/>
                  <a:pt x="3478" y="1350"/>
                  <a:pt x="3477" y="1349"/>
                </a:cubicBezTo>
                <a:close/>
                <a:moveTo>
                  <a:pt x="3430" y="1356"/>
                </a:moveTo>
                <a:cubicBezTo>
                  <a:pt x="3429" y="1357"/>
                  <a:pt x="3428" y="1357"/>
                  <a:pt x="3427" y="1359"/>
                </a:cubicBezTo>
                <a:cubicBezTo>
                  <a:pt x="3426" y="1359"/>
                  <a:pt x="3426" y="1360"/>
                  <a:pt x="3426" y="1360"/>
                </a:cubicBezTo>
                <a:cubicBezTo>
                  <a:pt x="3426" y="1363"/>
                  <a:pt x="3430" y="1368"/>
                  <a:pt x="3433" y="1367"/>
                </a:cubicBezTo>
                <a:cubicBezTo>
                  <a:pt x="3435" y="1367"/>
                  <a:pt x="3436" y="1366"/>
                  <a:pt x="3435" y="1364"/>
                </a:cubicBezTo>
                <a:cubicBezTo>
                  <a:pt x="3433" y="1361"/>
                  <a:pt x="3432" y="1359"/>
                  <a:pt x="3430" y="1356"/>
                </a:cubicBezTo>
                <a:close/>
                <a:moveTo>
                  <a:pt x="3483" y="1358"/>
                </a:moveTo>
                <a:cubicBezTo>
                  <a:pt x="3480" y="1362"/>
                  <a:pt x="3478" y="1367"/>
                  <a:pt x="3476" y="1371"/>
                </a:cubicBezTo>
                <a:cubicBezTo>
                  <a:pt x="3478" y="1371"/>
                  <a:pt x="3481" y="1372"/>
                  <a:pt x="3484" y="1371"/>
                </a:cubicBezTo>
                <a:cubicBezTo>
                  <a:pt x="3484" y="1371"/>
                  <a:pt x="3484" y="1370"/>
                  <a:pt x="3484" y="1370"/>
                </a:cubicBezTo>
                <a:cubicBezTo>
                  <a:pt x="3484" y="1367"/>
                  <a:pt x="3484" y="1364"/>
                  <a:pt x="3484" y="1362"/>
                </a:cubicBezTo>
                <a:cubicBezTo>
                  <a:pt x="3484" y="1360"/>
                  <a:pt x="3483" y="1359"/>
                  <a:pt x="3483" y="1358"/>
                </a:cubicBezTo>
                <a:close/>
                <a:moveTo>
                  <a:pt x="3430" y="1338"/>
                </a:moveTo>
                <a:cubicBezTo>
                  <a:pt x="3429" y="1338"/>
                  <a:pt x="3429" y="1338"/>
                  <a:pt x="3428" y="1338"/>
                </a:cubicBezTo>
                <a:cubicBezTo>
                  <a:pt x="3427" y="1338"/>
                  <a:pt x="3427" y="1338"/>
                  <a:pt x="3427" y="1338"/>
                </a:cubicBezTo>
                <a:cubicBezTo>
                  <a:pt x="3426" y="1338"/>
                  <a:pt x="3426" y="1337"/>
                  <a:pt x="3426" y="1336"/>
                </a:cubicBezTo>
                <a:cubicBezTo>
                  <a:pt x="3427" y="1334"/>
                  <a:pt x="3427" y="1332"/>
                  <a:pt x="3428" y="1330"/>
                </a:cubicBezTo>
                <a:cubicBezTo>
                  <a:pt x="3427" y="1330"/>
                  <a:pt x="3427" y="1330"/>
                  <a:pt x="3427" y="1330"/>
                </a:cubicBezTo>
                <a:cubicBezTo>
                  <a:pt x="3426" y="1331"/>
                  <a:pt x="3425" y="1332"/>
                  <a:pt x="3424" y="1333"/>
                </a:cubicBezTo>
                <a:cubicBezTo>
                  <a:pt x="3424" y="1334"/>
                  <a:pt x="3425" y="1339"/>
                  <a:pt x="3427" y="1340"/>
                </a:cubicBezTo>
                <a:cubicBezTo>
                  <a:pt x="3428" y="1341"/>
                  <a:pt x="3430" y="1340"/>
                  <a:pt x="3430" y="1338"/>
                </a:cubicBezTo>
                <a:close/>
                <a:moveTo>
                  <a:pt x="3430" y="1355"/>
                </a:moveTo>
                <a:cubicBezTo>
                  <a:pt x="3430" y="1356"/>
                  <a:pt x="3428" y="1357"/>
                  <a:pt x="3427" y="1358"/>
                </a:cubicBezTo>
                <a:cubicBezTo>
                  <a:pt x="3426" y="1359"/>
                  <a:pt x="3426" y="1359"/>
                  <a:pt x="3426" y="1360"/>
                </a:cubicBezTo>
                <a:cubicBezTo>
                  <a:pt x="3426" y="1363"/>
                  <a:pt x="3430" y="1367"/>
                  <a:pt x="3433" y="1367"/>
                </a:cubicBezTo>
                <a:cubicBezTo>
                  <a:pt x="3435" y="1367"/>
                  <a:pt x="3436" y="1366"/>
                  <a:pt x="3435" y="1364"/>
                </a:cubicBezTo>
                <a:cubicBezTo>
                  <a:pt x="3433" y="1361"/>
                  <a:pt x="3432" y="1358"/>
                  <a:pt x="3430" y="1355"/>
                </a:cubicBezTo>
                <a:close/>
                <a:moveTo>
                  <a:pt x="3483" y="1357"/>
                </a:moveTo>
                <a:cubicBezTo>
                  <a:pt x="3481" y="1362"/>
                  <a:pt x="3478" y="1366"/>
                  <a:pt x="3476" y="1371"/>
                </a:cubicBezTo>
                <a:cubicBezTo>
                  <a:pt x="3479" y="1371"/>
                  <a:pt x="3481" y="1371"/>
                  <a:pt x="3484" y="1371"/>
                </a:cubicBezTo>
                <a:cubicBezTo>
                  <a:pt x="3484" y="1371"/>
                  <a:pt x="3485" y="1370"/>
                  <a:pt x="3485" y="1369"/>
                </a:cubicBezTo>
                <a:cubicBezTo>
                  <a:pt x="3485" y="1366"/>
                  <a:pt x="3485" y="1364"/>
                  <a:pt x="3484" y="1362"/>
                </a:cubicBezTo>
                <a:cubicBezTo>
                  <a:pt x="3484" y="1360"/>
                  <a:pt x="3483" y="1359"/>
                  <a:pt x="3483" y="1357"/>
                </a:cubicBezTo>
                <a:close/>
                <a:moveTo>
                  <a:pt x="3430" y="1337"/>
                </a:moveTo>
                <a:cubicBezTo>
                  <a:pt x="3430" y="1338"/>
                  <a:pt x="3429" y="1338"/>
                  <a:pt x="3428" y="1338"/>
                </a:cubicBezTo>
                <a:cubicBezTo>
                  <a:pt x="3428" y="1338"/>
                  <a:pt x="3427" y="1338"/>
                  <a:pt x="3427" y="1338"/>
                </a:cubicBezTo>
                <a:cubicBezTo>
                  <a:pt x="3426" y="1337"/>
                  <a:pt x="3426" y="1337"/>
                  <a:pt x="3426" y="1336"/>
                </a:cubicBezTo>
                <a:cubicBezTo>
                  <a:pt x="3427" y="1334"/>
                  <a:pt x="3427" y="1332"/>
                  <a:pt x="3428" y="1330"/>
                </a:cubicBezTo>
                <a:cubicBezTo>
                  <a:pt x="3428" y="1330"/>
                  <a:pt x="3428" y="1330"/>
                  <a:pt x="3427" y="1330"/>
                </a:cubicBezTo>
                <a:cubicBezTo>
                  <a:pt x="3426" y="1331"/>
                  <a:pt x="3425" y="1332"/>
                  <a:pt x="3424" y="1333"/>
                </a:cubicBezTo>
                <a:cubicBezTo>
                  <a:pt x="3424" y="1334"/>
                  <a:pt x="3425" y="1339"/>
                  <a:pt x="3427" y="1340"/>
                </a:cubicBezTo>
                <a:cubicBezTo>
                  <a:pt x="3428" y="1341"/>
                  <a:pt x="3430" y="1339"/>
                  <a:pt x="3430" y="1337"/>
                </a:cubicBezTo>
                <a:close/>
                <a:moveTo>
                  <a:pt x="3482" y="1329"/>
                </a:moveTo>
                <a:cubicBezTo>
                  <a:pt x="3485" y="1325"/>
                  <a:pt x="3485" y="1325"/>
                  <a:pt x="3490" y="1324"/>
                </a:cubicBezTo>
                <a:cubicBezTo>
                  <a:pt x="3490" y="1326"/>
                  <a:pt x="3491" y="1327"/>
                  <a:pt x="3492" y="1327"/>
                </a:cubicBezTo>
                <a:cubicBezTo>
                  <a:pt x="3490" y="1329"/>
                  <a:pt x="3488" y="1330"/>
                  <a:pt x="3486" y="1331"/>
                </a:cubicBezTo>
                <a:cubicBezTo>
                  <a:pt x="3485" y="1331"/>
                  <a:pt x="3485" y="1330"/>
                  <a:pt x="3484" y="1329"/>
                </a:cubicBezTo>
                <a:cubicBezTo>
                  <a:pt x="3483" y="1329"/>
                  <a:pt x="3483" y="1329"/>
                  <a:pt x="3482" y="1329"/>
                </a:cubicBezTo>
                <a:close/>
                <a:moveTo>
                  <a:pt x="3488" y="1329"/>
                </a:moveTo>
                <a:cubicBezTo>
                  <a:pt x="3487" y="1328"/>
                  <a:pt x="3487" y="1328"/>
                  <a:pt x="3486" y="1328"/>
                </a:cubicBezTo>
                <a:cubicBezTo>
                  <a:pt x="3486" y="1328"/>
                  <a:pt x="3485" y="1329"/>
                  <a:pt x="3485" y="1329"/>
                </a:cubicBezTo>
                <a:cubicBezTo>
                  <a:pt x="3485" y="1329"/>
                  <a:pt x="3485" y="1330"/>
                  <a:pt x="3486" y="1330"/>
                </a:cubicBezTo>
                <a:cubicBezTo>
                  <a:pt x="3487" y="1330"/>
                  <a:pt x="3487" y="1329"/>
                  <a:pt x="3488" y="1329"/>
                </a:cubicBezTo>
                <a:close/>
                <a:moveTo>
                  <a:pt x="3470" y="1319"/>
                </a:moveTo>
                <a:cubicBezTo>
                  <a:pt x="3463" y="1318"/>
                  <a:pt x="3460" y="1321"/>
                  <a:pt x="3459" y="1329"/>
                </a:cubicBezTo>
                <a:cubicBezTo>
                  <a:pt x="3460" y="1327"/>
                  <a:pt x="3461" y="1324"/>
                  <a:pt x="3462" y="1322"/>
                </a:cubicBezTo>
                <a:cubicBezTo>
                  <a:pt x="3463" y="1322"/>
                  <a:pt x="3463" y="1322"/>
                  <a:pt x="3463" y="1322"/>
                </a:cubicBezTo>
                <a:cubicBezTo>
                  <a:pt x="3463" y="1323"/>
                  <a:pt x="3463" y="1324"/>
                  <a:pt x="3463" y="1325"/>
                </a:cubicBezTo>
                <a:cubicBezTo>
                  <a:pt x="3464" y="1322"/>
                  <a:pt x="3466" y="1320"/>
                  <a:pt x="3470" y="1319"/>
                </a:cubicBezTo>
                <a:close/>
                <a:moveTo>
                  <a:pt x="3513" y="1321"/>
                </a:moveTo>
                <a:cubicBezTo>
                  <a:pt x="3511" y="1322"/>
                  <a:pt x="3509" y="1324"/>
                  <a:pt x="3508" y="1325"/>
                </a:cubicBezTo>
                <a:cubicBezTo>
                  <a:pt x="3510" y="1325"/>
                  <a:pt x="3512" y="1324"/>
                  <a:pt x="3513" y="1321"/>
                </a:cubicBezTo>
                <a:close/>
                <a:moveTo>
                  <a:pt x="3480" y="1323"/>
                </a:moveTo>
                <a:cubicBezTo>
                  <a:pt x="3481" y="1322"/>
                  <a:pt x="3482" y="1320"/>
                  <a:pt x="3483" y="1319"/>
                </a:cubicBezTo>
                <a:cubicBezTo>
                  <a:pt x="3480" y="1320"/>
                  <a:pt x="3479" y="1321"/>
                  <a:pt x="3480" y="1323"/>
                </a:cubicBezTo>
                <a:close/>
                <a:moveTo>
                  <a:pt x="3489" y="1344"/>
                </a:moveTo>
                <a:cubicBezTo>
                  <a:pt x="3488" y="1344"/>
                  <a:pt x="3487" y="1345"/>
                  <a:pt x="3487" y="1346"/>
                </a:cubicBezTo>
                <a:cubicBezTo>
                  <a:pt x="3487" y="1345"/>
                  <a:pt x="3489" y="1345"/>
                  <a:pt x="3489" y="1344"/>
                </a:cubicBezTo>
                <a:close/>
                <a:moveTo>
                  <a:pt x="3488" y="1329"/>
                </a:moveTo>
                <a:cubicBezTo>
                  <a:pt x="3488" y="1328"/>
                  <a:pt x="3487" y="1328"/>
                  <a:pt x="3486" y="1328"/>
                </a:cubicBezTo>
                <a:cubicBezTo>
                  <a:pt x="3486" y="1328"/>
                  <a:pt x="3485" y="1329"/>
                  <a:pt x="3485" y="1329"/>
                </a:cubicBezTo>
                <a:cubicBezTo>
                  <a:pt x="3485" y="1329"/>
                  <a:pt x="3486" y="1330"/>
                  <a:pt x="3486" y="1330"/>
                </a:cubicBezTo>
                <a:cubicBezTo>
                  <a:pt x="3487" y="1330"/>
                  <a:pt x="3487" y="1329"/>
                  <a:pt x="3488" y="1329"/>
                </a:cubicBezTo>
                <a:close/>
                <a:moveTo>
                  <a:pt x="3036" y="1210"/>
                </a:moveTo>
                <a:cubicBezTo>
                  <a:pt x="3036" y="1210"/>
                  <a:pt x="3036" y="1210"/>
                  <a:pt x="3036" y="1210"/>
                </a:cubicBezTo>
                <a:cubicBezTo>
                  <a:pt x="3031" y="1210"/>
                  <a:pt x="3031" y="1210"/>
                  <a:pt x="3031" y="1210"/>
                </a:cubicBezTo>
                <a:cubicBezTo>
                  <a:pt x="3029" y="1212"/>
                  <a:pt x="3028" y="1213"/>
                  <a:pt x="3025" y="1214"/>
                </a:cubicBezTo>
                <a:cubicBezTo>
                  <a:pt x="3024" y="1216"/>
                  <a:pt x="3022" y="1216"/>
                  <a:pt x="3020" y="1217"/>
                </a:cubicBezTo>
                <a:cubicBezTo>
                  <a:pt x="3019" y="1218"/>
                  <a:pt x="3017" y="1219"/>
                  <a:pt x="3015" y="1220"/>
                </a:cubicBezTo>
                <a:cubicBezTo>
                  <a:pt x="3013" y="1221"/>
                  <a:pt x="3012" y="1221"/>
                  <a:pt x="3009" y="1221"/>
                </a:cubicBezTo>
                <a:cubicBezTo>
                  <a:pt x="3009" y="1221"/>
                  <a:pt x="3009" y="1221"/>
                  <a:pt x="3009" y="1232"/>
                </a:cubicBezTo>
                <a:cubicBezTo>
                  <a:pt x="3012" y="1231"/>
                  <a:pt x="3015" y="1230"/>
                  <a:pt x="3017" y="1229"/>
                </a:cubicBezTo>
                <a:cubicBezTo>
                  <a:pt x="3020" y="1228"/>
                  <a:pt x="3023" y="1226"/>
                  <a:pt x="3025" y="1225"/>
                </a:cubicBezTo>
                <a:cubicBezTo>
                  <a:pt x="3025" y="1225"/>
                  <a:pt x="3025" y="1225"/>
                  <a:pt x="3025" y="1284"/>
                </a:cubicBezTo>
                <a:cubicBezTo>
                  <a:pt x="3025" y="1284"/>
                  <a:pt x="3025" y="1284"/>
                  <a:pt x="3036" y="1284"/>
                </a:cubicBezTo>
                <a:cubicBezTo>
                  <a:pt x="3036" y="1284"/>
                  <a:pt x="3036" y="1284"/>
                  <a:pt x="3036" y="1210"/>
                </a:cubicBezTo>
                <a:close/>
                <a:moveTo>
                  <a:pt x="3083" y="1210"/>
                </a:moveTo>
                <a:cubicBezTo>
                  <a:pt x="3083" y="1210"/>
                  <a:pt x="3083" y="1210"/>
                  <a:pt x="3083" y="1210"/>
                </a:cubicBezTo>
                <a:cubicBezTo>
                  <a:pt x="3078" y="1210"/>
                  <a:pt x="3078" y="1210"/>
                  <a:pt x="3078" y="1210"/>
                </a:cubicBezTo>
                <a:cubicBezTo>
                  <a:pt x="3077" y="1212"/>
                  <a:pt x="3075" y="1213"/>
                  <a:pt x="3073" y="1214"/>
                </a:cubicBezTo>
                <a:cubicBezTo>
                  <a:pt x="3071" y="1216"/>
                  <a:pt x="3070" y="1216"/>
                  <a:pt x="3067" y="1217"/>
                </a:cubicBezTo>
                <a:cubicBezTo>
                  <a:pt x="3066" y="1218"/>
                  <a:pt x="3064" y="1219"/>
                  <a:pt x="3062" y="1220"/>
                </a:cubicBezTo>
                <a:cubicBezTo>
                  <a:pt x="3060" y="1221"/>
                  <a:pt x="3059" y="1221"/>
                  <a:pt x="3056" y="1221"/>
                </a:cubicBezTo>
                <a:cubicBezTo>
                  <a:pt x="3056" y="1221"/>
                  <a:pt x="3056" y="1221"/>
                  <a:pt x="3056" y="1232"/>
                </a:cubicBezTo>
                <a:cubicBezTo>
                  <a:pt x="3059" y="1231"/>
                  <a:pt x="3062" y="1230"/>
                  <a:pt x="3065" y="1229"/>
                </a:cubicBezTo>
                <a:cubicBezTo>
                  <a:pt x="3067" y="1228"/>
                  <a:pt x="3070" y="1226"/>
                  <a:pt x="3072" y="1225"/>
                </a:cubicBezTo>
                <a:cubicBezTo>
                  <a:pt x="3072" y="1225"/>
                  <a:pt x="3072" y="1225"/>
                  <a:pt x="3072" y="1284"/>
                </a:cubicBezTo>
                <a:cubicBezTo>
                  <a:pt x="3072" y="1284"/>
                  <a:pt x="3072" y="1284"/>
                  <a:pt x="3083" y="1284"/>
                </a:cubicBezTo>
                <a:cubicBezTo>
                  <a:pt x="3083" y="1284"/>
                  <a:pt x="3083" y="1284"/>
                  <a:pt x="3083" y="1210"/>
                </a:cubicBezTo>
                <a:close/>
                <a:moveTo>
                  <a:pt x="3129" y="1210"/>
                </a:moveTo>
                <a:cubicBezTo>
                  <a:pt x="3129" y="1210"/>
                  <a:pt x="3129" y="1210"/>
                  <a:pt x="3129" y="1210"/>
                </a:cubicBezTo>
                <a:cubicBezTo>
                  <a:pt x="3125" y="1210"/>
                  <a:pt x="3125" y="1210"/>
                  <a:pt x="3125" y="1210"/>
                </a:cubicBezTo>
                <a:cubicBezTo>
                  <a:pt x="3122" y="1212"/>
                  <a:pt x="3121" y="1213"/>
                  <a:pt x="3119" y="1214"/>
                </a:cubicBezTo>
                <a:cubicBezTo>
                  <a:pt x="3117" y="1216"/>
                  <a:pt x="3115" y="1216"/>
                  <a:pt x="3114" y="1217"/>
                </a:cubicBezTo>
                <a:cubicBezTo>
                  <a:pt x="3112" y="1218"/>
                  <a:pt x="3110" y="1218"/>
                  <a:pt x="3108" y="1219"/>
                </a:cubicBezTo>
                <a:cubicBezTo>
                  <a:pt x="3107" y="1220"/>
                  <a:pt x="3104" y="1221"/>
                  <a:pt x="3103" y="1221"/>
                </a:cubicBezTo>
                <a:cubicBezTo>
                  <a:pt x="3103" y="1221"/>
                  <a:pt x="3103" y="1221"/>
                  <a:pt x="3103" y="1232"/>
                </a:cubicBezTo>
                <a:cubicBezTo>
                  <a:pt x="3106" y="1231"/>
                  <a:pt x="3109" y="1229"/>
                  <a:pt x="3111" y="1229"/>
                </a:cubicBezTo>
                <a:cubicBezTo>
                  <a:pt x="3113" y="1228"/>
                  <a:pt x="3116" y="1226"/>
                  <a:pt x="3117" y="1225"/>
                </a:cubicBezTo>
                <a:cubicBezTo>
                  <a:pt x="3117" y="1225"/>
                  <a:pt x="3117" y="1225"/>
                  <a:pt x="3117" y="1284"/>
                </a:cubicBezTo>
                <a:cubicBezTo>
                  <a:pt x="3117" y="1284"/>
                  <a:pt x="3117" y="1284"/>
                  <a:pt x="3129" y="1284"/>
                </a:cubicBezTo>
                <a:cubicBezTo>
                  <a:pt x="3129" y="1284"/>
                  <a:pt x="3129" y="1284"/>
                  <a:pt x="3129" y="1210"/>
                </a:cubicBezTo>
                <a:close/>
                <a:moveTo>
                  <a:pt x="3266" y="1243"/>
                </a:moveTo>
                <a:cubicBezTo>
                  <a:pt x="3266" y="1243"/>
                  <a:pt x="3266" y="1243"/>
                  <a:pt x="3266" y="1243"/>
                </a:cubicBezTo>
                <a:cubicBezTo>
                  <a:pt x="3266" y="1251"/>
                  <a:pt x="3266" y="1251"/>
                  <a:pt x="3266" y="1251"/>
                </a:cubicBezTo>
                <a:cubicBezTo>
                  <a:pt x="3272" y="1251"/>
                  <a:pt x="3273" y="1254"/>
                  <a:pt x="3273" y="1257"/>
                </a:cubicBezTo>
                <a:cubicBezTo>
                  <a:pt x="3273" y="1259"/>
                  <a:pt x="3272" y="1261"/>
                  <a:pt x="3272" y="1264"/>
                </a:cubicBezTo>
                <a:cubicBezTo>
                  <a:pt x="3272" y="1267"/>
                  <a:pt x="3272" y="1269"/>
                  <a:pt x="3272" y="1271"/>
                </a:cubicBezTo>
                <a:cubicBezTo>
                  <a:pt x="3272" y="1281"/>
                  <a:pt x="3278" y="1284"/>
                  <a:pt x="3286" y="1284"/>
                </a:cubicBezTo>
                <a:cubicBezTo>
                  <a:pt x="3286" y="1284"/>
                  <a:pt x="3286" y="1284"/>
                  <a:pt x="3290" y="1284"/>
                </a:cubicBezTo>
                <a:cubicBezTo>
                  <a:pt x="3290" y="1284"/>
                  <a:pt x="3290" y="1284"/>
                  <a:pt x="3290" y="1275"/>
                </a:cubicBezTo>
                <a:cubicBezTo>
                  <a:pt x="3290" y="1275"/>
                  <a:pt x="3290" y="1275"/>
                  <a:pt x="3288" y="1275"/>
                </a:cubicBezTo>
                <a:cubicBezTo>
                  <a:pt x="3285" y="1275"/>
                  <a:pt x="3283" y="1272"/>
                  <a:pt x="3283" y="1269"/>
                </a:cubicBezTo>
                <a:cubicBezTo>
                  <a:pt x="3283" y="1267"/>
                  <a:pt x="3283" y="1266"/>
                  <a:pt x="3284" y="1264"/>
                </a:cubicBezTo>
                <a:cubicBezTo>
                  <a:pt x="3284" y="1263"/>
                  <a:pt x="3284" y="1260"/>
                  <a:pt x="3284" y="1258"/>
                </a:cubicBezTo>
                <a:cubicBezTo>
                  <a:pt x="3284" y="1251"/>
                  <a:pt x="3281" y="1248"/>
                  <a:pt x="3276" y="1247"/>
                </a:cubicBezTo>
                <a:cubicBezTo>
                  <a:pt x="3276" y="1247"/>
                  <a:pt x="3276" y="1247"/>
                  <a:pt x="3276" y="1246"/>
                </a:cubicBezTo>
                <a:cubicBezTo>
                  <a:pt x="3281" y="1245"/>
                  <a:pt x="3284" y="1243"/>
                  <a:pt x="3284" y="1236"/>
                </a:cubicBezTo>
                <a:cubicBezTo>
                  <a:pt x="3284" y="1233"/>
                  <a:pt x="3284" y="1231"/>
                  <a:pt x="3284" y="1229"/>
                </a:cubicBezTo>
                <a:cubicBezTo>
                  <a:pt x="3283" y="1228"/>
                  <a:pt x="3283" y="1226"/>
                  <a:pt x="3283" y="1225"/>
                </a:cubicBezTo>
                <a:cubicBezTo>
                  <a:pt x="3283" y="1221"/>
                  <a:pt x="3285" y="1219"/>
                  <a:pt x="3288" y="1219"/>
                </a:cubicBezTo>
                <a:cubicBezTo>
                  <a:pt x="3288" y="1219"/>
                  <a:pt x="3288" y="1219"/>
                  <a:pt x="3290" y="1219"/>
                </a:cubicBezTo>
                <a:cubicBezTo>
                  <a:pt x="3290" y="1219"/>
                  <a:pt x="3290" y="1219"/>
                  <a:pt x="3290" y="1209"/>
                </a:cubicBezTo>
                <a:cubicBezTo>
                  <a:pt x="3290" y="1209"/>
                  <a:pt x="3290" y="1209"/>
                  <a:pt x="3286" y="1209"/>
                </a:cubicBezTo>
                <a:cubicBezTo>
                  <a:pt x="3277" y="1209"/>
                  <a:pt x="3272" y="1214"/>
                  <a:pt x="3272" y="1222"/>
                </a:cubicBezTo>
                <a:cubicBezTo>
                  <a:pt x="3272" y="1224"/>
                  <a:pt x="3272" y="1227"/>
                  <a:pt x="3272" y="1230"/>
                </a:cubicBezTo>
                <a:cubicBezTo>
                  <a:pt x="3272" y="1232"/>
                  <a:pt x="3273" y="1235"/>
                  <a:pt x="3273" y="1236"/>
                </a:cubicBezTo>
                <a:cubicBezTo>
                  <a:pt x="3273" y="1239"/>
                  <a:pt x="3272" y="1242"/>
                  <a:pt x="3266" y="1243"/>
                </a:cubicBezTo>
                <a:close/>
                <a:moveTo>
                  <a:pt x="3320" y="1251"/>
                </a:moveTo>
                <a:cubicBezTo>
                  <a:pt x="3320" y="1251"/>
                  <a:pt x="3320" y="1251"/>
                  <a:pt x="3320" y="1251"/>
                </a:cubicBezTo>
                <a:cubicBezTo>
                  <a:pt x="3320" y="1243"/>
                  <a:pt x="3320" y="1243"/>
                  <a:pt x="3320" y="1243"/>
                </a:cubicBezTo>
                <a:cubicBezTo>
                  <a:pt x="3314" y="1242"/>
                  <a:pt x="3314" y="1239"/>
                  <a:pt x="3314" y="1236"/>
                </a:cubicBezTo>
                <a:cubicBezTo>
                  <a:pt x="3314" y="1235"/>
                  <a:pt x="3314" y="1232"/>
                  <a:pt x="3314" y="1230"/>
                </a:cubicBezTo>
                <a:cubicBezTo>
                  <a:pt x="3315" y="1227"/>
                  <a:pt x="3315" y="1224"/>
                  <a:pt x="3315" y="1222"/>
                </a:cubicBezTo>
                <a:cubicBezTo>
                  <a:pt x="3315" y="1214"/>
                  <a:pt x="3309" y="1209"/>
                  <a:pt x="3300" y="1209"/>
                </a:cubicBezTo>
                <a:cubicBezTo>
                  <a:pt x="3300" y="1209"/>
                  <a:pt x="3300" y="1209"/>
                  <a:pt x="3296" y="1209"/>
                </a:cubicBezTo>
                <a:cubicBezTo>
                  <a:pt x="3296" y="1209"/>
                  <a:pt x="3296" y="1209"/>
                  <a:pt x="3296" y="1219"/>
                </a:cubicBezTo>
                <a:cubicBezTo>
                  <a:pt x="3296" y="1219"/>
                  <a:pt x="3296" y="1219"/>
                  <a:pt x="3298" y="1219"/>
                </a:cubicBezTo>
                <a:cubicBezTo>
                  <a:pt x="3302" y="1219"/>
                  <a:pt x="3303" y="1221"/>
                  <a:pt x="3303" y="1225"/>
                </a:cubicBezTo>
                <a:cubicBezTo>
                  <a:pt x="3303" y="1226"/>
                  <a:pt x="3303" y="1228"/>
                  <a:pt x="3303" y="1229"/>
                </a:cubicBezTo>
                <a:cubicBezTo>
                  <a:pt x="3302" y="1231"/>
                  <a:pt x="3302" y="1233"/>
                  <a:pt x="3302" y="1236"/>
                </a:cubicBezTo>
                <a:cubicBezTo>
                  <a:pt x="3302" y="1243"/>
                  <a:pt x="3305" y="1245"/>
                  <a:pt x="3311" y="1246"/>
                </a:cubicBezTo>
                <a:cubicBezTo>
                  <a:pt x="3311" y="1246"/>
                  <a:pt x="3311" y="1246"/>
                  <a:pt x="3311" y="1247"/>
                </a:cubicBezTo>
                <a:cubicBezTo>
                  <a:pt x="3305" y="1248"/>
                  <a:pt x="3302" y="1251"/>
                  <a:pt x="3302" y="1258"/>
                </a:cubicBezTo>
                <a:cubicBezTo>
                  <a:pt x="3302" y="1260"/>
                  <a:pt x="3302" y="1263"/>
                  <a:pt x="3303" y="1264"/>
                </a:cubicBezTo>
                <a:cubicBezTo>
                  <a:pt x="3303" y="1266"/>
                  <a:pt x="3303" y="1267"/>
                  <a:pt x="3303" y="1269"/>
                </a:cubicBezTo>
                <a:cubicBezTo>
                  <a:pt x="3303" y="1272"/>
                  <a:pt x="3302" y="1275"/>
                  <a:pt x="3298" y="1275"/>
                </a:cubicBezTo>
                <a:cubicBezTo>
                  <a:pt x="3298" y="1275"/>
                  <a:pt x="3298" y="1275"/>
                  <a:pt x="3296" y="1275"/>
                </a:cubicBezTo>
                <a:cubicBezTo>
                  <a:pt x="3296" y="1275"/>
                  <a:pt x="3296" y="1275"/>
                  <a:pt x="3296" y="1284"/>
                </a:cubicBezTo>
                <a:cubicBezTo>
                  <a:pt x="3296" y="1284"/>
                  <a:pt x="3296" y="1284"/>
                  <a:pt x="3300" y="1284"/>
                </a:cubicBezTo>
                <a:cubicBezTo>
                  <a:pt x="3309" y="1284"/>
                  <a:pt x="3315" y="1281"/>
                  <a:pt x="3315" y="1271"/>
                </a:cubicBezTo>
                <a:cubicBezTo>
                  <a:pt x="3315" y="1269"/>
                  <a:pt x="3315" y="1267"/>
                  <a:pt x="3314" y="1264"/>
                </a:cubicBezTo>
                <a:cubicBezTo>
                  <a:pt x="3314" y="1261"/>
                  <a:pt x="3314" y="1259"/>
                  <a:pt x="3314" y="1257"/>
                </a:cubicBezTo>
                <a:cubicBezTo>
                  <a:pt x="3314" y="1254"/>
                  <a:pt x="3314" y="1251"/>
                  <a:pt x="3320" y="1251"/>
                </a:cubicBezTo>
                <a:close/>
                <a:moveTo>
                  <a:pt x="3368" y="1210"/>
                </a:moveTo>
                <a:cubicBezTo>
                  <a:pt x="3368" y="1210"/>
                  <a:pt x="3368" y="1210"/>
                  <a:pt x="3368" y="1210"/>
                </a:cubicBezTo>
                <a:cubicBezTo>
                  <a:pt x="3362" y="1210"/>
                  <a:pt x="3362" y="1210"/>
                  <a:pt x="3362" y="1210"/>
                </a:cubicBezTo>
                <a:cubicBezTo>
                  <a:pt x="3360" y="1212"/>
                  <a:pt x="3359" y="1213"/>
                  <a:pt x="3357" y="1214"/>
                </a:cubicBezTo>
                <a:cubicBezTo>
                  <a:pt x="3355" y="1216"/>
                  <a:pt x="3353" y="1216"/>
                  <a:pt x="3352" y="1217"/>
                </a:cubicBezTo>
                <a:cubicBezTo>
                  <a:pt x="3349" y="1218"/>
                  <a:pt x="3348" y="1218"/>
                  <a:pt x="3346" y="1219"/>
                </a:cubicBezTo>
                <a:cubicBezTo>
                  <a:pt x="3344" y="1220"/>
                  <a:pt x="3343" y="1221"/>
                  <a:pt x="3341" y="1221"/>
                </a:cubicBezTo>
                <a:cubicBezTo>
                  <a:pt x="3341" y="1221"/>
                  <a:pt x="3341" y="1221"/>
                  <a:pt x="3341" y="1232"/>
                </a:cubicBezTo>
                <a:cubicBezTo>
                  <a:pt x="3344" y="1231"/>
                  <a:pt x="3346" y="1229"/>
                  <a:pt x="3349" y="1229"/>
                </a:cubicBezTo>
                <a:cubicBezTo>
                  <a:pt x="3352" y="1228"/>
                  <a:pt x="3354" y="1226"/>
                  <a:pt x="3356" y="1225"/>
                </a:cubicBezTo>
                <a:cubicBezTo>
                  <a:pt x="3356" y="1225"/>
                  <a:pt x="3356" y="1225"/>
                  <a:pt x="3356" y="1284"/>
                </a:cubicBezTo>
                <a:cubicBezTo>
                  <a:pt x="3356" y="1284"/>
                  <a:pt x="3356" y="1284"/>
                  <a:pt x="3368" y="1284"/>
                </a:cubicBezTo>
                <a:cubicBezTo>
                  <a:pt x="3368" y="1284"/>
                  <a:pt x="3368" y="1284"/>
                  <a:pt x="3368" y="1210"/>
                </a:cubicBezTo>
                <a:close/>
                <a:moveTo>
                  <a:pt x="3414" y="1210"/>
                </a:moveTo>
                <a:cubicBezTo>
                  <a:pt x="3414" y="1210"/>
                  <a:pt x="3414" y="1210"/>
                  <a:pt x="3414" y="1210"/>
                </a:cubicBezTo>
                <a:cubicBezTo>
                  <a:pt x="3409" y="1210"/>
                  <a:pt x="3409" y="1210"/>
                  <a:pt x="3409" y="1210"/>
                </a:cubicBezTo>
                <a:cubicBezTo>
                  <a:pt x="3407" y="1212"/>
                  <a:pt x="3405" y="1213"/>
                  <a:pt x="3403" y="1214"/>
                </a:cubicBezTo>
                <a:cubicBezTo>
                  <a:pt x="3402" y="1216"/>
                  <a:pt x="3400" y="1216"/>
                  <a:pt x="3398" y="1217"/>
                </a:cubicBezTo>
                <a:cubicBezTo>
                  <a:pt x="3397" y="1218"/>
                  <a:pt x="3394" y="1219"/>
                  <a:pt x="3393" y="1220"/>
                </a:cubicBezTo>
                <a:cubicBezTo>
                  <a:pt x="3391" y="1221"/>
                  <a:pt x="3389" y="1221"/>
                  <a:pt x="3387" y="1221"/>
                </a:cubicBezTo>
                <a:cubicBezTo>
                  <a:pt x="3387" y="1221"/>
                  <a:pt x="3387" y="1221"/>
                  <a:pt x="3387" y="1232"/>
                </a:cubicBezTo>
                <a:cubicBezTo>
                  <a:pt x="3390" y="1231"/>
                  <a:pt x="3393" y="1230"/>
                  <a:pt x="3395" y="1229"/>
                </a:cubicBezTo>
                <a:cubicBezTo>
                  <a:pt x="3398" y="1228"/>
                  <a:pt x="3400" y="1226"/>
                  <a:pt x="3402" y="1225"/>
                </a:cubicBezTo>
                <a:cubicBezTo>
                  <a:pt x="3402" y="1225"/>
                  <a:pt x="3402" y="1225"/>
                  <a:pt x="3402" y="1284"/>
                </a:cubicBezTo>
                <a:cubicBezTo>
                  <a:pt x="3402" y="1284"/>
                  <a:pt x="3402" y="1284"/>
                  <a:pt x="3414" y="1284"/>
                </a:cubicBezTo>
                <a:cubicBezTo>
                  <a:pt x="3414" y="1284"/>
                  <a:pt x="3414" y="1284"/>
                  <a:pt x="3414" y="1210"/>
                </a:cubicBezTo>
                <a:close/>
                <a:moveTo>
                  <a:pt x="3460" y="1210"/>
                </a:moveTo>
                <a:cubicBezTo>
                  <a:pt x="3460" y="1210"/>
                  <a:pt x="3460" y="1210"/>
                  <a:pt x="3460" y="1210"/>
                </a:cubicBezTo>
                <a:cubicBezTo>
                  <a:pt x="3455" y="1210"/>
                  <a:pt x="3455" y="1210"/>
                  <a:pt x="3455" y="1210"/>
                </a:cubicBezTo>
                <a:cubicBezTo>
                  <a:pt x="3453" y="1212"/>
                  <a:pt x="3452" y="1213"/>
                  <a:pt x="3450" y="1214"/>
                </a:cubicBezTo>
                <a:cubicBezTo>
                  <a:pt x="3448" y="1216"/>
                  <a:pt x="3446" y="1216"/>
                  <a:pt x="3445" y="1217"/>
                </a:cubicBezTo>
                <a:cubicBezTo>
                  <a:pt x="3442" y="1218"/>
                  <a:pt x="3441" y="1219"/>
                  <a:pt x="3439" y="1220"/>
                </a:cubicBezTo>
                <a:cubicBezTo>
                  <a:pt x="3437" y="1221"/>
                  <a:pt x="3435" y="1221"/>
                  <a:pt x="3434" y="1221"/>
                </a:cubicBezTo>
                <a:cubicBezTo>
                  <a:pt x="3434" y="1221"/>
                  <a:pt x="3434" y="1221"/>
                  <a:pt x="3434" y="1232"/>
                </a:cubicBezTo>
                <a:cubicBezTo>
                  <a:pt x="3437" y="1231"/>
                  <a:pt x="3440" y="1230"/>
                  <a:pt x="3442" y="1229"/>
                </a:cubicBezTo>
                <a:cubicBezTo>
                  <a:pt x="3444" y="1228"/>
                  <a:pt x="3447" y="1226"/>
                  <a:pt x="3448" y="1225"/>
                </a:cubicBezTo>
                <a:cubicBezTo>
                  <a:pt x="3448" y="1225"/>
                  <a:pt x="3448" y="1225"/>
                  <a:pt x="3448" y="1284"/>
                </a:cubicBezTo>
                <a:cubicBezTo>
                  <a:pt x="3448" y="1284"/>
                  <a:pt x="3448" y="1284"/>
                  <a:pt x="3460" y="1284"/>
                </a:cubicBezTo>
                <a:cubicBezTo>
                  <a:pt x="3460" y="1284"/>
                  <a:pt x="3460" y="1284"/>
                  <a:pt x="3460" y="1210"/>
                </a:cubicBezTo>
                <a:close/>
                <a:moveTo>
                  <a:pt x="3209" y="1258"/>
                </a:moveTo>
                <a:cubicBezTo>
                  <a:pt x="3210" y="1259"/>
                  <a:pt x="3210" y="1261"/>
                  <a:pt x="3211" y="1262"/>
                </a:cubicBezTo>
                <a:cubicBezTo>
                  <a:pt x="3211" y="1264"/>
                  <a:pt x="3211" y="1266"/>
                  <a:pt x="3212" y="1267"/>
                </a:cubicBezTo>
                <a:cubicBezTo>
                  <a:pt x="3212" y="1269"/>
                  <a:pt x="3212" y="1270"/>
                  <a:pt x="3212" y="1272"/>
                </a:cubicBezTo>
                <a:cubicBezTo>
                  <a:pt x="3213" y="1275"/>
                  <a:pt x="3212" y="1277"/>
                  <a:pt x="3209" y="1277"/>
                </a:cubicBezTo>
                <a:cubicBezTo>
                  <a:pt x="3206" y="1277"/>
                  <a:pt x="3203" y="1276"/>
                  <a:pt x="3201" y="1276"/>
                </a:cubicBezTo>
                <a:cubicBezTo>
                  <a:pt x="3200" y="1276"/>
                  <a:pt x="3199" y="1276"/>
                  <a:pt x="3199" y="1277"/>
                </a:cubicBezTo>
                <a:cubicBezTo>
                  <a:pt x="3197" y="1278"/>
                  <a:pt x="3196" y="1280"/>
                  <a:pt x="3195" y="1281"/>
                </a:cubicBezTo>
                <a:cubicBezTo>
                  <a:pt x="3193" y="1283"/>
                  <a:pt x="3190" y="1284"/>
                  <a:pt x="3187" y="1282"/>
                </a:cubicBezTo>
                <a:cubicBezTo>
                  <a:pt x="3185" y="1280"/>
                  <a:pt x="3184" y="1277"/>
                  <a:pt x="3182" y="1274"/>
                </a:cubicBezTo>
                <a:cubicBezTo>
                  <a:pt x="3182" y="1273"/>
                  <a:pt x="3182" y="1271"/>
                  <a:pt x="3184" y="1270"/>
                </a:cubicBezTo>
                <a:cubicBezTo>
                  <a:pt x="3182" y="1270"/>
                  <a:pt x="3180" y="1270"/>
                  <a:pt x="3179" y="1270"/>
                </a:cubicBezTo>
                <a:cubicBezTo>
                  <a:pt x="3178" y="1272"/>
                  <a:pt x="3177" y="1274"/>
                  <a:pt x="3176" y="1276"/>
                </a:cubicBezTo>
                <a:cubicBezTo>
                  <a:pt x="3176" y="1276"/>
                  <a:pt x="3175" y="1277"/>
                  <a:pt x="3175" y="1278"/>
                </a:cubicBezTo>
                <a:cubicBezTo>
                  <a:pt x="3175" y="1281"/>
                  <a:pt x="3174" y="1282"/>
                  <a:pt x="3171" y="1282"/>
                </a:cubicBezTo>
                <a:cubicBezTo>
                  <a:pt x="3168" y="1282"/>
                  <a:pt x="3165" y="1281"/>
                  <a:pt x="3162" y="1280"/>
                </a:cubicBezTo>
                <a:cubicBezTo>
                  <a:pt x="3160" y="1279"/>
                  <a:pt x="3160" y="1278"/>
                  <a:pt x="3160" y="1276"/>
                </a:cubicBezTo>
                <a:cubicBezTo>
                  <a:pt x="3161" y="1275"/>
                  <a:pt x="3161" y="1274"/>
                  <a:pt x="3161" y="1274"/>
                </a:cubicBezTo>
                <a:cubicBezTo>
                  <a:pt x="3159" y="1273"/>
                  <a:pt x="3156" y="1272"/>
                  <a:pt x="3154" y="1270"/>
                </a:cubicBezTo>
                <a:cubicBezTo>
                  <a:pt x="3153" y="1270"/>
                  <a:pt x="3152" y="1268"/>
                  <a:pt x="3151" y="1266"/>
                </a:cubicBezTo>
                <a:cubicBezTo>
                  <a:pt x="3150" y="1264"/>
                  <a:pt x="3150" y="1263"/>
                  <a:pt x="3152" y="1261"/>
                </a:cubicBezTo>
                <a:cubicBezTo>
                  <a:pt x="3155" y="1259"/>
                  <a:pt x="3156" y="1256"/>
                  <a:pt x="3155" y="1252"/>
                </a:cubicBezTo>
                <a:cubicBezTo>
                  <a:pt x="3155" y="1250"/>
                  <a:pt x="3155" y="1247"/>
                  <a:pt x="3155" y="1246"/>
                </a:cubicBezTo>
                <a:cubicBezTo>
                  <a:pt x="3154" y="1245"/>
                  <a:pt x="3152" y="1245"/>
                  <a:pt x="3151" y="1244"/>
                </a:cubicBezTo>
                <a:cubicBezTo>
                  <a:pt x="3150" y="1242"/>
                  <a:pt x="3150" y="1240"/>
                  <a:pt x="3150" y="1238"/>
                </a:cubicBezTo>
                <a:cubicBezTo>
                  <a:pt x="3149" y="1235"/>
                  <a:pt x="3153" y="1232"/>
                  <a:pt x="3155" y="1232"/>
                </a:cubicBezTo>
                <a:cubicBezTo>
                  <a:pt x="3156" y="1232"/>
                  <a:pt x="3156" y="1233"/>
                  <a:pt x="3156" y="1234"/>
                </a:cubicBezTo>
                <a:cubicBezTo>
                  <a:pt x="3156" y="1235"/>
                  <a:pt x="3156" y="1236"/>
                  <a:pt x="3157" y="1237"/>
                </a:cubicBezTo>
                <a:cubicBezTo>
                  <a:pt x="3156" y="1237"/>
                  <a:pt x="3155" y="1237"/>
                  <a:pt x="3155" y="1237"/>
                </a:cubicBezTo>
                <a:cubicBezTo>
                  <a:pt x="3155" y="1238"/>
                  <a:pt x="3154" y="1239"/>
                  <a:pt x="3153" y="1241"/>
                </a:cubicBezTo>
                <a:cubicBezTo>
                  <a:pt x="3155" y="1241"/>
                  <a:pt x="3155" y="1241"/>
                  <a:pt x="3156" y="1240"/>
                </a:cubicBezTo>
                <a:cubicBezTo>
                  <a:pt x="3157" y="1239"/>
                  <a:pt x="3158" y="1238"/>
                  <a:pt x="3159" y="1237"/>
                </a:cubicBezTo>
                <a:cubicBezTo>
                  <a:pt x="3163" y="1230"/>
                  <a:pt x="3169" y="1226"/>
                  <a:pt x="3177" y="1225"/>
                </a:cubicBezTo>
                <a:cubicBezTo>
                  <a:pt x="3180" y="1224"/>
                  <a:pt x="3183" y="1223"/>
                  <a:pt x="3185" y="1221"/>
                </a:cubicBezTo>
                <a:cubicBezTo>
                  <a:pt x="3185" y="1220"/>
                  <a:pt x="3186" y="1220"/>
                  <a:pt x="3186" y="1220"/>
                </a:cubicBezTo>
                <a:cubicBezTo>
                  <a:pt x="3189" y="1219"/>
                  <a:pt x="3191" y="1217"/>
                  <a:pt x="3193" y="1215"/>
                </a:cubicBezTo>
                <a:cubicBezTo>
                  <a:pt x="3200" y="1207"/>
                  <a:pt x="3212" y="1207"/>
                  <a:pt x="3220" y="1214"/>
                </a:cubicBezTo>
                <a:cubicBezTo>
                  <a:pt x="3222" y="1216"/>
                  <a:pt x="3225" y="1218"/>
                  <a:pt x="3227" y="1220"/>
                </a:cubicBezTo>
                <a:cubicBezTo>
                  <a:pt x="3229" y="1221"/>
                  <a:pt x="3230" y="1223"/>
                  <a:pt x="3231" y="1224"/>
                </a:cubicBezTo>
                <a:cubicBezTo>
                  <a:pt x="3232" y="1226"/>
                  <a:pt x="3233" y="1226"/>
                  <a:pt x="3234" y="1225"/>
                </a:cubicBezTo>
                <a:cubicBezTo>
                  <a:pt x="3235" y="1224"/>
                  <a:pt x="3235" y="1224"/>
                  <a:pt x="3236" y="1223"/>
                </a:cubicBezTo>
                <a:cubicBezTo>
                  <a:pt x="3238" y="1220"/>
                  <a:pt x="3241" y="1220"/>
                  <a:pt x="3242" y="1223"/>
                </a:cubicBezTo>
                <a:cubicBezTo>
                  <a:pt x="3244" y="1226"/>
                  <a:pt x="3244" y="1229"/>
                  <a:pt x="3245" y="1232"/>
                </a:cubicBezTo>
                <a:cubicBezTo>
                  <a:pt x="3246" y="1237"/>
                  <a:pt x="3245" y="1241"/>
                  <a:pt x="3244" y="1245"/>
                </a:cubicBezTo>
                <a:cubicBezTo>
                  <a:pt x="3241" y="1252"/>
                  <a:pt x="3237" y="1255"/>
                  <a:pt x="3230" y="1255"/>
                </a:cubicBezTo>
                <a:cubicBezTo>
                  <a:pt x="3229" y="1255"/>
                  <a:pt x="3229" y="1255"/>
                  <a:pt x="3228" y="1255"/>
                </a:cubicBezTo>
                <a:cubicBezTo>
                  <a:pt x="3226" y="1255"/>
                  <a:pt x="3224" y="1255"/>
                  <a:pt x="3224" y="1258"/>
                </a:cubicBezTo>
                <a:cubicBezTo>
                  <a:pt x="3222" y="1262"/>
                  <a:pt x="3217" y="1264"/>
                  <a:pt x="3213" y="1261"/>
                </a:cubicBezTo>
                <a:cubicBezTo>
                  <a:pt x="3212" y="1259"/>
                  <a:pt x="3211" y="1259"/>
                  <a:pt x="3210" y="1257"/>
                </a:cubicBezTo>
                <a:cubicBezTo>
                  <a:pt x="3210" y="1258"/>
                  <a:pt x="3210" y="1258"/>
                  <a:pt x="3209" y="1258"/>
                </a:cubicBezTo>
                <a:close/>
                <a:moveTo>
                  <a:pt x="3204" y="1253"/>
                </a:moveTo>
                <a:cubicBezTo>
                  <a:pt x="3207" y="1255"/>
                  <a:pt x="3211" y="1256"/>
                  <a:pt x="3213" y="1259"/>
                </a:cubicBezTo>
                <a:cubicBezTo>
                  <a:pt x="3215" y="1261"/>
                  <a:pt x="3217" y="1261"/>
                  <a:pt x="3219" y="1261"/>
                </a:cubicBezTo>
                <a:cubicBezTo>
                  <a:pt x="3222" y="1260"/>
                  <a:pt x="3223" y="1258"/>
                  <a:pt x="3223" y="1255"/>
                </a:cubicBezTo>
                <a:cubicBezTo>
                  <a:pt x="3223" y="1255"/>
                  <a:pt x="3222" y="1255"/>
                  <a:pt x="3222" y="1255"/>
                </a:cubicBezTo>
                <a:cubicBezTo>
                  <a:pt x="3222" y="1257"/>
                  <a:pt x="3221" y="1258"/>
                  <a:pt x="3220" y="1259"/>
                </a:cubicBezTo>
                <a:cubicBezTo>
                  <a:pt x="3219" y="1260"/>
                  <a:pt x="3217" y="1260"/>
                  <a:pt x="3217" y="1259"/>
                </a:cubicBezTo>
                <a:cubicBezTo>
                  <a:pt x="3216" y="1259"/>
                  <a:pt x="3215" y="1258"/>
                  <a:pt x="3215" y="1257"/>
                </a:cubicBezTo>
                <a:cubicBezTo>
                  <a:pt x="3215" y="1255"/>
                  <a:pt x="3216" y="1253"/>
                  <a:pt x="3216" y="1251"/>
                </a:cubicBezTo>
                <a:cubicBezTo>
                  <a:pt x="3219" y="1252"/>
                  <a:pt x="3222" y="1253"/>
                  <a:pt x="3226" y="1253"/>
                </a:cubicBezTo>
                <a:cubicBezTo>
                  <a:pt x="3233" y="1255"/>
                  <a:pt x="3239" y="1253"/>
                  <a:pt x="3242" y="1244"/>
                </a:cubicBezTo>
                <a:cubicBezTo>
                  <a:pt x="3244" y="1240"/>
                  <a:pt x="3244" y="1235"/>
                  <a:pt x="3243" y="1230"/>
                </a:cubicBezTo>
                <a:cubicBezTo>
                  <a:pt x="3242" y="1228"/>
                  <a:pt x="3242" y="1226"/>
                  <a:pt x="3241" y="1224"/>
                </a:cubicBezTo>
                <a:cubicBezTo>
                  <a:pt x="3240" y="1223"/>
                  <a:pt x="3239" y="1222"/>
                  <a:pt x="3238" y="1224"/>
                </a:cubicBezTo>
                <a:cubicBezTo>
                  <a:pt x="3236" y="1225"/>
                  <a:pt x="3235" y="1227"/>
                  <a:pt x="3233" y="1228"/>
                </a:cubicBezTo>
                <a:cubicBezTo>
                  <a:pt x="3232" y="1228"/>
                  <a:pt x="3231" y="1229"/>
                  <a:pt x="3231" y="1230"/>
                </a:cubicBezTo>
                <a:cubicBezTo>
                  <a:pt x="3232" y="1233"/>
                  <a:pt x="3231" y="1236"/>
                  <a:pt x="3230" y="1240"/>
                </a:cubicBezTo>
                <a:cubicBezTo>
                  <a:pt x="3230" y="1238"/>
                  <a:pt x="3231" y="1236"/>
                  <a:pt x="3231" y="1234"/>
                </a:cubicBezTo>
                <a:cubicBezTo>
                  <a:pt x="3231" y="1233"/>
                  <a:pt x="3230" y="1233"/>
                  <a:pt x="3230" y="1232"/>
                </a:cubicBezTo>
                <a:cubicBezTo>
                  <a:pt x="3230" y="1233"/>
                  <a:pt x="3229" y="1233"/>
                  <a:pt x="3229" y="1233"/>
                </a:cubicBezTo>
                <a:cubicBezTo>
                  <a:pt x="3228" y="1234"/>
                  <a:pt x="3227" y="1236"/>
                  <a:pt x="3226" y="1237"/>
                </a:cubicBezTo>
                <a:cubicBezTo>
                  <a:pt x="3226" y="1237"/>
                  <a:pt x="3226" y="1237"/>
                  <a:pt x="3226" y="1237"/>
                </a:cubicBezTo>
                <a:cubicBezTo>
                  <a:pt x="3226" y="1236"/>
                  <a:pt x="3227" y="1234"/>
                  <a:pt x="3227" y="1232"/>
                </a:cubicBezTo>
                <a:cubicBezTo>
                  <a:pt x="3226" y="1232"/>
                  <a:pt x="3226" y="1233"/>
                  <a:pt x="3225" y="1234"/>
                </a:cubicBezTo>
                <a:cubicBezTo>
                  <a:pt x="3224" y="1234"/>
                  <a:pt x="3224" y="1235"/>
                  <a:pt x="3224" y="1236"/>
                </a:cubicBezTo>
                <a:cubicBezTo>
                  <a:pt x="3224" y="1232"/>
                  <a:pt x="3224" y="1232"/>
                  <a:pt x="3230" y="1231"/>
                </a:cubicBezTo>
                <a:cubicBezTo>
                  <a:pt x="3230" y="1230"/>
                  <a:pt x="3229" y="1230"/>
                  <a:pt x="3229" y="1230"/>
                </a:cubicBezTo>
                <a:cubicBezTo>
                  <a:pt x="3226" y="1230"/>
                  <a:pt x="3226" y="1229"/>
                  <a:pt x="3225" y="1226"/>
                </a:cubicBezTo>
                <a:cubicBezTo>
                  <a:pt x="3227" y="1226"/>
                  <a:pt x="3228" y="1226"/>
                  <a:pt x="3230" y="1225"/>
                </a:cubicBezTo>
                <a:cubicBezTo>
                  <a:pt x="3228" y="1223"/>
                  <a:pt x="3227" y="1220"/>
                  <a:pt x="3224" y="1220"/>
                </a:cubicBezTo>
                <a:cubicBezTo>
                  <a:pt x="3223" y="1220"/>
                  <a:pt x="3223" y="1219"/>
                  <a:pt x="3223" y="1219"/>
                </a:cubicBezTo>
                <a:cubicBezTo>
                  <a:pt x="3221" y="1217"/>
                  <a:pt x="3218" y="1215"/>
                  <a:pt x="3215" y="1213"/>
                </a:cubicBezTo>
                <a:cubicBezTo>
                  <a:pt x="3213" y="1211"/>
                  <a:pt x="3210" y="1211"/>
                  <a:pt x="3208" y="1211"/>
                </a:cubicBezTo>
                <a:cubicBezTo>
                  <a:pt x="3205" y="1211"/>
                  <a:pt x="3202" y="1212"/>
                  <a:pt x="3199" y="1213"/>
                </a:cubicBezTo>
                <a:cubicBezTo>
                  <a:pt x="3196" y="1214"/>
                  <a:pt x="3193" y="1216"/>
                  <a:pt x="3191" y="1219"/>
                </a:cubicBezTo>
                <a:cubicBezTo>
                  <a:pt x="3193" y="1219"/>
                  <a:pt x="3194" y="1219"/>
                  <a:pt x="3195" y="1219"/>
                </a:cubicBezTo>
                <a:cubicBezTo>
                  <a:pt x="3195" y="1219"/>
                  <a:pt x="3194" y="1220"/>
                  <a:pt x="3193" y="1220"/>
                </a:cubicBezTo>
                <a:cubicBezTo>
                  <a:pt x="3191" y="1221"/>
                  <a:pt x="3188" y="1220"/>
                  <a:pt x="3186" y="1222"/>
                </a:cubicBezTo>
                <a:cubicBezTo>
                  <a:pt x="3183" y="1226"/>
                  <a:pt x="3179" y="1230"/>
                  <a:pt x="3175" y="1234"/>
                </a:cubicBezTo>
                <a:cubicBezTo>
                  <a:pt x="3174" y="1236"/>
                  <a:pt x="3173" y="1238"/>
                  <a:pt x="3172" y="1241"/>
                </a:cubicBezTo>
                <a:cubicBezTo>
                  <a:pt x="3172" y="1241"/>
                  <a:pt x="3172" y="1242"/>
                  <a:pt x="3172" y="1242"/>
                </a:cubicBezTo>
                <a:cubicBezTo>
                  <a:pt x="3173" y="1244"/>
                  <a:pt x="3175" y="1246"/>
                  <a:pt x="3176" y="1248"/>
                </a:cubicBezTo>
                <a:cubicBezTo>
                  <a:pt x="3177" y="1247"/>
                  <a:pt x="3179" y="1245"/>
                  <a:pt x="3180" y="1244"/>
                </a:cubicBezTo>
                <a:cubicBezTo>
                  <a:pt x="3179" y="1245"/>
                  <a:pt x="3179" y="1246"/>
                  <a:pt x="3178" y="1248"/>
                </a:cubicBezTo>
                <a:cubicBezTo>
                  <a:pt x="3177" y="1249"/>
                  <a:pt x="3177" y="1250"/>
                  <a:pt x="3176" y="1252"/>
                </a:cubicBezTo>
                <a:cubicBezTo>
                  <a:pt x="3176" y="1253"/>
                  <a:pt x="3176" y="1254"/>
                  <a:pt x="3177" y="1255"/>
                </a:cubicBezTo>
                <a:cubicBezTo>
                  <a:pt x="3179" y="1258"/>
                  <a:pt x="3182" y="1258"/>
                  <a:pt x="3186" y="1256"/>
                </a:cubicBezTo>
                <a:cubicBezTo>
                  <a:pt x="3188" y="1255"/>
                  <a:pt x="3191" y="1253"/>
                  <a:pt x="3194" y="1253"/>
                </a:cubicBezTo>
                <a:cubicBezTo>
                  <a:pt x="3195" y="1252"/>
                  <a:pt x="3197" y="1251"/>
                  <a:pt x="3197" y="1250"/>
                </a:cubicBezTo>
                <a:cubicBezTo>
                  <a:pt x="3197" y="1247"/>
                  <a:pt x="3197" y="1243"/>
                  <a:pt x="3197" y="1240"/>
                </a:cubicBezTo>
                <a:cubicBezTo>
                  <a:pt x="3197" y="1237"/>
                  <a:pt x="3197" y="1234"/>
                  <a:pt x="3197" y="1231"/>
                </a:cubicBezTo>
                <a:cubicBezTo>
                  <a:pt x="3197" y="1234"/>
                  <a:pt x="3198" y="1236"/>
                  <a:pt x="3198" y="1239"/>
                </a:cubicBezTo>
                <a:cubicBezTo>
                  <a:pt x="3199" y="1244"/>
                  <a:pt x="3199" y="1248"/>
                  <a:pt x="3198" y="1252"/>
                </a:cubicBezTo>
                <a:cubicBezTo>
                  <a:pt x="3197" y="1253"/>
                  <a:pt x="3197" y="1254"/>
                  <a:pt x="3196" y="1254"/>
                </a:cubicBezTo>
                <a:cubicBezTo>
                  <a:pt x="3193" y="1254"/>
                  <a:pt x="3190" y="1256"/>
                  <a:pt x="3186" y="1258"/>
                </a:cubicBezTo>
                <a:cubicBezTo>
                  <a:pt x="3181" y="1261"/>
                  <a:pt x="3178" y="1259"/>
                  <a:pt x="3174" y="1255"/>
                </a:cubicBezTo>
                <a:cubicBezTo>
                  <a:pt x="3174" y="1255"/>
                  <a:pt x="3174" y="1253"/>
                  <a:pt x="3174" y="1253"/>
                </a:cubicBezTo>
                <a:cubicBezTo>
                  <a:pt x="3175" y="1251"/>
                  <a:pt x="3174" y="1249"/>
                  <a:pt x="3173" y="1247"/>
                </a:cubicBezTo>
                <a:cubicBezTo>
                  <a:pt x="3171" y="1245"/>
                  <a:pt x="3170" y="1242"/>
                  <a:pt x="3171" y="1240"/>
                </a:cubicBezTo>
                <a:cubicBezTo>
                  <a:pt x="3171" y="1238"/>
                  <a:pt x="3172" y="1236"/>
                  <a:pt x="3173" y="1234"/>
                </a:cubicBezTo>
                <a:cubicBezTo>
                  <a:pt x="3175" y="1232"/>
                  <a:pt x="3177" y="1229"/>
                  <a:pt x="3179" y="1226"/>
                </a:cubicBezTo>
                <a:cubicBezTo>
                  <a:pt x="3179" y="1226"/>
                  <a:pt x="3178" y="1226"/>
                  <a:pt x="3178" y="1226"/>
                </a:cubicBezTo>
                <a:cubicBezTo>
                  <a:pt x="3173" y="1228"/>
                  <a:pt x="3169" y="1229"/>
                  <a:pt x="3165" y="1232"/>
                </a:cubicBezTo>
                <a:cubicBezTo>
                  <a:pt x="3160" y="1237"/>
                  <a:pt x="3157" y="1242"/>
                  <a:pt x="3157" y="1249"/>
                </a:cubicBezTo>
                <a:cubicBezTo>
                  <a:pt x="3157" y="1255"/>
                  <a:pt x="3159" y="1261"/>
                  <a:pt x="3162" y="1267"/>
                </a:cubicBezTo>
                <a:cubicBezTo>
                  <a:pt x="3163" y="1268"/>
                  <a:pt x="3164" y="1270"/>
                  <a:pt x="3163" y="1271"/>
                </a:cubicBezTo>
                <a:cubicBezTo>
                  <a:pt x="3163" y="1272"/>
                  <a:pt x="3163" y="1274"/>
                  <a:pt x="3162" y="1275"/>
                </a:cubicBezTo>
                <a:cubicBezTo>
                  <a:pt x="3162" y="1277"/>
                  <a:pt x="3162" y="1278"/>
                  <a:pt x="3163" y="1278"/>
                </a:cubicBezTo>
                <a:cubicBezTo>
                  <a:pt x="3166" y="1279"/>
                  <a:pt x="3169" y="1280"/>
                  <a:pt x="3172" y="1280"/>
                </a:cubicBezTo>
                <a:cubicBezTo>
                  <a:pt x="3173" y="1280"/>
                  <a:pt x="3173" y="1279"/>
                  <a:pt x="3173" y="1279"/>
                </a:cubicBezTo>
                <a:cubicBezTo>
                  <a:pt x="3174" y="1278"/>
                  <a:pt x="3174" y="1276"/>
                  <a:pt x="3175" y="1275"/>
                </a:cubicBezTo>
                <a:cubicBezTo>
                  <a:pt x="3177" y="1273"/>
                  <a:pt x="3177" y="1270"/>
                  <a:pt x="3177" y="1267"/>
                </a:cubicBezTo>
                <a:cubicBezTo>
                  <a:pt x="3177" y="1267"/>
                  <a:pt x="3177" y="1266"/>
                  <a:pt x="3177" y="1266"/>
                </a:cubicBezTo>
                <a:cubicBezTo>
                  <a:pt x="3177" y="1266"/>
                  <a:pt x="3177" y="1266"/>
                  <a:pt x="3177" y="1265"/>
                </a:cubicBezTo>
                <a:cubicBezTo>
                  <a:pt x="3177" y="1268"/>
                  <a:pt x="3179" y="1268"/>
                  <a:pt x="3181" y="1268"/>
                </a:cubicBezTo>
                <a:cubicBezTo>
                  <a:pt x="3181" y="1268"/>
                  <a:pt x="3182" y="1268"/>
                  <a:pt x="3183" y="1268"/>
                </a:cubicBezTo>
                <a:cubicBezTo>
                  <a:pt x="3186" y="1268"/>
                  <a:pt x="3189" y="1269"/>
                  <a:pt x="3190" y="1264"/>
                </a:cubicBezTo>
                <a:cubicBezTo>
                  <a:pt x="3190" y="1267"/>
                  <a:pt x="3190" y="1268"/>
                  <a:pt x="3190" y="1269"/>
                </a:cubicBezTo>
                <a:cubicBezTo>
                  <a:pt x="3188" y="1270"/>
                  <a:pt x="3187" y="1271"/>
                  <a:pt x="3186" y="1271"/>
                </a:cubicBezTo>
                <a:cubicBezTo>
                  <a:pt x="3184" y="1272"/>
                  <a:pt x="3184" y="1274"/>
                  <a:pt x="3184" y="1274"/>
                </a:cubicBezTo>
                <a:cubicBezTo>
                  <a:pt x="3186" y="1277"/>
                  <a:pt x="3187" y="1279"/>
                  <a:pt x="3188" y="1281"/>
                </a:cubicBezTo>
                <a:cubicBezTo>
                  <a:pt x="3190" y="1282"/>
                  <a:pt x="3192" y="1282"/>
                  <a:pt x="3193" y="1280"/>
                </a:cubicBezTo>
                <a:cubicBezTo>
                  <a:pt x="3194" y="1279"/>
                  <a:pt x="3195" y="1278"/>
                  <a:pt x="3195" y="1278"/>
                </a:cubicBezTo>
                <a:cubicBezTo>
                  <a:pt x="3197" y="1276"/>
                  <a:pt x="3199" y="1275"/>
                  <a:pt x="3200" y="1274"/>
                </a:cubicBezTo>
                <a:cubicBezTo>
                  <a:pt x="3204" y="1270"/>
                  <a:pt x="3206" y="1264"/>
                  <a:pt x="3208" y="1258"/>
                </a:cubicBezTo>
                <a:cubicBezTo>
                  <a:pt x="3208" y="1257"/>
                  <a:pt x="3207" y="1257"/>
                  <a:pt x="3207" y="1256"/>
                </a:cubicBezTo>
                <a:cubicBezTo>
                  <a:pt x="3206" y="1255"/>
                  <a:pt x="3205" y="1254"/>
                  <a:pt x="3204" y="1253"/>
                </a:cubicBezTo>
                <a:close/>
                <a:moveTo>
                  <a:pt x="3157" y="1260"/>
                </a:moveTo>
                <a:cubicBezTo>
                  <a:pt x="3156" y="1261"/>
                  <a:pt x="3154" y="1261"/>
                  <a:pt x="3153" y="1263"/>
                </a:cubicBezTo>
                <a:cubicBezTo>
                  <a:pt x="3153" y="1263"/>
                  <a:pt x="3152" y="1264"/>
                  <a:pt x="3152" y="1264"/>
                </a:cubicBezTo>
                <a:cubicBezTo>
                  <a:pt x="3152" y="1267"/>
                  <a:pt x="3157" y="1272"/>
                  <a:pt x="3160" y="1271"/>
                </a:cubicBezTo>
                <a:cubicBezTo>
                  <a:pt x="3161" y="1271"/>
                  <a:pt x="3162" y="1270"/>
                  <a:pt x="3161" y="1268"/>
                </a:cubicBezTo>
                <a:cubicBezTo>
                  <a:pt x="3160" y="1265"/>
                  <a:pt x="3158" y="1263"/>
                  <a:pt x="3157" y="1260"/>
                </a:cubicBezTo>
                <a:close/>
                <a:moveTo>
                  <a:pt x="3209" y="1262"/>
                </a:moveTo>
                <a:cubicBezTo>
                  <a:pt x="3207" y="1266"/>
                  <a:pt x="3204" y="1271"/>
                  <a:pt x="3202" y="1275"/>
                </a:cubicBezTo>
                <a:cubicBezTo>
                  <a:pt x="3205" y="1275"/>
                  <a:pt x="3207" y="1276"/>
                  <a:pt x="3210" y="1275"/>
                </a:cubicBezTo>
                <a:cubicBezTo>
                  <a:pt x="3210" y="1275"/>
                  <a:pt x="3211" y="1274"/>
                  <a:pt x="3211" y="1274"/>
                </a:cubicBezTo>
                <a:cubicBezTo>
                  <a:pt x="3211" y="1271"/>
                  <a:pt x="3211" y="1268"/>
                  <a:pt x="3210" y="1266"/>
                </a:cubicBezTo>
                <a:cubicBezTo>
                  <a:pt x="3210" y="1264"/>
                  <a:pt x="3210" y="1263"/>
                  <a:pt x="3209" y="1262"/>
                </a:cubicBezTo>
                <a:close/>
                <a:moveTo>
                  <a:pt x="3157" y="1242"/>
                </a:moveTo>
                <a:cubicBezTo>
                  <a:pt x="3156" y="1242"/>
                  <a:pt x="3155" y="1242"/>
                  <a:pt x="3155" y="1242"/>
                </a:cubicBezTo>
                <a:cubicBezTo>
                  <a:pt x="3154" y="1242"/>
                  <a:pt x="3153" y="1242"/>
                  <a:pt x="3153" y="1242"/>
                </a:cubicBezTo>
                <a:cubicBezTo>
                  <a:pt x="3153" y="1242"/>
                  <a:pt x="3152" y="1241"/>
                  <a:pt x="3152" y="1240"/>
                </a:cubicBezTo>
                <a:cubicBezTo>
                  <a:pt x="3153" y="1238"/>
                  <a:pt x="3153" y="1236"/>
                  <a:pt x="3154" y="1234"/>
                </a:cubicBezTo>
                <a:cubicBezTo>
                  <a:pt x="3154" y="1234"/>
                  <a:pt x="3154" y="1234"/>
                  <a:pt x="3153" y="1234"/>
                </a:cubicBezTo>
                <a:cubicBezTo>
                  <a:pt x="3153" y="1235"/>
                  <a:pt x="3151" y="1236"/>
                  <a:pt x="3151" y="1237"/>
                </a:cubicBezTo>
                <a:cubicBezTo>
                  <a:pt x="3150" y="1238"/>
                  <a:pt x="3151" y="1243"/>
                  <a:pt x="3153" y="1244"/>
                </a:cubicBezTo>
                <a:cubicBezTo>
                  <a:pt x="3155" y="1245"/>
                  <a:pt x="3157" y="1244"/>
                  <a:pt x="3157" y="1242"/>
                </a:cubicBezTo>
                <a:close/>
                <a:moveTo>
                  <a:pt x="3156" y="1259"/>
                </a:moveTo>
                <a:cubicBezTo>
                  <a:pt x="3156" y="1260"/>
                  <a:pt x="3154" y="1261"/>
                  <a:pt x="3153" y="1262"/>
                </a:cubicBezTo>
                <a:cubicBezTo>
                  <a:pt x="3152" y="1263"/>
                  <a:pt x="3152" y="1263"/>
                  <a:pt x="3152" y="1264"/>
                </a:cubicBezTo>
                <a:cubicBezTo>
                  <a:pt x="3152" y="1267"/>
                  <a:pt x="3156" y="1271"/>
                  <a:pt x="3160" y="1271"/>
                </a:cubicBezTo>
                <a:cubicBezTo>
                  <a:pt x="3161" y="1271"/>
                  <a:pt x="3162" y="1270"/>
                  <a:pt x="3161" y="1268"/>
                </a:cubicBezTo>
                <a:cubicBezTo>
                  <a:pt x="3160" y="1265"/>
                  <a:pt x="3158" y="1262"/>
                  <a:pt x="3156" y="1259"/>
                </a:cubicBezTo>
                <a:close/>
                <a:moveTo>
                  <a:pt x="3209" y="1261"/>
                </a:moveTo>
                <a:cubicBezTo>
                  <a:pt x="3207" y="1266"/>
                  <a:pt x="3204" y="1270"/>
                  <a:pt x="3202" y="1275"/>
                </a:cubicBezTo>
                <a:cubicBezTo>
                  <a:pt x="3205" y="1275"/>
                  <a:pt x="3207" y="1275"/>
                  <a:pt x="3210" y="1275"/>
                </a:cubicBezTo>
                <a:cubicBezTo>
                  <a:pt x="3210" y="1275"/>
                  <a:pt x="3211" y="1274"/>
                  <a:pt x="3211" y="1273"/>
                </a:cubicBezTo>
                <a:cubicBezTo>
                  <a:pt x="3211" y="1270"/>
                  <a:pt x="3211" y="1268"/>
                  <a:pt x="3210" y="1266"/>
                </a:cubicBezTo>
                <a:cubicBezTo>
                  <a:pt x="3210" y="1264"/>
                  <a:pt x="3209" y="1263"/>
                  <a:pt x="3209" y="1261"/>
                </a:cubicBezTo>
                <a:close/>
                <a:moveTo>
                  <a:pt x="3156" y="1241"/>
                </a:moveTo>
                <a:cubicBezTo>
                  <a:pt x="3156" y="1242"/>
                  <a:pt x="3155" y="1242"/>
                  <a:pt x="3154" y="1242"/>
                </a:cubicBezTo>
                <a:cubicBezTo>
                  <a:pt x="3154" y="1242"/>
                  <a:pt x="3153" y="1242"/>
                  <a:pt x="3153" y="1242"/>
                </a:cubicBezTo>
                <a:cubicBezTo>
                  <a:pt x="3153" y="1241"/>
                  <a:pt x="3152" y="1241"/>
                  <a:pt x="3152" y="1240"/>
                </a:cubicBezTo>
                <a:cubicBezTo>
                  <a:pt x="3153" y="1238"/>
                  <a:pt x="3153" y="1236"/>
                  <a:pt x="3154" y="1234"/>
                </a:cubicBezTo>
                <a:cubicBezTo>
                  <a:pt x="3154" y="1234"/>
                  <a:pt x="3154" y="1234"/>
                  <a:pt x="3153" y="1234"/>
                </a:cubicBezTo>
                <a:cubicBezTo>
                  <a:pt x="3153" y="1235"/>
                  <a:pt x="3152" y="1236"/>
                  <a:pt x="3151" y="1237"/>
                </a:cubicBezTo>
                <a:cubicBezTo>
                  <a:pt x="3150" y="1238"/>
                  <a:pt x="3152" y="1243"/>
                  <a:pt x="3153" y="1244"/>
                </a:cubicBezTo>
                <a:cubicBezTo>
                  <a:pt x="3154" y="1245"/>
                  <a:pt x="3156" y="1243"/>
                  <a:pt x="3156" y="1241"/>
                </a:cubicBezTo>
                <a:close/>
                <a:moveTo>
                  <a:pt x="3209" y="1233"/>
                </a:moveTo>
                <a:cubicBezTo>
                  <a:pt x="3212" y="1229"/>
                  <a:pt x="3212" y="1229"/>
                  <a:pt x="3216" y="1228"/>
                </a:cubicBezTo>
                <a:cubicBezTo>
                  <a:pt x="3216" y="1230"/>
                  <a:pt x="3217" y="1231"/>
                  <a:pt x="3219" y="1231"/>
                </a:cubicBezTo>
                <a:cubicBezTo>
                  <a:pt x="3216" y="1233"/>
                  <a:pt x="3214" y="1234"/>
                  <a:pt x="3212" y="1235"/>
                </a:cubicBezTo>
                <a:cubicBezTo>
                  <a:pt x="3211" y="1235"/>
                  <a:pt x="3211" y="1234"/>
                  <a:pt x="3210" y="1233"/>
                </a:cubicBezTo>
                <a:cubicBezTo>
                  <a:pt x="3210" y="1233"/>
                  <a:pt x="3209" y="1233"/>
                  <a:pt x="3209" y="1233"/>
                </a:cubicBezTo>
                <a:close/>
                <a:moveTo>
                  <a:pt x="3215" y="1233"/>
                </a:moveTo>
                <a:cubicBezTo>
                  <a:pt x="3214" y="1232"/>
                  <a:pt x="3213" y="1232"/>
                  <a:pt x="3213" y="1232"/>
                </a:cubicBezTo>
                <a:cubicBezTo>
                  <a:pt x="3212" y="1232"/>
                  <a:pt x="3211" y="1233"/>
                  <a:pt x="3211" y="1233"/>
                </a:cubicBezTo>
                <a:cubicBezTo>
                  <a:pt x="3211" y="1233"/>
                  <a:pt x="3212" y="1234"/>
                  <a:pt x="3212" y="1234"/>
                </a:cubicBezTo>
                <a:cubicBezTo>
                  <a:pt x="3213" y="1234"/>
                  <a:pt x="3213" y="1233"/>
                  <a:pt x="3215" y="1233"/>
                </a:cubicBezTo>
                <a:close/>
                <a:moveTo>
                  <a:pt x="3196" y="1223"/>
                </a:moveTo>
                <a:cubicBezTo>
                  <a:pt x="3189" y="1222"/>
                  <a:pt x="3186" y="1225"/>
                  <a:pt x="3185" y="1233"/>
                </a:cubicBezTo>
                <a:cubicBezTo>
                  <a:pt x="3186" y="1231"/>
                  <a:pt x="3187" y="1228"/>
                  <a:pt x="3189" y="1226"/>
                </a:cubicBezTo>
                <a:cubicBezTo>
                  <a:pt x="3189" y="1226"/>
                  <a:pt x="3189" y="1226"/>
                  <a:pt x="3189" y="1226"/>
                </a:cubicBezTo>
                <a:cubicBezTo>
                  <a:pt x="3189" y="1227"/>
                  <a:pt x="3189" y="1228"/>
                  <a:pt x="3189" y="1229"/>
                </a:cubicBezTo>
                <a:cubicBezTo>
                  <a:pt x="3191" y="1226"/>
                  <a:pt x="3192" y="1224"/>
                  <a:pt x="3196" y="1223"/>
                </a:cubicBezTo>
                <a:close/>
                <a:moveTo>
                  <a:pt x="3239" y="1225"/>
                </a:moveTo>
                <a:cubicBezTo>
                  <a:pt x="3237" y="1226"/>
                  <a:pt x="3236" y="1228"/>
                  <a:pt x="3234" y="1229"/>
                </a:cubicBezTo>
                <a:cubicBezTo>
                  <a:pt x="3236" y="1229"/>
                  <a:pt x="3238" y="1228"/>
                  <a:pt x="3239" y="1225"/>
                </a:cubicBezTo>
                <a:close/>
                <a:moveTo>
                  <a:pt x="3206" y="1227"/>
                </a:moveTo>
                <a:cubicBezTo>
                  <a:pt x="3207" y="1226"/>
                  <a:pt x="3208" y="1224"/>
                  <a:pt x="3210" y="1223"/>
                </a:cubicBezTo>
                <a:cubicBezTo>
                  <a:pt x="3207" y="1224"/>
                  <a:pt x="3206" y="1225"/>
                  <a:pt x="3206" y="1227"/>
                </a:cubicBezTo>
                <a:close/>
                <a:moveTo>
                  <a:pt x="3216" y="1248"/>
                </a:moveTo>
                <a:cubicBezTo>
                  <a:pt x="3214" y="1248"/>
                  <a:pt x="3213" y="1249"/>
                  <a:pt x="3213" y="1250"/>
                </a:cubicBezTo>
                <a:cubicBezTo>
                  <a:pt x="3214" y="1249"/>
                  <a:pt x="3215" y="1249"/>
                  <a:pt x="3216" y="1248"/>
                </a:cubicBezTo>
                <a:close/>
                <a:moveTo>
                  <a:pt x="3215" y="1233"/>
                </a:moveTo>
                <a:cubicBezTo>
                  <a:pt x="3214" y="1232"/>
                  <a:pt x="3213" y="1232"/>
                  <a:pt x="3213" y="1232"/>
                </a:cubicBezTo>
                <a:cubicBezTo>
                  <a:pt x="3212" y="1232"/>
                  <a:pt x="3212" y="1233"/>
                  <a:pt x="3212" y="1233"/>
                </a:cubicBezTo>
                <a:cubicBezTo>
                  <a:pt x="3212" y="1234"/>
                  <a:pt x="3212" y="1234"/>
                  <a:pt x="3212" y="1234"/>
                </a:cubicBezTo>
                <a:cubicBezTo>
                  <a:pt x="3213" y="1234"/>
                  <a:pt x="3214" y="1234"/>
                  <a:pt x="3215" y="1233"/>
                </a:cubicBezTo>
                <a:close/>
                <a:moveTo>
                  <a:pt x="3506" y="1210"/>
                </a:moveTo>
                <a:cubicBezTo>
                  <a:pt x="3506" y="1210"/>
                  <a:pt x="3506" y="1210"/>
                  <a:pt x="3506" y="1210"/>
                </a:cubicBezTo>
                <a:cubicBezTo>
                  <a:pt x="3501" y="1210"/>
                  <a:pt x="3501" y="1210"/>
                  <a:pt x="3501" y="1210"/>
                </a:cubicBezTo>
                <a:cubicBezTo>
                  <a:pt x="3499" y="1212"/>
                  <a:pt x="3498" y="1213"/>
                  <a:pt x="3496" y="1214"/>
                </a:cubicBezTo>
                <a:cubicBezTo>
                  <a:pt x="3494" y="1216"/>
                  <a:pt x="3492" y="1216"/>
                  <a:pt x="3490" y="1217"/>
                </a:cubicBezTo>
                <a:cubicBezTo>
                  <a:pt x="3488" y="1218"/>
                  <a:pt x="3487" y="1219"/>
                  <a:pt x="3485" y="1220"/>
                </a:cubicBezTo>
                <a:cubicBezTo>
                  <a:pt x="3483" y="1221"/>
                  <a:pt x="3481" y="1221"/>
                  <a:pt x="3479" y="1221"/>
                </a:cubicBezTo>
                <a:cubicBezTo>
                  <a:pt x="3479" y="1221"/>
                  <a:pt x="3479" y="1221"/>
                  <a:pt x="3479" y="1232"/>
                </a:cubicBezTo>
                <a:cubicBezTo>
                  <a:pt x="3482" y="1231"/>
                  <a:pt x="3485" y="1230"/>
                  <a:pt x="3487" y="1229"/>
                </a:cubicBezTo>
                <a:cubicBezTo>
                  <a:pt x="3490" y="1228"/>
                  <a:pt x="3493" y="1226"/>
                  <a:pt x="3494" y="1225"/>
                </a:cubicBezTo>
                <a:cubicBezTo>
                  <a:pt x="3494" y="1225"/>
                  <a:pt x="3494" y="1225"/>
                  <a:pt x="3494" y="1284"/>
                </a:cubicBezTo>
                <a:cubicBezTo>
                  <a:pt x="3494" y="1284"/>
                  <a:pt x="3494" y="1284"/>
                  <a:pt x="3506" y="1284"/>
                </a:cubicBezTo>
                <a:cubicBezTo>
                  <a:pt x="3506" y="1284"/>
                  <a:pt x="3506" y="1284"/>
                  <a:pt x="3506" y="1210"/>
                </a:cubicBezTo>
                <a:close/>
                <a:moveTo>
                  <a:pt x="3627" y="1210"/>
                </a:moveTo>
                <a:cubicBezTo>
                  <a:pt x="3627" y="1210"/>
                  <a:pt x="3627" y="1210"/>
                  <a:pt x="3627" y="1210"/>
                </a:cubicBezTo>
                <a:cubicBezTo>
                  <a:pt x="3622" y="1210"/>
                  <a:pt x="3622" y="1210"/>
                  <a:pt x="3622" y="1210"/>
                </a:cubicBezTo>
                <a:cubicBezTo>
                  <a:pt x="3620" y="1212"/>
                  <a:pt x="3618" y="1213"/>
                  <a:pt x="3616" y="1214"/>
                </a:cubicBezTo>
                <a:cubicBezTo>
                  <a:pt x="3615" y="1216"/>
                  <a:pt x="3613" y="1216"/>
                  <a:pt x="3611" y="1217"/>
                </a:cubicBezTo>
                <a:cubicBezTo>
                  <a:pt x="3610" y="1218"/>
                  <a:pt x="3608" y="1219"/>
                  <a:pt x="3606" y="1220"/>
                </a:cubicBezTo>
                <a:cubicBezTo>
                  <a:pt x="3604" y="1221"/>
                  <a:pt x="3603" y="1221"/>
                  <a:pt x="3600" y="1221"/>
                </a:cubicBezTo>
                <a:cubicBezTo>
                  <a:pt x="3600" y="1221"/>
                  <a:pt x="3600" y="1221"/>
                  <a:pt x="3600" y="1232"/>
                </a:cubicBezTo>
                <a:cubicBezTo>
                  <a:pt x="3603" y="1231"/>
                  <a:pt x="3606" y="1230"/>
                  <a:pt x="3609" y="1229"/>
                </a:cubicBezTo>
                <a:cubicBezTo>
                  <a:pt x="3611" y="1228"/>
                  <a:pt x="3613" y="1226"/>
                  <a:pt x="3616" y="1225"/>
                </a:cubicBezTo>
                <a:cubicBezTo>
                  <a:pt x="3616" y="1225"/>
                  <a:pt x="3616" y="1225"/>
                  <a:pt x="3616" y="1284"/>
                </a:cubicBezTo>
                <a:cubicBezTo>
                  <a:pt x="3616" y="1284"/>
                  <a:pt x="3616" y="1284"/>
                  <a:pt x="3627" y="1284"/>
                </a:cubicBezTo>
                <a:cubicBezTo>
                  <a:pt x="3627" y="1284"/>
                  <a:pt x="3627" y="1284"/>
                  <a:pt x="3627" y="1210"/>
                </a:cubicBezTo>
                <a:close/>
                <a:moveTo>
                  <a:pt x="3674" y="1210"/>
                </a:moveTo>
                <a:cubicBezTo>
                  <a:pt x="3674" y="1210"/>
                  <a:pt x="3674" y="1210"/>
                  <a:pt x="3674" y="1210"/>
                </a:cubicBezTo>
                <a:cubicBezTo>
                  <a:pt x="3669" y="1210"/>
                  <a:pt x="3669" y="1210"/>
                  <a:pt x="3669" y="1210"/>
                </a:cubicBezTo>
                <a:cubicBezTo>
                  <a:pt x="3667" y="1212"/>
                  <a:pt x="3666" y="1213"/>
                  <a:pt x="3663" y="1214"/>
                </a:cubicBezTo>
                <a:cubicBezTo>
                  <a:pt x="3662" y="1216"/>
                  <a:pt x="3660" y="1216"/>
                  <a:pt x="3658" y="1217"/>
                </a:cubicBezTo>
                <a:cubicBezTo>
                  <a:pt x="3657" y="1218"/>
                  <a:pt x="3655" y="1219"/>
                  <a:pt x="3653" y="1220"/>
                </a:cubicBezTo>
                <a:cubicBezTo>
                  <a:pt x="3651" y="1221"/>
                  <a:pt x="3650" y="1221"/>
                  <a:pt x="3647" y="1221"/>
                </a:cubicBezTo>
                <a:cubicBezTo>
                  <a:pt x="3647" y="1221"/>
                  <a:pt x="3647" y="1221"/>
                  <a:pt x="3647" y="1232"/>
                </a:cubicBezTo>
                <a:cubicBezTo>
                  <a:pt x="3650" y="1231"/>
                  <a:pt x="3653" y="1230"/>
                  <a:pt x="3655" y="1229"/>
                </a:cubicBezTo>
                <a:cubicBezTo>
                  <a:pt x="3658" y="1228"/>
                  <a:pt x="3660" y="1226"/>
                  <a:pt x="3663" y="1225"/>
                </a:cubicBezTo>
                <a:cubicBezTo>
                  <a:pt x="3663" y="1225"/>
                  <a:pt x="3663" y="1225"/>
                  <a:pt x="3663" y="1284"/>
                </a:cubicBezTo>
                <a:cubicBezTo>
                  <a:pt x="3663" y="1284"/>
                  <a:pt x="3663" y="1284"/>
                  <a:pt x="3674" y="1284"/>
                </a:cubicBezTo>
                <a:cubicBezTo>
                  <a:pt x="3674" y="1284"/>
                  <a:pt x="3674" y="1284"/>
                  <a:pt x="3674" y="1210"/>
                </a:cubicBezTo>
                <a:close/>
                <a:moveTo>
                  <a:pt x="3720" y="1210"/>
                </a:moveTo>
                <a:cubicBezTo>
                  <a:pt x="3720" y="1210"/>
                  <a:pt x="3720" y="1210"/>
                  <a:pt x="3720" y="1210"/>
                </a:cubicBezTo>
                <a:cubicBezTo>
                  <a:pt x="3716" y="1210"/>
                  <a:pt x="3716" y="1210"/>
                  <a:pt x="3716" y="1210"/>
                </a:cubicBezTo>
                <a:cubicBezTo>
                  <a:pt x="3714" y="1212"/>
                  <a:pt x="3712" y="1213"/>
                  <a:pt x="3710" y="1214"/>
                </a:cubicBezTo>
                <a:cubicBezTo>
                  <a:pt x="3709" y="1216"/>
                  <a:pt x="3707" y="1216"/>
                  <a:pt x="3705" y="1217"/>
                </a:cubicBezTo>
                <a:cubicBezTo>
                  <a:pt x="3703" y="1218"/>
                  <a:pt x="3702" y="1218"/>
                  <a:pt x="3699" y="1219"/>
                </a:cubicBezTo>
                <a:cubicBezTo>
                  <a:pt x="3698" y="1220"/>
                  <a:pt x="3696" y="1221"/>
                  <a:pt x="3694" y="1221"/>
                </a:cubicBezTo>
                <a:cubicBezTo>
                  <a:pt x="3694" y="1221"/>
                  <a:pt x="3694" y="1221"/>
                  <a:pt x="3694" y="1232"/>
                </a:cubicBezTo>
                <a:cubicBezTo>
                  <a:pt x="3697" y="1231"/>
                  <a:pt x="3700" y="1229"/>
                  <a:pt x="3702" y="1229"/>
                </a:cubicBezTo>
                <a:cubicBezTo>
                  <a:pt x="3704" y="1228"/>
                  <a:pt x="3707" y="1226"/>
                  <a:pt x="3709" y="1225"/>
                </a:cubicBezTo>
                <a:cubicBezTo>
                  <a:pt x="3709" y="1225"/>
                  <a:pt x="3709" y="1225"/>
                  <a:pt x="3709" y="1284"/>
                </a:cubicBezTo>
                <a:cubicBezTo>
                  <a:pt x="3709" y="1284"/>
                  <a:pt x="3709" y="1284"/>
                  <a:pt x="3720" y="1284"/>
                </a:cubicBezTo>
                <a:cubicBezTo>
                  <a:pt x="3720" y="1284"/>
                  <a:pt x="3720" y="1284"/>
                  <a:pt x="3720" y="1210"/>
                </a:cubicBezTo>
                <a:close/>
                <a:moveTo>
                  <a:pt x="3526" y="1243"/>
                </a:moveTo>
                <a:cubicBezTo>
                  <a:pt x="3526" y="1243"/>
                  <a:pt x="3526" y="1243"/>
                  <a:pt x="3526" y="1243"/>
                </a:cubicBezTo>
                <a:cubicBezTo>
                  <a:pt x="3525" y="1251"/>
                  <a:pt x="3525" y="1251"/>
                  <a:pt x="3525" y="1251"/>
                </a:cubicBezTo>
                <a:cubicBezTo>
                  <a:pt x="3532" y="1251"/>
                  <a:pt x="3532" y="1254"/>
                  <a:pt x="3532" y="1257"/>
                </a:cubicBezTo>
                <a:cubicBezTo>
                  <a:pt x="3532" y="1259"/>
                  <a:pt x="3532" y="1261"/>
                  <a:pt x="3532" y="1264"/>
                </a:cubicBezTo>
                <a:cubicBezTo>
                  <a:pt x="3532" y="1267"/>
                  <a:pt x="3531" y="1269"/>
                  <a:pt x="3531" y="1271"/>
                </a:cubicBezTo>
                <a:cubicBezTo>
                  <a:pt x="3531" y="1281"/>
                  <a:pt x="3537" y="1284"/>
                  <a:pt x="3546" y="1284"/>
                </a:cubicBezTo>
                <a:cubicBezTo>
                  <a:pt x="3546" y="1284"/>
                  <a:pt x="3546" y="1284"/>
                  <a:pt x="3549" y="1284"/>
                </a:cubicBezTo>
                <a:cubicBezTo>
                  <a:pt x="3549" y="1284"/>
                  <a:pt x="3549" y="1284"/>
                  <a:pt x="3549" y="1275"/>
                </a:cubicBezTo>
                <a:cubicBezTo>
                  <a:pt x="3549" y="1275"/>
                  <a:pt x="3549" y="1275"/>
                  <a:pt x="3548" y="1275"/>
                </a:cubicBezTo>
                <a:cubicBezTo>
                  <a:pt x="3544" y="1275"/>
                  <a:pt x="3543" y="1272"/>
                  <a:pt x="3543" y="1269"/>
                </a:cubicBezTo>
                <a:cubicBezTo>
                  <a:pt x="3543" y="1267"/>
                  <a:pt x="3543" y="1266"/>
                  <a:pt x="3544" y="1264"/>
                </a:cubicBezTo>
                <a:cubicBezTo>
                  <a:pt x="3544" y="1263"/>
                  <a:pt x="3544" y="1260"/>
                  <a:pt x="3544" y="1258"/>
                </a:cubicBezTo>
                <a:cubicBezTo>
                  <a:pt x="3544" y="1251"/>
                  <a:pt x="3541" y="1248"/>
                  <a:pt x="3535" y="1247"/>
                </a:cubicBezTo>
                <a:cubicBezTo>
                  <a:pt x="3535" y="1247"/>
                  <a:pt x="3535" y="1247"/>
                  <a:pt x="3535" y="1246"/>
                </a:cubicBezTo>
                <a:cubicBezTo>
                  <a:pt x="3541" y="1245"/>
                  <a:pt x="3544" y="1243"/>
                  <a:pt x="3544" y="1236"/>
                </a:cubicBezTo>
                <a:cubicBezTo>
                  <a:pt x="3544" y="1233"/>
                  <a:pt x="3544" y="1231"/>
                  <a:pt x="3544" y="1229"/>
                </a:cubicBezTo>
                <a:cubicBezTo>
                  <a:pt x="3543" y="1228"/>
                  <a:pt x="3543" y="1226"/>
                  <a:pt x="3543" y="1225"/>
                </a:cubicBezTo>
                <a:cubicBezTo>
                  <a:pt x="3543" y="1221"/>
                  <a:pt x="3544" y="1219"/>
                  <a:pt x="3548" y="1219"/>
                </a:cubicBezTo>
                <a:cubicBezTo>
                  <a:pt x="3548" y="1219"/>
                  <a:pt x="3548" y="1219"/>
                  <a:pt x="3549" y="1219"/>
                </a:cubicBezTo>
                <a:cubicBezTo>
                  <a:pt x="3549" y="1219"/>
                  <a:pt x="3549" y="1219"/>
                  <a:pt x="3549" y="1209"/>
                </a:cubicBezTo>
                <a:cubicBezTo>
                  <a:pt x="3549" y="1209"/>
                  <a:pt x="3549" y="1209"/>
                  <a:pt x="3546" y="1209"/>
                </a:cubicBezTo>
                <a:cubicBezTo>
                  <a:pt x="3537" y="1209"/>
                  <a:pt x="3531" y="1214"/>
                  <a:pt x="3531" y="1222"/>
                </a:cubicBezTo>
                <a:cubicBezTo>
                  <a:pt x="3531" y="1224"/>
                  <a:pt x="3532" y="1227"/>
                  <a:pt x="3532" y="1230"/>
                </a:cubicBezTo>
                <a:cubicBezTo>
                  <a:pt x="3532" y="1232"/>
                  <a:pt x="3532" y="1235"/>
                  <a:pt x="3532" y="1236"/>
                </a:cubicBezTo>
                <a:cubicBezTo>
                  <a:pt x="3532" y="1239"/>
                  <a:pt x="3532" y="1242"/>
                  <a:pt x="3526" y="1243"/>
                </a:cubicBezTo>
                <a:close/>
                <a:moveTo>
                  <a:pt x="3581" y="1251"/>
                </a:moveTo>
                <a:cubicBezTo>
                  <a:pt x="3581" y="1251"/>
                  <a:pt x="3581" y="1251"/>
                  <a:pt x="3581" y="1251"/>
                </a:cubicBezTo>
                <a:cubicBezTo>
                  <a:pt x="3581" y="1243"/>
                  <a:pt x="3581" y="1243"/>
                  <a:pt x="3581" y="1243"/>
                </a:cubicBezTo>
                <a:cubicBezTo>
                  <a:pt x="3574" y="1242"/>
                  <a:pt x="3574" y="1239"/>
                  <a:pt x="3574" y="1236"/>
                </a:cubicBezTo>
                <a:cubicBezTo>
                  <a:pt x="3574" y="1235"/>
                  <a:pt x="3574" y="1232"/>
                  <a:pt x="3574" y="1230"/>
                </a:cubicBezTo>
                <a:cubicBezTo>
                  <a:pt x="3575" y="1227"/>
                  <a:pt x="3575" y="1224"/>
                  <a:pt x="3575" y="1222"/>
                </a:cubicBezTo>
                <a:cubicBezTo>
                  <a:pt x="3575" y="1214"/>
                  <a:pt x="3569" y="1209"/>
                  <a:pt x="3560" y="1209"/>
                </a:cubicBezTo>
                <a:cubicBezTo>
                  <a:pt x="3560" y="1209"/>
                  <a:pt x="3560" y="1209"/>
                  <a:pt x="3556" y="1209"/>
                </a:cubicBezTo>
                <a:cubicBezTo>
                  <a:pt x="3556" y="1209"/>
                  <a:pt x="3556" y="1209"/>
                  <a:pt x="3556" y="1219"/>
                </a:cubicBezTo>
                <a:cubicBezTo>
                  <a:pt x="3556" y="1219"/>
                  <a:pt x="3556" y="1219"/>
                  <a:pt x="3558" y="1219"/>
                </a:cubicBezTo>
                <a:cubicBezTo>
                  <a:pt x="3561" y="1219"/>
                  <a:pt x="3563" y="1221"/>
                  <a:pt x="3563" y="1225"/>
                </a:cubicBezTo>
                <a:cubicBezTo>
                  <a:pt x="3563" y="1226"/>
                  <a:pt x="3563" y="1228"/>
                  <a:pt x="3563" y="1229"/>
                </a:cubicBezTo>
                <a:cubicBezTo>
                  <a:pt x="3562" y="1231"/>
                  <a:pt x="3562" y="1233"/>
                  <a:pt x="3562" y="1236"/>
                </a:cubicBezTo>
                <a:cubicBezTo>
                  <a:pt x="3562" y="1243"/>
                  <a:pt x="3565" y="1245"/>
                  <a:pt x="3571" y="1246"/>
                </a:cubicBezTo>
                <a:cubicBezTo>
                  <a:pt x="3571" y="1246"/>
                  <a:pt x="3571" y="1246"/>
                  <a:pt x="3571" y="1247"/>
                </a:cubicBezTo>
                <a:cubicBezTo>
                  <a:pt x="3565" y="1248"/>
                  <a:pt x="3562" y="1251"/>
                  <a:pt x="3562" y="1258"/>
                </a:cubicBezTo>
                <a:cubicBezTo>
                  <a:pt x="3562" y="1260"/>
                  <a:pt x="3562" y="1263"/>
                  <a:pt x="3563" y="1264"/>
                </a:cubicBezTo>
                <a:cubicBezTo>
                  <a:pt x="3563" y="1266"/>
                  <a:pt x="3563" y="1267"/>
                  <a:pt x="3563" y="1269"/>
                </a:cubicBezTo>
                <a:cubicBezTo>
                  <a:pt x="3563" y="1272"/>
                  <a:pt x="3562" y="1275"/>
                  <a:pt x="3558" y="1275"/>
                </a:cubicBezTo>
                <a:cubicBezTo>
                  <a:pt x="3558" y="1275"/>
                  <a:pt x="3558" y="1275"/>
                  <a:pt x="3556" y="1275"/>
                </a:cubicBezTo>
                <a:cubicBezTo>
                  <a:pt x="3556" y="1275"/>
                  <a:pt x="3556" y="1275"/>
                  <a:pt x="3556" y="1284"/>
                </a:cubicBezTo>
                <a:cubicBezTo>
                  <a:pt x="3556" y="1284"/>
                  <a:pt x="3556" y="1284"/>
                  <a:pt x="3560" y="1284"/>
                </a:cubicBezTo>
                <a:cubicBezTo>
                  <a:pt x="3569" y="1284"/>
                  <a:pt x="3575" y="1281"/>
                  <a:pt x="3575" y="1271"/>
                </a:cubicBezTo>
                <a:cubicBezTo>
                  <a:pt x="3575" y="1269"/>
                  <a:pt x="3575" y="1267"/>
                  <a:pt x="3574" y="1264"/>
                </a:cubicBezTo>
                <a:cubicBezTo>
                  <a:pt x="3574" y="1261"/>
                  <a:pt x="3574" y="1259"/>
                  <a:pt x="3574" y="1257"/>
                </a:cubicBezTo>
                <a:cubicBezTo>
                  <a:pt x="3574" y="1254"/>
                  <a:pt x="3574" y="1251"/>
                  <a:pt x="3581" y="1251"/>
                </a:cubicBezTo>
                <a:close/>
                <a:moveTo>
                  <a:pt x="3764" y="1284"/>
                </a:moveTo>
                <a:cubicBezTo>
                  <a:pt x="3757" y="1284"/>
                  <a:pt x="3750" y="1281"/>
                  <a:pt x="3746" y="1275"/>
                </a:cubicBezTo>
                <a:cubicBezTo>
                  <a:pt x="3742" y="1268"/>
                  <a:pt x="3740" y="1260"/>
                  <a:pt x="3740" y="1247"/>
                </a:cubicBezTo>
                <a:cubicBezTo>
                  <a:pt x="3740" y="1234"/>
                  <a:pt x="3742" y="1224"/>
                  <a:pt x="3747" y="1218"/>
                </a:cubicBezTo>
                <a:cubicBezTo>
                  <a:pt x="3751" y="1211"/>
                  <a:pt x="3758" y="1208"/>
                  <a:pt x="3766" y="1208"/>
                </a:cubicBezTo>
                <a:cubicBezTo>
                  <a:pt x="3782" y="1208"/>
                  <a:pt x="3790" y="1220"/>
                  <a:pt x="3790" y="1246"/>
                </a:cubicBezTo>
                <a:cubicBezTo>
                  <a:pt x="3790" y="1258"/>
                  <a:pt x="3788" y="1268"/>
                  <a:pt x="3783" y="1274"/>
                </a:cubicBezTo>
                <a:cubicBezTo>
                  <a:pt x="3779" y="1281"/>
                  <a:pt x="3772" y="1284"/>
                  <a:pt x="3764" y="1284"/>
                </a:cubicBezTo>
                <a:close/>
                <a:moveTo>
                  <a:pt x="3766" y="1217"/>
                </a:moveTo>
                <a:cubicBezTo>
                  <a:pt x="3756" y="1217"/>
                  <a:pt x="3752" y="1227"/>
                  <a:pt x="3752" y="1247"/>
                </a:cubicBezTo>
                <a:cubicBezTo>
                  <a:pt x="3752" y="1266"/>
                  <a:pt x="3756" y="1274"/>
                  <a:pt x="3765" y="1274"/>
                </a:cubicBezTo>
                <a:cubicBezTo>
                  <a:pt x="3774" y="1274"/>
                  <a:pt x="3778" y="1266"/>
                  <a:pt x="3778" y="1246"/>
                </a:cubicBezTo>
                <a:cubicBezTo>
                  <a:pt x="3778" y="1227"/>
                  <a:pt x="3774" y="1217"/>
                  <a:pt x="3766" y="1217"/>
                </a:cubicBezTo>
                <a:close/>
                <a:moveTo>
                  <a:pt x="3835" y="1284"/>
                </a:moveTo>
                <a:cubicBezTo>
                  <a:pt x="3827" y="1284"/>
                  <a:pt x="3821" y="1281"/>
                  <a:pt x="3817" y="1275"/>
                </a:cubicBezTo>
                <a:cubicBezTo>
                  <a:pt x="3813" y="1268"/>
                  <a:pt x="3811" y="1260"/>
                  <a:pt x="3811" y="1247"/>
                </a:cubicBezTo>
                <a:cubicBezTo>
                  <a:pt x="3811" y="1234"/>
                  <a:pt x="3813" y="1224"/>
                  <a:pt x="3817" y="1218"/>
                </a:cubicBezTo>
                <a:cubicBezTo>
                  <a:pt x="3822" y="1211"/>
                  <a:pt x="3828" y="1208"/>
                  <a:pt x="3837" y="1208"/>
                </a:cubicBezTo>
                <a:cubicBezTo>
                  <a:pt x="3853" y="1208"/>
                  <a:pt x="3861" y="1220"/>
                  <a:pt x="3861" y="1246"/>
                </a:cubicBezTo>
                <a:cubicBezTo>
                  <a:pt x="3861" y="1258"/>
                  <a:pt x="3859" y="1268"/>
                  <a:pt x="3854" y="1274"/>
                </a:cubicBezTo>
                <a:cubicBezTo>
                  <a:pt x="3849" y="1281"/>
                  <a:pt x="3843" y="1284"/>
                  <a:pt x="3835" y="1284"/>
                </a:cubicBezTo>
                <a:close/>
                <a:moveTo>
                  <a:pt x="3836" y="1217"/>
                </a:moveTo>
                <a:cubicBezTo>
                  <a:pt x="3827" y="1217"/>
                  <a:pt x="3822" y="1227"/>
                  <a:pt x="3822" y="1247"/>
                </a:cubicBezTo>
                <a:cubicBezTo>
                  <a:pt x="3822" y="1266"/>
                  <a:pt x="3827" y="1274"/>
                  <a:pt x="3835" y="1274"/>
                </a:cubicBezTo>
                <a:cubicBezTo>
                  <a:pt x="3844" y="1274"/>
                  <a:pt x="3849" y="1266"/>
                  <a:pt x="3849" y="1246"/>
                </a:cubicBezTo>
                <a:cubicBezTo>
                  <a:pt x="3849" y="1227"/>
                  <a:pt x="3844" y="1217"/>
                  <a:pt x="3836" y="1217"/>
                </a:cubicBezTo>
                <a:close/>
                <a:moveTo>
                  <a:pt x="1980" y="1306"/>
                </a:moveTo>
                <a:cubicBezTo>
                  <a:pt x="1980" y="1306"/>
                  <a:pt x="1980" y="1306"/>
                  <a:pt x="1980" y="1306"/>
                </a:cubicBezTo>
                <a:cubicBezTo>
                  <a:pt x="1975" y="1306"/>
                  <a:pt x="1975" y="1306"/>
                  <a:pt x="1975" y="1306"/>
                </a:cubicBezTo>
                <a:cubicBezTo>
                  <a:pt x="1973" y="1308"/>
                  <a:pt x="1971" y="1309"/>
                  <a:pt x="1969" y="1310"/>
                </a:cubicBezTo>
                <a:cubicBezTo>
                  <a:pt x="1968" y="1312"/>
                  <a:pt x="1966" y="1312"/>
                  <a:pt x="1964" y="1313"/>
                </a:cubicBezTo>
                <a:cubicBezTo>
                  <a:pt x="1962" y="1314"/>
                  <a:pt x="1960" y="1315"/>
                  <a:pt x="1959" y="1316"/>
                </a:cubicBezTo>
                <a:cubicBezTo>
                  <a:pt x="1957" y="1317"/>
                  <a:pt x="1955" y="1317"/>
                  <a:pt x="1953" y="1317"/>
                </a:cubicBezTo>
                <a:cubicBezTo>
                  <a:pt x="1953" y="1317"/>
                  <a:pt x="1953" y="1317"/>
                  <a:pt x="1953" y="1328"/>
                </a:cubicBezTo>
                <a:cubicBezTo>
                  <a:pt x="1956" y="1327"/>
                  <a:pt x="1959" y="1326"/>
                  <a:pt x="1962" y="1325"/>
                </a:cubicBezTo>
                <a:cubicBezTo>
                  <a:pt x="1964" y="1324"/>
                  <a:pt x="1966" y="1322"/>
                  <a:pt x="1968" y="1321"/>
                </a:cubicBezTo>
                <a:cubicBezTo>
                  <a:pt x="1968" y="1321"/>
                  <a:pt x="1968" y="1321"/>
                  <a:pt x="1968" y="1380"/>
                </a:cubicBezTo>
                <a:cubicBezTo>
                  <a:pt x="1968" y="1380"/>
                  <a:pt x="1968" y="1380"/>
                  <a:pt x="1980" y="1380"/>
                </a:cubicBezTo>
                <a:cubicBezTo>
                  <a:pt x="1980" y="1380"/>
                  <a:pt x="1980" y="1380"/>
                  <a:pt x="1980" y="1306"/>
                </a:cubicBezTo>
                <a:close/>
                <a:moveTo>
                  <a:pt x="2027" y="1306"/>
                </a:moveTo>
                <a:cubicBezTo>
                  <a:pt x="2027" y="1306"/>
                  <a:pt x="2027" y="1306"/>
                  <a:pt x="2027" y="1306"/>
                </a:cubicBezTo>
                <a:cubicBezTo>
                  <a:pt x="2022" y="1306"/>
                  <a:pt x="2022" y="1306"/>
                  <a:pt x="2022" y="1306"/>
                </a:cubicBezTo>
                <a:cubicBezTo>
                  <a:pt x="2020" y="1308"/>
                  <a:pt x="2019" y="1309"/>
                  <a:pt x="2016" y="1310"/>
                </a:cubicBezTo>
                <a:cubicBezTo>
                  <a:pt x="2015" y="1312"/>
                  <a:pt x="2013" y="1312"/>
                  <a:pt x="2011" y="1313"/>
                </a:cubicBezTo>
                <a:cubicBezTo>
                  <a:pt x="2010" y="1314"/>
                  <a:pt x="2008" y="1315"/>
                  <a:pt x="2006" y="1316"/>
                </a:cubicBezTo>
                <a:cubicBezTo>
                  <a:pt x="2004" y="1317"/>
                  <a:pt x="2003" y="1317"/>
                  <a:pt x="2000" y="1317"/>
                </a:cubicBezTo>
                <a:cubicBezTo>
                  <a:pt x="2000" y="1317"/>
                  <a:pt x="2000" y="1317"/>
                  <a:pt x="2000" y="1328"/>
                </a:cubicBezTo>
                <a:cubicBezTo>
                  <a:pt x="2003" y="1327"/>
                  <a:pt x="2006" y="1326"/>
                  <a:pt x="2008" y="1325"/>
                </a:cubicBezTo>
                <a:cubicBezTo>
                  <a:pt x="2011" y="1324"/>
                  <a:pt x="2014" y="1322"/>
                  <a:pt x="2016" y="1321"/>
                </a:cubicBezTo>
                <a:cubicBezTo>
                  <a:pt x="2016" y="1321"/>
                  <a:pt x="2016" y="1321"/>
                  <a:pt x="2016" y="1380"/>
                </a:cubicBezTo>
                <a:cubicBezTo>
                  <a:pt x="2016" y="1380"/>
                  <a:pt x="2016" y="1380"/>
                  <a:pt x="2027" y="1380"/>
                </a:cubicBezTo>
                <a:cubicBezTo>
                  <a:pt x="2027" y="1380"/>
                  <a:pt x="2027" y="1380"/>
                  <a:pt x="2027" y="1306"/>
                </a:cubicBezTo>
                <a:close/>
                <a:moveTo>
                  <a:pt x="2074" y="1306"/>
                </a:moveTo>
                <a:cubicBezTo>
                  <a:pt x="2074" y="1306"/>
                  <a:pt x="2074" y="1306"/>
                  <a:pt x="2074" y="1306"/>
                </a:cubicBezTo>
                <a:cubicBezTo>
                  <a:pt x="2070" y="1306"/>
                  <a:pt x="2070" y="1306"/>
                  <a:pt x="2070" y="1306"/>
                </a:cubicBezTo>
                <a:cubicBezTo>
                  <a:pt x="2067" y="1308"/>
                  <a:pt x="2066" y="1309"/>
                  <a:pt x="2064" y="1310"/>
                </a:cubicBezTo>
                <a:cubicBezTo>
                  <a:pt x="2062" y="1312"/>
                  <a:pt x="2060" y="1312"/>
                  <a:pt x="2059" y="1313"/>
                </a:cubicBezTo>
                <a:cubicBezTo>
                  <a:pt x="2057" y="1314"/>
                  <a:pt x="2055" y="1314"/>
                  <a:pt x="2053" y="1315"/>
                </a:cubicBezTo>
                <a:cubicBezTo>
                  <a:pt x="2052" y="1316"/>
                  <a:pt x="2049" y="1317"/>
                  <a:pt x="2048" y="1317"/>
                </a:cubicBezTo>
                <a:cubicBezTo>
                  <a:pt x="2048" y="1317"/>
                  <a:pt x="2048" y="1317"/>
                  <a:pt x="2048" y="1328"/>
                </a:cubicBezTo>
                <a:cubicBezTo>
                  <a:pt x="2051" y="1327"/>
                  <a:pt x="2054" y="1325"/>
                  <a:pt x="2056" y="1325"/>
                </a:cubicBezTo>
                <a:cubicBezTo>
                  <a:pt x="2058" y="1324"/>
                  <a:pt x="2061" y="1322"/>
                  <a:pt x="2062" y="1321"/>
                </a:cubicBezTo>
                <a:cubicBezTo>
                  <a:pt x="2062" y="1321"/>
                  <a:pt x="2062" y="1321"/>
                  <a:pt x="2062" y="1380"/>
                </a:cubicBezTo>
                <a:cubicBezTo>
                  <a:pt x="2062" y="1380"/>
                  <a:pt x="2062" y="1380"/>
                  <a:pt x="2074" y="1380"/>
                </a:cubicBezTo>
                <a:cubicBezTo>
                  <a:pt x="2074" y="1380"/>
                  <a:pt x="2074" y="1380"/>
                  <a:pt x="2074" y="1306"/>
                </a:cubicBezTo>
                <a:close/>
                <a:moveTo>
                  <a:pt x="2119" y="1380"/>
                </a:moveTo>
                <a:cubicBezTo>
                  <a:pt x="2111" y="1380"/>
                  <a:pt x="2105" y="1377"/>
                  <a:pt x="2100" y="1371"/>
                </a:cubicBezTo>
                <a:cubicBezTo>
                  <a:pt x="2097" y="1364"/>
                  <a:pt x="2095" y="1356"/>
                  <a:pt x="2095" y="1343"/>
                </a:cubicBezTo>
                <a:cubicBezTo>
                  <a:pt x="2095" y="1330"/>
                  <a:pt x="2097" y="1320"/>
                  <a:pt x="2101" y="1314"/>
                </a:cubicBezTo>
                <a:cubicBezTo>
                  <a:pt x="2106" y="1307"/>
                  <a:pt x="2112" y="1304"/>
                  <a:pt x="2121" y="1304"/>
                </a:cubicBezTo>
                <a:cubicBezTo>
                  <a:pt x="2137" y="1304"/>
                  <a:pt x="2145" y="1316"/>
                  <a:pt x="2145" y="1342"/>
                </a:cubicBezTo>
                <a:cubicBezTo>
                  <a:pt x="2145" y="1354"/>
                  <a:pt x="2143" y="1364"/>
                  <a:pt x="2138" y="1370"/>
                </a:cubicBezTo>
                <a:cubicBezTo>
                  <a:pt x="2133" y="1377"/>
                  <a:pt x="2127" y="1380"/>
                  <a:pt x="2119" y="1380"/>
                </a:cubicBezTo>
                <a:close/>
                <a:moveTo>
                  <a:pt x="2120" y="1313"/>
                </a:moveTo>
                <a:cubicBezTo>
                  <a:pt x="2111" y="1313"/>
                  <a:pt x="2106" y="1323"/>
                  <a:pt x="2106" y="1343"/>
                </a:cubicBezTo>
                <a:cubicBezTo>
                  <a:pt x="2106" y="1362"/>
                  <a:pt x="2111" y="1370"/>
                  <a:pt x="2119" y="1370"/>
                </a:cubicBezTo>
                <a:cubicBezTo>
                  <a:pt x="2128" y="1370"/>
                  <a:pt x="2133" y="1362"/>
                  <a:pt x="2133" y="1342"/>
                </a:cubicBezTo>
                <a:cubicBezTo>
                  <a:pt x="2133" y="1323"/>
                  <a:pt x="2128" y="1313"/>
                  <a:pt x="2120" y="1313"/>
                </a:cubicBezTo>
                <a:close/>
                <a:moveTo>
                  <a:pt x="2190" y="1380"/>
                </a:moveTo>
                <a:cubicBezTo>
                  <a:pt x="2182" y="1380"/>
                  <a:pt x="2176" y="1377"/>
                  <a:pt x="2172" y="1371"/>
                </a:cubicBezTo>
                <a:cubicBezTo>
                  <a:pt x="2168" y="1364"/>
                  <a:pt x="2166" y="1356"/>
                  <a:pt x="2166" y="1343"/>
                </a:cubicBezTo>
                <a:cubicBezTo>
                  <a:pt x="2166" y="1330"/>
                  <a:pt x="2168" y="1320"/>
                  <a:pt x="2172" y="1314"/>
                </a:cubicBezTo>
                <a:cubicBezTo>
                  <a:pt x="2177" y="1307"/>
                  <a:pt x="2183" y="1304"/>
                  <a:pt x="2192" y="1304"/>
                </a:cubicBezTo>
                <a:cubicBezTo>
                  <a:pt x="2208" y="1304"/>
                  <a:pt x="2216" y="1316"/>
                  <a:pt x="2216" y="1342"/>
                </a:cubicBezTo>
                <a:cubicBezTo>
                  <a:pt x="2216" y="1354"/>
                  <a:pt x="2214" y="1364"/>
                  <a:pt x="2209" y="1370"/>
                </a:cubicBezTo>
                <a:cubicBezTo>
                  <a:pt x="2204" y="1377"/>
                  <a:pt x="2198" y="1380"/>
                  <a:pt x="2190" y="1380"/>
                </a:cubicBezTo>
                <a:close/>
                <a:moveTo>
                  <a:pt x="2191" y="1313"/>
                </a:moveTo>
                <a:cubicBezTo>
                  <a:pt x="2182" y="1313"/>
                  <a:pt x="2177" y="1323"/>
                  <a:pt x="2177" y="1343"/>
                </a:cubicBezTo>
                <a:cubicBezTo>
                  <a:pt x="2177" y="1362"/>
                  <a:pt x="2182" y="1370"/>
                  <a:pt x="2190" y="1370"/>
                </a:cubicBezTo>
                <a:cubicBezTo>
                  <a:pt x="2199" y="1370"/>
                  <a:pt x="2204" y="1362"/>
                  <a:pt x="2204" y="1342"/>
                </a:cubicBezTo>
                <a:cubicBezTo>
                  <a:pt x="2204" y="1323"/>
                  <a:pt x="2199" y="1313"/>
                  <a:pt x="2191" y="1313"/>
                </a:cubicBezTo>
                <a:close/>
                <a:moveTo>
                  <a:pt x="2403" y="1380"/>
                </a:moveTo>
                <a:cubicBezTo>
                  <a:pt x="2395" y="1380"/>
                  <a:pt x="2389" y="1377"/>
                  <a:pt x="2385" y="1370"/>
                </a:cubicBezTo>
                <a:cubicBezTo>
                  <a:pt x="2380" y="1364"/>
                  <a:pt x="2378" y="1355"/>
                  <a:pt x="2378" y="1343"/>
                </a:cubicBezTo>
                <a:cubicBezTo>
                  <a:pt x="2378" y="1330"/>
                  <a:pt x="2380" y="1320"/>
                  <a:pt x="2385" y="1313"/>
                </a:cubicBezTo>
                <a:cubicBezTo>
                  <a:pt x="2389" y="1306"/>
                  <a:pt x="2396" y="1304"/>
                  <a:pt x="2405" y="1304"/>
                </a:cubicBezTo>
                <a:cubicBezTo>
                  <a:pt x="2421" y="1304"/>
                  <a:pt x="2429" y="1316"/>
                  <a:pt x="2429" y="1341"/>
                </a:cubicBezTo>
                <a:cubicBezTo>
                  <a:pt x="2429" y="1354"/>
                  <a:pt x="2427" y="1364"/>
                  <a:pt x="2422" y="1370"/>
                </a:cubicBezTo>
                <a:cubicBezTo>
                  <a:pt x="2417" y="1377"/>
                  <a:pt x="2411" y="1380"/>
                  <a:pt x="2403" y="1380"/>
                </a:cubicBezTo>
                <a:close/>
                <a:moveTo>
                  <a:pt x="2404" y="1313"/>
                </a:moveTo>
                <a:cubicBezTo>
                  <a:pt x="2395" y="1313"/>
                  <a:pt x="2391" y="1323"/>
                  <a:pt x="2391" y="1342"/>
                </a:cubicBezTo>
                <a:cubicBezTo>
                  <a:pt x="2391" y="1361"/>
                  <a:pt x="2395" y="1370"/>
                  <a:pt x="2404" y="1370"/>
                </a:cubicBezTo>
                <a:cubicBezTo>
                  <a:pt x="2412" y="1370"/>
                  <a:pt x="2417" y="1361"/>
                  <a:pt x="2417" y="1342"/>
                </a:cubicBezTo>
                <a:cubicBezTo>
                  <a:pt x="2417" y="1323"/>
                  <a:pt x="2413" y="1313"/>
                  <a:pt x="2404" y="1313"/>
                </a:cubicBezTo>
                <a:close/>
                <a:moveTo>
                  <a:pt x="2521" y="1380"/>
                </a:moveTo>
                <a:cubicBezTo>
                  <a:pt x="2513" y="1380"/>
                  <a:pt x="2507" y="1377"/>
                  <a:pt x="2503" y="1370"/>
                </a:cubicBezTo>
                <a:cubicBezTo>
                  <a:pt x="2499" y="1364"/>
                  <a:pt x="2496" y="1355"/>
                  <a:pt x="2496" y="1343"/>
                </a:cubicBezTo>
                <a:cubicBezTo>
                  <a:pt x="2496" y="1330"/>
                  <a:pt x="2499" y="1320"/>
                  <a:pt x="2503" y="1313"/>
                </a:cubicBezTo>
                <a:cubicBezTo>
                  <a:pt x="2507" y="1306"/>
                  <a:pt x="2514" y="1304"/>
                  <a:pt x="2523" y="1304"/>
                </a:cubicBezTo>
                <a:cubicBezTo>
                  <a:pt x="2539" y="1304"/>
                  <a:pt x="2547" y="1316"/>
                  <a:pt x="2547" y="1341"/>
                </a:cubicBezTo>
                <a:cubicBezTo>
                  <a:pt x="2547" y="1354"/>
                  <a:pt x="2545" y="1364"/>
                  <a:pt x="2541" y="1370"/>
                </a:cubicBezTo>
                <a:cubicBezTo>
                  <a:pt x="2535" y="1377"/>
                  <a:pt x="2530" y="1380"/>
                  <a:pt x="2521" y="1380"/>
                </a:cubicBezTo>
                <a:close/>
                <a:moveTo>
                  <a:pt x="2522" y="1313"/>
                </a:moveTo>
                <a:cubicBezTo>
                  <a:pt x="2513" y="1313"/>
                  <a:pt x="2509" y="1323"/>
                  <a:pt x="2509" y="1342"/>
                </a:cubicBezTo>
                <a:cubicBezTo>
                  <a:pt x="2509" y="1361"/>
                  <a:pt x="2513" y="1370"/>
                  <a:pt x="2522" y="1370"/>
                </a:cubicBezTo>
                <a:cubicBezTo>
                  <a:pt x="2530" y="1370"/>
                  <a:pt x="2535" y="1361"/>
                  <a:pt x="2535" y="1342"/>
                </a:cubicBezTo>
                <a:cubicBezTo>
                  <a:pt x="2535" y="1323"/>
                  <a:pt x="2531" y="1313"/>
                  <a:pt x="2522" y="1313"/>
                </a:cubicBezTo>
                <a:close/>
                <a:moveTo>
                  <a:pt x="2476" y="1306"/>
                </a:moveTo>
                <a:cubicBezTo>
                  <a:pt x="2476" y="1306"/>
                  <a:pt x="2476" y="1306"/>
                  <a:pt x="2476" y="1306"/>
                </a:cubicBezTo>
                <a:cubicBezTo>
                  <a:pt x="2471" y="1306"/>
                  <a:pt x="2471" y="1306"/>
                  <a:pt x="2471" y="1306"/>
                </a:cubicBezTo>
                <a:cubicBezTo>
                  <a:pt x="2469" y="1308"/>
                  <a:pt x="2467" y="1309"/>
                  <a:pt x="2465" y="1310"/>
                </a:cubicBezTo>
                <a:cubicBezTo>
                  <a:pt x="2464" y="1312"/>
                  <a:pt x="2462" y="1312"/>
                  <a:pt x="2460" y="1313"/>
                </a:cubicBezTo>
                <a:cubicBezTo>
                  <a:pt x="2459" y="1314"/>
                  <a:pt x="2457" y="1314"/>
                  <a:pt x="2455" y="1315"/>
                </a:cubicBezTo>
                <a:cubicBezTo>
                  <a:pt x="2453" y="1316"/>
                  <a:pt x="2451" y="1317"/>
                  <a:pt x="2449" y="1317"/>
                </a:cubicBezTo>
                <a:cubicBezTo>
                  <a:pt x="2449" y="1317"/>
                  <a:pt x="2449" y="1317"/>
                  <a:pt x="2449" y="1328"/>
                </a:cubicBezTo>
                <a:cubicBezTo>
                  <a:pt x="2452" y="1327"/>
                  <a:pt x="2455" y="1325"/>
                  <a:pt x="2457" y="1325"/>
                </a:cubicBezTo>
                <a:cubicBezTo>
                  <a:pt x="2460" y="1324"/>
                  <a:pt x="2462" y="1322"/>
                  <a:pt x="2465" y="1321"/>
                </a:cubicBezTo>
                <a:cubicBezTo>
                  <a:pt x="2465" y="1321"/>
                  <a:pt x="2465" y="1321"/>
                  <a:pt x="2465" y="1380"/>
                </a:cubicBezTo>
                <a:cubicBezTo>
                  <a:pt x="2465" y="1380"/>
                  <a:pt x="2465" y="1380"/>
                  <a:pt x="2476" y="1380"/>
                </a:cubicBezTo>
                <a:cubicBezTo>
                  <a:pt x="2476" y="1380"/>
                  <a:pt x="2476" y="1380"/>
                  <a:pt x="2476" y="1306"/>
                </a:cubicBezTo>
                <a:close/>
                <a:moveTo>
                  <a:pt x="2592" y="1380"/>
                </a:moveTo>
                <a:cubicBezTo>
                  <a:pt x="2584" y="1380"/>
                  <a:pt x="2578" y="1377"/>
                  <a:pt x="2574" y="1371"/>
                </a:cubicBezTo>
                <a:cubicBezTo>
                  <a:pt x="2570" y="1364"/>
                  <a:pt x="2567" y="1356"/>
                  <a:pt x="2567" y="1343"/>
                </a:cubicBezTo>
                <a:cubicBezTo>
                  <a:pt x="2567" y="1330"/>
                  <a:pt x="2570" y="1320"/>
                  <a:pt x="2574" y="1314"/>
                </a:cubicBezTo>
                <a:cubicBezTo>
                  <a:pt x="2578" y="1307"/>
                  <a:pt x="2585" y="1304"/>
                  <a:pt x="2594" y="1304"/>
                </a:cubicBezTo>
                <a:cubicBezTo>
                  <a:pt x="2610" y="1304"/>
                  <a:pt x="2618" y="1316"/>
                  <a:pt x="2618" y="1342"/>
                </a:cubicBezTo>
                <a:cubicBezTo>
                  <a:pt x="2618" y="1354"/>
                  <a:pt x="2616" y="1364"/>
                  <a:pt x="2612" y="1370"/>
                </a:cubicBezTo>
                <a:cubicBezTo>
                  <a:pt x="2606" y="1377"/>
                  <a:pt x="2601" y="1380"/>
                  <a:pt x="2592" y="1380"/>
                </a:cubicBezTo>
                <a:close/>
                <a:moveTo>
                  <a:pt x="2593" y="1313"/>
                </a:moveTo>
                <a:cubicBezTo>
                  <a:pt x="2584" y="1313"/>
                  <a:pt x="2579" y="1323"/>
                  <a:pt x="2579" y="1343"/>
                </a:cubicBezTo>
                <a:cubicBezTo>
                  <a:pt x="2579" y="1362"/>
                  <a:pt x="2584" y="1370"/>
                  <a:pt x="2592" y="1370"/>
                </a:cubicBezTo>
                <a:cubicBezTo>
                  <a:pt x="2601" y="1370"/>
                  <a:pt x="2606" y="1362"/>
                  <a:pt x="2606" y="1342"/>
                </a:cubicBezTo>
                <a:cubicBezTo>
                  <a:pt x="2606" y="1323"/>
                  <a:pt x="2601" y="1313"/>
                  <a:pt x="2593" y="1313"/>
                </a:cubicBezTo>
                <a:close/>
                <a:moveTo>
                  <a:pt x="2639" y="1339"/>
                </a:moveTo>
                <a:cubicBezTo>
                  <a:pt x="2639" y="1339"/>
                  <a:pt x="2639" y="1339"/>
                  <a:pt x="2639" y="1339"/>
                </a:cubicBezTo>
                <a:cubicBezTo>
                  <a:pt x="2638" y="1347"/>
                  <a:pt x="2638" y="1347"/>
                  <a:pt x="2638" y="1347"/>
                </a:cubicBezTo>
                <a:cubicBezTo>
                  <a:pt x="2645" y="1347"/>
                  <a:pt x="2646" y="1350"/>
                  <a:pt x="2646" y="1353"/>
                </a:cubicBezTo>
                <a:cubicBezTo>
                  <a:pt x="2646" y="1355"/>
                  <a:pt x="2645" y="1357"/>
                  <a:pt x="2645" y="1360"/>
                </a:cubicBezTo>
                <a:cubicBezTo>
                  <a:pt x="2645" y="1363"/>
                  <a:pt x="2644" y="1365"/>
                  <a:pt x="2644" y="1367"/>
                </a:cubicBezTo>
                <a:cubicBezTo>
                  <a:pt x="2644" y="1377"/>
                  <a:pt x="2650" y="1380"/>
                  <a:pt x="2659" y="1380"/>
                </a:cubicBezTo>
                <a:cubicBezTo>
                  <a:pt x="2659" y="1380"/>
                  <a:pt x="2659" y="1380"/>
                  <a:pt x="2663" y="1380"/>
                </a:cubicBezTo>
                <a:cubicBezTo>
                  <a:pt x="2663" y="1380"/>
                  <a:pt x="2663" y="1380"/>
                  <a:pt x="2663" y="1371"/>
                </a:cubicBezTo>
                <a:cubicBezTo>
                  <a:pt x="2663" y="1371"/>
                  <a:pt x="2663" y="1371"/>
                  <a:pt x="2661" y="1371"/>
                </a:cubicBezTo>
                <a:cubicBezTo>
                  <a:pt x="2658" y="1371"/>
                  <a:pt x="2656" y="1368"/>
                  <a:pt x="2656" y="1365"/>
                </a:cubicBezTo>
                <a:cubicBezTo>
                  <a:pt x="2656" y="1363"/>
                  <a:pt x="2656" y="1362"/>
                  <a:pt x="2657" y="1360"/>
                </a:cubicBezTo>
                <a:cubicBezTo>
                  <a:pt x="2657" y="1359"/>
                  <a:pt x="2657" y="1356"/>
                  <a:pt x="2657" y="1354"/>
                </a:cubicBezTo>
                <a:cubicBezTo>
                  <a:pt x="2657" y="1347"/>
                  <a:pt x="2654" y="1344"/>
                  <a:pt x="2649" y="1343"/>
                </a:cubicBezTo>
                <a:cubicBezTo>
                  <a:pt x="2649" y="1343"/>
                  <a:pt x="2649" y="1343"/>
                  <a:pt x="2649" y="1342"/>
                </a:cubicBezTo>
                <a:cubicBezTo>
                  <a:pt x="2654" y="1341"/>
                  <a:pt x="2657" y="1339"/>
                  <a:pt x="2657" y="1332"/>
                </a:cubicBezTo>
                <a:cubicBezTo>
                  <a:pt x="2657" y="1329"/>
                  <a:pt x="2657" y="1327"/>
                  <a:pt x="2657" y="1325"/>
                </a:cubicBezTo>
                <a:cubicBezTo>
                  <a:pt x="2656" y="1324"/>
                  <a:pt x="2656" y="1322"/>
                  <a:pt x="2656" y="1321"/>
                </a:cubicBezTo>
                <a:cubicBezTo>
                  <a:pt x="2656" y="1317"/>
                  <a:pt x="2658" y="1315"/>
                  <a:pt x="2661" y="1315"/>
                </a:cubicBezTo>
                <a:cubicBezTo>
                  <a:pt x="2661" y="1315"/>
                  <a:pt x="2661" y="1315"/>
                  <a:pt x="2663" y="1315"/>
                </a:cubicBezTo>
                <a:cubicBezTo>
                  <a:pt x="2663" y="1315"/>
                  <a:pt x="2663" y="1315"/>
                  <a:pt x="2663" y="1305"/>
                </a:cubicBezTo>
                <a:cubicBezTo>
                  <a:pt x="2663" y="1305"/>
                  <a:pt x="2663" y="1305"/>
                  <a:pt x="2659" y="1305"/>
                </a:cubicBezTo>
                <a:cubicBezTo>
                  <a:pt x="2650" y="1305"/>
                  <a:pt x="2644" y="1310"/>
                  <a:pt x="2644" y="1318"/>
                </a:cubicBezTo>
                <a:cubicBezTo>
                  <a:pt x="2644" y="1320"/>
                  <a:pt x="2645" y="1323"/>
                  <a:pt x="2645" y="1326"/>
                </a:cubicBezTo>
                <a:cubicBezTo>
                  <a:pt x="2645" y="1328"/>
                  <a:pt x="2646" y="1331"/>
                  <a:pt x="2646" y="1332"/>
                </a:cubicBezTo>
                <a:cubicBezTo>
                  <a:pt x="2646" y="1335"/>
                  <a:pt x="2645" y="1338"/>
                  <a:pt x="2639" y="1339"/>
                </a:cubicBezTo>
                <a:close/>
                <a:moveTo>
                  <a:pt x="2694" y="1347"/>
                </a:moveTo>
                <a:cubicBezTo>
                  <a:pt x="2694" y="1347"/>
                  <a:pt x="2694" y="1347"/>
                  <a:pt x="2694" y="1347"/>
                </a:cubicBezTo>
                <a:cubicBezTo>
                  <a:pt x="2694" y="1339"/>
                  <a:pt x="2694" y="1339"/>
                  <a:pt x="2694" y="1339"/>
                </a:cubicBezTo>
                <a:cubicBezTo>
                  <a:pt x="2687" y="1338"/>
                  <a:pt x="2687" y="1335"/>
                  <a:pt x="2687" y="1332"/>
                </a:cubicBezTo>
                <a:cubicBezTo>
                  <a:pt x="2687" y="1331"/>
                  <a:pt x="2687" y="1328"/>
                  <a:pt x="2687" y="1326"/>
                </a:cubicBezTo>
                <a:cubicBezTo>
                  <a:pt x="2688" y="1323"/>
                  <a:pt x="2688" y="1320"/>
                  <a:pt x="2688" y="1318"/>
                </a:cubicBezTo>
                <a:cubicBezTo>
                  <a:pt x="2688" y="1310"/>
                  <a:pt x="2683" y="1305"/>
                  <a:pt x="2673" y="1305"/>
                </a:cubicBezTo>
                <a:cubicBezTo>
                  <a:pt x="2673" y="1305"/>
                  <a:pt x="2673" y="1305"/>
                  <a:pt x="2670" y="1305"/>
                </a:cubicBezTo>
                <a:cubicBezTo>
                  <a:pt x="2670" y="1305"/>
                  <a:pt x="2670" y="1305"/>
                  <a:pt x="2670" y="1315"/>
                </a:cubicBezTo>
                <a:cubicBezTo>
                  <a:pt x="2670" y="1315"/>
                  <a:pt x="2670" y="1315"/>
                  <a:pt x="2671" y="1315"/>
                </a:cubicBezTo>
                <a:cubicBezTo>
                  <a:pt x="2675" y="1315"/>
                  <a:pt x="2676" y="1317"/>
                  <a:pt x="2676" y="1321"/>
                </a:cubicBezTo>
                <a:cubicBezTo>
                  <a:pt x="2676" y="1322"/>
                  <a:pt x="2676" y="1324"/>
                  <a:pt x="2676" y="1325"/>
                </a:cubicBezTo>
                <a:cubicBezTo>
                  <a:pt x="2676" y="1327"/>
                  <a:pt x="2676" y="1329"/>
                  <a:pt x="2676" y="1332"/>
                </a:cubicBezTo>
                <a:cubicBezTo>
                  <a:pt x="2676" y="1339"/>
                  <a:pt x="2678" y="1341"/>
                  <a:pt x="2684" y="1342"/>
                </a:cubicBezTo>
                <a:cubicBezTo>
                  <a:pt x="2684" y="1342"/>
                  <a:pt x="2684" y="1342"/>
                  <a:pt x="2684" y="1343"/>
                </a:cubicBezTo>
                <a:cubicBezTo>
                  <a:pt x="2678" y="1344"/>
                  <a:pt x="2676" y="1347"/>
                  <a:pt x="2676" y="1354"/>
                </a:cubicBezTo>
                <a:cubicBezTo>
                  <a:pt x="2676" y="1356"/>
                  <a:pt x="2676" y="1359"/>
                  <a:pt x="2676" y="1360"/>
                </a:cubicBezTo>
                <a:cubicBezTo>
                  <a:pt x="2676" y="1362"/>
                  <a:pt x="2676" y="1363"/>
                  <a:pt x="2676" y="1365"/>
                </a:cubicBezTo>
                <a:cubicBezTo>
                  <a:pt x="2676" y="1368"/>
                  <a:pt x="2675" y="1371"/>
                  <a:pt x="2671" y="1371"/>
                </a:cubicBezTo>
                <a:cubicBezTo>
                  <a:pt x="2671" y="1371"/>
                  <a:pt x="2671" y="1371"/>
                  <a:pt x="2670" y="1371"/>
                </a:cubicBezTo>
                <a:cubicBezTo>
                  <a:pt x="2670" y="1371"/>
                  <a:pt x="2670" y="1371"/>
                  <a:pt x="2670" y="1380"/>
                </a:cubicBezTo>
                <a:cubicBezTo>
                  <a:pt x="2670" y="1380"/>
                  <a:pt x="2670" y="1380"/>
                  <a:pt x="2673" y="1380"/>
                </a:cubicBezTo>
                <a:cubicBezTo>
                  <a:pt x="2682" y="1380"/>
                  <a:pt x="2688" y="1377"/>
                  <a:pt x="2688" y="1367"/>
                </a:cubicBezTo>
                <a:cubicBezTo>
                  <a:pt x="2688" y="1365"/>
                  <a:pt x="2688" y="1363"/>
                  <a:pt x="2687" y="1360"/>
                </a:cubicBezTo>
                <a:cubicBezTo>
                  <a:pt x="2687" y="1357"/>
                  <a:pt x="2687" y="1355"/>
                  <a:pt x="2687" y="1353"/>
                </a:cubicBezTo>
                <a:cubicBezTo>
                  <a:pt x="2687" y="1350"/>
                  <a:pt x="2687" y="1347"/>
                  <a:pt x="2694" y="1347"/>
                </a:cubicBezTo>
                <a:close/>
                <a:moveTo>
                  <a:pt x="2814" y="1380"/>
                </a:moveTo>
                <a:cubicBezTo>
                  <a:pt x="2807" y="1380"/>
                  <a:pt x="2800" y="1377"/>
                  <a:pt x="2796" y="1371"/>
                </a:cubicBezTo>
                <a:cubicBezTo>
                  <a:pt x="2792" y="1364"/>
                  <a:pt x="2790" y="1356"/>
                  <a:pt x="2790" y="1343"/>
                </a:cubicBezTo>
                <a:cubicBezTo>
                  <a:pt x="2790" y="1330"/>
                  <a:pt x="2792" y="1320"/>
                  <a:pt x="2796" y="1314"/>
                </a:cubicBezTo>
                <a:cubicBezTo>
                  <a:pt x="2801" y="1307"/>
                  <a:pt x="2807" y="1304"/>
                  <a:pt x="2816" y="1304"/>
                </a:cubicBezTo>
                <a:cubicBezTo>
                  <a:pt x="2832" y="1304"/>
                  <a:pt x="2840" y="1316"/>
                  <a:pt x="2840" y="1342"/>
                </a:cubicBezTo>
                <a:cubicBezTo>
                  <a:pt x="2840" y="1354"/>
                  <a:pt x="2838" y="1364"/>
                  <a:pt x="2833" y="1370"/>
                </a:cubicBezTo>
                <a:cubicBezTo>
                  <a:pt x="2829" y="1377"/>
                  <a:pt x="2822" y="1380"/>
                  <a:pt x="2814" y="1380"/>
                </a:cubicBezTo>
                <a:close/>
                <a:moveTo>
                  <a:pt x="2815" y="1313"/>
                </a:moveTo>
                <a:cubicBezTo>
                  <a:pt x="2806" y="1313"/>
                  <a:pt x="2801" y="1323"/>
                  <a:pt x="2801" y="1343"/>
                </a:cubicBezTo>
                <a:cubicBezTo>
                  <a:pt x="2801" y="1362"/>
                  <a:pt x="2806" y="1370"/>
                  <a:pt x="2815" y="1370"/>
                </a:cubicBezTo>
                <a:cubicBezTo>
                  <a:pt x="2824" y="1370"/>
                  <a:pt x="2828" y="1362"/>
                  <a:pt x="2828" y="1342"/>
                </a:cubicBezTo>
                <a:cubicBezTo>
                  <a:pt x="2828" y="1323"/>
                  <a:pt x="2824" y="1313"/>
                  <a:pt x="2815" y="1313"/>
                </a:cubicBezTo>
                <a:close/>
                <a:moveTo>
                  <a:pt x="2888" y="1306"/>
                </a:moveTo>
                <a:cubicBezTo>
                  <a:pt x="2888" y="1306"/>
                  <a:pt x="2888" y="1306"/>
                  <a:pt x="2888" y="1306"/>
                </a:cubicBezTo>
                <a:cubicBezTo>
                  <a:pt x="2883" y="1306"/>
                  <a:pt x="2883" y="1306"/>
                  <a:pt x="2883" y="1306"/>
                </a:cubicBezTo>
                <a:cubicBezTo>
                  <a:pt x="2881" y="1308"/>
                  <a:pt x="2879" y="1309"/>
                  <a:pt x="2877" y="1310"/>
                </a:cubicBezTo>
                <a:cubicBezTo>
                  <a:pt x="2875" y="1312"/>
                  <a:pt x="2873" y="1312"/>
                  <a:pt x="2872" y="1313"/>
                </a:cubicBezTo>
                <a:cubicBezTo>
                  <a:pt x="2870" y="1314"/>
                  <a:pt x="2868" y="1314"/>
                  <a:pt x="2867" y="1315"/>
                </a:cubicBezTo>
                <a:cubicBezTo>
                  <a:pt x="2864" y="1316"/>
                  <a:pt x="2863" y="1317"/>
                  <a:pt x="2861" y="1317"/>
                </a:cubicBezTo>
                <a:cubicBezTo>
                  <a:pt x="2861" y="1317"/>
                  <a:pt x="2861" y="1317"/>
                  <a:pt x="2861" y="1328"/>
                </a:cubicBezTo>
                <a:cubicBezTo>
                  <a:pt x="2864" y="1327"/>
                  <a:pt x="2867" y="1325"/>
                  <a:pt x="2869" y="1325"/>
                </a:cubicBezTo>
                <a:cubicBezTo>
                  <a:pt x="2872" y="1324"/>
                  <a:pt x="2874" y="1322"/>
                  <a:pt x="2876" y="1321"/>
                </a:cubicBezTo>
                <a:cubicBezTo>
                  <a:pt x="2876" y="1321"/>
                  <a:pt x="2876" y="1321"/>
                  <a:pt x="2876" y="1380"/>
                </a:cubicBezTo>
                <a:cubicBezTo>
                  <a:pt x="2876" y="1380"/>
                  <a:pt x="2876" y="1380"/>
                  <a:pt x="2888" y="1380"/>
                </a:cubicBezTo>
                <a:cubicBezTo>
                  <a:pt x="2888" y="1380"/>
                  <a:pt x="2888" y="1380"/>
                  <a:pt x="2888" y="1306"/>
                </a:cubicBezTo>
                <a:close/>
                <a:moveTo>
                  <a:pt x="2720" y="1380"/>
                </a:moveTo>
                <a:cubicBezTo>
                  <a:pt x="2723" y="1361"/>
                  <a:pt x="2723" y="1361"/>
                  <a:pt x="2723" y="1361"/>
                </a:cubicBezTo>
                <a:cubicBezTo>
                  <a:pt x="2714" y="1361"/>
                  <a:pt x="2714" y="1361"/>
                  <a:pt x="2714" y="1361"/>
                </a:cubicBezTo>
                <a:cubicBezTo>
                  <a:pt x="2714" y="1349"/>
                  <a:pt x="2714" y="1349"/>
                  <a:pt x="2714" y="1349"/>
                </a:cubicBezTo>
                <a:cubicBezTo>
                  <a:pt x="2725" y="1349"/>
                  <a:pt x="2725" y="1349"/>
                  <a:pt x="2725" y="1349"/>
                </a:cubicBezTo>
                <a:cubicBezTo>
                  <a:pt x="2727" y="1338"/>
                  <a:pt x="2727" y="1338"/>
                  <a:pt x="2727" y="1338"/>
                </a:cubicBezTo>
                <a:cubicBezTo>
                  <a:pt x="2717" y="1338"/>
                  <a:pt x="2717" y="1338"/>
                  <a:pt x="2717" y="1338"/>
                </a:cubicBezTo>
                <a:cubicBezTo>
                  <a:pt x="2717" y="1326"/>
                  <a:pt x="2717" y="1326"/>
                  <a:pt x="2717" y="1326"/>
                </a:cubicBezTo>
                <a:cubicBezTo>
                  <a:pt x="2729" y="1326"/>
                  <a:pt x="2729" y="1326"/>
                  <a:pt x="2729" y="1326"/>
                </a:cubicBezTo>
                <a:cubicBezTo>
                  <a:pt x="2731" y="1307"/>
                  <a:pt x="2731" y="1307"/>
                  <a:pt x="2731" y="1307"/>
                </a:cubicBezTo>
                <a:cubicBezTo>
                  <a:pt x="2743" y="1307"/>
                  <a:pt x="2743" y="1307"/>
                  <a:pt x="2743" y="1307"/>
                </a:cubicBezTo>
                <a:cubicBezTo>
                  <a:pt x="2740" y="1326"/>
                  <a:pt x="2740" y="1326"/>
                  <a:pt x="2740" y="1326"/>
                </a:cubicBezTo>
                <a:cubicBezTo>
                  <a:pt x="2749" y="1326"/>
                  <a:pt x="2749" y="1326"/>
                  <a:pt x="2749" y="1326"/>
                </a:cubicBezTo>
                <a:cubicBezTo>
                  <a:pt x="2752" y="1307"/>
                  <a:pt x="2752" y="1307"/>
                  <a:pt x="2752" y="1307"/>
                </a:cubicBezTo>
                <a:cubicBezTo>
                  <a:pt x="2764" y="1307"/>
                  <a:pt x="2764" y="1307"/>
                  <a:pt x="2764" y="1307"/>
                </a:cubicBezTo>
                <a:cubicBezTo>
                  <a:pt x="2760" y="1326"/>
                  <a:pt x="2760" y="1326"/>
                  <a:pt x="2760" y="1326"/>
                </a:cubicBezTo>
                <a:cubicBezTo>
                  <a:pt x="2769" y="1326"/>
                  <a:pt x="2769" y="1326"/>
                  <a:pt x="2769" y="1326"/>
                </a:cubicBezTo>
                <a:cubicBezTo>
                  <a:pt x="2769" y="1338"/>
                  <a:pt x="2769" y="1338"/>
                  <a:pt x="2769" y="1338"/>
                </a:cubicBezTo>
                <a:cubicBezTo>
                  <a:pt x="2759" y="1338"/>
                  <a:pt x="2759" y="1338"/>
                  <a:pt x="2759" y="1338"/>
                </a:cubicBezTo>
                <a:cubicBezTo>
                  <a:pt x="2757" y="1349"/>
                  <a:pt x="2757" y="1349"/>
                  <a:pt x="2757" y="1349"/>
                </a:cubicBezTo>
                <a:cubicBezTo>
                  <a:pt x="2766" y="1349"/>
                  <a:pt x="2766" y="1349"/>
                  <a:pt x="2766" y="1349"/>
                </a:cubicBezTo>
                <a:cubicBezTo>
                  <a:pt x="2766" y="1361"/>
                  <a:pt x="2766" y="1361"/>
                  <a:pt x="2766" y="1361"/>
                </a:cubicBezTo>
                <a:cubicBezTo>
                  <a:pt x="2755" y="1361"/>
                  <a:pt x="2755" y="1361"/>
                  <a:pt x="2755" y="1361"/>
                </a:cubicBezTo>
                <a:cubicBezTo>
                  <a:pt x="2753" y="1380"/>
                  <a:pt x="2753" y="1380"/>
                  <a:pt x="2753" y="1380"/>
                </a:cubicBezTo>
                <a:cubicBezTo>
                  <a:pt x="2741" y="1380"/>
                  <a:pt x="2741" y="1380"/>
                  <a:pt x="2741" y="1380"/>
                </a:cubicBezTo>
                <a:cubicBezTo>
                  <a:pt x="2744" y="1361"/>
                  <a:pt x="2744" y="1361"/>
                  <a:pt x="2744" y="1361"/>
                </a:cubicBezTo>
                <a:cubicBezTo>
                  <a:pt x="2734" y="1361"/>
                  <a:pt x="2734" y="1361"/>
                  <a:pt x="2734" y="1361"/>
                </a:cubicBezTo>
                <a:cubicBezTo>
                  <a:pt x="2732" y="1380"/>
                  <a:pt x="2732" y="1380"/>
                  <a:pt x="2732" y="1380"/>
                </a:cubicBezTo>
                <a:cubicBezTo>
                  <a:pt x="2720" y="1380"/>
                  <a:pt x="2720" y="1380"/>
                  <a:pt x="2720" y="1380"/>
                </a:cubicBezTo>
                <a:cubicBezTo>
                  <a:pt x="2720" y="1380"/>
                  <a:pt x="2720" y="1380"/>
                  <a:pt x="2720" y="1380"/>
                </a:cubicBezTo>
                <a:close/>
                <a:moveTo>
                  <a:pt x="2746" y="1349"/>
                </a:moveTo>
                <a:cubicBezTo>
                  <a:pt x="2747" y="1338"/>
                  <a:pt x="2747" y="1338"/>
                  <a:pt x="2747" y="1338"/>
                </a:cubicBezTo>
                <a:cubicBezTo>
                  <a:pt x="2738" y="1338"/>
                  <a:pt x="2738" y="1338"/>
                  <a:pt x="2738" y="1338"/>
                </a:cubicBezTo>
                <a:cubicBezTo>
                  <a:pt x="2736" y="1349"/>
                  <a:pt x="2736" y="1349"/>
                  <a:pt x="2736" y="1349"/>
                </a:cubicBezTo>
                <a:cubicBezTo>
                  <a:pt x="2746" y="1349"/>
                  <a:pt x="2746" y="1349"/>
                  <a:pt x="2746" y="1349"/>
                </a:cubicBezTo>
                <a:cubicBezTo>
                  <a:pt x="2746" y="1349"/>
                  <a:pt x="2746" y="1349"/>
                  <a:pt x="2746" y="1349"/>
                </a:cubicBezTo>
                <a:close/>
                <a:moveTo>
                  <a:pt x="2264" y="1306"/>
                </a:moveTo>
                <a:cubicBezTo>
                  <a:pt x="2264" y="1306"/>
                  <a:pt x="2264" y="1306"/>
                  <a:pt x="2264" y="1306"/>
                </a:cubicBezTo>
                <a:cubicBezTo>
                  <a:pt x="2258" y="1306"/>
                  <a:pt x="2258" y="1306"/>
                  <a:pt x="2258" y="1306"/>
                </a:cubicBezTo>
                <a:cubicBezTo>
                  <a:pt x="2256" y="1308"/>
                  <a:pt x="2255" y="1309"/>
                  <a:pt x="2253" y="1310"/>
                </a:cubicBezTo>
                <a:cubicBezTo>
                  <a:pt x="2251" y="1312"/>
                  <a:pt x="2250" y="1312"/>
                  <a:pt x="2248" y="1313"/>
                </a:cubicBezTo>
                <a:cubicBezTo>
                  <a:pt x="2246" y="1314"/>
                  <a:pt x="2244" y="1315"/>
                  <a:pt x="2242" y="1316"/>
                </a:cubicBezTo>
                <a:cubicBezTo>
                  <a:pt x="2240" y="1317"/>
                  <a:pt x="2239" y="1317"/>
                  <a:pt x="2237" y="1317"/>
                </a:cubicBezTo>
                <a:cubicBezTo>
                  <a:pt x="2237" y="1317"/>
                  <a:pt x="2237" y="1317"/>
                  <a:pt x="2237" y="1328"/>
                </a:cubicBezTo>
                <a:cubicBezTo>
                  <a:pt x="2240" y="1327"/>
                  <a:pt x="2242" y="1326"/>
                  <a:pt x="2245" y="1325"/>
                </a:cubicBezTo>
                <a:cubicBezTo>
                  <a:pt x="2248" y="1324"/>
                  <a:pt x="2250" y="1322"/>
                  <a:pt x="2252" y="1321"/>
                </a:cubicBezTo>
                <a:cubicBezTo>
                  <a:pt x="2252" y="1321"/>
                  <a:pt x="2252" y="1321"/>
                  <a:pt x="2252" y="1380"/>
                </a:cubicBezTo>
                <a:cubicBezTo>
                  <a:pt x="2252" y="1380"/>
                  <a:pt x="2252" y="1380"/>
                  <a:pt x="2264" y="1380"/>
                </a:cubicBezTo>
                <a:cubicBezTo>
                  <a:pt x="2264" y="1380"/>
                  <a:pt x="2264" y="1380"/>
                  <a:pt x="2264" y="1306"/>
                </a:cubicBezTo>
                <a:close/>
                <a:moveTo>
                  <a:pt x="2312" y="1306"/>
                </a:moveTo>
                <a:cubicBezTo>
                  <a:pt x="2312" y="1306"/>
                  <a:pt x="2312" y="1306"/>
                  <a:pt x="2312" y="1306"/>
                </a:cubicBezTo>
                <a:cubicBezTo>
                  <a:pt x="2306" y="1306"/>
                  <a:pt x="2306" y="1306"/>
                  <a:pt x="2306" y="1306"/>
                </a:cubicBezTo>
                <a:cubicBezTo>
                  <a:pt x="2304" y="1308"/>
                  <a:pt x="2303" y="1309"/>
                  <a:pt x="2300" y="1310"/>
                </a:cubicBezTo>
                <a:cubicBezTo>
                  <a:pt x="2299" y="1312"/>
                  <a:pt x="2297" y="1312"/>
                  <a:pt x="2295" y="1313"/>
                </a:cubicBezTo>
                <a:cubicBezTo>
                  <a:pt x="2294" y="1314"/>
                  <a:pt x="2292" y="1315"/>
                  <a:pt x="2290" y="1316"/>
                </a:cubicBezTo>
                <a:cubicBezTo>
                  <a:pt x="2288" y="1317"/>
                  <a:pt x="2286" y="1317"/>
                  <a:pt x="2284" y="1317"/>
                </a:cubicBezTo>
                <a:cubicBezTo>
                  <a:pt x="2284" y="1317"/>
                  <a:pt x="2284" y="1317"/>
                  <a:pt x="2284" y="1328"/>
                </a:cubicBezTo>
                <a:cubicBezTo>
                  <a:pt x="2287" y="1327"/>
                  <a:pt x="2290" y="1326"/>
                  <a:pt x="2292" y="1325"/>
                </a:cubicBezTo>
                <a:cubicBezTo>
                  <a:pt x="2295" y="1324"/>
                  <a:pt x="2297" y="1322"/>
                  <a:pt x="2300" y="1321"/>
                </a:cubicBezTo>
                <a:cubicBezTo>
                  <a:pt x="2300" y="1321"/>
                  <a:pt x="2300" y="1321"/>
                  <a:pt x="2300" y="1380"/>
                </a:cubicBezTo>
                <a:cubicBezTo>
                  <a:pt x="2300" y="1380"/>
                  <a:pt x="2300" y="1380"/>
                  <a:pt x="2312" y="1380"/>
                </a:cubicBezTo>
                <a:cubicBezTo>
                  <a:pt x="2312" y="1380"/>
                  <a:pt x="2312" y="1380"/>
                  <a:pt x="2312" y="1306"/>
                </a:cubicBezTo>
                <a:close/>
                <a:moveTo>
                  <a:pt x="2358" y="1306"/>
                </a:moveTo>
                <a:cubicBezTo>
                  <a:pt x="2358" y="1306"/>
                  <a:pt x="2358" y="1306"/>
                  <a:pt x="2358" y="1306"/>
                </a:cubicBezTo>
                <a:cubicBezTo>
                  <a:pt x="2354" y="1306"/>
                  <a:pt x="2354" y="1306"/>
                  <a:pt x="2354" y="1306"/>
                </a:cubicBezTo>
                <a:cubicBezTo>
                  <a:pt x="2351" y="1308"/>
                  <a:pt x="2350" y="1309"/>
                  <a:pt x="2348" y="1310"/>
                </a:cubicBezTo>
                <a:cubicBezTo>
                  <a:pt x="2346" y="1312"/>
                  <a:pt x="2344" y="1312"/>
                  <a:pt x="2343" y="1313"/>
                </a:cubicBezTo>
                <a:cubicBezTo>
                  <a:pt x="2340" y="1314"/>
                  <a:pt x="2339" y="1314"/>
                  <a:pt x="2337" y="1315"/>
                </a:cubicBezTo>
                <a:cubicBezTo>
                  <a:pt x="2335" y="1316"/>
                  <a:pt x="2333" y="1317"/>
                  <a:pt x="2332" y="1317"/>
                </a:cubicBezTo>
                <a:cubicBezTo>
                  <a:pt x="2332" y="1317"/>
                  <a:pt x="2332" y="1317"/>
                  <a:pt x="2332" y="1328"/>
                </a:cubicBezTo>
                <a:cubicBezTo>
                  <a:pt x="2335" y="1327"/>
                  <a:pt x="2338" y="1325"/>
                  <a:pt x="2340" y="1325"/>
                </a:cubicBezTo>
                <a:cubicBezTo>
                  <a:pt x="2342" y="1324"/>
                  <a:pt x="2345" y="1322"/>
                  <a:pt x="2346" y="1321"/>
                </a:cubicBezTo>
                <a:cubicBezTo>
                  <a:pt x="2346" y="1321"/>
                  <a:pt x="2346" y="1321"/>
                  <a:pt x="2346" y="1380"/>
                </a:cubicBezTo>
                <a:cubicBezTo>
                  <a:pt x="2346" y="1380"/>
                  <a:pt x="2346" y="1380"/>
                  <a:pt x="2358" y="1380"/>
                </a:cubicBezTo>
                <a:cubicBezTo>
                  <a:pt x="2358" y="1380"/>
                  <a:pt x="2358" y="1380"/>
                  <a:pt x="2358" y="1306"/>
                </a:cubicBezTo>
                <a:close/>
                <a:moveTo>
                  <a:pt x="2565" y="1210"/>
                </a:moveTo>
                <a:cubicBezTo>
                  <a:pt x="2565" y="1210"/>
                  <a:pt x="2565" y="1210"/>
                  <a:pt x="2565" y="1210"/>
                </a:cubicBezTo>
                <a:cubicBezTo>
                  <a:pt x="2560" y="1210"/>
                  <a:pt x="2560" y="1210"/>
                  <a:pt x="2560" y="1210"/>
                </a:cubicBezTo>
                <a:cubicBezTo>
                  <a:pt x="2558" y="1212"/>
                  <a:pt x="2556" y="1213"/>
                  <a:pt x="2554" y="1214"/>
                </a:cubicBezTo>
                <a:cubicBezTo>
                  <a:pt x="2553" y="1216"/>
                  <a:pt x="2550" y="1216"/>
                  <a:pt x="2549" y="1217"/>
                </a:cubicBezTo>
                <a:cubicBezTo>
                  <a:pt x="2547" y="1218"/>
                  <a:pt x="2545" y="1218"/>
                  <a:pt x="2544" y="1219"/>
                </a:cubicBezTo>
                <a:cubicBezTo>
                  <a:pt x="2542" y="1220"/>
                  <a:pt x="2540" y="1221"/>
                  <a:pt x="2538" y="1221"/>
                </a:cubicBezTo>
                <a:cubicBezTo>
                  <a:pt x="2538" y="1221"/>
                  <a:pt x="2538" y="1221"/>
                  <a:pt x="2538" y="1232"/>
                </a:cubicBezTo>
                <a:cubicBezTo>
                  <a:pt x="2541" y="1231"/>
                  <a:pt x="2544" y="1229"/>
                  <a:pt x="2546" y="1229"/>
                </a:cubicBezTo>
                <a:cubicBezTo>
                  <a:pt x="2549" y="1228"/>
                  <a:pt x="2551" y="1226"/>
                  <a:pt x="2553" y="1225"/>
                </a:cubicBezTo>
                <a:cubicBezTo>
                  <a:pt x="2553" y="1225"/>
                  <a:pt x="2553" y="1225"/>
                  <a:pt x="2553" y="1284"/>
                </a:cubicBezTo>
                <a:cubicBezTo>
                  <a:pt x="2553" y="1284"/>
                  <a:pt x="2553" y="1284"/>
                  <a:pt x="2565" y="1284"/>
                </a:cubicBezTo>
                <a:cubicBezTo>
                  <a:pt x="2565" y="1284"/>
                  <a:pt x="2565" y="1284"/>
                  <a:pt x="2565" y="1210"/>
                </a:cubicBezTo>
                <a:close/>
                <a:moveTo>
                  <a:pt x="2612" y="1210"/>
                </a:moveTo>
                <a:cubicBezTo>
                  <a:pt x="2612" y="1210"/>
                  <a:pt x="2612" y="1210"/>
                  <a:pt x="2612" y="1210"/>
                </a:cubicBezTo>
                <a:cubicBezTo>
                  <a:pt x="2607" y="1210"/>
                  <a:pt x="2607" y="1210"/>
                  <a:pt x="2607" y="1210"/>
                </a:cubicBezTo>
                <a:cubicBezTo>
                  <a:pt x="2604" y="1212"/>
                  <a:pt x="2603" y="1213"/>
                  <a:pt x="2601" y="1214"/>
                </a:cubicBezTo>
                <a:cubicBezTo>
                  <a:pt x="2599" y="1216"/>
                  <a:pt x="2597" y="1216"/>
                  <a:pt x="2596" y="1217"/>
                </a:cubicBezTo>
                <a:cubicBezTo>
                  <a:pt x="2594" y="1218"/>
                  <a:pt x="2592" y="1219"/>
                  <a:pt x="2591" y="1220"/>
                </a:cubicBezTo>
                <a:cubicBezTo>
                  <a:pt x="2589" y="1221"/>
                  <a:pt x="2587" y="1221"/>
                  <a:pt x="2585" y="1221"/>
                </a:cubicBezTo>
                <a:cubicBezTo>
                  <a:pt x="2585" y="1221"/>
                  <a:pt x="2585" y="1221"/>
                  <a:pt x="2585" y="1232"/>
                </a:cubicBezTo>
                <a:cubicBezTo>
                  <a:pt x="2588" y="1231"/>
                  <a:pt x="2591" y="1230"/>
                  <a:pt x="2593" y="1229"/>
                </a:cubicBezTo>
                <a:cubicBezTo>
                  <a:pt x="2596" y="1228"/>
                  <a:pt x="2598" y="1226"/>
                  <a:pt x="2600" y="1225"/>
                </a:cubicBezTo>
                <a:cubicBezTo>
                  <a:pt x="2600" y="1225"/>
                  <a:pt x="2600" y="1225"/>
                  <a:pt x="2600" y="1284"/>
                </a:cubicBezTo>
                <a:cubicBezTo>
                  <a:pt x="2600" y="1284"/>
                  <a:pt x="2600" y="1284"/>
                  <a:pt x="2612" y="1284"/>
                </a:cubicBezTo>
                <a:cubicBezTo>
                  <a:pt x="2612" y="1284"/>
                  <a:pt x="2612" y="1284"/>
                  <a:pt x="2612" y="1210"/>
                </a:cubicBezTo>
                <a:close/>
                <a:moveTo>
                  <a:pt x="2658" y="1210"/>
                </a:moveTo>
                <a:cubicBezTo>
                  <a:pt x="2658" y="1210"/>
                  <a:pt x="2658" y="1210"/>
                  <a:pt x="2658" y="1210"/>
                </a:cubicBezTo>
                <a:cubicBezTo>
                  <a:pt x="2653" y="1210"/>
                  <a:pt x="2653" y="1210"/>
                  <a:pt x="2653" y="1210"/>
                </a:cubicBezTo>
                <a:cubicBezTo>
                  <a:pt x="2651" y="1212"/>
                  <a:pt x="2650" y="1213"/>
                  <a:pt x="2647" y="1214"/>
                </a:cubicBezTo>
                <a:cubicBezTo>
                  <a:pt x="2646" y="1216"/>
                  <a:pt x="2644" y="1216"/>
                  <a:pt x="2642" y="1217"/>
                </a:cubicBezTo>
                <a:cubicBezTo>
                  <a:pt x="2640" y="1218"/>
                  <a:pt x="2639" y="1219"/>
                  <a:pt x="2636" y="1220"/>
                </a:cubicBezTo>
                <a:cubicBezTo>
                  <a:pt x="2635" y="1221"/>
                  <a:pt x="2633" y="1221"/>
                  <a:pt x="2631" y="1221"/>
                </a:cubicBezTo>
                <a:cubicBezTo>
                  <a:pt x="2631" y="1221"/>
                  <a:pt x="2631" y="1221"/>
                  <a:pt x="2631" y="1232"/>
                </a:cubicBezTo>
                <a:cubicBezTo>
                  <a:pt x="2634" y="1231"/>
                  <a:pt x="2637" y="1230"/>
                  <a:pt x="2639" y="1229"/>
                </a:cubicBezTo>
                <a:cubicBezTo>
                  <a:pt x="2641" y="1228"/>
                  <a:pt x="2644" y="1226"/>
                  <a:pt x="2646" y="1225"/>
                </a:cubicBezTo>
                <a:cubicBezTo>
                  <a:pt x="2646" y="1225"/>
                  <a:pt x="2646" y="1225"/>
                  <a:pt x="2646" y="1284"/>
                </a:cubicBezTo>
                <a:cubicBezTo>
                  <a:pt x="2646" y="1284"/>
                  <a:pt x="2646" y="1284"/>
                  <a:pt x="2658" y="1284"/>
                </a:cubicBezTo>
                <a:cubicBezTo>
                  <a:pt x="2658" y="1284"/>
                  <a:pt x="2658" y="1284"/>
                  <a:pt x="2658" y="1210"/>
                </a:cubicBezTo>
                <a:close/>
                <a:moveTo>
                  <a:pt x="2704" y="1210"/>
                </a:moveTo>
                <a:cubicBezTo>
                  <a:pt x="2704" y="1210"/>
                  <a:pt x="2704" y="1210"/>
                  <a:pt x="2704" y="1210"/>
                </a:cubicBezTo>
                <a:cubicBezTo>
                  <a:pt x="2699" y="1210"/>
                  <a:pt x="2699" y="1210"/>
                  <a:pt x="2699" y="1210"/>
                </a:cubicBezTo>
                <a:cubicBezTo>
                  <a:pt x="2697" y="1212"/>
                  <a:pt x="2695" y="1213"/>
                  <a:pt x="2693" y="1214"/>
                </a:cubicBezTo>
                <a:cubicBezTo>
                  <a:pt x="2692" y="1216"/>
                  <a:pt x="2690" y="1216"/>
                  <a:pt x="2688" y="1217"/>
                </a:cubicBezTo>
                <a:cubicBezTo>
                  <a:pt x="2687" y="1218"/>
                  <a:pt x="2685" y="1219"/>
                  <a:pt x="2683" y="1220"/>
                </a:cubicBezTo>
                <a:cubicBezTo>
                  <a:pt x="2681" y="1221"/>
                  <a:pt x="2679" y="1221"/>
                  <a:pt x="2677" y="1221"/>
                </a:cubicBezTo>
                <a:cubicBezTo>
                  <a:pt x="2677" y="1221"/>
                  <a:pt x="2677" y="1221"/>
                  <a:pt x="2677" y="1232"/>
                </a:cubicBezTo>
                <a:cubicBezTo>
                  <a:pt x="2680" y="1231"/>
                  <a:pt x="2683" y="1230"/>
                  <a:pt x="2685" y="1229"/>
                </a:cubicBezTo>
                <a:cubicBezTo>
                  <a:pt x="2688" y="1228"/>
                  <a:pt x="2690" y="1226"/>
                  <a:pt x="2693" y="1225"/>
                </a:cubicBezTo>
                <a:cubicBezTo>
                  <a:pt x="2693" y="1225"/>
                  <a:pt x="2693" y="1225"/>
                  <a:pt x="2693" y="1284"/>
                </a:cubicBezTo>
                <a:cubicBezTo>
                  <a:pt x="2693" y="1284"/>
                  <a:pt x="2693" y="1284"/>
                  <a:pt x="2704" y="1284"/>
                </a:cubicBezTo>
                <a:cubicBezTo>
                  <a:pt x="2704" y="1284"/>
                  <a:pt x="2704" y="1284"/>
                  <a:pt x="2704" y="1210"/>
                </a:cubicBezTo>
                <a:close/>
                <a:moveTo>
                  <a:pt x="2826" y="1210"/>
                </a:moveTo>
                <a:cubicBezTo>
                  <a:pt x="2826" y="1210"/>
                  <a:pt x="2826" y="1210"/>
                  <a:pt x="2826" y="1210"/>
                </a:cubicBezTo>
                <a:cubicBezTo>
                  <a:pt x="2821" y="1210"/>
                  <a:pt x="2821" y="1210"/>
                  <a:pt x="2821" y="1210"/>
                </a:cubicBezTo>
                <a:cubicBezTo>
                  <a:pt x="2819" y="1212"/>
                  <a:pt x="2817" y="1213"/>
                  <a:pt x="2815" y="1214"/>
                </a:cubicBezTo>
                <a:cubicBezTo>
                  <a:pt x="2814" y="1216"/>
                  <a:pt x="2812" y="1216"/>
                  <a:pt x="2810" y="1217"/>
                </a:cubicBezTo>
                <a:cubicBezTo>
                  <a:pt x="2809" y="1218"/>
                  <a:pt x="2806" y="1219"/>
                  <a:pt x="2805" y="1220"/>
                </a:cubicBezTo>
                <a:cubicBezTo>
                  <a:pt x="2803" y="1221"/>
                  <a:pt x="2801" y="1221"/>
                  <a:pt x="2799" y="1221"/>
                </a:cubicBezTo>
                <a:cubicBezTo>
                  <a:pt x="2799" y="1221"/>
                  <a:pt x="2799" y="1221"/>
                  <a:pt x="2799" y="1232"/>
                </a:cubicBezTo>
                <a:cubicBezTo>
                  <a:pt x="2802" y="1231"/>
                  <a:pt x="2805" y="1230"/>
                  <a:pt x="2808" y="1229"/>
                </a:cubicBezTo>
                <a:cubicBezTo>
                  <a:pt x="2810" y="1228"/>
                  <a:pt x="2812" y="1226"/>
                  <a:pt x="2814" y="1225"/>
                </a:cubicBezTo>
                <a:cubicBezTo>
                  <a:pt x="2814" y="1225"/>
                  <a:pt x="2814" y="1225"/>
                  <a:pt x="2814" y="1284"/>
                </a:cubicBezTo>
                <a:cubicBezTo>
                  <a:pt x="2814" y="1284"/>
                  <a:pt x="2814" y="1284"/>
                  <a:pt x="2826" y="1284"/>
                </a:cubicBezTo>
                <a:cubicBezTo>
                  <a:pt x="2826" y="1284"/>
                  <a:pt x="2826" y="1284"/>
                  <a:pt x="2826" y="1210"/>
                </a:cubicBezTo>
                <a:close/>
                <a:moveTo>
                  <a:pt x="2873" y="1210"/>
                </a:moveTo>
                <a:cubicBezTo>
                  <a:pt x="2873" y="1210"/>
                  <a:pt x="2873" y="1210"/>
                  <a:pt x="2873" y="1210"/>
                </a:cubicBezTo>
                <a:cubicBezTo>
                  <a:pt x="2868" y="1210"/>
                  <a:pt x="2868" y="1210"/>
                  <a:pt x="2868" y="1210"/>
                </a:cubicBezTo>
                <a:cubicBezTo>
                  <a:pt x="2866" y="1212"/>
                  <a:pt x="2864" y="1213"/>
                  <a:pt x="2862" y="1214"/>
                </a:cubicBezTo>
                <a:cubicBezTo>
                  <a:pt x="2861" y="1216"/>
                  <a:pt x="2858" y="1216"/>
                  <a:pt x="2857" y="1217"/>
                </a:cubicBezTo>
                <a:cubicBezTo>
                  <a:pt x="2855" y="1218"/>
                  <a:pt x="2853" y="1219"/>
                  <a:pt x="2852" y="1220"/>
                </a:cubicBezTo>
                <a:cubicBezTo>
                  <a:pt x="2849" y="1221"/>
                  <a:pt x="2848" y="1221"/>
                  <a:pt x="2846" y="1221"/>
                </a:cubicBezTo>
                <a:cubicBezTo>
                  <a:pt x="2846" y="1221"/>
                  <a:pt x="2846" y="1221"/>
                  <a:pt x="2846" y="1232"/>
                </a:cubicBezTo>
                <a:cubicBezTo>
                  <a:pt x="2849" y="1231"/>
                  <a:pt x="2852" y="1230"/>
                  <a:pt x="2854" y="1229"/>
                </a:cubicBezTo>
                <a:cubicBezTo>
                  <a:pt x="2857" y="1228"/>
                  <a:pt x="2859" y="1226"/>
                  <a:pt x="2861" y="1225"/>
                </a:cubicBezTo>
                <a:cubicBezTo>
                  <a:pt x="2861" y="1225"/>
                  <a:pt x="2861" y="1225"/>
                  <a:pt x="2861" y="1284"/>
                </a:cubicBezTo>
                <a:cubicBezTo>
                  <a:pt x="2861" y="1284"/>
                  <a:pt x="2861" y="1284"/>
                  <a:pt x="2873" y="1284"/>
                </a:cubicBezTo>
                <a:cubicBezTo>
                  <a:pt x="2873" y="1284"/>
                  <a:pt x="2873" y="1284"/>
                  <a:pt x="2873" y="1210"/>
                </a:cubicBezTo>
                <a:close/>
                <a:moveTo>
                  <a:pt x="2725" y="1243"/>
                </a:moveTo>
                <a:cubicBezTo>
                  <a:pt x="2725" y="1243"/>
                  <a:pt x="2725" y="1243"/>
                  <a:pt x="2725" y="1243"/>
                </a:cubicBezTo>
                <a:cubicBezTo>
                  <a:pt x="2724" y="1251"/>
                  <a:pt x="2724" y="1251"/>
                  <a:pt x="2724" y="1251"/>
                </a:cubicBezTo>
                <a:cubicBezTo>
                  <a:pt x="2731" y="1251"/>
                  <a:pt x="2731" y="1254"/>
                  <a:pt x="2731" y="1257"/>
                </a:cubicBezTo>
                <a:cubicBezTo>
                  <a:pt x="2731" y="1259"/>
                  <a:pt x="2731" y="1261"/>
                  <a:pt x="2731" y="1264"/>
                </a:cubicBezTo>
                <a:cubicBezTo>
                  <a:pt x="2731" y="1267"/>
                  <a:pt x="2730" y="1269"/>
                  <a:pt x="2730" y="1271"/>
                </a:cubicBezTo>
                <a:cubicBezTo>
                  <a:pt x="2730" y="1281"/>
                  <a:pt x="2736" y="1284"/>
                  <a:pt x="2745" y="1284"/>
                </a:cubicBezTo>
                <a:cubicBezTo>
                  <a:pt x="2745" y="1284"/>
                  <a:pt x="2745" y="1284"/>
                  <a:pt x="2748" y="1284"/>
                </a:cubicBezTo>
                <a:cubicBezTo>
                  <a:pt x="2748" y="1284"/>
                  <a:pt x="2748" y="1284"/>
                  <a:pt x="2748" y="1275"/>
                </a:cubicBezTo>
                <a:cubicBezTo>
                  <a:pt x="2748" y="1275"/>
                  <a:pt x="2748" y="1275"/>
                  <a:pt x="2747" y="1275"/>
                </a:cubicBezTo>
                <a:cubicBezTo>
                  <a:pt x="2743" y="1275"/>
                  <a:pt x="2742" y="1272"/>
                  <a:pt x="2742" y="1269"/>
                </a:cubicBezTo>
                <a:cubicBezTo>
                  <a:pt x="2742" y="1267"/>
                  <a:pt x="2742" y="1266"/>
                  <a:pt x="2742" y="1264"/>
                </a:cubicBezTo>
                <a:cubicBezTo>
                  <a:pt x="2742" y="1263"/>
                  <a:pt x="2743" y="1260"/>
                  <a:pt x="2743" y="1258"/>
                </a:cubicBezTo>
                <a:cubicBezTo>
                  <a:pt x="2743" y="1251"/>
                  <a:pt x="2740" y="1248"/>
                  <a:pt x="2734" y="1247"/>
                </a:cubicBezTo>
                <a:cubicBezTo>
                  <a:pt x="2734" y="1247"/>
                  <a:pt x="2734" y="1247"/>
                  <a:pt x="2734" y="1246"/>
                </a:cubicBezTo>
                <a:cubicBezTo>
                  <a:pt x="2740" y="1245"/>
                  <a:pt x="2743" y="1243"/>
                  <a:pt x="2743" y="1236"/>
                </a:cubicBezTo>
                <a:cubicBezTo>
                  <a:pt x="2743" y="1233"/>
                  <a:pt x="2742" y="1231"/>
                  <a:pt x="2742" y="1229"/>
                </a:cubicBezTo>
                <a:cubicBezTo>
                  <a:pt x="2742" y="1228"/>
                  <a:pt x="2742" y="1226"/>
                  <a:pt x="2742" y="1225"/>
                </a:cubicBezTo>
                <a:cubicBezTo>
                  <a:pt x="2742" y="1221"/>
                  <a:pt x="2743" y="1219"/>
                  <a:pt x="2747" y="1219"/>
                </a:cubicBezTo>
                <a:cubicBezTo>
                  <a:pt x="2747" y="1219"/>
                  <a:pt x="2747" y="1219"/>
                  <a:pt x="2748" y="1219"/>
                </a:cubicBezTo>
                <a:cubicBezTo>
                  <a:pt x="2748" y="1219"/>
                  <a:pt x="2748" y="1219"/>
                  <a:pt x="2748" y="1209"/>
                </a:cubicBezTo>
                <a:cubicBezTo>
                  <a:pt x="2748" y="1209"/>
                  <a:pt x="2748" y="1209"/>
                  <a:pt x="2745" y="1209"/>
                </a:cubicBezTo>
                <a:cubicBezTo>
                  <a:pt x="2736" y="1209"/>
                  <a:pt x="2730" y="1214"/>
                  <a:pt x="2730" y="1222"/>
                </a:cubicBezTo>
                <a:cubicBezTo>
                  <a:pt x="2730" y="1224"/>
                  <a:pt x="2731" y="1227"/>
                  <a:pt x="2731" y="1230"/>
                </a:cubicBezTo>
                <a:cubicBezTo>
                  <a:pt x="2731" y="1232"/>
                  <a:pt x="2731" y="1235"/>
                  <a:pt x="2731" y="1236"/>
                </a:cubicBezTo>
                <a:cubicBezTo>
                  <a:pt x="2731" y="1239"/>
                  <a:pt x="2731" y="1242"/>
                  <a:pt x="2725" y="1243"/>
                </a:cubicBezTo>
                <a:close/>
                <a:moveTo>
                  <a:pt x="2779" y="1251"/>
                </a:moveTo>
                <a:cubicBezTo>
                  <a:pt x="2779" y="1251"/>
                  <a:pt x="2779" y="1251"/>
                  <a:pt x="2779" y="1251"/>
                </a:cubicBezTo>
                <a:cubicBezTo>
                  <a:pt x="2779" y="1243"/>
                  <a:pt x="2779" y="1243"/>
                  <a:pt x="2779" y="1243"/>
                </a:cubicBezTo>
                <a:cubicBezTo>
                  <a:pt x="2773" y="1242"/>
                  <a:pt x="2772" y="1239"/>
                  <a:pt x="2772" y="1236"/>
                </a:cubicBezTo>
                <a:cubicBezTo>
                  <a:pt x="2772" y="1235"/>
                  <a:pt x="2772" y="1232"/>
                  <a:pt x="2773" y="1230"/>
                </a:cubicBezTo>
                <a:cubicBezTo>
                  <a:pt x="2773" y="1227"/>
                  <a:pt x="2773" y="1224"/>
                  <a:pt x="2773" y="1222"/>
                </a:cubicBezTo>
                <a:cubicBezTo>
                  <a:pt x="2773" y="1214"/>
                  <a:pt x="2768" y="1209"/>
                  <a:pt x="2759" y="1209"/>
                </a:cubicBezTo>
                <a:cubicBezTo>
                  <a:pt x="2759" y="1209"/>
                  <a:pt x="2759" y="1209"/>
                  <a:pt x="2755" y="1209"/>
                </a:cubicBezTo>
                <a:cubicBezTo>
                  <a:pt x="2755" y="1209"/>
                  <a:pt x="2755" y="1209"/>
                  <a:pt x="2755" y="1219"/>
                </a:cubicBezTo>
                <a:cubicBezTo>
                  <a:pt x="2755" y="1219"/>
                  <a:pt x="2755" y="1219"/>
                  <a:pt x="2757" y="1219"/>
                </a:cubicBezTo>
                <a:cubicBezTo>
                  <a:pt x="2760" y="1219"/>
                  <a:pt x="2762" y="1221"/>
                  <a:pt x="2762" y="1225"/>
                </a:cubicBezTo>
                <a:cubicBezTo>
                  <a:pt x="2762" y="1226"/>
                  <a:pt x="2761" y="1228"/>
                  <a:pt x="2761" y="1229"/>
                </a:cubicBezTo>
                <a:cubicBezTo>
                  <a:pt x="2761" y="1231"/>
                  <a:pt x="2761" y="1233"/>
                  <a:pt x="2761" y="1236"/>
                </a:cubicBezTo>
                <a:cubicBezTo>
                  <a:pt x="2761" y="1243"/>
                  <a:pt x="2764" y="1245"/>
                  <a:pt x="2769" y="1246"/>
                </a:cubicBezTo>
                <a:cubicBezTo>
                  <a:pt x="2769" y="1246"/>
                  <a:pt x="2769" y="1246"/>
                  <a:pt x="2769" y="1247"/>
                </a:cubicBezTo>
                <a:cubicBezTo>
                  <a:pt x="2764" y="1248"/>
                  <a:pt x="2761" y="1251"/>
                  <a:pt x="2761" y="1258"/>
                </a:cubicBezTo>
                <a:cubicBezTo>
                  <a:pt x="2761" y="1260"/>
                  <a:pt x="2761" y="1263"/>
                  <a:pt x="2761" y="1264"/>
                </a:cubicBezTo>
                <a:cubicBezTo>
                  <a:pt x="2761" y="1266"/>
                  <a:pt x="2762" y="1267"/>
                  <a:pt x="2762" y="1269"/>
                </a:cubicBezTo>
                <a:cubicBezTo>
                  <a:pt x="2762" y="1272"/>
                  <a:pt x="2761" y="1275"/>
                  <a:pt x="2757" y="1275"/>
                </a:cubicBezTo>
                <a:cubicBezTo>
                  <a:pt x="2757" y="1275"/>
                  <a:pt x="2757" y="1275"/>
                  <a:pt x="2755" y="1275"/>
                </a:cubicBezTo>
                <a:cubicBezTo>
                  <a:pt x="2755" y="1275"/>
                  <a:pt x="2755" y="1275"/>
                  <a:pt x="2755" y="1284"/>
                </a:cubicBezTo>
                <a:cubicBezTo>
                  <a:pt x="2755" y="1284"/>
                  <a:pt x="2755" y="1284"/>
                  <a:pt x="2759" y="1284"/>
                </a:cubicBezTo>
                <a:cubicBezTo>
                  <a:pt x="2768" y="1284"/>
                  <a:pt x="2773" y="1281"/>
                  <a:pt x="2773" y="1271"/>
                </a:cubicBezTo>
                <a:cubicBezTo>
                  <a:pt x="2773" y="1269"/>
                  <a:pt x="2773" y="1267"/>
                  <a:pt x="2773" y="1264"/>
                </a:cubicBezTo>
                <a:cubicBezTo>
                  <a:pt x="2772" y="1261"/>
                  <a:pt x="2772" y="1259"/>
                  <a:pt x="2772" y="1257"/>
                </a:cubicBezTo>
                <a:cubicBezTo>
                  <a:pt x="2772" y="1254"/>
                  <a:pt x="2773" y="1251"/>
                  <a:pt x="2779" y="1251"/>
                </a:cubicBezTo>
                <a:close/>
                <a:moveTo>
                  <a:pt x="2165" y="1284"/>
                </a:moveTo>
                <a:cubicBezTo>
                  <a:pt x="2158" y="1284"/>
                  <a:pt x="2151" y="1281"/>
                  <a:pt x="2147" y="1275"/>
                </a:cubicBezTo>
                <a:cubicBezTo>
                  <a:pt x="2143" y="1268"/>
                  <a:pt x="2141" y="1260"/>
                  <a:pt x="2141" y="1247"/>
                </a:cubicBezTo>
                <a:cubicBezTo>
                  <a:pt x="2141" y="1234"/>
                  <a:pt x="2143" y="1224"/>
                  <a:pt x="2148" y="1218"/>
                </a:cubicBezTo>
                <a:cubicBezTo>
                  <a:pt x="2152" y="1211"/>
                  <a:pt x="2159" y="1208"/>
                  <a:pt x="2167" y="1208"/>
                </a:cubicBezTo>
                <a:cubicBezTo>
                  <a:pt x="2183" y="1208"/>
                  <a:pt x="2192" y="1220"/>
                  <a:pt x="2192" y="1246"/>
                </a:cubicBezTo>
                <a:cubicBezTo>
                  <a:pt x="2192" y="1258"/>
                  <a:pt x="2189" y="1268"/>
                  <a:pt x="2184" y="1274"/>
                </a:cubicBezTo>
                <a:cubicBezTo>
                  <a:pt x="2180" y="1281"/>
                  <a:pt x="2173" y="1284"/>
                  <a:pt x="2165" y="1284"/>
                </a:cubicBezTo>
                <a:close/>
                <a:moveTo>
                  <a:pt x="2167" y="1217"/>
                </a:moveTo>
                <a:cubicBezTo>
                  <a:pt x="2157" y="1217"/>
                  <a:pt x="2153" y="1227"/>
                  <a:pt x="2153" y="1247"/>
                </a:cubicBezTo>
                <a:cubicBezTo>
                  <a:pt x="2153" y="1266"/>
                  <a:pt x="2157" y="1274"/>
                  <a:pt x="2166" y="1274"/>
                </a:cubicBezTo>
                <a:cubicBezTo>
                  <a:pt x="2175" y="1274"/>
                  <a:pt x="2179" y="1266"/>
                  <a:pt x="2179" y="1246"/>
                </a:cubicBezTo>
                <a:cubicBezTo>
                  <a:pt x="2179" y="1227"/>
                  <a:pt x="2175" y="1217"/>
                  <a:pt x="2167" y="1217"/>
                </a:cubicBezTo>
                <a:close/>
                <a:moveTo>
                  <a:pt x="2235" y="1284"/>
                </a:moveTo>
                <a:cubicBezTo>
                  <a:pt x="2228" y="1284"/>
                  <a:pt x="2221" y="1281"/>
                  <a:pt x="2218" y="1275"/>
                </a:cubicBezTo>
                <a:cubicBezTo>
                  <a:pt x="2213" y="1268"/>
                  <a:pt x="2211" y="1260"/>
                  <a:pt x="2211" y="1247"/>
                </a:cubicBezTo>
                <a:cubicBezTo>
                  <a:pt x="2211" y="1234"/>
                  <a:pt x="2213" y="1224"/>
                  <a:pt x="2218" y="1218"/>
                </a:cubicBezTo>
                <a:cubicBezTo>
                  <a:pt x="2222" y="1211"/>
                  <a:pt x="2229" y="1208"/>
                  <a:pt x="2238" y="1208"/>
                </a:cubicBezTo>
                <a:cubicBezTo>
                  <a:pt x="2254" y="1208"/>
                  <a:pt x="2262" y="1220"/>
                  <a:pt x="2262" y="1246"/>
                </a:cubicBezTo>
                <a:cubicBezTo>
                  <a:pt x="2262" y="1258"/>
                  <a:pt x="2259" y="1268"/>
                  <a:pt x="2255" y="1274"/>
                </a:cubicBezTo>
                <a:cubicBezTo>
                  <a:pt x="2250" y="1281"/>
                  <a:pt x="2244" y="1284"/>
                  <a:pt x="2235" y="1284"/>
                </a:cubicBezTo>
                <a:close/>
                <a:moveTo>
                  <a:pt x="2237" y="1217"/>
                </a:moveTo>
                <a:cubicBezTo>
                  <a:pt x="2228" y="1217"/>
                  <a:pt x="2223" y="1227"/>
                  <a:pt x="2223" y="1247"/>
                </a:cubicBezTo>
                <a:cubicBezTo>
                  <a:pt x="2223" y="1266"/>
                  <a:pt x="2227" y="1274"/>
                  <a:pt x="2236" y="1274"/>
                </a:cubicBezTo>
                <a:cubicBezTo>
                  <a:pt x="2245" y="1274"/>
                  <a:pt x="2249" y="1266"/>
                  <a:pt x="2249" y="1246"/>
                </a:cubicBezTo>
                <a:cubicBezTo>
                  <a:pt x="2249" y="1227"/>
                  <a:pt x="2245" y="1217"/>
                  <a:pt x="2237" y="1217"/>
                </a:cubicBezTo>
                <a:close/>
                <a:moveTo>
                  <a:pt x="2446" y="1284"/>
                </a:moveTo>
                <a:cubicBezTo>
                  <a:pt x="2438" y="1284"/>
                  <a:pt x="2432" y="1281"/>
                  <a:pt x="2428" y="1274"/>
                </a:cubicBezTo>
                <a:cubicBezTo>
                  <a:pt x="2424" y="1268"/>
                  <a:pt x="2421" y="1259"/>
                  <a:pt x="2421" y="1247"/>
                </a:cubicBezTo>
                <a:cubicBezTo>
                  <a:pt x="2421" y="1234"/>
                  <a:pt x="2424" y="1224"/>
                  <a:pt x="2428" y="1217"/>
                </a:cubicBezTo>
                <a:cubicBezTo>
                  <a:pt x="2432" y="1210"/>
                  <a:pt x="2439" y="1208"/>
                  <a:pt x="2448" y="1208"/>
                </a:cubicBezTo>
                <a:cubicBezTo>
                  <a:pt x="2464" y="1208"/>
                  <a:pt x="2472" y="1220"/>
                  <a:pt x="2472" y="1245"/>
                </a:cubicBezTo>
                <a:cubicBezTo>
                  <a:pt x="2472" y="1258"/>
                  <a:pt x="2470" y="1268"/>
                  <a:pt x="2465" y="1274"/>
                </a:cubicBezTo>
                <a:cubicBezTo>
                  <a:pt x="2460" y="1281"/>
                  <a:pt x="2454" y="1284"/>
                  <a:pt x="2446" y="1284"/>
                </a:cubicBezTo>
                <a:close/>
                <a:moveTo>
                  <a:pt x="2447" y="1217"/>
                </a:moveTo>
                <a:cubicBezTo>
                  <a:pt x="2438" y="1217"/>
                  <a:pt x="2434" y="1227"/>
                  <a:pt x="2434" y="1246"/>
                </a:cubicBezTo>
                <a:cubicBezTo>
                  <a:pt x="2434" y="1265"/>
                  <a:pt x="2438" y="1274"/>
                  <a:pt x="2447" y="1274"/>
                </a:cubicBezTo>
                <a:cubicBezTo>
                  <a:pt x="2455" y="1274"/>
                  <a:pt x="2459" y="1265"/>
                  <a:pt x="2459" y="1246"/>
                </a:cubicBezTo>
                <a:cubicBezTo>
                  <a:pt x="2459" y="1227"/>
                  <a:pt x="2456" y="1217"/>
                  <a:pt x="2447" y="1217"/>
                </a:cubicBezTo>
                <a:close/>
                <a:moveTo>
                  <a:pt x="2518" y="1210"/>
                </a:moveTo>
                <a:cubicBezTo>
                  <a:pt x="2518" y="1210"/>
                  <a:pt x="2518" y="1210"/>
                  <a:pt x="2518" y="1210"/>
                </a:cubicBezTo>
                <a:cubicBezTo>
                  <a:pt x="2513" y="1210"/>
                  <a:pt x="2513" y="1210"/>
                  <a:pt x="2513" y="1210"/>
                </a:cubicBezTo>
                <a:cubicBezTo>
                  <a:pt x="2511" y="1212"/>
                  <a:pt x="2510" y="1213"/>
                  <a:pt x="2508" y="1214"/>
                </a:cubicBezTo>
                <a:cubicBezTo>
                  <a:pt x="2506" y="1216"/>
                  <a:pt x="2504" y="1216"/>
                  <a:pt x="2502" y="1217"/>
                </a:cubicBezTo>
                <a:cubicBezTo>
                  <a:pt x="2501" y="1218"/>
                  <a:pt x="2499" y="1218"/>
                  <a:pt x="2497" y="1219"/>
                </a:cubicBezTo>
                <a:cubicBezTo>
                  <a:pt x="2495" y="1220"/>
                  <a:pt x="2494" y="1221"/>
                  <a:pt x="2492" y="1221"/>
                </a:cubicBezTo>
                <a:cubicBezTo>
                  <a:pt x="2492" y="1221"/>
                  <a:pt x="2492" y="1221"/>
                  <a:pt x="2492" y="1232"/>
                </a:cubicBezTo>
                <a:cubicBezTo>
                  <a:pt x="2494" y="1231"/>
                  <a:pt x="2497" y="1229"/>
                  <a:pt x="2500" y="1229"/>
                </a:cubicBezTo>
                <a:cubicBezTo>
                  <a:pt x="2502" y="1228"/>
                  <a:pt x="2505" y="1226"/>
                  <a:pt x="2507" y="1225"/>
                </a:cubicBezTo>
                <a:cubicBezTo>
                  <a:pt x="2507" y="1225"/>
                  <a:pt x="2507" y="1225"/>
                  <a:pt x="2507" y="1284"/>
                </a:cubicBezTo>
                <a:cubicBezTo>
                  <a:pt x="2507" y="1284"/>
                  <a:pt x="2507" y="1284"/>
                  <a:pt x="2518" y="1284"/>
                </a:cubicBezTo>
                <a:cubicBezTo>
                  <a:pt x="2518" y="1284"/>
                  <a:pt x="2518" y="1284"/>
                  <a:pt x="2518" y="1210"/>
                </a:cubicBezTo>
                <a:close/>
                <a:moveTo>
                  <a:pt x="2309" y="1210"/>
                </a:moveTo>
                <a:cubicBezTo>
                  <a:pt x="2309" y="1210"/>
                  <a:pt x="2309" y="1210"/>
                  <a:pt x="2309" y="1210"/>
                </a:cubicBezTo>
                <a:cubicBezTo>
                  <a:pt x="2304" y="1210"/>
                  <a:pt x="2304" y="1210"/>
                  <a:pt x="2304" y="1210"/>
                </a:cubicBezTo>
                <a:cubicBezTo>
                  <a:pt x="2301" y="1212"/>
                  <a:pt x="2300" y="1213"/>
                  <a:pt x="2298" y="1214"/>
                </a:cubicBezTo>
                <a:cubicBezTo>
                  <a:pt x="2296" y="1216"/>
                  <a:pt x="2295" y="1216"/>
                  <a:pt x="2293" y="1217"/>
                </a:cubicBezTo>
                <a:cubicBezTo>
                  <a:pt x="2291" y="1218"/>
                  <a:pt x="2289" y="1219"/>
                  <a:pt x="2288" y="1220"/>
                </a:cubicBezTo>
                <a:cubicBezTo>
                  <a:pt x="2285" y="1221"/>
                  <a:pt x="2284" y="1221"/>
                  <a:pt x="2282" y="1221"/>
                </a:cubicBezTo>
                <a:cubicBezTo>
                  <a:pt x="2282" y="1221"/>
                  <a:pt x="2282" y="1221"/>
                  <a:pt x="2282" y="1232"/>
                </a:cubicBezTo>
                <a:cubicBezTo>
                  <a:pt x="2285" y="1231"/>
                  <a:pt x="2288" y="1230"/>
                  <a:pt x="2290" y="1229"/>
                </a:cubicBezTo>
                <a:cubicBezTo>
                  <a:pt x="2293" y="1228"/>
                  <a:pt x="2295" y="1226"/>
                  <a:pt x="2297" y="1225"/>
                </a:cubicBezTo>
                <a:cubicBezTo>
                  <a:pt x="2297" y="1225"/>
                  <a:pt x="2297" y="1225"/>
                  <a:pt x="2297" y="1284"/>
                </a:cubicBezTo>
                <a:cubicBezTo>
                  <a:pt x="2297" y="1284"/>
                  <a:pt x="2297" y="1284"/>
                  <a:pt x="2309" y="1284"/>
                </a:cubicBezTo>
                <a:cubicBezTo>
                  <a:pt x="2309" y="1284"/>
                  <a:pt x="2309" y="1284"/>
                  <a:pt x="2309" y="1210"/>
                </a:cubicBezTo>
                <a:close/>
                <a:moveTo>
                  <a:pt x="2356" y="1210"/>
                </a:moveTo>
                <a:cubicBezTo>
                  <a:pt x="2356" y="1210"/>
                  <a:pt x="2356" y="1210"/>
                  <a:pt x="2356" y="1210"/>
                </a:cubicBezTo>
                <a:cubicBezTo>
                  <a:pt x="2351" y="1210"/>
                  <a:pt x="2351" y="1210"/>
                  <a:pt x="2351" y="1210"/>
                </a:cubicBezTo>
                <a:cubicBezTo>
                  <a:pt x="2348" y="1212"/>
                  <a:pt x="2347" y="1213"/>
                  <a:pt x="2345" y="1214"/>
                </a:cubicBezTo>
                <a:cubicBezTo>
                  <a:pt x="2343" y="1216"/>
                  <a:pt x="2341" y="1216"/>
                  <a:pt x="2339" y="1217"/>
                </a:cubicBezTo>
                <a:cubicBezTo>
                  <a:pt x="2338" y="1218"/>
                  <a:pt x="2336" y="1219"/>
                  <a:pt x="2334" y="1220"/>
                </a:cubicBezTo>
                <a:cubicBezTo>
                  <a:pt x="2332" y="1221"/>
                  <a:pt x="2331" y="1221"/>
                  <a:pt x="2328" y="1221"/>
                </a:cubicBezTo>
                <a:cubicBezTo>
                  <a:pt x="2328" y="1221"/>
                  <a:pt x="2328" y="1221"/>
                  <a:pt x="2328" y="1232"/>
                </a:cubicBezTo>
                <a:cubicBezTo>
                  <a:pt x="2331" y="1231"/>
                  <a:pt x="2334" y="1230"/>
                  <a:pt x="2336" y="1229"/>
                </a:cubicBezTo>
                <a:cubicBezTo>
                  <a:pt x="2339" y="1228"/>
                  <a:pt x="2342" y="1226"/>
                  <a:pt x="2344" y="1225"/>
                </a:cubicBezTo>
                <a:cubicBezTo>
                  <a:pt x="2344" y="1225"/>
                  <a:pt x="2344" y="1225"/>
                  <a:pt x="2344" y="1284"/>
                </a:cubicBezTo>
                <a:cubicBezTo>
                  <a:pt x="2344" y="1284"/>
                  <a:pt x="2344" y="1284"/>
                  <a:pt x="2356" y="1284"/>
                </a:cubicBezTo>
                <a:cubicBezTo>
                  <a:pt x="2356" y="1284"/>
                  <a:pt x="2356" y="1284"/>
                  <a:pt x="2356" y="1210"/>
                </a:cubicBezTo>
                <a:close/>
                <a:moveTo>
                  <a:pt x="2401" y="1210"/>
                </a:moveTo>
                <a:cubicBezTo>
                  <a:pt x="2401" y="1210"/>
                  <a:pt x="2401" y="1210"/>
                  <a:pt x="2401" y="1210"/>
                </a:cubicBezTo>
                <a:cubicBezTo>
                  <a:pt x="2397" y="1210"/>
                  <a:pt x="2397" y="1210"/>
                  <a:pt x="2397" y="1210"/>
                </a:cubicBezTo>
                <a:cubicBezTo>
                  <a:pt x="2395" y="1212"/>
                  <a:pt x="2393" y="1213"/>
                  <a:pt x="2391" y="1214"/>
                </a:cubicBezTo>
                <a:cubicBezTo>
                  <a:pt x="2390" y="1216"/>
                  <a:pt x="2388" y="1216"/>
                  <a:pt x="2386" y="1217"/>
                </a:cubicBezTo>
                <a:cubicBezTo>
                  <a:pt x="2384" y="1218"/>
                  <a:pt x="2383" y="1218"/>
                  <a:pt x="2380" y="1219"/>
                </a:cubicBezTo>
                <a:cubicBezTo>
                  <a:pt x="2379" y="1220"/>
                  <a:pt x="2377" y="1221"/>
                  <a:pt x="2375" y="1221"/>
                </a:cubicBezTo>
                <a:cubicBezTo>
                  <a:pt x="2375" y="1221"/>
                  <a:pt x="2375" y="1221"/>
                  <a:pt x="2375" y="1232"/>
                </a:cubicBezTo>
                <a:cubicBezTo>
                  <a:pt x="2378" y="1231"/>
                  <a:pt x="2381" y="1229"/>
                  <a:pt x="2383" y="1229"/>
                </a:cubicBezTo>
                <a:cubicBezTo>
                  <a:pt x="2385" y="1228"/>
                  <a:pt x="2388" y="1226"/>
                  <a:pt x="2390" y="1225"/>
                </a:cubicBezTo>
                <a:cubicBezTo>
                  <a:pt x="2390" y="1225"/>
                  <a:pt x="2390" y="1225"/>
                  <a:pt x="2390" y="1284"/>
                </a:cubicBezTo>
                <a:cubicBezTo>
                  <a:pt x="2390" y="1284"/>
                  <a:pt x="2390" y="1284"/>
                  <a:pt x="2401" y="1284"/>
                </a:cubicBezTo>
                <a:cubicBezTo>
                  <a:pt x="2401" y="1284"/>
                  <a:pt x="2401" y="1284"/>
                  <a:pt x="2401" y="1210"/>
                </a:cubicBezTo>
                <a:close/>
                <a:moveTo>
                  <a:pt x="1967" y="1284"/>
                </a:moveTo>
                <a:cubicBezTo>
                  <a:pt x="1960" y="1284"/>
                  <a:pt x="1953" y="1281"/>
                  <a:pt x="1949" y="1275"/>
                </a:cubicBezTo>
                <a:cubicBezTo>
                  <a:pt x="1945" y="1268"/>
                  <a:pt x="1943" y="1260"/>
                  <a:pt x="1943" y="1247"/>
                </a:cubicBezTo>
                <a:cubicBezTo>
                  <a:pt x="1943" y="1234"/>
                  <a:pt x="1945" y="1224"/>
                  <a:pt x="1949" y="1218"/>
                </a:cubicBezTo>
                <a:cubicBezTo>
                  <a:pt x="1954" y="1211"/>
                  <a:pt x="1960" y="1208"/>
                  <a:pt x="1969" y="1208"/>
                </a:cubicBezTo>
                <a:cubicBezTo>
                  <a:pt x="1985" y="1208"/>
                  <a:pt x="1993" y="1220"/>
                  <a:pt x="1993" y="1246"/>
                </a:cubicBezTo>
                <a:cubicBezTo>
                  <a:pt x="1993" y="1258"/>
                  <a:pt x="1991" y="1268"/>
                  <a:pt x="1987" y="1274"/>
                </a:cubicBezTo>
                <a:cubicBezTo>
                  <a:pt x="1982" y="1281"/>
                  <a:pt x="1976" y="1284"/>
                  <a:pt x="1967" y="1284"/>
                </a:cubicBezTo>
                <a:close/>
                <a:moveTo>
                  <a:pt x="1968" y="1217"/>
                </a:moveTo>
                <a:cubicBezTo>
                  <a:pt x="1960" y="1217"/>
                  <a:pt x="1955" y="1227"/>
                  <a:pt x="1955" y="1247"/>
                </a:cubicBezTo>
                <a:cubicBezTo>
                  <a:pt x="1955" y="1266"/>
                  <a:pt x="1959" y="1274"/>
                  <a:pt x="1968" y="1274"/>
                </a:cubicBezTo>
                <a:cubicBezTo>
                  <a:pt x="1976" y="1274"/>
                  <a:pt x="1981" y="1266"/>
                  <a:pt x="1981" y="1246"/>
                </a:cubicBezTo>
                <a:cubicBezTo>
                  <a:pt x="1981" y="1227"/>
                  <a:pt x="1976" y="1217"/>
                  <a:pt x="1968" y="1217"/>
                </a:cubicBezTo>
                <a:close/>
                <a:moveTo>
                  <a:pt x="2028" y="1210"/>
                </a:moveTo>
                <a:cubicBezTo>
                  <a:pt x="2028" y="1210"/>
                  <a:pt x="2028" y="1210"/>
                  <a:pt x="2028" y="1210"/>
                </a:cubicBezTo>
                <a:cubicBezTo>
                  <a:pt x="2023" y="1210"/>
                  <a:pt x="2023" y="1210"/>
                  <a:pt x="2023" y="1210"/>
                </a:cubicBezTo>
                <a:cubicBezTo>
                  <a:pt x="2021" y="1212"/>
                  <a:pt x="2020" y="1213"/>
                  <a:pt x="2017" y="1214"/>
                </a:cubicBezTo>
                <a:cubicBezTo>
                  <a:pt x="2016" y="1216"/>
                  <a:pt x="2015" y="1216"/>
                  <a:pt x="2012" y="1217"/>
                </a:cubicBezTo>
                <a:cubicBezTo>
                  <a:pt x="2011" y="1218"/>
                  <a:pt x="2009" y="1219"/>
                  <a:pt x="2007" y="1220"/>
                </a:cubicBezTo>
                <a:cubicBezTo>
                  <a:pt x="2005" y="1221"/>
                  <a:pt x="2004" y="1221"/>
                  <a:pt x="2001" y="1221"/>
                </a:cubicBezTo>
                <a:cubicBezTo>
                  <a:pt x="2001" y="1221"/>
                  <a:pt x="2001" y="1221"/>
                  <a:pt x="2001" y="1232"/>
                </a:cubicBezTo>
                <a:cubicBezTo>
                  <a:pt x="2004" y="1231"/>
                  <a:pt x="2007" y="1230"/>
                  <a:pt x="2010" y="1229"/>
                </a:cubicBezTo>
                <a:cubicBezTo>
                  <a:pt x="2012" y="1228"/>
                  <a:pt x="2015" y="1226"/>
                  <a:pt x="2017" y="1225"/>
                </a:cubicBezTo>
                <a:cubicBezTo>
                  <a:pt x="2017" y="1225"/>
                  <a:pt x="2017" y="1225"/>
                  <a:pt x="2017" y="1284"/>
                </a:cubicBezTo>
                <a:cubicBezTo>
                  <a:pt x="2017" y="1284"/>
                  <a:pt x="2017" y="1284"/>
                  <a:pt x="2028" y="1284"/>
                </a:cubicBezTo>
                <a:cubicBezTo>
                  <a:pt x="2028" y="1284"/>
                  <a:pt x="2028" y="1284"/>
                  <a:pt x="2028" y="1210"/>
                </a:cubicBezTo>
                <a:close/>
                <a:moveTo>
                  <a:pt x="2075" y="1210"/>
                </a:moveTo>
                <a:cubicBezTo>
                  <a:pt x="2075" y="1210"/>
                  <a:pt x="2075" y="1210"/>
                  <a:pt x="2075" y="1210"/>
                </a:cubicBezTo>
                <a:cubicBezTo>
                  <a:pt x="2070" y="1210"/>
                  <a:pt x="2070" y="1210"/>
                  <a:pt x="2070" y="1210"/>
                </a:cubicBezTo>
                <a:cubicBezTo>
                  <a:pt x="2068" y="1212"/>
                  <a:pt x="2066" y="1213"/>
                  <a:pt x="2064" y="1214"/>
                </a:cubicBezTo>
                <a:cubicBezTo>
                  <a:pt x="2063" y="1216"/>
                  <a:pt x="2061" y="1216"/>
                  <a:pt x="2059" y="1217"/>
                </a:cubicBezTo>
                <a:cubicBezTo>
                  <a:pt x="2058" y="1218"/>
                  <a:pt x="2055" y="1219"/>
                  <a:pt x="2054" y="1220"/>
                </a:cubicBezTo>
                <a:cubicBezTo>
                  <a:pt x="2052" y="1221"/>
                  <a:pt x="2050" y="1221"/>
                  <a:pt x="2048" y="1221"/>
                </a:cubicBezTo>
                <a:cubicBezTo>
                  <a:pt x="2048" y="1221"/>
                  <a:pt x="2048" y="1221"/>
                  <a:pt x="2048" y="1232"/>
                </a:cubicBezTo>
                <a:cubicBezTo>
                  <a:pt x="2051" y="1231"/>
                  <a:pt x="2054" y="1230"/>
                  <a:pt x="2056" y="1229"/>
                </a:cubicBezTo>
                <a:cubicBezTo>
                  <a:pt x="2059" y="1228"/>
                  <a:pt x="2061" y="1226"/>
                  <a:pt x="2064" y="1225"/>
                </a:cubicBezTo>
                <a:cubicBezTo>
                  <a:pt x="2064" y="1225"/>
                  <a:pt x="2064" y="1225"/>
                  <a:pt x="2064" y="1284"/>
                </a:cubicBezTo>
                <a:cubicBezTo>
                  <a:pt x="2064" y="1284"/>
                  <a:pt x="2064" y="1284"/>
                  <a:pt x="2075" y="1284"/>
                </a:cubicBezTo>
                <a:cubicBezTo>
                  <a:pt x="2075" y="1284"/>
                  <a:pt x="2075" y="1284"/>
                  <a:pt x="2075" y="1210"/>
                </a:cubicBezTo>
                <a:close/>
                <a:moveTo>
                  <a:pt x="2121" y="1210"/>
                </a:moveTo>
                <a:cubicBezTo>
                  <a:pt x="2121" y="1210"/>
                  <a:pt x="2121" y="1210"/>
                  <a:pt x="2121" y="1210"/>
                </a:cubicBezTo>
                <a:cubicBezTo>
                  <a:pt x="2117" y="1210"/>
                  <a:pt x="2117" y="1210"/>
                  <a:pt x="2117" y="1210"/>
                </a:cubicBezTo>
                <a:cubicBezTo>
                  <a:pt x="2114" y="1212"/>
                  <a:pt x="2113" y="1213"/>
                  <a:pt x="2111" y="1214"/>
                </a:cubicBezTo>
                <a:cubicBezTo>
                  <a:pt x="2109" y="1216"/>
                  <a:pt x="2107" y="1216"/>
                  <a:pt x="2106" y="1217"/>
                </a:cubicBezTo>
                <a:cubicBezTo>
                  <a:pt x="2104" y="1218"/>
                  <a:pt x="2102" y="1218"/>
                  <a:pt x="2100" y="1219"/>
                </a:cubicBezTo>
                <a:cubicBezTo>
                  <a:pt x="2099" y="1220"/>
                  <a:pt x="2096" y="1221"/>
                  <a:pt x="2095" y="1221"/>
                </a:cubicBezTo>
                <a:cubicBezTo>
                  <a:pt x="2095" y="1221"/>
                  <a:pt x="2095" y="1221"/>
                  <a:pt x="2095" y="1232"/>
                </a:cubicBezTo>
                <a:cubicBezTo>
                  <a:pt x="2098" y="1231"/>
                  <a:pt x="2101" y="1229"/>
                  <a:pt x="2103" y="1229"/>
                </a:cubicBezTo>
                <a:cubicBezTo>
                  <a:pt x="2105" y="1228"/>
                  <a:pt x="2108" y="1226"/>
                  <a:pt x="2109" y="1225"/>
                </a:cubicBezTo>
                <a:cubicBezTo>
                  <a:pt x="2109" y="1225"/>
                  <a:pt x="2109" y="1225"/>
                  <a:pt x="2109" y="1284"/>
                </a:cubicBezTo>
                <a:cubicBezTo>
                  <a:pt x="2109" y="1284"/>
                  <a:pt x="2109" y="1284"/>
                  <a:pt x="2121" y="1284"/>
                </a:cubicBezTo>
                <a:cubicBezTo>
                  <a:pt x="2121" y="1284"/>
                  <a:pt x="2121" y="1284"/>
                  <a:pt x="2121" y="1210"/>
                </a:cubicBezTo>
                <a:close/>
                <a:moveTo>
                  <a:pt x="2036" y="1176"/>
                </a:moveTo>
                <a:cubicBezTo>
                  <a:pt x="2029" y="1176"/>
                  <a:pt x="2022" y="1173"/>
                  <a:pt x="2018" y="1168"/>
                </a:cubicBezTo>
                <a:cubicBezTo>
                  <a:pt x="2014" y="1161"/>
                  <a:pt x="2012" y="1152"/>
                  <a:pt x="2012" y="1140"/>
                </a:cubicBezTo>
                <a:cubicBezTo>
                  <a:pt x="2012" y="1127"/>
                  <a:pt x="2014" y="1117"/>
                  <a:pt x="2019" y="1111"/>
                </a:cubicBezTo>
                <a:cubicBezTo>
                  <a:pt x="2023" y="1104"/>
                  <a:pt x="2030" y="1101"/>
                  <a:pt x="2038" y="1101"/>
                </a:cubicBezTo>
                <a:cubicBezTo>
                  <a:pt x="2054" y="1101"/>
                  <a:pt x="2062" y="1113"/>
                  <a:pt x="2062" y="1138"/>
                </a:cubicBezTo>
                <a:cubicBezTo>
                  <a:pt x="2062" y="1151"/>
                  <a:pt x="2060" y="1160"/>
                  <a:pt x="2055" y="1167"/>
                </a:cubicBezTo>
                <a:cubicBezTo>
                  <a:pt x="2051" y="1173"/>
                  <a:pt x="2044" y="1176"/>
                  <a:pt x="2036" y="1176"/>
                </a:cubicBezTo>
                <a:close/>
                <a:moveTo>
                  <a:pt x="2038" y="1110"/>
                </a:moveTo>
                <a:cubicBezTo>
                  <a:pt x="2028" y="1110"/>
                  <a:pt x="2024" y="1120"/>
                  <a:pt x="2024" y="1140"/>
                </a:cubicBezTo>
                <a:cubicBezTo>
                  <a:pt x="2024" y="1158"/>
                  <a:pt x="2028" y="1167"/>
                  <a:pt x="2037" y="1167"/>
                </a:cubicBezTo>
                <a:cubicBezTo>
                  <a:pt x="2046" y="1167"/>
                  <a:pt x="2050" y="1158"/>
                  <a:pt x="2050" y="1139"/>
                </a:cubicBezTo>
                <a:cubicBezTo>
                  <a:pt x="2050" y="1119"/>
                  <a:pt x="2046" y="1110"/>
                  <a:pt x="2038" y="1110"/>
                </a:cubicBezTo>
                <a:close/>
                <a:moveTo>
                  <a:pt x="2110" y="1103"/>
                </a:moveTo>
                <a:cubicBezTo>
                  <a:pt x="2110" y="1103"/>
                  <a:pt x="2110" y="1103"/>
                  <a:pt x="2110" y="1103"/>
                </a:cubicBezTo>
                <a:cubicBezTo>
                  <a:pt x="2105" y="1103"/>
                  <a:pt x="2105" y="1103"/>
                  <a:pt x="2105" y="1103"/>
                </a:cubicBezTo>
                <a:cubicBezTo>
                  <a:pt x="2103" y="1104"/>
                  <a:pt x="2101" y="1106"/>
                  <a:pt x="2099" y="1107"/>
                </a:cubicBezTo>
                <a:cubicBezTo>
                  <a:pt x="2098" y="1108"/>
                  <a:pt x="2095" y="1109"/>
                  <a:pt x="2094" y="1109"/>
                </a:cubicBezTo>
                <a:cubicBezTo>
                  <a:pt x="2092" y="1110"/>
                  <a:pt x="2090" y="1111"/>
                  <a:pt x="2089" y="1112"/>
                </a:cubicBezTo>
                <a:cubicBezTo>
                  <a:pt x="2087" y="1112"/>
                  <a:pt x="2085" y="1113"/>
                  <a:pt x="2083" y="1114"/>
                </a:cubicBezTo>
                <a:cubicBezTo>
                  <a:pt x="2083" y="1114"/>
                  <a:pt x="2083" y="1114"/>
                  <a:pt x="2083" y="1124"/>
                </a:cubicBezTo>
                <a:cubicBezTo>
                  <a:pt x="2086" y="1123"/>
                  <a:pt x="2089" y="1122"/>
                  <a:pt x="2091" y="1121"/>
                </a:cubicBezTo>
                <a:cubicBezTo>
                  <a:pt x="2094" y="1120"/>
                  <a:pt x="2096" y="1119"/>
                  <a:pt x="2098" y="1117"/>
                </a:cubicBezTo>
                <a:cubicBezTo>
                  <a:pt x="2098" y="1117"/>
                  <a:pt x="2098" y="1117"/>
                  <a:pt x="2098" y="1176"/>
                </a:cubicBezTo>
                <a:cubicBezTo>
                  <a:pt x="2098" y="1176"/>
                  <a:pt x="2098" y="1176"/>
                  <a:pt x="2110" y="1176"/>
                </a:cubicBezTo>
                <a:cubicBezTo>
                  <a:pt x="2110" y="1176"/>
                  <a:pt x="2110" y="1176"/>
                  <a:pt x="2110" y="1103"/>
                </a:cubicBezTo>
                <a:close/>
                <a:moveTo>
                  <a:pt x="2157" y="1103"/>
                </a:moveTo>
                <a:cubicBezTo>
                  <a:pt x="2157" y="1103"/>
                  <a:pt x="2157" y="1103"/>
                  <a:pt x="2157" y="1103"/>
                </a:cubicBezTo>
                <a:cubicBezTo>
                  <a:pt x="2152" y="1103"/>
                  <a:pt x="2152" y="1103"/>
                  <a:pt x="2152" y="1103"/>
                </a:cubicBezTo>
                <a:cubicBezTo>
                  <a:pt x="2150" y="1104"/>
                  <a:pt x="2148" y="1106"/>
                  <a:pt x="2146" y="1107"/>
                </a:cubicBezTo>
                <a:cubicBezTo>
                  <a:pt x="2145" y="1108"/>
                  <a:pt x="2143" y="1109"/>
                  <a:pt x="2141" y="1109"/>
                </a:cubicBezTo>
                <a:cubicBezTo>
                  <a:pt x="2140" y="1111"/>
                  <a:pt x="2138" y="1112"/>
                  <a:pt x="2136" y="1112"/>
                </a:cubicBezTo>
                <a:cubicBezTo>
                  <a:pt x="2134" y="1113"/>
                  <a:pt x="2133" y="1114"/>
                  <a:pt x="2131" y="1114"/>
                </a:cubicBezTo>
                <a:cubicBezTo>
                  <a:pt x="2131" y="1114"/>
                  <a:pt x="2131" y="1114"/>
                  <a:pt x="2131" y="1124"/>
                </a:cubicBezTo>
                <a:cubicBezTo>
                  <a:pt x="2133" y="1123"/>
                  <a:pt x="2136" y="1123"/>
                  <a:pt x="2138" y="1121"/>
                </a:cubicBezTo>
                <a:cubicBezTo>
                  <a:pt x="2141" y="1120"/>
                  <a:pt x="2143" y="1119"/>
                  <a:pt x="2146" y="1117"/>
                </a:cubicBezTo>
                <a:cubicBezTo>
                  <a:pt x="2146" y="1117"/>
                  <a:pt x="2146" y="1117"/>
                  <a:pt x="2146" y="1176"/>
                </a:cubicBezTo>
                <a:cubicBezTo>
                  <a:pt x="2146" y="1176"/>
                  <a:pt x="2146" y="1176"/>
                  <a:pt x="2157" y="1176"/>
                </a:cubicBezTo>
                <a:cubicBezTo>
                  <a:pt x="2157" y="1176"/>
                  <a:pt x="2157" y="1176"/>
                  <a:pt x="2157" y="1103"/>
                </a:cubicBezTo>
                <a:close/>
                <a:moveTo>
                  <a:pt x="2204" y="1103"/>
                </a:moveTo>
                <a:cubicBezTo>
                  <a:pt x="2204" y="1103"/>
                  <a:pt x="2204" y="1103"/>
                  <a:pt x="2204" y="1103"/>
                </a:cubicBezTo>
                <a:cubicBezTo>
                  <a:pt x="2199" y="1103"/>
                  <a:pt x="2199" y="1103"/>
                  <a:pt x="2199" y="1103"/>
                </a:cubicBezTo>
                <a:cubicBezTo>
                  <a:pt x="2197" y="1104"/>
                  <a:pt x="2195" y="1106"/>
                  <a:pt x="2193" y="1107"/>
                </a:cubicBezTo>
                <a:cubicBezTo>
                  <a:pt x="2192" y="1108"/>
                  <a:pt x="2190" y="1109"/>
                  <a:pt x="2188" y="1109"/>
                </a:cubicBezTo>
                <a:cubicBezTo>
                  <a:pt x="2186" y="1111"/>
                  <a:pt x="2184" y="1112"/>
                  <a:pt x="2182" y="1112"/>
                </a:cubicBezTo>
                <a:cubicBezTo>
                  <a:pt x="2181" y="1113"/>
                  <a:pt x="2179" y="1114"/>
                  <a:pt x="2177" y="1114"/>
                </a:cubicBezTo>
                <a:cubicBezTo>
                  <a:pt x="2177" y="1114"/>
                  <a:pt x="2177" y="1114"/>
                  <a:pt x="2177" y="1124"/>
                </a:cubicBezTo>
                <a:cubicBezTo>
                  <a:pt x="2180" y="1123"/>
                  <a:pt x="2183" y="1123"/>
                  <a:pt x="2185" y="1121"/>
                </a:cubicBezTo>
                <a:cubicBezTo>
                  <a:pt x="2187" y="1120"/>
                  <a:pt x="2190" y="1119"/>
                  <a:pt x="2192" y="1117"/>
                </a:cubicBezTo>
                <a:cubicBezTo>
                  <a:pt x="2192" y="1117"/>
                  <a:pt x="2192" y="1117"/>
                  <a:pt x="2192" y="1176"/>
                </a:cubicBezTo>
                <a:cubicBezTo>
                  <a:pt x="2192" y="1176"/>
                  <a:pt x="2192" y="1176"/>
                  <a:pt x="2204" y="1176"/>
                </a:cubicBezTo>
                <a:cubicBezTo>
                  <a:pt x="2204" y="1176"/>
                  <a:pt x="2204" y="1176"/>
                  <a:pt x="2204" y="1103"/>
                </a:cubicBezTo>
                <a:close/>
                <a:moveTo>
                  <a:pt x="2251" y="1103"/>
                </a:moveTo>
                <a:cubicBezTo>
                  <a:pt x="2251" y="1103"/>
                  <a:pt x="2251" y="1103"/>
                  <a:pt x="2251" y="1103"/>
                </a:cubicBezTo>
                <a:cubicBezTo>
                  <a:pt x="2246" y="1103"/>
                  <a:pt x="2246" y="1103"/>
                  <a:pt x="2246" y="1103"/>
                </a:cubicBezTo>
                <a:cubicBezTo>
                  <a:pt x="2244" y="1104"/>
                  <a:pt x="2242" y="1106"/>
                  <a:pt x="2240" y="1107"/>
                </a:cubicBezTo>
                <a:cubicBezTo>
                  <a:pt x="2238" y="1108"/>
                  <a:pt x="2237" y="1109"/>
                  <a:pt x="2235" y="1109"/>
                </a:cubicBezTo>
                <a:cubicBezTo>
                  <a:pt x="2233" y="1111"/>
                  <a:pt x="2231" y="1112"/>
                  <a:pt x="2230" y="1112"/>
                </a:cubicBezTo>
                <a:cubicBezTo>
                  <a:pt x="2227" y="1113"/>
                  <a:pt x="2226" y="1114"/>
                  <a:pt x="2224" y="1114"/>
                </a:cubicBezTo>
                <a:cubicBezTo>
                  <a:pt x="2224" y="1114"/>
                  <a:pt x="2224" y="1114"/>
                  <a:pt x="2224" y="1124"/>
                </a:cubicBezTo>
                <a:cubicBezTo>
                  <a:pt x="2227" y="1123"/>
                  <a:pt x="2230" y="1123"/>
                  <a:pt x="2232" y="1121"/>
                </a:cubicBezTo>
                <a:cubicBezTo>
                  <a:pt x="2235" y="1120"/>
                  <a:pt x="2237" y="1119"/>
                  <a:pt x="2239" y="1117"/>
                </a:cubicBezTo>
                <a:cubicBezTo>
                  <a:pt x="2239" y="1117"/>
                  <a:pt x="2239" y="1117"/>
                  <a:pt x="2239" y="1176"/>
                </a:cubicBezTo>
                <a:cubicBezTo>
                  <a:pt x="2239" y="1176"/>
                  <a:pt x="2239" y="1176"/>
                  <a:pt x="2251" y="1176"/>
                </a:cubicBezTo>
                <a:cubicBezTo>
                  <a:pt x="2251" y="1176"/>
                  <a:pt x="2251" y="1176"/>
                  <a:pt x="2251" y="1103"/>
                </a:cubicBezTo>
                <a:close/>
                <a:moveTo>
                  <a:pt x="2374" y="1103"/>
                </a:moveTo>
                <a:cubicBezTo>
                  <a:pt x="2374" y="1103"/>
                  <a:pt x="2374" y="1103"/>
                  <a:pt x="2374" y="1103"/>
                </a:cubicBezTo>
                <a:cubicBezTo>
                  <a:pt x="2369" y="1103"/>
                  <a:pt x="2369" y="1103"/>
                  <a:pt x="2369" y="1103"/>
                </a:cubicBezTo>
                <a:cubicBezTo>
                  <a:pt x="2367" y="1104"/>
                  <a:pt x="2365" y="1106"/>
                  <a:pt x="2363" y="1107"/>
                </a:cubicBezTo>
                <a:cubicBezTo>
                  <a:pt x="2362" y="1108"/>
                  <a:pt x="2360" y="1109"/>
                  <a:pt x="2358" y="1109"/>
                </a:cubicBezTo>
                <a:cubicBezTo>
                  <a:pt x="2356" y="1111"/>
                  <a:pt x="2354" y="1112"/>
                  <a:pt x="2353" y="1112"/>
                </a:cubicBezTo>
                <a:cubicBezTo>
                  <a:pt x="2351" y="1113"/>
                  <a:pt x="2349" y="1114"/>
                  <a:pt x="2347" y="1114"/>
                </a:cubicBezTo>
                <a:cubicBezTo>
                  <a:pt x="2347" y="1114"/>
                  <a:pt x="2347" y="1114"/>
                  <a:pt x="2347" y="1124"/>
                </a:cubicBezTo>
                <a:cubicBezTo>
                  <a:pt x="2350" y="1123"/>
                  <a:pt x="2353" y="1123"/>
                  <a:pt x="2356" y="1121"/>
                </a:cubicBezTo>
                <a:cubicBezTo>
                  <a:pt x="2358" y="1120"/>
                  <a:pt x="2360" y="1119"/>
                  <a:pt x="2362" y="1117"/>
                </a:cubicBezTo>
                <a:cubicBezTo>
                  <a:pt x="2362" y="1117"/>
                  <a:pt x="2362" y="1117"/>
                  <a:pt x="2362" y="1176"/>
                </a:cubicBezTo>
                <a:cubicBezTo>
                  <a:pt x="2362" y="1176"/>
                  <a:pt x="2362" y="1176"/>
                  <a:pt x="2374" y="1176"/>
                </a:cubicBezTo>
                <a:cubicBezTo>
                  <a:pt x="2374" y="1176"/>
                  <a:pt x="2374" y="1176"/>
                  <a:pt x="2374" y="1103"/>
                </a:cubicBezTo>
                <a:close/>
                <a:moveTo>
                  <a:pt x="2421" y="1103"/>
                </a:moveTo>
                <a:cubicBezTo>
                  <a:pt x="2421" y="1103"/>
                  <a:pt x="2421" y="1103"/>
                  <a:pt x="2421" y="1103"/>
                </a:cubicBezTo>
                <a:cubicBezTo>
                  <a:pt x="2416" y="1103"/>
                  <a:pt x="2416" y="1103"/>
                  <a:pt x="2416" y="1103"/>
                </a:cubicBezTo>
                <a:cubicBezTo>
                  <a:pt x="2414" y="1104"/>
                  <a:pt x="2413" y="1106"/>
                  <a:pt x="2411" y="1107"/>
                </a:cubicBezTo>
                <a:cubicBezTo>
                  <a:pt x="2409" y="1108"/>
                  <a:pt x="2407" y="1109"/>
                  <a:pt x="2405" y="1109"/>
                </a:cubicBezTo>
                <a:cubicBezTo>
                  <a:pt x="2404" y="1111"/>
                  <a:pt x="2402" y="1112"/>
                  <a:pt x="2400" y="1112"/>
                </a:cubicBezTo>
                <a:cubicBezTo>
                  <a:pt x="2398" y="1113"/>
                  <a:pt x="2397" y="1114"/>
                  <a:pt x="2395" y="1114"/>
                </a:cubicBezTo>
                <a:cubicBezTo>
                  <a:pt x="2395" y="1114"/>
                  <a:pt x="2395" y="1114"/>
                  <a:pt x="2395" y="1124"/>
                </a:cubicBezTo>
                <a:cubicBezTo>
                  <a:pt x="2397" y="1123"/>
                  <a:pt x="2400" y="1123"/>
                  <a:pt x="2403" y="1121"/>
                </a:cubicBezTo>
                <a:cubicBezTo>
                  <a:pt x="2405" y="1120"/>
                  <a:pt x="2408" y="1119"/>
                  <a:pt x="2410" y="1117"/>
                </a:cubicBezTo>
                <a:cubicBezTo>
                  <a:pt x="2410" y="1117"/>
                  <a:pt x="2410" y="1117"/>
                  <a:pt x="2410" y="1176"/>
                </a:cubicBezTo>
                <a:cubicBezTo>
                  <a:pt x="2410" y="1176"/>
                  <a:pt x="2410" y="1176"/>
                  <a:pt x="2421" y="1176"/>
                </a:cubicBezTo>
                <a:cubicBezTo>
                  <a:pt x="2421" y="1176"/>
                  <a:pt x="2421" y="1176"/>
                  <a:pt x="2421" y="1103"/>
                </a:cubicBezTo>
                <a:close/>
                <a:moveTo>
                  <a:pt x="2469" y="1103"/>
                </a:moveTo>
                <a:cubicBezTo>
                  <a:pt x="2469" y="1103"/>
                  <a:pt x="2469" y="1103"/>
                  <a:pt x="2469" y="1103"/>
                </a:cubicBezTo>
                <a:cubicBezTo>
                  <a:pt x="2464" y="1103"/>
                  <a:pt x="2464" y="1103"/>
                  <a:pt x="2464" y="1103"/>
                </a:cubicBezTo>
                <a:cubicBezTo>
                  <a:pt x="2462" y="1104"/>
                  <a:pt x="2460" y="1106"/>
                  <a:pt x="2459" y="1107"/>
                </a:cubicBezTo>
                <a:cubicBezTo>
                  <a:pt x="2457" y="1108"/>
                  <a:pt x="2455" y="1109"/>
                  <a:pt x="2453" y="1109"/>
                </a:cubicBezTo>
                <a:cubicBezTo>
                  <a:pt x="2452" y="1111"/>
                  <a:pt x="2449" y="1112"/>
                  <a:pt x="2448" y="1112"/>
                </a:cubicBezTo>
                <a:cubicBezTo>
                  <a:pt x="2446" y="1113"/>
                  <a:pt x="2444" y="1114"/>
                  <a:pt x="2442" y="1114"/>
                </a:cubicBezTo>
                <a:cubicBezTo>
                  <a:pt x="2442" y="1114"/>
                  <a:pt x="2442" y="1114"/>
                  <a:pt x="2442" y="1124"/>
                </a:cubicBezTo>
                <a:cubicBezTo>
                  <a:pt x="2445" y="1123"/>
                  <a:pt x="2448" y="1123"/>
                  <a:pt x="2451" y="1121"/>
                </a:cubicBezTo>
                <a:cubicBezTo>
                  <a:pt x="2453" y="1120"/>
                  <a:pt x="2455" y="1119"/>
                  <a:pt x="2457" y="1117"/>
                </a:cubicBezTo>
                <a:cubicBezTo>
                  <a:pt x="2457" y="1117"/>
                  <a:pt x="2457" y="1117"/>
                  <a:pt x="2457" y="1176"/>
                </a:cubicBezTo>
                <a:cubicBezTo>
                  <a:pt x="2457" y="1176"/>
                  <a:pt x="2457" y="1176"/>
                  <a:pt x="2469" y="1176"/>
                </a:cubicBezTo>
                <a:cubicBezTo>
                  <a:pt x="2469" y="1176"/>
                  <a:pt x="2469" y="1176"/>
                  <a:pt x="2469" y="1103"/>
                </a:cubicBezTo>
                <a:close/>
                <a:moveTo>
                  <a:pt x="2516" y="1103"/>
                </a:moveTo>
                <a:cubicBezTo>
                  <a:pt x="2516" y="1103"/>
                  <a:pt x="2516" y="1103"/>
                  <a:pt x="2516" y="1103"/>
                </a:cubicBezTo>
                <a:cubicBezTo>
                  <a:pt x="2511" y="1103"/>
                  <a:pt x="2511" y="1103"/>
                  <a:pt x="2511" y="1103"/>
                </a:cubicBezTo>
                <a:cubicBezTo>
                  <a:pt x="2509" y="1104"/>
                  <a:pt x="2508" y="1106"/>
                  <a:pt x="2505" y="1107"/>
                </a:cubicBezTo>
                <a:cubicBezTo>
                  <a:pt x="2504" y="1108"/>
                  <a:pt x="2502" y="1109"/>
                  <a:pt x="2500" y="1109"/>
                </a:cubicBezTo>
                <a:cubicBezTo>
                  <a:pt x="2498" y="1110"/>
                  <a:pt x="2497" y="1111"/>
                  <a:pt x="2495" y="1112"/>
                </a:cubicBezTo>
                <a:cubicBezTo>
                  <a:pt x="2493" y="1112"/>
                  <a:pt x="2491" y="1113"/>
                  <a:pt x="2490" y="1114"/>
                </a:cubicBezTo>
                <a:cubicBezTo>
                  <a:pt x="2490" y="1114"/>
                  <a:pt x="2490" y="1114"/>
                  <a:pt x="2490" y="1124"/>
                </a:cubicBezTo>
                <a:cubicBezTo>
                  <a:pt x="2492" y="1123"/>
                  <a:pt x="2495" y="1122"/>
                  <a:pt x="2498" y="1121"/>
                </a:cubicBezTo>
                <a:cubicBezTo>
                  <a:pt x="2500" y="1120"/>
                  <a:pt x="2503" y="1119"/>
                  <a:pt x="2504" y="1117"/>
                </a:cubicBezTo>
                <a:cubicBezTo>
                  <a:pt x="2504" y="1117"/>
                  <a:pt x="2504" y="1117"/>
                  <a:pt x="2504" y="1176"/>
                </a:cubicBezTo>
                <a:cubicBezTo>
                  <a:pt x="2504" y="1176"/>
                  <a:pt x="2504" y="1176"/>
                  <a:pt x="2516" y="1176"/>
                </a:cubicBezTo>
                <a:cubicBezTo>
                  <a:pt x="2516" y="1176"/>
                  <a:pt x="2516" y="1176"/>
                  <a:pt x="2516" y="1103"/>
                </a:cubicBezTo>
                <a:close/>
                <a:moveTo>
                  <a:pt x="2272" y="1135"/>
                </a:moveTo>
                <a:cubicBezTo>
                  <a:pt x="2272" y="1135"/>
                  <a:pt x="2272" y="1135"/>
                  <a:pt x="2272" y="1135"/>
                </a:cubicBezTo>
                <a:cubicBezTo>
                  <a:pt x="2271" y="1143"/>
                  <a:pt x="2271" y="1143"/>
                  <a:pt x="2271" y="1143"/>
                </a:cubicBezTo>
                <a:cubicBezTo>
                  <a:pt x="2278" y="1144"/>
                  <a:pt x="2278" y="1147"/>
                  <a:pt x="2278" y="1149"/>
                </a:cubicBezTo>
                <a:cubicBezTo>
                  <a:pt x="2278" y="1152"/>
                  <a:pt x="2278" y="1154"/>
                  <a:pt x="2278" y="1157"/>
                </a:cubicBezTo>
                <a:cubicBezTo>
                  <a:pt x="2278" y="1159"/>
                  <a:pt x="2277" y="1161"/>
                  <a:pt x="2277" y="1164"/>
                </a:cubicBezTo>
                <a:cubicBezTo>
                  <a:pt x="2277" y="1173"/>
                  <a:pt x="2283" y="1176"/>
                  <a:pt x="2292" y="1176"/>
                </a:cubicBezTo>
                <a:cubicBezTo>
                  <a:pt x="2292" y="1176"/>
                  <a:pt x="2292" y="1176"/>
                  <a:pt x="2296" y="1176"/>
                </a:cubicBezTo>
                <a:cubicBezTo>
                  <a:pt x="2296" y="1176"/>
                  <a:pt x="2296" y="1176"/>
                  <a:pt x="2296" y="1167"/>
                </a:cubicBezTo>
                <a:cubicBezTo>
                  <a:pt x="2296" y="1167"/>
                  <a:pt x="2296" y="1167"/>
                  <a:pt x="2294" y="1167"/>
                </a:cubicBezTo>
                <a:cubicBezTo>
                  <a:pt x="2290" y="1167"/>
                  <a:pt x="2289" y="1165"/>
                  <a:pt x="2289" y="1161"/>
                </a:cubicBezTo>
                <a:cubicBezTo>
                  <a:pt x="2289" y="1160"/>
                  <a:pt x="2289" y="1158"/>
                  <a:pt x="2290" y="1157"/>
                </a:cubicBezTo>
                <a:cubicBezTo>
                  <a:pt x="2290" y="1155"/>
                  <a:pt x="2290" y="1153"/>
                  <a:pt x="2290" y="1151"/>
                </a:cubicBezTo>
                <a:cubicBezTo>
                  <a:pt x="2290" y="1143"/>
                  <a:pt x="2287" y="1140"/>
                  <a:pt x="2281" y="1139"/>
                </a:cubicBezTo>
                <a:cubicBezTo>
                  <a:pt x="2281" y="1139"/>
                  <a:pt x="2281" y="1139"/>
                  <a:pt x="2281" y="1139"/>
                </a:cubicBezTo>
                <a:cubicBezTo>
                  <a:pt x="2287" y="1138"/>
                  <a:pt x="2290" y="1136"/>
                  <a:pt x="2290" y="1128"/>
                </a:cubicBezTo>
                <a:cubicBezTo>
                  <a:pt x="2290" y="1126"/>
                  <a:pt x="2290" y="1124"/>
                  <a:pt x="2290" y="1122"/>
                </a:cubicBezTo>
                <a:cubicBezTo>
                  <a:pt x="2289" y="1120"/>
                  <a:pt x="2289" y="1118"/>
                  <a:pt x="2289" y="1117"/>
                </a:cubicBezTo>
                <a:cubicBezTo>
                  <a:pt x="2289" y="1114"/>
                  <a:pt x="2290" y="1111"/>
                  <a:pt x="2294" y="1111"/>
                </a:cubicBezTo>
                <a:cubicBezTo>
                  <a:pt x="2294" y="1111"/>
                  <a:pt x="2294" y="1111"/>
                  <a:pt x="2296" y="1111"/>
                </a:cubicBezTo>
                <a:cubicBezTo>
                  <a:pt x="2296" y="1111"/>
                  <a:pt x="2296" y="1111"/>
                  <a:pt x="2296" y="1102"/>
                </a:cubicBezTo>
                <a:cubicBezTo>
                  <a:pt x="2296" y="1102"/>
                  <a:pt x="2296" y="1102"/>
                  <a:pt x="2292" y="1102"/>
                </a:cubicBezTo>
                <a:cubicBezTo>
                  <a:pt x="2283" y="1102"/>
                  <a:pt x="2277" y="1106"/>
                  <a:pt x="2277" y="1115"/>
                </a:cubicBezTo>
                <a:cubicBezTo>
                  <a:pt x="2277" y="1117"/>
                  <a:pt x="2278" y="1120"/>
                  <a:pt x="2278" y="1122"/>
                </a:cubicBezTo>
                <a:cubicBezTo>
                  <a:pt x="2278" y="1124"/>
                  <a:pt x="2278" y="1127"/>
                  <a:pt x="2278" y="1129"/>
                </a:cubicBezTo>
                <a:cubicBezTo>
                  <a:pt x="2278" y="1131"/>
                  <a:pt x="2278" y="1135"/>
                  <a:pt x="2272" y="1135"/>
                </a:cubicBezTo>
                <a:close/>
                <a:moveTo>
                  <a:pt x="2326" y="1143"/>
                </a:moveTo>
                <a:cubicBezTo>
                  <a:pt x="2326" y="1143"/>
                  <a:pt x="2326" y="1143"/>
                  <a:pt x="2326" y="1143"/>
                </a:cubicBezTo>
                <a:cubicBezTo>
                  <a:pt x="2326" y="1135"/>
                  <a:pt x="2326" y="1135"/>
                  <a:pt x="2326" y="1135"/>
                </a:cubicBezTo>
                <a:cubicBezTo>
                  <a:pt x="2320" y="1135"/>
                  <a:pt x="2320" y="1131"/>
                  <a:pt x="2320" y="1129"/>
                </a:cubicBezTo>
                <a:cubicBezTo>
                  <a:pt x="2320" y="1127"/>
                  <a:pt x="2320" y="1124"/>
                  <a:pt x="2320" y="1122"/>
                </a:cubicBezTo>
                <a:cubicBezTo>
                  <a:pt x="2321" y="1120"/>
                  <a:pt x="2321" y="1117"/>
                  <a:pt x="2321" y="1115"/>
                </a:cubicBezTo>
                <a:cubicBezTo>
                  <a:pt x="2321" y="1106"/>
                  <a:pt x="2315" y="1102"/>
                  <a:pt x="2306" y="1102"/>
                </a:cubicBezTo>
                <a:cubicBezTo>
                  <a:pt x="2306" y="1102"/>
                  <a:pt x="2306" y="1102"/>
                  <a:pt x="2302" y="1102"/>
                </a:cubicBezTo>
                <a:cubicBezTo>
                  <a:pt x="2302" y="1102"/>
                  <a:pt x="2302" y="1102"/>
                  <a:pt x="2302" y="1111"/>
                </a:cubicBezTo>
                <a:cubicBezTo>
                  <a:pt x="2302" y="1111"/>
                  <a:pt x="2302" y="1111"/>
                  <a:pt x="2304" y="1111"/>
                </a:cubicBezTo>
                <a:cubicBezTo>
                  <a:pt x="2308" y="1111"/>
                  <a:pt x="2309" y="1114"/>
                  <a:pt x="2309" y="1117"/>
                </a:cubicBezTo>
                <a:cubicBezTo>
                  <a:pt x="2309" y="1118"/>
                  <a:pt x="2309" y="1120"/>
                  <a:pt x="2309" y="1122"/>
                </a:cubicBezTo>
                <a:cubicBezTo>
                  <a:pt x="2308" y="1124"/>
                  <a:pt x="2308" y="1126"/>
                  <a:pt x="2308" y="1128"/>
                </a:cubicBezTo>
                <a:cubicBezTo>
                  <a:pt x="2308" y="1136"/>
                  <a:pt x="2311" y="1138"/>
                  <a:pt x="2317" y="1139"/>
                </a:cubicBezTo>
                <a:cubicBezTo>
                  <a:pt x="2317" y="1139"/>
                  <a:pt x="2317" y="1139"/>
                  <a:pt x="2317" y="1139"/>
                </a:cubicBezTo>
                <a:cubicBezTo>
                  <a:pt x="2311" y="1140"/>
                  <a:pt x="2308" y="1143"/>
                  <a:pt x="2308" y="1151"/>
                </a:cubicBezTo>
                <a:cubicBezTo>
                  <a:pt x="2308" y="1153"/>
                  <a:pt x="2308" y="1155"/>
                  <a:pt x="2309" y="1157"/>
                </a:cubicBezTo>
                <a:cubicBezTo>
                  <a:pt x="2309" y="1158"/>
                  <a:pt x="2309" y="1160"/>
                  <a:pt x="2309" y="1161"/>
                </a:cubicBezTo>
                <a:cubicBezTo>
                  <a:pt x="2309" y="1165"/>
                  <a:pt x="2308" y="1167"/>
                  <a:pt x="2304" y="1167"/>
                </a:cubicBezTo>
                <a:cubicBezTo>
                  <a:pt x="2304" y="1167"/>
                  <a:pt x="2304" y="1167"/>
                  <a:pt x="2302" y="1167"/>
                </a:cubicBezTo>
                <a:cubicBezTo>
                  <a:pt x="2302" y="1167"/>
                  <a:pt x="2302" y="1167"/>
                  <a:pt x="2302" y="1176"/>
                </a:cubicBezTo>
                <a:cubicBezTo>
                  <a:pt x="2302" y="1176"/>
                  <a:pt x="2302" y="1176"/>
                  <a:pt x="2306" y="1176"/>
                </a:cubicBezTo>
                <a:cubicBezTo>
                  <a:pt x="2315" y="1176"/>
                  <a:pt x="2321" y="1173"/>
                  <a:pt x="2321" y="1164"/>
                </a:cubicBezTo>
                <a:cubicBezTo>
                  <a:pt x="2321" y="1161"/>
                  <a:pt x="2321" y="1159"/>
                  <a:pt x="2320" y="1157"/>
                </a:cubicBezTo>
                <a:cubicBezTo>
                  <a:pt x="2320" y="1154"/>
                  <a:pt x="2320" y="1152"/>
                  <a:pt x="2320" y="1149"/>
                </a:cubicBezTo>
                <a:cubicBezTo>
                  <a:pt x="2320" y="1147"/>
                  <a:pt x="2320" y="1144"/>
                  <a:pt x="2326" y="1143"/>
                </a:cubicBezTo>
                <a:close/>
                <a:moveTo>
                  <a:pt x="2653" y="1135"/>
                </a:moveTo>
                <a:cubicBezTo>
                  <a:pt x="2653" y="1135"/>
                  <a:pt x="2653" y="1135"/>
                  <a:pt x="2653" y="1135"/>
                </a:cubicBezTo>
                <a:cubicBezTo>
                  <a:pt x="2653" y="1143"/>
                  <a:pt x="2653" y="1143"/>
                  <a:pt x="2653" y="1143"/>
                </a:cubicBezTo>
                <a:cubicBezTo>
                  <a:pt x="2659" y="1144"/>
                  <a:pt x="2660" y="1147"/>
                  <a:pt x="2660" y="1149"/>
                </a:cubicBezTo>
                <a:cubicBezTo>
                  <a:pt x="2660" y="1152"/>
                  <a:pt x="2660" y="1154"/>
                  <a:pt x="2660" y="1157"/>
                </a:cubicBezTo>
                <a:cubicBezTo>
                  <a:pt x="2659" y="1159"/>
                  <a:pt x="2659" y="1161"/>
                  <a:pt x="2659" y="1164"/>
                </a:cubicBezTo>
                <a:cubicBezTo>
                  <a:pt x="2659" y="1173"/>
                  <a:pt x="2665" y="1176"/>
                  <a:pt x="2674" y="1176"/>
                </a:cubicBezTo>
                <a:cubicBezTo>
                  <a:pt x="2674" y="1176"/>
                  <a:pt x="2674" y="1176"/>
                  <a:pt x="2677" y="1176"/>
                </a:cubicBezTo>
                <a:cubicBezTo>
                  <a:pt x="2677" y="1176"/>
                  <a:pt x="2677" y="1176"/>
                  <a:pt x="2677" y="1167"/>
                </a:cubicBezTo>
                <a:cubicBezTo>
                  <a:pt x="2677" y="1167"/>
                  <a:pt x="2677" y="1167"/>
                  <a:pt x="2676" y="1167"/>
                </a:cubicBezTo>
                <a:cubicBezTo>
                  <a:pt x="2672" y="1167"/>
                  <a:pt x="2671" y="1165"/>
                  <a:pt x="2671" y="1161"/>
                </a:cubicBezTo>
                <a:cubicBezTo>
                  <a:pt x="2671" y="1160"/>
                  <a:pt x="2671" y="1158"/>
                  <a:pt x="2671" y="1157"/>
                </a:cubicBezTo>
                <a:cubicBezTo>
                  <a:pt x="2671" y="1155"/>
                  <a:pt x="2672" y="1153"/>
                  <a:pt x="2672" y="1151"/>
                </a:cubicBezTo>
                <a:cubicBezTo>
                  <a:pt x="2672" y="1143"/>
                  <a:pt x="2669" y="1140"/>
                  <a:pt x="2663" y="1139"/>
                </a:cubicBezTo>
                <a:cubicBezTo>
                  <a:pt x="2663" y="1139"/>
                  <a:pt x="2663" y="1139"/>
                  <a:pt x="2663" y="1139"/>
                </a:cubicBezTo>
                <a:cubicBezTo>
                  <a:pt x="2669" y="1138"/>
                  <a:pt x="2672" y="1136"/>
                  <a:pt x="2672" y="1128"/>
                </a:cubicBezTo>
                <a:cubicBezTo>
                  <a:pt x="2672" y="1126"/>
                  <a:pt x="2671" y="1124"/>
                  <a:pt x="2671" y="1122"/>
                </a:cubicBezTo>
                <a:cubicBezTo>
                  <a:pt x="2671" y="1120"/>
                  <a:pt x="2671" y="1118"/>
                  <a:pt x="2671" y="1117"/>
                </a:cubicBezTo>
                <a:cubicBezTo>
                  <a:pt x="2671" y="1114"/>
                  <a:pt x="2672" y="1111"/>
                  <a:pt x="2676" y="1111"/>
                </a:cubicBezTo>
                <a:cubicBezTo>
                  <a:pt x="2676" y="1111"/>
                  <a:pt x="2676" y="1111"/>
                  <a:pt x="2677" y="1111"/>
                </a:cubicBezTo>
                <a:cubicBezTo>
                  <a:pt x="2677" y="1111"/>
                  <a:pt x="2677" y="1111"/>
                  <a:pt x="2677" y="1102"/>
                </a:cubicBezTo>
                <a:cubicBezTo>
                  <a:pt x="2677" y="1102"/>
                  <a:pt x="2677" y="1102"/>
                  <a:pt x="2674" y="1102"/>
                </a:cubicBezTo>
                <a:cubicBezTo>
                  <a:pt x="2664" y="1102"/>
                  <a:pt x="2659" y="1106"/>
                  <a:pt x="2659" y="1115"/>
                </a:cubicBezTo>
                <a:cubicBezTo>
                  <a:pt x="2659" y="1117"/>
                  <a:pt x="2659" y="1120"/>
                  <a:pt x="2659" y="1122"/>
                </a:cubicBezTo>
                <a:cubicBezTo>
                  <a:pt x="2660" y="1124"/>
                  <a:pt x="2660" y="1127"/>
                  <a:pt x="2660" y="1129"/>
                </a:cubicBezTo>
                <a:cubicBezTo>
                  <a:pt x="2660" y="1131"/>
                  <a:pt x="2659" y="1135"/>
                  <a:pt x="2653" y="1135"/>
                </a:cubicBezTo>
                <a:close/>
                <a:moveTo>
                  <a:pt x="2708" y="1143"/>
                </a:moveTo>
                <a:cubicBezTo>
                  <a:pt x="2708" y="1143"/>
                  <a:pt x="2708" y="1143"/>
                  <a:pt x="2708" y="1143"/>
                </a:cubicBezTo>
                <a:cubicBezTo>
                  <a:pt x="2708" y="1135"/>
                  <a:pt x="2708" y="1135"/>
                  <a:pt x="2708" y="1135"/>
                </a:cubicBezTo>
                <a:cubicBezTo>
                  <a:pt x="2702" y="1135"/>
                  <a:pt x="2701" y="1131"/>
                  <a:pt x="2701" y="1129"/>
                </a:cubicBezTo>
                <a:cubicBezTo>
                  <a:pt x="2701" y="1127"/>
                  <a:pt x="2701" y="1124"/>
                  <a:pt x="2702" y="1122"/>
                </a:cubicBezTo>
                <a:cubicBezTo>
                  <a:pt x="2702" y="1120"/>
                  <a:pt x="2702" y="1117"/>
                  <a:pt x="2702" y="1115"/>
                </a:cubicBezTo>
                <a:cubicBezTo>
                  <a:pt x="2702" y="1106"/>
                  <a:pt x="2697" y="1102"/>
                  <a:pt x="2688" y="1102"/>
                </a:cubicBezTo>
                <a:cubicBezTo>
                  <a:pt x="2688" y="1102"/>
                  <a:pt x="2688" y="1102"/>
                  <a:pt x="2684" y="1102"/>
                </a:cubicBezTo>
                <a:cubicBezTo>
                  <a:pt x="2684" y="1102"/>
                  <a:pt x="2684" y="1102"/>
                  <a:pt x="2684" y="1111"/>
                </a:cubicBezTo>
                <a:cubicBezTo>
                  <a:pt x="2684" y="1111"/>
                  <a:pt x="2684" y="1111"/>
                  <a:pt x="2685" y="1111"/>
                </a:cubicBezTo>
                <a:cubicBezTo>
                  <a:pt x="2689" y="1111"/>
                  <a:pt x="2691" y="1114"/>
                  <a:pt x="2691" y="1117"/>
                </a:cubicBezTo>
                <a:cubicBezTo>
                  <a:pt x="2691" y="1118"/>
                  <a:pt x="2690" y="1120"/>
                  <a:pt x="2690" y="1122"/>
                </a:cubicBezTo>
                <a:cubicBezTo>
                  <a:pt x="2690" y="1124"/>
                  <a:pt x="2690" y="1126"/>
                  <a:pt x="2690" y="1128"/>
                </a:cubicBezTo>
                <a:cubicBezTo>
                  <a:pt x="2690" y="1136"/>
                  <a:pt x="2693" y="1138"/>
                  <a:pt x="2698" y="1139"/>
                </a:cubicBezTo>
                <a:cubicBezTo>
                  <a:pt x="2698" y="1139"/>
                  <a:pt x="2698" y="1139"/>
                  <a:pt x="2698" y="1139"/>
                </a:cubicBezTo>
                <a:cubicBezTo>
                  <a:pt x="2693" y="1140"/>
                  <a:pt x="2690" y="1143"/>
                  <a:pt x="2690" y="1151"/>
                </a:cubicBezTo>
                <a:cubicBezTo>
                  <a:pt x="2690" y="1153"/>
                  <a:pt x="2690" y="1155"/>
                  <a:pt x="2690" y="1157"/>
                </a:cubicBezTo>
                <a:cubicBezTo>
                  <a:pt x="2690" y="1158"/>
                  <a:pt x="2691" y="1160"/>
                  <a:pt x="2691" y="1161"/>
                </a:cubicBezTo>
                <a:cubicBezTo>
                  <a:pt x="2691" y="1165"/>
                  <a:pt x="2690" y="1167"/>
                  <a:pt x="2685" y="1167"/>
                </a:cubicBezTo>
                <a:cubicBezTo>
                  <a:pt x="2685" y="1167"/>
                  <a:pt x="2685" y="1167"/>
                  <a:pt x="2684" y="1167"/>
                </a:cubicBezTo>
                <a:cubicBezTo>
                  <a:pt x="2684" y="1167"/>
                  <a:pt x="2684" y="1167"/>
                  <a:pt x="2684" y="1176"/>
                </a:cubicBezTo>
                <a:cubicBezTo>
                  <a:pt x="2684" y="1176"/>
                  <a:pt x="2684" y="1176"/>
                  <a:pt x="2688" y="1176"/>
                </a:cubicBezTo>
                <a:cubicBezTo>
                  <a:pt x="2697" y="1176"/>
                  <a:pt x="2702" y="1173"/>
                  <a:pt x="2702" y="1164"/>
                </a:cubicBezTo>
                <a:cubicBezTo>
                  <a:pt x="2702" y="1161"/>
                  <a:pt x="2702" y="1159"/>
                  <a:pt x="2702" y="1157"/>
                </a:cubicBezTo>
                <a:cubicBezTo>
                  <a:pt x="2701" y="1154"/>
                  <a:pt x="2701" y="1152"/>
                  <a:pt x="2701" y="1149"/>
                </a:cubicBezTo>
                <a:cubicBezTo>
                  <a:pt x="2701" y="1147"/>
                  <a:pt x="2702" y="1144"/>
                  <a:pt x="2708" y="1143"/>
                </a:cubicBezTo>
                <a:close/>
                <a:moveTo>
                  <a:pt x="2756" y="1103"/>
                </a:moveTo>
                <a:cubicBezTo>
                  <a:pt x="2756" y="1103"/>
                  <a:pt x="2756" y="1103"/>
                  <a:pt x="2756" y="1103"/>
                </a:cubicBezTo>
                <a:cubicBezTo>
                  <a:pt x="2750" y="1103"/>
                  <a:pt x="2750" y="1103"/>
                  <a:pt x="2750" y="1103"/>
                </a:cubicBezTo>
                <a:cubicBezTo>
                  <a:pt x="2748" y="1104"/>
                  <a:pt x="2747" y="1106"/>
                  <a:pt x="2745" y="1107"/>
                </a:cubicBezTo>
                <a:cubicBezTo>
                  <a:pt x="2743" y="1108"/>
                  <a:pt x="2741" y="1109"/>
                  <a:pt x="2740" y="1109"/>
                </a:cubicBezTo>
                <a:cubicBezTo>
                  <a:pt x="2737" y="1110"/>
                  <a:pt x="2736" y="1111"/>
                  <a:pt x="2734" y="1112"/>
                </a:cubicBezTo>
                <a:cubicBezTo>
                  <a:pt x="2732" y="1112"/>
                  <a:pt x="2731" y="1113"/>
                  <a:pt x="2729" y="1114"/>
                </a:cubicBezTo>
                <a:cubicBezTo>
                  <a:pt x="2729" y="1114"/>
                  <a:pt x="2729" y="1114"/>
                  <a:pt x="2729" y="1124"/>
                </a:cubicBezTo>
                <a:cubicBezTo>
                  <a:pt x="2732" y="1123"/>
                  <a:pt x="2734" y="1122"/>
                  <a:pt x="2737" y="1121"/>
                </a:cubicBezTo>
                <a:cubicBezTo>
                  <a:pt x="2740" y="1120"/>
                  <a:pt x="2742" y="1119"/>
                  <a:pt x="2744" y="1117"/>
                </a:cubicBezTo>
                <a:cubicBezTo>
                  <a:pt x="2744" y="1117"/>
                  <a:pt x="2744" y="1117"/>
                  <a:pt x="2744" y="1176"/>
                </a:cubicBezTo>
                <a:cubicBezTo>
                  <a:pt x="2744" y="1176"/>
                  <a:pt x="2744" y="1176"/>
                  <a:pt x="2756" y="1176"/>
                </a:cubicBezTo>
                <a:cubicBezTo>
                  <a:pt x="2756" y="1176"/>
                  <a:pt x="2756" y="1176"/>
                  <a:pt x="2756" y="1103"/>
                </a:cubicBezTo>
                <a:close/>
                <a:moveTo>
                  <a:pt x="2803" y="1103"/>
                </a:moveTo>
                <a:cubicBezTo>
                  <a:pt x="2803" y="1103"/>
                  <a:pt x="2803" y="1103"/>
                  <a:pt x="2803" y="1103"/>
                </a:cubicBezTo>
                <a:cubicBezTo>
                  <a:pt x="2798" y="1103"/>
                  <a:pt x="2798" y="1103"/>
                  <a:pt x="2798" y="1103"/>
                </a:cubicBezTo>
                <a:cubicBezTo>
                  <a:pt x="2795" y="1104"/>
                  <a:pt x="2794" y="1106"/>
                  <a:pt x="2792" y="1107"/>
                </a:cubicBezTo>
                <a:cubicBezTo>
                  <a:pt x="2790" y="1108"/>
                  <a:pt x="2788" y="1109"/>
                  <a:pt x="2787" y="1109"/>
                </a:cubicBezTo>
                <a:cubicBezTo>
                  <a:pt x="2785" y="1111"/>
                  <a:pt x="2783" y="1112"/>
                  <a:pt x="2782" y="1112"/>
                </a:cubicBezTo>
                <a:cubicBezTo>
                  <a:pt x="2780" y="1113"/>
                  <a:pt x="2778" y="1114"/>
                  <a:pt x="2776" y="1114"/>
                </a:cubicBezTo>
                <a:cubicBezTo>
                  <a:pt x="2776" y="1114"/>
                  <a:pt x="2776" y="1114"/>
                  <a:pt x="2776" y="1124"/>
                </a:cubicBezTo>
                <a:cubicBezTo>
                  <a:pt x="2779" y="1123"/>
                  <a:pt x="2782" y="1123"/>
                  <a:pt x="2784" y="1121"/>
                </a:cubicBezTo>
                <a:cubicBezTo>
                  <a:pt x="2787" y="1120"/>
                  <a:pt x="2789" y="1119"/>
                  <a:pt x="2791" y="1117"/>
                </a:cubicBezTo>
                <a:cubicBezTo>
                  <a:pt x="2791" y="1117"/>
                  <a:pt x="2791" y="1117"/>
                  <a:pt x="2791" y="1176"/>
                </a:cubicBezTo>
                <a:cubicBezTo>
                  <a:pt x="2791" y="1176"/>
                  <a:pt x="2791" y="1176"/>
                  <a:pt x="2803" y="1176"/>
                </a:cubicBezTo>
                <a:cubicBezTo>
                  <a:pt x="2803" y="1176"/>
                  <a:pt x="2803" y="1176"/>
                  <a:pt x="2803" y="1103"/>
                </a:cubicBezTo>
                <a:close/>
                <a:moveTo>
                  <a:pt x="2849" y="1103"/>
                </a:moveTo>
                <a:cubicBezTo>
                  <a:pt x="2849" y="1103"/>
                  <a:pt x="2849" y="1103"/>
                  <a:pt x="2849" y="1103"/>
                </a:cubicBezTo>
                <a:cubicBezTo>
                  <a:pt x="2845" y="1103"/>
                  <a:pt x="2845" y="1103"/>
                  <a:pt x="2845" y="1103"/>
                </a:cubicBezTo>
                <a:cubicBezTo>
                  <a:pt x="2843" y="1104"/>
                  <a:pt x="2841" y="1106"/>
                  <a:pt x="2839" y="1107"/>
                </a:cubicBezTo>
                <a:cubicBezTo>
                  <a:pt x="2838" y="1108"/>
                  <a:pt x="2835" y="1109"/>
                  <a:pt x="2834" y="1109"/>
                </a:cubicBezTo>
                <a:cubicBezTo>
                  <a:pt x="2832" y="1111"/>
                  <a:pt x="2830" y="1112"/>
                  <a:pt x="2828" y="1112"/>
                </a:cubicBezTo>
                <a:cubicBezTo>
                  <a:pt x="2827" y="1113"/>
                  <a:pt x="2825" y="1114"/>
                  <a:pt x="2823" y="1114"/>
                </a:cubicBezTo>
                <a:cubicBezTo>
                  <a:pt x="2823" y="1114"/>
                  <a:pt x="2823" y="1114"/>
                  <a:pt x="2823" y="1124"/>
                </a:cubicBezTo>
                <a:cubicBezTo>
                  <a:pt x="2826" y="1123"/>
                  <a:pt x="2829" y="1123"/>
                  <a:pt x="2831" y="1121"/>
                </a:cubicBezTo>
                <a:cubicBezTo>
                  <a:pt x="2833" y="1120"/>
                  <a:pt x="2836" y="1119"/>
                  <a:pt x="2838" y="1117"/>
                </a:cubicBezTo>
                <a:cubicBezTo>
                  <a:pt x="2838" y="1117"/>
                  <a:pt x="2838" y="1117"/>
                  <a:pt x="2838" y="1176"/>
                </a:cubicBezTo>
                <a:cubicBezTo>
                  <a:pt x="2838" y="1176"/>
                  <a:pt x="2838" y="1176"/>
                  <a:pt x="2849" y="1176"/>
                </a:cubicBezTo>
                <a:cubicBezTo>
                  <a:pt x="2849" y="1176"/>
                  <a:pt x="2849" y="1176"/>
                  <a:pt x="2849" y="1103"/>
                </a:cubicBezTo>
                <a:close/>
                <a:moveTo>
                  <a:pt x="2972" y="1103"/>
                </a:moveTo>
                <a:cubicBezTo>
                  <a:pt x="2972" y="1103"/>
                  <a:pt x="2972" y="1103"/>
                  <a:pt x="2972" y="1103"/>
                </a:cubicBezTo>
                <a:cubicBezTo>
                  <a:pt x="2967" y="1103"/>
                  <a:pt x="2967" y="1103"/>
                  <a:pt x="2967" y="1103"/>
                </a:cubicBezTo>
                <a:cubicBezTo>
                  <a:pt x="2965" y="1104"/>
                  <a:pt x="2963" y="1106"/>
                  <a:pt x="2961" y="1107"/>
                </a:cubicBezTo>
                <a:cubicBezTo>
                  <a:pt x="2960" y="1108"/>
                  <a:pt x="2958" y="1109"/>
                  <a:pt x="2956" y="1109"/>
                </a:cubicBezTo>
                <a:cubicBezTo>
                  <a:pt x="2955" y="1111"/>
                  <a:pt x="2952" y="1112"/>
                  <a:pt x="2951" y="1112"/>
                </a:cubicBezTo>
                <a:cubicBezTo>
                  <a:pt x="2949" y="1113"/>
                  <a:pt x="2947" y="1114"/>
                  <a:pt x="2945" y="1114"/>
                </a:cubicBezTo>
                <a:cubicBezTo>
                  <a:pt x="2945" y="1114"/>
                  <a:pt x="2945" y="1114"/>
                  <a:pt x="2945" y="1124"/>
                </a:cubicBezTo>
                <a:cubicBezTo>
                  <a:pt x="2948" y="1123"/>
                  <a:pt x="2951" y="1123"/>
                  <a:pt x="2954" y="1121"/>
                </a:cubicBezTo>
                <a:cubicBezTo>
                  <a:pt x="2956" y="1120"/>
                  <a:pt x="2958" y="1119"/>
                  <a:pt x="2960" y="1117"/>
                </a:cubicBezTo>
                <a:cubicBezTo>
                  <a:pt x="2960" y="1117"/>
                  <a:pt x="2960" y="1117"/>
                  <a:pt x="2960" y="1176"/>
                </a:cubicBezTo>
                <a:cubicBezTo>
                  <a:pt x="2960" y="1176"/>
                  <a:pt x="2960" y="1176"/>
                  <a:pt x="2972" y="1176"/>
                </a:cubicBezTo>
                <a:cubicBezTo>
                  <a:pt x="2972" y="1176"/>
                  <a:pt x="2972" y="1176"/>
                  <a:pt x="2972" y="1103"/>
                </a:cubicBezTo>
                <a:close/>
                <a:moveTo>
                  <a:pt x="3020" y="1103"/>
                </a:moveTo>
                <a:cubicBezTo>
                  <a:pt x="3020" y="1103"/>
                  <a:pt x="3020" y="1103"/>
                  <a:pt x="3020" y="1103"/>
                </a:cubicBezTo>
                <a:cubicBezTo>
                  <a:pt x="3014" y="1103"/>
                  <a:pt x="3014" y="1103"/>
                  <a:pt x="3014" y="1103"/>
                </a:cubicBezTo>
                <a:cubicBezTo>
                  <a:pt x="3012" y="1104"/>
                  <a:pt x="3011" y="1106"/>
                  <a:pt x="3009" y="1107"/>
                </a:cubicBezTo>
                <a:cubicBezTo>
                  <a:pt x="3007" y="1108"/>
                  <a:pt x="3005" y="1109"/>
                  <a:pt x="3004" y="1109"/>
                </a:cubicBezTo>
                <a:cubicBezTo>
                  <a:pt x="3002" y="1111"/>
                  <a:pt x="3000" y="1112"/>
                  <a:pt x="2998" y="1112"/>
                </a:cubicBezTo>
                <a:cubicBezTo>
                  <a:pt x="2996" y="1113"/>
                  <a:pt x="2995" y="1114"/>
                  <a:pt x="2993" y="1114"/>
                </a:cubicBezTo>
                <a:cubicBezTo>
                  <a:pt x="2993" y="1114"/>
                  <a:pt x="2993" y="1114"/>
                  <a:pt x="2993" y="1124"/>
                </a:cubicBezTo>
                <a:cubicBezTo>
                  <a:pt x="2996" y="1123"/>
                  <a:pt x="2998" y="1123"/>
                  <a:pt x="3001" y="1121"/>
                </a:cubicBezTo>
                <a:cubicBezTo>
                  <a:pt x="3004" y="1120"/>
                  <a:pt x="3006" y="1119"/>
                  <a:pt x="3008" y="1117"/>
                </a:cubicBezTo>
                <a:cubicBezTo>
                  <a:pt x="3008" y="1117"/>
                  <a:pt x="3008" y="1117"/>
                  <a:pt x="3008" y="1176"/>
                </a:cubicBezTo>
                <a:cubicBezTo>
                  <a:pt x="3008" y="1176"/>
                  <a:pt x="3008" y="1176"/>
                  <a:pt x="3020" y="1176"/>
                </a:cubicBezTo>
                <a:cubicBezTo>
                  <a:pt x="3020" y="1176"/>
                  <a:pt x="3020" y="1176"/>
                  <a:pt x="3020" y="1103"/>
                </a:cubicBezTo>
                <a:close/>
                <a:moveTo>
                  <a:pt x="3066" y="1103"/>
                </a:moveTo>
                <a:cubicBezTo>
                  <a:pt x="3066" y="1103"/>
                  <a:pt x="3066" y="1103"/>
                  <a:pt x="3066" y="1103"/>
                </a:cubicBezTo>
                <a:cubicBezTo>
                  <a:pt x="3062" y="1103"/>
                  <a:pt x="3062" y="1103"/>
                  <a:pt x="3062" y="1103"/>
                </a:cubicBezTo>
                <a:cubicBezTo>
                  <a:pt x="3060" y="1104"/>
                  <a:pt x="3058" y="1106"/>
                  <a:pt x="3056" y="1107"/>
                </a:cubicBezTo>
                <a:cubicBezTo>
                  <a:pt x="3055" y="1108"/>
                  <a:pt x="3052" y="1109"/>
                  <a:pt x="3051" y="1109"/>
                </a:cubicBezTo>
                <a:cubicBezTo>
                  <a:pt x="3049" y="1110"/>
                  <a:pt x="3047" y="1111"/>
                  <a:pt x="3045" y="1112"/>
                </a:cubicBezTo>
                <a:cubicBezTo>
                  <a:pt x="3044" y="1112"/>
                  <a:pt x="3042" y="1113"/>
                  <a:pt x="3040" y="1114"/>
                </a:cubicBezTo>
                <a:cubicBezTo>
                  <a:pt x="3040" y="1114"/>
                  <a:pt x="3040" y="1114"/>
                  <a:pt x="3040" y="1124"/>
                </a:cubicBezTo>
                <a:cubicBezTo>
                  <a:pt x="3043" y="1123"/>
                  <a:pt x="3046" y="1122"/>
                  <a:pt x="3048" y="1121"/>
                </a:cubicBezTo>
                <a:cubicBezTo>
                  <a:pt x="3050" y="1120"/>
                  <a:pt x="3053" y="1119"/>
                  <a:pt x="3055" y="1117"/>
                </a:cubicBezTo>
                <a:cubicBezTo>
                  <a:pt x="3055" y="1117"/>
                  <a:pt x="3055" y="1117"/>
                  <a:pt x="3055" y="1176"/>
                </a:cubicBezTo>
                <a:cubicBezTo>
                  <a:pt x="3055" y="1176"/>
                  <a:pt x="3055" y="1176"/>
                  <a:pt x="3066" y="1176"/>
                </a:cubicBezTo>
                <a:cubicBezTo>
                  <a:pt x="3066" y="1176"/>
                  <a:pt x="3066" y="1176"/>
                  <a:pt x="3066" y="1103"/>
                </a:cubicBezTo>
                <a:close/>
                <a:moveTo>
                  <a:pt x="3111" y="1176"/>
                </a:moveTo>
                <a:cubicBezTo>
                  <a:pt x="3104" y="1176"/>
                  <a:pt x="3097" y="1173"/>
                  <a:pt x="3093" y="1168"/>
                </a:cubicBezTo>
                <a:cubicBezTo>
                  <a:pt x="3089" y="1161"/>
                  <a:pt x="3087" y="1152"/>
                  <a:pt x="3087" y="1140"/>
                </a:cubicBezTo>
                <a:cubicBezTo>
                  <a:pt x="3087" y="1127"/>
                  <a:pt x="3089" y="1117"/>
                  <a:pt x="3093" y="1111"/>
                </a:cubicBezTo>
                <a:cubicBezTo>
                  <a:pt x="3098" y="1104"/>
                  <a:pt x="3104" y="1101"/>
                  <a:pt x="3113" y="1101"/>
                </a:cubicBezTo>
                <a:cubicBezTo>
                  <a:pt x="3129" y="1101"/>
                  <a:pt x="3137" y="1113"/>
                  <a:pt x="3137" y="1138"/>
                </a:cubicBezTo>
                <a:cubicBezTo>
                  <a:pt x="3137" y="1151"/>
                  <a:pt x="3135" y="1160"/>
                  <a:pt x="3130" y="1167"/>
                </a:cubicBezTo>
                <a:cubicBezTo>
                  <a:pt x="3125" y="1173"/>
                  <a:pt x="3119" y="1176"/>
                  <a:pt x="3111" y="1176"/>
                </a:cubicBezTo>
                <a:close/>
                <a:moveTo>
                  <a:pt x="3112" y="1110"/>
                </a:moveTo>
                <a:cubicBezTo>
                  <a:pt x="3103" y="1110"/>
                  <a:pt x="3098" y="1120"/>
                  <a:pt x="3098" y="1140"/>
                </a:cubicBezTo>
                <a:cubicBezTo>
                  <a:pt x="3098" y="1158"/>
                  <a:pt x="3103" y="1167"/>
                  <a:pt x="3112" y="1167"/>
                </a:cubicBezTo>
                <a:cubicBezTo>
                  <a:pt x="3120" y="1167"/>
                  <a:pt x="3125" y="1158"/>
                  <a:pt x="3125" y="1139"/>
                </a:cubicBezTo>
                <a:cubicBezTo>
                  <a:pt x="3125" y="1119"/>
                  <a:pt x="3120" y="1110"/>
                  <a:pt x="3112" y="1110"/>
                </a:cubicBezTo>
                <a:close/>
                <a:moveTo>
                  <a:pt x="3182" y="1176"/>
                </a:moveTo>
                <a:cubicBezTo>
                  <a:pt x="3174" y="1176"/>
                  <a:pt x="3168" y="1173"/>
                  <a:pt x="3164" y="1168"/>
                </a:cubicBezTo>
                <a:cubicBezTo>
                  <a:pt x="3160" y="1161"/>
                  <a:pt x="3157" y="1152"/>
                  <a:pt x="3157" y="1140"/>
                </a:cubicBezTo>
                <a:cubicBezTo>
                  <a:pt x="3157" y="1127"/>
                  <a:pt x="3160" y="1117"/>
                  <a:pt x="3164" y="1111"/>
                </a:cubicBezTo>
                <a:cubicBezTo>
                  <a:pt x="3168" y="1104"/>
                  <a:pt x="3175" y="1101"/>
                  <a:pt x="3184" y="1101"/>
                </a:cubicBezTo>
                <a:cubicBezTo>
                  <a:pt x="3200" y="1101"/>
                  <a:pt x="3208" y="1113"/>
                  <a:pt x="3208" y="1138"/>
                </a:cubicBezTo>
                <a:cubicBezTo>
                  <a:pt x="3208" y="1151"/>
                  <a:pt x="3206" y="1160"/>
                  <a:pt x="3202" y="1167"/>
                </a:cubicBezTo>
                <a:cubicBezTo>
                  <a:pt x="3196" y="1173"/>
                  <a:pt x="3190" y="1176"/>
                  <a:pt x="3182" y="1176"/>
                </a:cubicBezTo>
                <a:close/>
                <a:moveTo>
                  <a:pt x="3183" y="1110"/>
                </a:moveTo>
                <a:cubicBezTo>
                  <a:pt x="3174" y="1110"/>
                  <a:pt x="3169" y="1120"/>
                  <a:pt x="3169" y="1140"/>
                </a:cubicBezTo>
                <a:cubicBezTo>
                  <a:pt x="3169" y="1158"/>
                  <a:pt x="3174" y="1167"/>
                  <a:pt x="3182" y="1167"/>
                </a:cubicBezTo>
                <a:cubicBezTo>
                  <a:pt x="3191" y="1167"/>
                  <a:pt x="3196" y="1158"/>
                  <a:pt x="3196" y="1139"/>
                </a:cubicBezTo>
                <a:cubicBezTo>
                  <a:pt x="3196" y="1119"/>
                  <a:pt x="3191" y="1110"/>
                  <a:pt x="3183" y="1110"/>
                </a:cubicBezTo>
                <a:close/>
                <a:moveTo>
                  <a:pt x="2870" y="1135"/>
                </a:moveTo>
                <a:cubicBezTo>
                  <a:pt x="2870" y="1135"/>
                  <a:pt x="2870" y="1135"/>
                  <a:pt x="2870" y="1135"/>
                </a:cubicBezTo>
                <a:cubicBezTo>
                  <a:pt x="2869" y="1143"/>
                  <a:pt x="2869" y="1143"/>
                  <a:pt x="2869" y="1143"/>
                </a:cubicBezTo>
                <a:cubicBezTo>
                  <a:pt x="2876" y="1144"/>
                  <a:pt x="2876" y="1147"/>
                  <a:pt x="2876" y="1149"/>
                </a:cubicBezTo>
                <a:cubicBezTo>
                  <a:pt x="2876" y="1152"/>
                  <a:pt x="2876" y="1154"/>
                  <a:pt x="2876" y="1157"/>
                </a:cubicBezTo>
                <a:cubicBezTo>
                  <a:pt x="2876" y="1159"/>
                  <a:pt x="2875" y="1161"/>
                  <a:pt x="2875" y="1164"/>
                </a:cubicBezTo>
                <a:cubicBezTo>
                  <a:pt x="2875" y="1173"/>
                  <a:pt x="2881" y="1176"/>
                  <a:pt x="2890" y="1176"/>
                </a:cubicBezTo>
                <a:cubicBezTo>
                  <a:pt x="2890" y="1176"/>
                  <a:pt x="2890" y="1176"/>
                  <a:pt x="2894" y="1176"/>
                </a:cubicBezTo>
                <a:cubicBezTo>
                  <a:pt x="2894" y="1176"/>
                  <a:pt x="2894" y="1176"/>
                  <a:pt x="2894" y="1167"/>
                </a:cubicBezTo>
                <a:cubicBezTo>
                  <a:pt x="2894" y="1167"/>
                  <a:pt x="2894" y="1167"/>
                  <a:pt x="2892" y="1167"/>
                </a:cubicBezTo>
                <a:cubicBezTo>
                  <a:pt x="2889" y="1167"/>
                  <a:pt x="2887" y="1165"/>
                  <a:pt x="2887" y="1161"/>
                </a:cubicBezTo>
                <a:cubicBezTo>
                  <a:pt x="2887" y="1160"/>
                  <a:pt x="2887" y="1158"/>
                  <a:pt x="2888" y="1157"/>
                </a:cubicBezTo>
                <a:cubicBezTo>
                  <a:pt x="2888" y="1155"/>
                  <a:pt x="2888" y="1153"/>
                  <a:pt x="2888" y="1151"/>
                </a:cubicBezTo>
                <a:cubicBezTo>
                  <a:pt x="2888" y="1143"/>
                  <a:pt x="2885" y="1140"/>
                  <a:pt x="2879" y="1139"/>
                </a:cubicBezTo>
                <a:cubicBezTo>
                  <a:pt x="2879" y="1139"/>
                  <a:pt x="2879" y="1139"/>
                  <a:pt x="2879" y="1139"/>
                </a:cubicBezTo>
                <a:cubicBezTo>
                  <a:pt x="2885" y="1138"/>
                  <a:pt x="2888" y="1136"/>
                  <a:pt x="2888" y="1128"/>
                </a:cubicBezTo>
                <a:cubicBezTo>
                  <a:pt x="2888" y="1126"/>
                  <a:pt x="2888" y="1124"/>
                  <a:pt x="2888" y="1122"/>
                </a:cubicBezTo>
                <a:cubicBezTo>
                  <a:pt x="2887" y="1120"/>
                  <a:pt x="2887" y="1118"/>
                  <a:pt x="2887" y="1117"/>
                </a:cubicBezTo>
                <a:cubicBezTo>
                  <a:pt x="2887" y="1114"/>
                  <a:pt x="2889" y="1111"/>
                  <a:pt x="2892" y="1111"/>
                </a:cubicBezTo>
                <a:cubicBezTo>
                  <a:pt x="2892" y="1111"/>
                  <a:pt x="2892" y="1111"/>
                  <a:pt x="2894" y="1111"/>
                </a:cubicBezTo>
                <a:cubicBezTo>
                  <a:pt x="2894" y="1111"/>
                  <a:pt x="2894" y="1111"/>
                  <a:pt x="2894" y="1102"/>
                </a:cubicBezTo>
                <a:cubicBezTo>
                  <a:pt x="2894" y="1102"/>
                  <a:pt x="2894" y="1102"/>
                  <a:pt x="2890" y="1102"/>
                </a:cubicBezTo>
                <a:cubicBezTo>
                  <a:pt x="2881" y="1102"/>
                  <a:pt x="2875" y="1106"/>
                  <a:pt x="2875" y="1115"/>
                </a:cubicBezTo>
                <a:cubicBezTo>
                  <a:pt x="2875" y="1117"/>
                  <a:pt x="2876" y="1120"/>
                  <a:pt x="2876" y="1122"/>
                </a:cubicBezTo>
                <a:cubicBezTo>
                  <a:pt x="2876" y="1124"/>
                  <a:pt x="2876" y="1127"/>
                  <a:pt x="2876" y="1129"/>
                </a:cubicBezTo>
                <a:cubicBezTo>
                  <a:pt x="2876" y="1131"/>
                  <a:pt x="2876" y="1135"/>
                  <a:pt x="2870" y="1135"/>
                </a:cubicBezTo>
                <a:close/>
                <a:moveTo>
                  <a:pt x="2924" y="1143"/>
                </a:moveTo>
                <a:cubicBezTo>
                  <a:pt x="2924" y="1143"/>
                  <a:pt x="2924" y="1143"/>
                  <a:pt x="2924" y="1143"/>
                </a:cubicBezTo>
                <a:cubicBezTo>
                  <a:pt x="2924" y="1135"/>
                  <a:pt x="2924" y="1135"/>
                  <a:pt x="2924" y="1135"/>
                </a:cubicBezTo>
                <a:cubicBezTo>
                  <a:pt x="2918" y="1135"/>
                  <a:pt x="2918" y="1131"/>
                  <a:pt x="2918" y="1129"/>
                </a:cubicBezTo>
                <a:cubicBezTo>
                  <a:pt x="2918" y="1127"/>
                  <a:pt x="2918" y="1124"/>
                  <a:pt x="2918" y="1122"/>
                </a:cubicBezTo>
                <a:cubicBezTo>
                  <a:pt x="2919" y="1120"/>
                  <a:pt x="2919" y="1117"/>
                  <a:pt x="2919" y="1115"/>
                </a:cubicBezTo>
                <a:cubicBezTo>
                  <a:pt x="2919" y="1106"/>
                  <a:pt x="2913" y="1102"/>
                  <a:pt x="2904" y="1102"/>
                </a:cubicBezTo>
                <a:cubicBezTo>
                  <a:pt x="2904" y="1102"/>
                  <a:pt x="2904" y="1102"/>
                  <a:pt x="2900" y="1102"/>
                </a:cubicBezTo>
                <a:cubicBezTo>
                  <a:pt x="2900" y="1102"/>
                  <a:pt x="2900" y="1102"/>
                  <a:pt x="2900" y="1111"/>
                </a:cubicBezTo>
                <a:cubicBezTo>
                  <a:pt x="2900" y="1111"/>
                  <a:pt x="2900" y="1111"/>
                  <a:pt x="2902" y="1111"/>
                </a:cubicBezTo>
                <a:cubicBezTo>
                  <a:pt x="2906" y="1111"/>
                  <a:pt x="2907" y="1114"/>
                  <a:pt x="2907" y="1117"/>
                </a:cubicBezTo>
                <a:cubicBezTo>
                  <a:pt x="2907" y="1118"/>
                  <a:pt x="2907" y="1120"/>
                  <a:pt x="2907" y="1122"/>
                </a:cubicBezTo>
                <a:cubicBezTo>
                  <a:pt x="2906" y="1124"/>
                  <a:pt x="2906" y="1126"/>
                  <a:pt x="2906" y="1128"/>
                </a:cubicBezTo>
                <a:cubicBezTo>
                  <a:pt x="2906" y="1136"/>
                  <a:pt x="2909" y="1138"/>
                  <a:pt x="2915" y="1139"/>
                </a:cubicBezTo>
                <a:cubicBezTo>
                  <a:pt x="2915" y="1139"/>
                  <a:pt x="2915" y="1139"/>
                  <a:pt x="2915" y="1139"/>
                </a:cubicBezTo>
                <a:cubicBezTo>
                  <a:pt x="2909" y="1140"/>
                  <a:pt x="2906" y="1143"/>
                  <a:pt x="2906" y="1151"/>
                </a:cubicBezTo>
                <a:cubicBezTo>
                  <a:pt x="2906" y="1153"/>
                  <a:pt x="2906" y="1155"/>
                  <a:pt x="2907" y="1157"/>
                </a:cubicBezTo>
                <a:cubicBezTo>
                  <a:pt x="2907" y="1158"/>
                  <a:pt x="2907" y="1160"/>
                  <a:pt x="2907" y="1161"/>
                </a:cubicBezTo>
                <a:cubicBezTo>
                  <a:pt x="2907" y="1165"/>
                  <a:pt x="2906" y="1167"/>
                  <a:pt x="2902" y="1167"/>
                </a:cubicBezTo>
                <a:cubicBezTo>
                  <a:pt x="2902" y="1167"/>
                  <a:pt x="2902" y="1167"/>
                  <a:pt x="2900" y="1167"/>
                </a:cubicBezTo>
                <a:cubicBezTo>
                  <a:pt x="2900" y="1167"/>
                  <a:pt x="2900" y="1167"/>
                  <a:pt x="2900" y="1176"/>
                </a:cubicBezTo>
                <a:cubicBezTo>
                  <a:pt x="2900" y="1176"/>
                  <a:pt x="2900" y="1176"/>
                  <a:pt x="2904" y="1176"/>
                </a:cubicBezTo>
                <a:cubicBezTo>
                  <a:pt x="2913" y="1176"/>
                  <a:pt x="2919" y="1173"/>
                  <a:pt x="2919" y="1164"/>
                </a:cubicBezTo>
                <a:cubicBezTo>
                  <a:pt x="2919" y="1161"/>
                  <a:pt x="2919" y="1159"/>
                  <a:pt x="2918" y="1157"/>
                </a:cubicBezTo>
                <a:cubicBezTo>
                  <a:pt x="2918" y="1154"/>
                  <a:pt x="2918" y="1152"/>
                  <a:pt x="2918" y="1149"/>
                </a:cubicBezTo>
                <a:cubicBezTo>
                  <a:pt x="2918" y="1147"/>
                  <a:pt x="2918" y="1144"/>
                  <a:pt x="2924" y="1143"/>
                </a:cubicBezTo>
                <a:close/>
                <a:moveTo>
                  <a:pt x="3685" y="1143"/>
                </a:moveTo>
                <a:cubicBezTo>
                  <a:pt x="3685" y="1143"/>
                  <a:pt x="3685" y="1143"/>
                  <a:pt x="3685" y="1143"/>
                </a:cubicBezTo>
                <a:cubicBezTo>
                  <a:pt x="3685" y="1135"/>
                  <a:pt x="3685" y="1135"/>
                  <a:pt x="3685" y="1135"/>
                </a:cubicBezTo>
                <a:cubicBezTo>
                  <a:pt x="3679" y="1135"/>
                  <a:pt x="3678" y="1131"/>
                  <a:pt x="3678" y="1129"/>
                </a:cubicBezTo>
                <a:cubicBezTo>
                  <a:pt x="3678" y="1127"/>
                  <a:pt x="3678" y="1124"/>
                  <a:pt x="3679" y="1122"/>
                </a:cubicBezTo>
                <a:cubicBezTo>
                  <a:pt x="3679" y="1120"/>
                  <a:pt x="3679" y="1117"/>
                  <a:pt x="3679" y="1115"/>
                </a:cubicBezTo>
                <a:cubicBezTo>
                  <a:pt x="3679" y="1106"/>
                  <a:pt x="3674" y="1102"/>
                  <a:pt x="3665" y="1102"/>
                </a:cubicBezTo>
                <a:cubicBezTo>
                  <a:pt x="3665" y="1102"/>
                  <a:pt x="3665" y="1102"/>
                  <a:pt x="3661" y="1102"/>
                </a:cubicBezTo>
                <a:cubicBezTo>
                  <a:pt x="3661" y="1102"/>
                  <a:pt x="3661" y="1102"/>
                  <a:pt x="3661" y="1111"/>
                </a:cubicBezTo>
                <a:cubicBezTo>
                  <a:pt x="3661" y="1111"/>
                  <a:pt x="3661" y="1111"/>
                  <a:pt x="3662" y="1111"/>
                </a:cubicBezTo>
                <a:cubicBezTo>
                  <a:pt x="3666" y="1111"/>
                  <a:pt x="3667" y="1114"/>
                  <a:pt x="3667" y="1117"/>
                </a:cubicBezTo>
                <a:cubicBezTo>
                  <a:pt x="3667" y="1118"/>
                  <a:pt x="3667" y="1120"/>
                  <a:pt x="3667" y="1122"/>
                </a:cubicBezTo>
                <a:cubicBezTo>
                  <a:pt x="3667" y="1124"/>
                  <a:pt x="3667" y="1126"/>
                  <a:pt x="3667" y="1128"/>
                </a:cubicBezTo>
                <a:cubicBezTo>
                  <a:pt x="3667" y="1136"/>
                  <a:pt x="3669" y="1138"/>
                  <a:pt x="3675" y="1139"/>
                </a:cubicBezTo>
                <a:cubicBezTo>
                  <a:pt x="3675" y="1139"/>
                  <a:pt x="3675" y="1139"/>
                  <a:pt x="3675" y="1139"/>
                </a:cubicBezTo>
                <a:cubicBezTo>
                  <a:pt x="3669" y="1140"/>
                  <a:pt x="3667" y="1143"/>
                  <a:pt x="3667" y="1151"/>
                </a:cubicBezTo>
                <a:cubicBezTo>
                  <a:pt x="3667" y="1153"/>
                  <a:pt x="3667" y="1155"/>
                  <a:pt x="3667" y="1157"/>
                </a:cubicBezTo>
                <a:cubicBezTo>
                  <a:pt x="3667" y="1158"/>
                  <a:pt x="3667" y="1160"/>
                  <a:pt x="3667" y="1161"/>
                </a:cubicBezTo>
                <a:cubicBezTo>
                  <a:pt x="3667" y="1165"/>
                  <a:pt x="3666" y="1167"/>
                  <a:pt x="3662" y="1167"/>
                </a:cubicBezTo>
                <a:cubicBezTo>
                  <a:pt x="3662" y="1167"/>
                  <a:pt x="3662" y="1167"/>
                  <a:pt x="3661" y="1167"/>
                </a:cubicBezTo>
                <a:cubicBezTo>
                  <a:pt x="3661" y="1167"/>
                  <a:pt x="3661" y="1167"/>
                  <a:pt x="3661" y="1176"/>
                </a:cubicBezTo>
                <a:cubicBezTo>
                  <a:pt x="3661" y="1176"/>
                  <a:pt x="3661" y="1176"/>
                  <a:pt x="3665" y="1176"/>
                </a:cubicBezTo>
                <a:cubicBezTo>
                  <a:pt x="3673" y="1176"/>
                  <a:pt x="3679" y="1173"/>
                  <a:pt x="3679" y="1164"/>
                </a:cubicBezTo>
                <a:cubicBezTo>
                  <a:pt x="3679" y="1161"/>
                  <a:pt x="3679" y="1159"/>
                  <a:pt x="3679" y="1157"/>
                </a:cubicBezTo>
                <a:cubicBezTo>
                  <a:pt x="3678" y="1154"/>
                  <a:pt x="3678" y="1152"/>
                  <a:pt x="3678" y="1149"/>
                </a:cubicBezTo>
                <a:cubicBezTo>
                  <a:pt x="3678" y="1147"/>
                  <a:pt x="3679" y="1144"/>
                  <a:pt x="3685" y="1143"/>
                </a:cubicBezTo>
                <a:close/>
                <a:moveTo>
                  <a:pt x="3805" y="1176"/>
                </a:moveTo>
                <a:cubicBezTo>
                  <a:pt x="3798" y="1176"/>
                  <a:pt x="3791" y="1173"/>
                  <a:pt x="3787" y="1168"/>
                </a:cubicBezTo>
                <a:cubicBezTo>
                  <a:pt x="3783" y="1161"/>
                  <a:pt x="3781" y="1152"/>
                  <a:pt x="3781" y="1140"/>
                </a:cubicBezTo>
                <a:cubicBezTo>
                  <a:pt x="3781" y="1127"/>
                  <a:pt x="3783" y="1117"/>
                  <a:pt x="3787" y="1111"/>
                </a:cubicBezTo>
                <a:cubicBezTo>
                  <a:pt x="3792" y="1104"/>
                  <a:pt x="3798" y="1101"/>
                  <a:pt x="3807" y="1101"/>
                </a:cubicBezTo>
                <a:cubicBezTo>
                  <a:pt x="3823" y="1101"/>
                  <a:pt x="3831" y="1113"/>
                  <a:pt x="3831" y="1138"/>
                </a:cubicBezTo>
                <a:cubicBezTo>
                  <a:pt x="3831" y="1151"/>
                  <a:pt x="3829" y="1160"/>
                  <a:pt x="3824" y="1167"/>
                </a:cubicBezTo>
                <a:cubicBezTo>
                  <a:pt x="3820" y="1173"/>
                  <a:pt x="3813" y="1176"/>
                  <a:pt x="3805" y="1176"/>
                </a:cubicBezTo>
                <a:close/>
                <a:moveTo>
                  <a:pt x="3806" y="1110"/>
                </a:moveTo>
                <a:cubicBezTo>
                  <a:pt x="3797" y="1110"/>
                  <a:pt x="3793" y="1120"/>
                  <a:pt x="3793" y="1140"/>
                </a:cubicBezTo>
                <a:cubicBezTo>
                  <a:pt x="3793" y="1158"/>
                  <a:pt x="3797" y="1167"/>
                  <a:pt x="3806" y="1167"/>
                </a:cubicBezTo>
                <a:cubicBezTo>
                  <a:pt x="3814" y="1167"/>
                  <a:pt x="3819" y="1158"/>
                  <a:pt x="3819" y="1139"/>
                </a:cubicBezTo>
                <a:cubicBezTo>
                  <a:pt x="3819" y="1119"/>
                  <a:pt x="3814" y="1110"/>
                  <a:pt x="3806" y="1110"/>
                </a:cubicBezTo>
                <a:close/>
                <a:moveTo>
                  <a:pt x="3711" y="1176"/>
                </a:moveTo>
                <a:cubicBezTo>
                  <a:pt x="3714" y="1157"/>
                  <a:pt x="3714" y="1157"/>
                  <a:pt x="3714" y="1157"/>
                </a:cubicBezTo>
                <a:cubicBezTo>
                  <a:pt x="3705" y="1157"/>
                  <a:pt x="3705" y="1157"/>
                  <a:pt x="3705" y="1157"/>
                </a:cubicBezTo>
                <a:cubicBezTo>
                  <a:pt x="3705" y="1145"/>
                  <a:pt x="3705" y="1145"/>
                  <a:pt x="3705" y="1145"/>
                </a:cubicBezTo>
                <a:cubicBezTo>
                  <a:pt x="3716" y="1145"/>
                  <a:pt x="3716" y="1145"/>
                  <a:pt x="3716" y="1145"/>
                </a:cubicBezTo>
                <a:cubicBezTo>
                  <a:pt x="3718" y="1134"/>
                  <a:pt x="3718" y="1134"/>
                  <a:pt x="3718" y="1134"/>
                </a:cubicBezTo>
                <a:cubicBezTo>
                  <a:pt x="3708" y="1134"/>
                  <a:pt x="3708" y="1134"/>
                  <a:pt x="3708" y="1134"/>
                </a:cubicBezTo>
                <a:cubicBezTo>
                  <a:pt x="3708" y="1122"/>
                  <a:pt x="3708" y="1122"/>
                  <a:pt x="3708" y="1122"/>
                </a:cubicBezTo>
                <a:cubicBezTo>
                  <a:pt x="3720" y="1122"/>
                  <a:pt x="3720" y="1122"/>
                  <a:pt x="3720" y="1122"/>
                </a:cubicBezTo>
                <a:cubicBezTo>
                  <a:pt x="3722" y="1104"/>
                  <a:pt x="3722" y="1104"/>
                  <a:pt x="3722" y="1104"/>
                </a:cubicBezTo>
                <a:cubicBezTo>
                  <a:pt x="3734" y="1104"/>
                  <a:pt x="3734" y="1104"/>
                  <a:pt x="3734" y="1104"/>
                </a:cubicBezTo>
                <a:cubicBezTo>
                  <a:pt x="3731" y="1122"/>
                  <a:pt x="3731" y="1122"/>
                  <a:pt x="3731" y="1122"/>
                </a:cubicBezTo>
                <a:cubicBezTo>
                  <a:pt x="3740" y="1122"/>
                  <a:pt x="3740" y="1122"/>
                  <a:pt x="3740" y="1122"/>
                </a:cubicBezTo>
                <a:cubicBezTo>
                  <a:pt x="3743" y="1104"/>
                  <a:pt x="3743" y="1104"/>
                  <a:pt x="3743" y="1104"/>
                </a:cubicBezTo>
                <a:cubicBezTo>
                  <a:pt x="3754" y="1104"/>
                  <a:pt x="3754" y="1104"/>
                  <a:pt x="3754" y="1104"/>
                </a:cubicBezTo>
                <a:cubicBezTo>
                  <a:pt x="3751" y="1122"/>
                  <a:pt x="3751" y="1122"/>
                  <a:pt x="3751" y="1122"/>
                </a:cubicBezTo>
                <a:cubicBezTo>
                  <a:pt x="3760" y="1122"/>
                  <a:pt x="3760" y="1122"/>
                  <a:pt x="3760" y="1122"/>
                </a:cubicBezTo>
                <a:cubicBezTo>
                  <a:pt x="3760" y="1134"/>
                  <a:pt x="3760" y="1134"/>
                  <a:pt x="3760" y="1134"/>
                </a:cubicBezTo>
                <a:cubicBezTo>
                  <a:pt x="3750" y="1134"/>
                  <a:pt x="3750" y="1134"/>
                  <a:pt x="3750" y="1134"/>
                </a:cubicBezTo>
                <a:cubicBezTo>
                  <a:pt x="3748" y="1145"/>
                  <a:pt x="3748" y="1145"/>
                  <a:pt x="3748" y="1145"/>
                </a:cubicBezTo>
                <a:cubicBezTo>
                  <a:pt x="3757" y="1145"/>
                  <a:pt x="3757" y="1145"/>
                  <a:pt x="3757" y="1145"/>
                </a:cubicBezTo>
                <a:cubicBezTo>
                  <a:pt x="3757" y="1157"/>
                  <a:pt x="3757" y="1157"/>
                  <a:pt x="3757" y="1157"/>
                </a:cubicBezTo>
                <a:cubicBezTo>
                  <a:pt x="3746" y="1157"/>
                  <a:pt x="3746" y="1157"/>
                  <a:pt x="3746" y="1157"/>
                </a:cubicBezTo>
                <a:cubicBezTo>
                  <a:pt x="3743" y="1176"/>
                  <a:pt x="3743" y="1176"/>
                  <a:pt x="3743" y="1176"/>
                </a:cubicBezTo>
                <a:cubicBezTo>
                  <a:pt x="3732" y="1176"/>
                  <a:pt x="3732" y="1176"/>
                  <a:pt x="3732" y="1176"/>
                </a:cubicBezTo>
                <a:cubicBezTo>
                  <a:pt x="3735" y="1157"/>
                  <a:pt x="3735" y="1157"/>
                  <a:pt x="3735" y="1157"/>
                </a:cubicBezTo>
                <a:cubicBezTo>
                  <a:pt x="3725" y="1157"/>
                  <a:pt x="3725" y="1157"/>
                  <a:pt x="3725" y="1157"/>
                </a:cubicBezTo>
                <a:cubicBezTo>
                  <a:pt x="3723" y="1176"/>
                  <a:pt x="3723" y="1176"/>
                  <a:pt x="3723" y="1176"/>
                </a:cubicBezTo>
                <a:cubicBezTo>
                  <a:pt x="3711" y="1176"/>
                  <a:pt x="3711" y="1176"/>
                  <a:pt x="3711" y="1176"/>
                </a:cubicBezTo>
                <a:cubicBezTo>
                  <a:pt x="3711" y="1176"/>
                  <a:pt x="3711" y="1176"/>
                  <a:pt x="3711" y="1176"/>
                </a:cubicBezTo>
                <a:close/>
                <a:moveTo>
                  <a:pt x="3737" y="1145"/>
                </a:moveTo>
                <a:cubicBezTo>
                  <a:pt x="3738" y="1134"/>
                  <a:pt x="3738" y="1134"/>
                  <a:pt x="3738" y="1134"/>
                </a:cubicBezTo>
                <a:cubicBezTo>
                  <a:pt x="3729" y="1134"/>
                  <a:pt x="3729" y="1134"/>
                  <a:pt x="3729" y="1134"/>
                </a:cubicBezTo>
                <a:cubicBezTo>
                  <a:pt x="3727" y="1145"/>
                  <a:pt x="3727" y="1145"/>
                  <a:pt x="3727" y="1145"/>
                </a:cubicBezTo>
                <a:cubicBezTo>
                  <a:pt x="3737" y="1145"/>
                  <a:pt x="3737" y="1145"/>
                  <a:pt x="3737" y="1145"/>
                </a:cubicBezTo>
                <a:cubicBezTo>
                  <a:pt x="3737" y="1145"/>
                  <a:pt x="3737" y="1145"/>
                  <a:pt x="3737" y="1145"/>
                </a:cubicBezTo>
                <a:close/>
                <a:moveTo>
                  <a:pt x="2596" y="1150"/>
                </a:moveTo>
                <a:cubicBezTo>
                  <a:pt x="2596" y="1152"/>
                  <a:pt x="2597" y="1153"/>
                  <a:pt x="2598" y="1155"/>
                </a:cubicBezTo>
                <a:cubicBezTo>
                  <a:pt x="2598" y="1156"/>
                  <a:pt x="2598" y="1158"/>
                  <a:pt x="2599" y="1160"/>
                </a:cubicBezTo>
                <a:cubicBezTo>
                  <a:pt x="2599" y="1161"/>
                  <a:pt x="2599" y="1163"/>
                  <a:pt x="2599" y="1164"/>
                </a:cubicBezTo>
                <a:cubicBezTo>
                  <a:pt x="2600" y="1168"/>
                  <a:pt x="2599" y="1169"/>
                  <a:pt x="2596" y="1169"/>
                </a:cubicBezTo>
                <a:cubicBezTo>
                  <a:pt x="2593" y="1169"/>
                  <a:pt x="2590" y="1169"/>
                  <a:pt x="2587" y="1169"/>
                </a:cubicBezTo>
                <a:cubicBezTo>
                  <a:pt x="2587" y="1169"/>
                  <a:pt x="2586" y="1169"/>
                  <a:pt x="2586" y="1169"/>
                </a:cubicBezTo>
                <a:cubicBezTo>
                  <a:pt x="2584" y="1171"/>
                  <a:pt x="2583" y="1172"/>
                  <a:pt x="2581" y="1174"/>
                </a:cubicBezTo>
                <a:cubicBezTo>
                  <a:pt x="2579" y="1176"/>
                  <a:pt x="2576" y="1176"/>
                  <a:pt x="2574" y="1174"/>
                </a:cubicBezTo>
                <a:cubicBezTo>
                  <a:pt x="2572" y="1172"/>
                  <a:pt x="2571" y="1170"/>
                  <a:pt x="2569" y="1167"/>
                </a:cubicBezTo>
                <a:cubicBezTo>
                  <a:pt x="2568" y="1165"/>
                  <a:pt x="2569" y="1164"/>
                  <a:pt x="2571" y="1162"/>
                </a:cubicBezTo>
                <a:cubicBezTo>
                  <a:pt x="2568" y="1162"/>
                  <a:pt x="2567" y="1162"/>
                  <a:pt x="2565" y="1162"/>
                </a:cubicBezTo>
                <a:cubicBezTo>
                  <a:pt x="2564" y="1164"/>
                  <a:pt x="2563" y="1166"/>
                  <a:pt x="2562" y="1168"/>
                </a:cubicBezTo>
                <a:cubicBezTo>
                  <a:pt x="2562" y="1169"/>
                  <a:pt x="2562" y="1170"/>
                  <a:pt x="2562" y="1170"/>
                </a:cubicBezTo>
                <a:cubicBezTo>
                  <a:pt x="2562" y="1174"/>
                  <a:pt x="2561" y="1175"/>
                  <a:pt x="2558" y="1174"/>
                </a:cubicBezTo>
                <a:cubicBezTo>
                  <a:pt x="2555" y="1174"/>
                  <a:pt x="2552" y="1173"/>
                  <a:pt x="2549" y="1172"/>
                </a:cubicBezTo>
                <a:cubicBezTo>
                  <a:pt x="2547" y="1172"/>
                  <a:pt x="2546" y="1170"/>
                  <a:pt x="2547" y="1168"/>
                </a:cubicBezTo>
                <a:cubicBezTo>
                  <a:pt x="2547" y="1167"/>
                  <a:pt x="2547" y="1166"/>
                  <a:pt x="2548" y="1166"/>
                </a:cubicBezTo>
                <a:cubicBezTo>
                  <a:pt x="2545" y="1165"/>
                  <a:pt x="2543" y="1164"/>
                  <a:pt x="2541" y="1163"/>
                </a:cubicBezTo>
                <a:cubicBezTo>
                  <a:pt x="2540" y="1162"/>
                  <a:pt x="2538" y="1160"/>
                  <a:pt x="2538" y="1159"/>
                </a:cubicBezTo>
                <a:cubicBezTo>
                  <a:pt x="2537" y="1157"/>
                  <a:pt x="2537" y="1155"/>
                  <a:pt x="2539" y="1153"/>
                </a:cubicBezTo>
                <a:cubicBezTo>
                  <a:pt x="2542" y="1151"/>
                  <a:pt x="2543" y="1148"/>
                  <a:pt x="2542" y="1144"/>
                </a:cubicBezTo>
                <a:cubicBezTo>
                  <a:pt x="2542" y="1142"/>
                  <a:pt x="2542" y="1140"/>
                  <a:pt x="2542" y="1138"/>
                </a:cubicBezTo>
                <a:cubicBezTo>
                  <a:pt x="2541" y="1138"/>
                  <a:pt x="2539" y="1137"/>
                  <a:pt x="2538" y="1136"/>
                </a:cubicBezTo>
                <a:cubicBezTo>
                  <a:pt x="2537" y="1134"/>
                  <a:pt x="2536" y="1132"/>
                  <a:pt x="2536" y="1130"/>
                </a:cubicBezTo>
                <a:cubicBezTo>
                  <a:pt x="2536" y="1128"/>
                  <a:pt x="2539" y="1125"/>
                  <a:pt x="2542" y="1124"/>
                </a:cubicBezTo>
                <a:cubicBezTo>
                  <a:pt x="2542" y="1125"/>
                  <a:pt x="2542" y="1126"/>
                  <a:pt x="2543" y="1126"/>
                </a:cubicBezTo>
                <a:cubicBezTo>
                  <a:pt x="2543" y="1128"/>
                  <a:pt x="2543" y="1128"/>
                  <a:pt x="2543" y="1130"/>
                </a:cubicBezTo>
                <a:cubicBezTo>
                  <a:pt x="2542" y="1129"/>
                  <a:pt x="2542" y="1129"/>
                  <a:pt x="2542" y="1129"/>
                </a:cubicBezTo>
                <a:cubicBezTo>
                  <a:pt x="2541" y="1130"/>
                  <a:pt x="2541" y="1132"/>
                  <a:pt x="2540" y="1134"/>
                </a:cubicBezTo>
                <a:cubicBezTo>
                  <a:pt x="2541" y="1133"/>
                  <a:pt x="2542" y="1133"/>
                  <a:pt x="2542" y="1133"/>
                </a:cubicBezTo>
                <a:cubicBezTo>
                  <a:pt x="2544" y="1132"/>
                  <a:pt x="2544" y="1131"/>
                  <a:pt x="2545" y="1130"/>
                </a:cubicBezTo>
                <a:cubicBezTo>
                  <a:pt x="2549" y="1123"/>
                  <a:pt x="2555" y="1119"/>
                  <a:pt x="2563" y="1117"/>
                </a:cubicBezTo>
                <a:cubicBezTo>
                  <a:pt x="2566" y="1117"/>
                  <a:pt x="2570" y="1116"/>
                  <a:pt x="2572" y="1113"/>
                </a:cubicBezTo>
                <a:cubicBezTo>
                  <a:pt x="2572" y="1113"/>
                  <a:pt x="2573" y="1112"/>
                  <a:pt x="2573" y="1112"/>
                </a:cubicBezTo>
                <a:cubicBezTo>
                  <a:pt x="2576" y="1112"/>
                  <a:pt x="2577" y="1109"/>
                  <a:pt x="2579" y="1107"/>
                </a:cubicBezTo>
                <a:cubicBezTo>
                  <a:pt x="2587" y="1100"/>
                  <a:pt x="2599" y="1100"/>
                  <a:pt x="2607" y="1106"/>
                </a:cubicBezTo>
                <a:cubicBezTo>
                  <a:pt x="2609" y="1108"/>
                  <a:pt x="2612" y="1110"/>
                  <a:pt x="2614" y="1112"/>
                </a:cubicBezTo>
                <a:cubicBezTo>
                  <a:pt x="2616" y="1113"/>
                  <a:pt x="2617" y="1115"/>
                  <a:pt x="2618" y="1117"/>
                </a:cubicBezTo>
                <a:cubicBezTo>
                  <a:pt x="2619" y="1119"/>
                  <a:pt x="2620" y="1119"/>
                  <a:pt x="2621" y="1117"/>
                </a:cubicBezTo>
                <a:cubicBezTo>
                  <a:pt x="2622" y="1117"/>
                  <a:pt x="2622" y="1116"/>
                  <a:pt x="2623" y="1115"/>
                </a:cubicBezTo>
                <a:cubicBezTo>
                  <a:pt x="2625" y="1113"/>
                  <a:pt x="2628" y="1113"/>
                  <a:pt x="2630" y="1116"/>
                </a:cubicBezTo>
                <a:cubicBezTo>
                  <a:pt x="2631" y="1119"/>
                  <a:pt x="2631" y="1122"/>
                  <a:pt x="2632" y="1125"/>
                </a:cubicBezTo>
                <a:cubicBezTo>
                  <a:pt x="2633" y="1129"/>
                  <a:pt x="2632" y="1134"/>
                  <a:pt x="2631" y="1138"/>
                </a:cubicBezTo>
                <a:cubicBezTo>
                  <a:pt x="2628" y="1144"/>
                  <a:pt x="2624" y="1148"/>
                  <a:pt x="2617" y="1148"/>
                </a:cubicBezTo>
                <a:cubicBezTo>
                  <a:pt x="2616" y="1148"/>
                  <a:pt x="2616" y="1148"/>
                  <a:pt x="2615" y="1148"/>
                </a:cubicBezTo>
                <a:cubicBezTo>
                  <a:pt x="2613" y="1147"/>
                  <a:pt x="2611" y="1148"/>
                  <a:pt x="2611" y="1150"/>
                </a:cubicBezTo>
                <a:cubicBezTo>
                  <a:pt x="2609" y="1155"/>
                  <a:pt x="2603" y="1156"/>
                  <a:pt x="2600" y="1153"/>
                </a:cubicBezTo>
                <a:cubicBezTo>
                  <a:pt x="2599" y="1152"/>
                  <a:pt x="2598" y="1151"/>
                  <a:pt x="2597" y="1150"/>
                </a:cubicBezTo>
                <a:cubicBezTo>
                  <a:pt x="2596" y="1150"/>
                  <a:pt x="2596" y="1150"/>
                  <a:pt x="2596" y="1150"/>
                </a:cubicBezTo>
                <a:close/>
                <a:moveTo>
                  <a:pt x="2590" y="1146"/>
                </a:moveTo>
                <a:cubicBezTo>
                  <a:pt x="2594" y="1147"/>
                  <a:pt x="2598" y="1149"/>
                  <a:pt x="2600" y="1151"/>
                </a:cubicBezTo>
                <a:cubicBezTo>
                  <a:pt x="2602" y="1153"/>
                  <a:pt x="2604" y="1154"/>
                  <a:pt x="2606" y="1153"/>
                </a:cubicBezTo>
                <a:cubicBezTo>
                  <a:pt x="2609" y="1152"/>
                  <a:pt x="2610" y="1150"/>
                  <a:pt x="2610" y="1147"/>
                </a:cubicBezTo>
                <a:cubicBezTo>
                  <a:pt x="2610" y="1147"/>
                  <a:pt x="2609" y="1147"/>
                  <a:pt x="2609" y="1148"/>
                </a:cubicBezTo>
                <a:cubicBezTo>
                  <a:pt x="2609" y="1149"/>
                  <a:pt x="2607" y="1150"/>
                  <a:pt x="2607" y="1151"/>
                </a:cubicBezTo>
                <a:cubicBezTo>
                  <a:pt x="2605" y="1153"/>
                  <a:pt x="2604" y="1152"/>
                  <a:pt x="2603" y="1152"/>
                </a:cubicBezTo>
                <a:cubicBezTo>
                  <a:pt x="2603" y="1152"/>
                  <a:pt x="2602" y="1151"/>
                  <a:pt x="2602" y="1150"/>
                </a:cubicBezTo>
                <a:cubicBezTo>
                  <a:pt x="2602" y="1147"/>
                  <a:pt x="2603" y="1145"/>
                  <a:pt x="2603" y="1144"/>
                </a:cubicBezTo>
                <a:cubicBezTo>
                  <a:pt x="2606" y="1144"/>
                  <a:pt x="2609" y="1145"/>
                  <a:pt x="2613" y="1146"/>
                </a:cubicBezTo>
                <a:cubicBezTo>
                  <a:pt x="2620" y="1147"/>
                  <a:pt x="2626" y="1145"/>
                  <a:pt x="2630" y="1137"/>
                </a:cubicBezTo>
                <a:cubicBezTo>
                  <a:pt x="2631" y="1132"/>
                  <a:pt x="2631" y="1127"/>
                  <a:pt x="2630" y="1122"/>
                </a:cubicBezTo>
                <a:cubicBezTo>
                  <a:pt x="2630" y="1120"/>
                  <a:pt x="2629" y="1119"/>
                  <a:pt x="2628" y="1117"/>
                </a:cubicBezTo>
                <a:cubicBezTo>
                  <a:pt x="2627" y="1115"/>
                  <a:pt x="2626" y="1115"/>
                  <a:pt x="2625" y="1116"/>
                </a:cubicBezTo>
                <a:cubicBezTo>
                  <a:pt x="2623" y="1118"/>
                  <a:pt x="2622" y="1119"/>
                  <a:pt x="2620" y="1120"/>
                </a:cubicBezTo>
                <a:cubicBezTo>
                  <a:pt x="2619" y="1121"/>
                  <a:pt x="2618" y="1121"/>
                  <a:pt x="2618" y="1123"/>
                </a:cubicBezTo>
                <a:cubicBezTo>
                  <a:pt x="2619" y="1126"/>
                  <a:pt x="2618" y="1129"/>
                  <a:pt x="2617" y="1132"/>
                </a:cubicBezTo>
                <a:cubicBezTo>
                  <a:pt x="2617" y="1130"/>
                  <a:pt x="2618" y="1128"/>
                  <a:pt x="2618" y="1126"/>
                </a:cubicBezTo>
                <a:cubicBezTo>
                  <a:pt x="2618" y="1126"/>
                  <a:pt x="2617" y="1125"/>
                  <a:pt x="2617" y="1125"/>
                </a:cubicBezTo>
                <a:cubicBezTo>
                  <a:pt x="2616" y="1125"/>
                  <a:pt x="2616" y="1125"/>
                  <a:pt x="2616" y="1126"/>
                </a:cubicBezTo>
                <a:cubicBezTo>
                  <a:pt x="2615" y="1127"/>
                  <a:pt x="2614" y="1128"/>
                  <a:pt x="2613" y="1130"/>
                </a:cubicBezTo>
                <a:cubicBezTo>
                  <a:pt x="2613" y="1130"/>
                  <a:pt x="2613" y="1130"/>
                  <a:pt x="2613" y="1130"/>
                </a:cubicBezTo>
                <a:cubicBezTo>
                  <a:pt x="2613" y="1128"/>
                  <a:pt x="2614" y="1126"/>
                  <a:pt x="2614" y="1124"/>
                </a:cubicBezTo>
                <a:cubicBezTo>
                  <a:pt x="2613" y="1125"/>
                  <a:pt x="2613" y="1125"/>
                  <a:pt x="2612" y="1126"/>
                </a:cubicBezTo>
                <a:cubicBezTo>
                  <a:pt x="2611" y="1126"/>
                  <a:pt x="2611" y="1127"/>
                  <a:pt x="2611" y="1128"/>
                </a:cubicBezTo>
                <a:cubicBezTo>
                  <a:pt x="2611" y="1125"/>
                  <a:pt x="2611" y="1125"/>
                  <a:pt x="2617" y="1123"/>
                </a:cubicBezTo>
                <a:cubicBezTo>
                  <a:pt x="2617" y="1123"/>
                  <a:pt x="2616" y="1122"/>
                  <a:pt x="2616" y="1122"/>
                </a:cubicBezTo>
                <a:cubicBezTo>
                  <a:pt x="2613" y="1123"/>
                  <a:pt x="2613" y="1121"/>
                  <a:pt x="2612" y="1119"/>
                </a:cubicBezTo>
                <a:cubicBezTo>
                  <a:pt x="2614" y="1119"/>
                  <a:pt x="2615" y="1118"/>
                  <a:pt x="2617" y="1118"/>
                </a:cubicBezTo>
                <a:cubicBezTo>
                  <a:pt x="2615" y="1115"/>
                  <a:pt x="2614" y="1113"/>
                  <a:pt x="2611" y="1112"/>
                </a:cubicBezTo>
                <a:cubicBezTo>
                  <a:pt x="2610" y="1112"/>
                  <a:pt x="2610" y="1112"/>
                  <a:pt x="2610" y="1111"/>
                </a:cubicBezTo>
                <a:cubicBezTo>
                  <a:pt x="2607" y="1109"/>
                  <a:pt x="2605" y="1107"/>
                  <a:pt x="2602" y="1105"/>
                </a:cubicBezTo>
                <a:cubicBezTo>
                  <a:pt x="2600" y="1104"/>
                  <a:pt x="2597" y="1103"/>
                  <a:pt x="2595" y="1103"/>
                </a:cubicBezTo>
                <a:cubicBezTo>
                  <a:pt x="2592" y="1104"/>
                  <a:pt x="2589" y="1105"/>
                  <a:pt x="2585" y="1105"/>
                </a:cubicBezTo>
                <a:cubicBezTo>
                  <a:pt x="2583" y="1107"/>
                  <a:pt x="2580" y="1108"/>
                  <a:pt x="2578" y="1111"/>
                </a:cubicBezTo>
                <a:cubicBezTo>
                  <a:pt x="2580" y="1111"/>
                  <a:pt x="2581" y="1111"/>
                  <a:pt x="2582" y="1111"/>
                </a:cubicBezTo>
                <a:cubicBezTo>
                  <a:pt x="2582" y="1112"/>
                  <a:pt x="2581" y="1112"/>
                  <a:pt x="2580" y="1112"/>
                </a:cubicBezTo>
                <a:cubicBezTo>
                  <a:pt x="2578" y="1113"/>
                  <a:pt x="2575" y="1112"/>
                  <a:pt x="2573" y="1115"/>
                </a:cubicBezTo>
                <a:cubicBezTo>
                  <a:pt x="2570" y="1119"/>
                  <a:pt x="2566" y="1122"/>
                  <a:pt x="2562" y="1126"/>
                </a:cubicBezTo>
                <a:cubicBezTo>
                  <a:pt x="2561" y="1128"/>
                  <a:pt x="2560" y="1131"/>
                  <a:pt x="2559" y="1133"/>
                </a:cubicBezTo>
                <a:cubicBezTo>
                  <a:pt x="2559" y="1134"/>
                  <a:pt x="2559" y="1134"/>
                  <a:pt x="2559" y="1135"/>
                </a:cubicBezTo>
                <a:cubicBezTo>
                  <a:pt x="2560" y="1137"/>
                  <a:pt x="2561" y="1139"/>
                  <a:pt x="2563" y="1141"/>
                </a:cubicBezTo>
                <a:cubicBezTo>
                  <a:pt x="2564" y="1139"/>
                  <a:pt x="2565" y="1138"/>
                  <a:pt x="2566" y="1136"/>
                </a:cubicBezTo>
                <a:cubicBezTo>
                  <a:pt x="2566" y="1138"/>
                  <a:pt x="2566" y="1139"/>
                  <a:pt x="2565" y="1140"/>
                </a:cubicBezTo>
                <a:cubicBezTo>
                  <a:pt x="2564" y="1142"/>
                  <a:pt x="2563" y="1143"/>
                  <a:pt x="2563" y="1144"/>
                </a:cubicBezTo>
                <a:cubicBezTo>
                  <a:pt x="2562" y="1145"/>
                  <a:pt x="2563" y="1146"/>
                  <a:pt x="2563" y="1147"/>
                </a:cubicBezTo>
                <a:cubicBezTo>
                  <a:pt x="2566" y="1151"/>
                  <a:pt x="2569" y="1151"/>
                  <a:pt x="2573" y="1149"/>
                </a:cubicBezTo>
                <a:cubicBezTo>
                  <a:pt x="2575" y="1147"/>
                  <a:pt x="2578" y="1146"/>
                  <a:pt x="2581" y="1145"/>
                </a:cubicBezTo>
                <a:cubicBezTo>
                  <a:pt x="2582" y="1145"/>
                  <a:pt x="2583" y="1144"/>
                  <a:pt x="2583" y="1142"/>
                </a:cubicBezTo>
                <a:cubicBezTo>
                  <a:pt x="2583" y="1139"/>
                  <a:pt x="2583" y="1136"/>
                  <a:pt x="2583" y="1132"/>
                </a:cubicBezTo>
                <a:cubicBezTo>
                  <a:pt x="2583" y="1129"/>
                  <a:pt x="2583" y="1126"/>
                  <a:pt x="2583" y="1123"/>
                </a:cubicBezTo>
                <a:cubicBezTo>
                  <a:pt x="2584" y="1126"/>
                  <a:pt x="2585" y="1129"/>
                  <a:pt x="2585" y="1131"/>
                </a:cubicBezTo>
                <a:cubicBezTo>
                  <a:pt x="2586" y="1136"/>
                  <a:pt x="2586" y="1140"/>
                  <a:pt x="2585" y="1145"/>
                </a:cubicBezTo>
                <a:cubicBezTo>
                  <a:pt x="2584" y="1145"/>
                  <a:pt x="2583" y="1146"/>
                  <a:pt x="2583" y="1146"/>
                </a:cubicBezTo>
                <a:cubicBezTo>
                  <a:pt x="2579" y="1147"/>
                  <a:pt x="2576" y="1149"/>
                  <a:pt x="2573" y="1150"/>
                </a:cubicBezTo>
                <a:cubicBezTo>
                  <a:pt x="2568" y="1153"/>
                  <a:pt x="2564" y="1151"/>
                  <a:pt x="2561" y="1147"/>
                </a:cubicBezTo>
                <a:cubicBezTo>
                  <a:pt x="2561" y="1147"/>
                  <a:pt x="2561" y="1146"/>
                  <a:pt x="2561" y="1145"/>
                </a:cubicBezTo>
                <a:cubicBezTo>
                  <a:pt x="2562" y="1143"/>
                  <a:pt x="2561" y="1141"/>
                  <a:pt x="2559" y="1139"/>
                </a:cubicBezTo>
                <a:cubicBezTo>
                  <a:pt x="2558" y="1137"/>
                  <a:pt x="2556" y="1135"/>
                  <a:pt x="2557" y="1132"/>
                </a:cubicBezTo>
                <a:cubicBezTo>
                  <a:pt x="2558" y="1130"/>
                  <a:pt x="2559" y="1128"/>
                  <a:pt x="2560" y="1127"/>
                </a:cubicBezTo>
                <a:cubicBezTo>
                  <a:pt x="2562" y="1124"/>
                  <a:pt x="2564" y="1122"/>
                  <a:pt x="2566" y="1119"/>
                </a:cubicBezTo>
                <a:cubicBezTo>
                  <a:pt x="2566" y="1119"/>
                  <a:pt x="2565" y="1119"/>
                  <a:pt x="2565" y="1119"/>
                </a:cubicBezTo>
                <a:cubicBezTo>
                  <a:pt x="2560" y="1120"/>
                  <a:pt x="2555" y="1122"/>
                  <a:pt x="2551" y="1125"/>
                </a:cubicBezTo>
                <a:cubicBezTo>
                  <a:pt x="2547" y="1129"/>
                  <a:pt x="2544" y="1134"/>
                  <a:pt x="2544" y="1141"/>
                </a:cubicBezTo>
                <a:cubicBezTo>
                  <a:pt x="2543" y="1148"/>
                  <a:pt x="2546" y="1154"/>
                  <a:pt x="2549" y="1160"/>
                </a:cubicBezTo>
                <a:cubicBezTo>
                  <a:pt x="2549" y="1161"/>
                  <a:pt x="2550" y="1162"/>
                  <a:pt x="2550" y="1163"/>
                </a:cubicBezTo>
                <a:cubicBezTo>
                  <a:pt x="2550" y="1165"/>
                  <a:pt x="2549" y="1166"/>
                  <a:pt x="2549" y="1168"/>
                </a:cubicBezTo>
                <a:cubicBezTo>
                  <a:pt x="2548" y="1170"/>
                  <a:pt x="2549" y="1170"/>
                  <a:pt x="2550" y="1171"/>
                </a:cubicBezTo>
                <a:cubicBezTo>
                  <a:pt x="2553" y="1172"/>
                  <a:pt x="2556" y="1172"/>
                  <a:pt x="2559" y="1172"/>
                </a:cubicBezTo>
                <a:cubicBezTo>
                  <a:pt x="2559" y="1172"/>
                  <a:pt x="2560" y="1172"/>
                  <a:pt x="2560" y="1171"/>
                </a:cubicBezTo>
                <a:cubicBezTo>
                  <a:pt x="2561" y="1170"/>
                  <a:pt x="2561" y="1168"/>
                  <a:pt x="2561" y="1168"/>
                </a:cubicBezTo>
                <a:cubicBezTo>
                  <a:pt x="2563" y="1165"/>
                  <a:pt x="2563" y="1163"/>
                  <a:pt x="2563" y="1160"/>
                </a:cubicBezTo>
                <a:cubicBezTo>
                  <a:pt x="2563" y="1159"/>
                  <a:pt x="2563" y="1159"/>
                  <a:pt x="2563" y="1159"/>
                </a:cubicBezTo>
                <a:cubicBezTo>
                  <a:pt x="2563" y="1158"/>
                  <a:pt x="2563" y="1158"/>
                  <a:pt x="2563" y="1158"/>
                </a:cubicBezTo>
                <a:cubicBezTo>
                  <a:pt x="2564" y="1161"/>
                  <a:pt x="2565" y="1161"/>
                  <a:pt x="2567" y="1161"/>
                </a:cubicBezTo>
                <a:cubicBezTo>
                  <a:pt x="2568" y="1161"/>
                  <a:pt x="2569" y="1161"/>
                  <a:pt x="2570" y="1161"/>
                </a:cubicBezTo>
                <a:cubicBezTo>
                  <a:pt x="2572" y="1161"/>
                  <a:pt x="2576" y="1161"/>
                  <a:pt x="2576" y="1157"/>
                </a:cubicBezTo>
                <a:cubicBezTo>
                  <a:pt x="2576" y="1159"/>
                  <a:pt x="2576" y="1161"/>
                  <a:pt x="2576" y="1162"/>
                </a:cubicBezTo>
                <a:cubicBezTo>
                  <a:pt x="2575" y="1163"/>
                  <a:pt x="2574" y="1163"/>
                  <a:pt x="2572" y="1164"/>
                </a:cubicBezTo>
                <a:cubicBezTo>
                  <a:pt x="2571" y="1164"/>
                  <a:pt x="2570" y="1166"/>
                  <a:pt x="2571" y="1167"/>
                </a:cubicBezTo>
                <a:cubicBezTo>
                  <a:pt x="2572" y="1169"/>
                  <a:pt x="2574" y="1171"/>
                  <a:pt x="2575" y="1173"/>
                </a:cubicBezTo>
                <a:cubicBezTo>
                  <a:pt x="2577" y="1174"/>
                  <a:pt x="2579" y="1174"/>
                  <a:pt x="2580" y="1172"/>
                </a:cubicBezTo>
                <a:cubicBezTo>
                  <a:pt x="2581" y="1172"/>
                  <a:pt x="2581" y="1171"/>
                  <a:pt x="2582" y="1170"/>
                </a:cubicBezTo>
                <a:cubicBezTo>
                  <a:pt x="2584" y="1169"/>
                  <a:pt x="2585" y="1168"/>
                  <a:pt x="2587" y="1166"/>
                </a:cubicBezTo>
                <a:cubicBezTo>
                  <a:pt x="2591" y="1162"/>
                  <a:pt x="2593" y="1156"/>
                  <a:pt x="2595" y="1150"/>
                </a:cubicBezTo>
                <a:cubicBezTo>
                  <a:pt x="2595" y="1150"/>
                  <a:pt x="2594" y="1149"/>
                  <a:pt x="2594" y="1149"/>
                </a:cubicBezTo>
                <a:cubicBezTo>
                  <a:pt x="2593" y="1147"/>
                  <a:pt x="2592" y="1147"/>
                  <a:pt x="2590" y="1146"/>
                </a:cubicBezTo>
                <a:close/>
                <a:moveTo>
                  <a:pt x="2543" y="1152"/>
                </a:moveTo>
                <a:cubicBezTo>
                  <a:pt x="2542" y="1153"/>
                  <a:pt x="2541" y="1154"/>
                  <a:pt x="2540" y="1155"/>
                </a:cubicBezTo>
                <a:cubicBezTo>
                  <a:pt x="2539" y="1155"/>
                  <a:pt x="2539" y="1156"/>
                  <a:pt x="2539" y="1157"/>
                </a:cubicBezTo>
                <a:cubicBezTo>
                  <a:pt x="2539" y="1160"/>
                  <a:pt x="2543" y="1164"/>
                  <a:pt x="2546" y="1164"/>
                </a:cubicBezTo>
                <a:cubicBezTo>
                  <a:pt x="2548" y="1164"/>
                  <a:pt x="2549" y="1163"/>
                  <a:pt x="2548" y="1161"/>
                </a:cubicBezTo>
                <a:cubicBezTo>
                  <a:pt x="2546" y="1158"/>
                  <a:pt x="2545" y="1155"/>
                  <a:pt x="2543" y="1152"/>
                </a:cubicBezTo>
                <a:close/>
                <a:moveTo>
                  <a:pt x="2596" y="1154"/>
                </a:moveTo>
                <a:cubicBezTo>
                  <a:pt x="2594" y="1159"/>
                  <a:pt x="2591" y="1163"/>
                  <a:pt x="2589" y="1168"/>
                </a:cubicBezTo>
                <a:cubicBezTo>
                  <a:pt x="2592" y="1168"/>
                  <a:pt x="2594" y="1168"/>
                  <a:pt x="2597" y="1168"/>
                </a:cubicBezTo>
                <a:cubicBezTo>
                  <a:pt x="2597" y="1168"/>
                  <a:pt x="2598" y="1166"/>
                  <a:pt x="2598" y="1166"/>
                </a:cubicBezTo>
                <a:cubicBezTo>
                  <a:pt x="2598" y="1163"/>
                  <a:pt x="2598" y="1161"/>
                  <a:pt x="2597" y="1159"/>
                </a:cubicBezTo>
                <a:cubicBezTo>
                  <a:pt x="2597" y="1157"/>
                  <a:pt x="2596" y="1156"/>
                  <a:pt x="2596" y="1154"/>
                </a:cubicBezTo>
                <a:close/>
                <a:moveTo>
                  <a:pt x="2543" y="1134"/>
                </a:moveTo>
                <a:cubicBezTo>
                  <a:pt x="2542" y="1134"/>
                  <a:pt x="2542" y="1135"/>
                  <a:pt x="2541" y="1135"/>
                </a:cubicBezTo>
                <a:cubicBezTo>
                  <a:pt x="2540" y="1135"/>
                  <a:pt x="2540" y="1135"/>
                  <a:pt x="2540" y="1134"/>
                </a:cubicBezTo>
                <a:cubicBezTo>
                  <a:pt x="2539" y="1134"/>
                  <a:pt x="2539" y="1133"/>
                  <a:pt x="2539" y="1132"/>
                </a:cubicBezTo>
                <a:cubicBezTo>
                  <a:pt x="2540" y="1130"/>
                  <a:pt x="2540" y="1128"/>
                  <a:pt x="2541" y="1126"/>
                </a:cubicBezTo>
                <a:cubicBezTo>
                  <a:pt x="2540" y="1126"/>
                  <a:pt x="2540" y="1126"/>
                  <a:pt x="2540" y="1126"/>
                </a:cubicBezTo>
                <a:cubicBezTo>
                  <a:pt x="2539" y="1127"/>
                  <a:pt x="2538" y="1128"/>
                  <a:pt x="2537" y="1129"/>
                </a:cubicBezTo>
                <a:cubicBezTo>
                  <a:pt x="2536" y="1130"/>
                  <a:pt x="2538" y="1136"/>
                  <a:pt x="2540" y="1136"/>
                </a:cubicBezTo>
                <a:cubicBezTo>
                  <a:pt x="2541" y="1137"/>
                  <a:pt x="2543" y="1136"/>
                  <a:pt x="2543" y="1134"/>
                </a:cubicBezTo>
                <a:close/>
                <a:moveTo>
                  <a:pt x="2543" y="1152"/>
                </a:moveTo>
                <a:cubicBezTo>
                  <a:pt x="2543" y="1153"/>
                  <a:pt x="2541" y="1153"/>
                  <a:pt x="2540" y="1155"/>
                </a:cubicBezTo>
                <a:cubicBezTo>
                  <a:pt x="2539" y="1155"/>
                  <a:pt x="2539" y="1156"/>
                  <a:pt x="2539" y="1157"/>
                </a:cubicBezTo>
                <a:cubicBezTo>
                  <a:pt x="2539" y="1159"/>
                  <a:pt x="2543" y="1164"/>
                  <a:pt x="2546" y="1163"/>
                </a:cubicBezTo>
                <a:cubicBezTo>
                  <a:pt x="2548" y="1163"/>
                  <a:pt x="2549" y="1162"/>
                  <a:pt x="2548" y="1161"/>
                </a:cubicBezTo>
                <a:cubicBezTo>
                  <a:pt x="2546" y="1157"/>
                  <a:pt x="2545" y="1155"/>
                  <a:pt x="2543" y="1152"/>
                </a:cubicBezTo>
                <a:close/>
                <a:moveTo>
                  <a:pt x="2596" y="1154"/>
                </a:moveTo>
                <a:cubicBezTo>
                  <a:pt x="2594" y="1159"/>
                  <a:pt x="2591" y="1163"/>
                  <a:pt x="2589" y="1168"/>
                </a:cubicBezTo>
                <a:cubicBezTo>
                  <a:pt x="2592" y="1168"/>
                  <a:pt x="2594" y="1168"/>
                  <a:pt x="2597" y="1168"/>
                </a:cubicBezTo>
                <a:cubicBezTo>
                  <a:pt x="2597" y="1168"/>
                  <a:pt x="2598" y="1167"/>
                  <a:pt x="2598" y="1166"/>
                </a:cubicBezTo>
                <a:cubicBezTo>
                  <a:pt x="2598" y="1163"/>
                  <a:pt x="2598" y="1161"/>
                  <a:pt x="2597" y="1159"/>
                </a:cubicBezTo>
                <a:cubicBezTo>
                  <a:pt x="2597" y="1157"/>
                  <a:pt x="2596" y="1156"/>
                  <a:pt x="2596" y="1154"/>
                </a:cubicBezTo>
                <a:close/>
                <a:moveTo>
                  <a:pt x="2543" y="1134"/>
                </a:moveTo>
                <a:cubicBezTo>
                  <a:pt x="2543" y="1134"/>
                  <a:pt x="2542" y="1135"/>
                  <a:pt x="2541" y="1135"/>
                </a:cubicBezTo>
                <a:cubicBezTo>
                  <a:pt x="2541" y="1135"/>
                  <a:pt x="2540" y="1135"/>
                  <a:pt x="2540" y="1134"/>
                </a:cubicBezTo>
                <a:cubicBezTo>
                  <a:pt x="2539" y="1134"/>
                  <a:pt x="2539" y="1133"/>
                  <a:pt x="2539" y="1132"/>
                </a:cubicBezTo>
                <a:cubicBezTo>
                  <a:pt x="2540" y="1130"/>
                  <a:pt x="2540" y="1128"/>
                  <a:pt x="2541" y="1126"/>
                </a:cubicBezTo>
                <a:cubicBezTo>
                  <a:pt x="2541" y="1126"/>
                  <a:pt x="2541" y="1126"/>
                  <a:pt x="2540" y="1126"/>
                </a:cubicBezTo>
                <a:cubicBezTo>
                  <a:pt x="2539" y="1127"/>
                  <a:pt x="2538" y="1128"/>
                  <a:pt x="2537" y="1129"/>
                </a:cubicBezTo>
                <a:cubicBezTo>
                  <a:pt x="2537" y="1130"/>
                  <a:pt x="2538" y="1135"/>
                  <a:pt x="2540" y="1136"/>
                </a:cubicBezTo>
                <a:cubicBezTo>
                  <a:pt x="2541" y="1137"/>
                  <a:pt x="2543" y="1136"/>
                  <a:pt x="2543" y="1134"/>
                </a:cubicBezTo>
                <a:close/>
                <a:moveTo>
                  <a:pt x="2596" y="1126"/>
                </a:moveTo>
                <a:cubicBezTo>
                  <a:pt x="2599" y="1122"/>
                  <a:pt x="2599" y="1122"/>
                  <a:pt x="2603" y="1121"/>
                </a:cubicBezTo>
                <a:cubicBezTo>
                  <a:pt x="2603" y="1123"/>
                  <a:pt x="2604" y="1124"/>
                  <a:pt x="2605" y="1124"/>
                </a:cubicBezTo>
                <a:cubicBezTo>
                  <a:pt x="2603" y="1125"/>
                  <a:pt x="2601" y="1127"/>
                  <a:pt x="2599" y="1128"/>
                </a:cubicBezTo>
                <a:cubicBezTo>
                  <a:pt x="2598" y="1127"/>
                  <a:pt x="2598" y="1126"/>
                  <a:pt x="2597" y="1125"/>
                </a:cubicBezTo>
                <a:cubicBezTo>
                  <a:pt x="2597" y="1125"/>
                  <a:pt x="2596" y="1125"/>
                  <a:pt x="2596" y="1126"/>
                </a:cubicBezTo>
                <a:close/>
                <a:moveTo>
                  <a:pt x="2601" y="1125"/>
                </a:moveTo>
                <a:cubicBezTo>
                  <a:pt x="2601" y="1125"/>
                  <a:pt x="2600" y="1125"/>
                  <a:pt x="2600" y="1125"/>
                </a:cubicBezTo>
                <a:cubicBezTo>
                  <a:pt x="2599" y="1125"/>
                  <a:pt x="2598" y="1125"/>
                  <a:pt x="2598" y="1126"/>
                </a:cubicBezTo>
                <a:cubicBezTo>
                  <a:pt x="2598" y="1126"/>
                  <a:pt x="2599" y="1126"/>
                  <a:pt x="2599" y="1127"/>
                </a:cubicBezTo>
                <a:cubicBezTo>
                  <a:pt x="2600" y="1126"/>
                  <a:pt x="2600" y="1126"/>
                  <a:pt x="2601" y="1125"/>
                </a:cubicBezTo>
                <a:close/>
                <a:moveTo>
                  <a:pt x="2583" y="1116"/>
                </a:moveTo>
                <a:cubicBezTo>
                  <a:pt x="2576" y="1115"/>
                  <a:pt x="2573" y="1117"/>
                  <a:pt x="2572" y="1125"/>
                </a:cubicBezTo>
                <a:cubicBezTo>
                  <a:pt x="2573" y="1123"/>
                  <a:pt x="2575" y="1121"/>
                  <a:pt x="2576" y="1118"/>
                </a:cubicBezTo>
                <a:cubicBezTo>
                  <a:pt x="2576" y="1118"/>
                  <a:pt x="2576" y="1118"/>
                  <a:pt x="2576" y="1118"/>
                </a:cubicBezTo>
                <a:cubicBezTo>
                  <a:pt x="2576" y="1120"/>
                  <a:pt x="2576" y="1120"/>
                  <a:pt x="2576" y="1121"/>
                </a:cubicBezTo>
                <a:cubicBezTo>
                  <a:pt x="2578" y="1118"/>
                  <a:pt x="2579" y="1116"/>
                  <a:pt x="2583" y="1116"/>
                </a:cubicBezTo>
                <a:close/>
                <a:moveTo>
                  <a:pt x="2626" y="1117"/>
                </a:moveTo>
                <a:cubicBezTo>
                  <a:pt x="2624" y="1118"/>
                  <a:pt x="2622" y="1120"/>
                  <a:pt x="2621" y="1121"/>
                </a:cubicBezTo>
                <a:cubicBezTo>
                  <a:pt x="2623" y="1122"/>
                  <a:pt x="2625" y="1120"/>
                  <a:pt x="2626" y="1117"/>
                </a:cubicBezTo>
                <a:close/>
                <a:moveTo>
                  <a:pt x="2593" y="1119"/>
                </a:moveTo>
                <a:cubicBezTo>
                  <a:pt x="2594" y="1118"/>
                  <a:pt x="2595" y="1117"/>
                  <a:pt x="2596" y="1115"/>
                </a:cubicBezTo>
                <a:cubicBezTo>
                  <a:pt x="2593" y="1117"/>
                  <a:pt x="2592" y="1117"/>
                  <a:pt x="2593" y="1119"/>
                </a:cubicBezTo>
                <a:close/>
                <a:moveTo>
                  <a:pt x="2603" y="1141"/>
                </a:moveTo>
                <a:cubicBezTo>
                  <a:pt x="2601" y="1141"/>
                  <a:pt x="2600" y="1142"/>
                  <a:pt x="2600" y="1143"/>
                </a:cubicBezTo>
                <a:cubicBezTo>
                  <a:pt x="2600" y="1142"/>
                  <a:pt x="2602" y="1142"/>
                  <a:pt x="2603" y="1141"/>
                </a:cubicBezTo>
                <a:close/>
                <a:moveTo>
                  <a:pt x="2601" y="1125"/>
                </a:moveTo>
                <a:cubicBezTo>
                  <a:pt x="2601" y="1125"/>
                  <a:pt x="2600" y="1125"/>
                  <a:pt x="2600" y="1125"/>
                </a:cubicBezTo>
                <a:cubicBezTo>
                  <a:pt x="2599" y="1125"/>
                  <a:pt x="2599" y="1125"/>
                  <a:pt x="2599" y="1126"/>
                </a:cubicBezTo>
                <a:cubicBezTo>
                  <a:pt x="2599" y="1126"/>
                  <a:pt x="2599" y="1127"/>
                  <a:pt x="2599" y="1127"/>
                </a:cubicBezTo>
                <a:cubicBezTo>
                  <a:pt x="2600" y="1127"/>
                  <a:pt x="2600" y="1126"/>
                  <a:pt x="2601" y="1125"/>
                </a:cubicBezTo>
                <a:close/>
                <a:moveTo>
                  <a:pt x="3256" y="1103"/>
                </a:moveTo>
                <a:cubicBezTo>
                  <a:pt x="3256" y="1103"/>
                  <a:pt x="3256" y="1103"/>
                  <a:pt x="3256" y="1103"/>
                </a:cubicBezTo>
                <a:cubicBezTo>
                  <a:pt x="3251" y="1103"/>
                  <a:pt x="3251" y="1103"/>
                  <a:pt x="3251" y="1103"/>
                </a:cubicBezTo>
                <a:cubicBezTo>
                  <a:pt x="3248" y="1104"/>
                  <a:pt x="3247" y="1106"/>
                  <a:pt x="3245" y="1107"/>
                </a:cubicBezTo>
                <a:cubicBezTo>
                  <a:pt x="3243" y="1108"/>
                  <a:pt x="3242" y="1109"/>
                  <a:pt x="3239" y="1109"/>
                </a:cubicBezTo>
                <a:cubicBezTo>
                  <a:pt x="3238" y="1111"/>
                  <a:pt x="3236" y="1112"/>
                  <a:pt x="3234" y="1112"/>
                </a:cubicBezTo>
                <a:cubicBezTo>
                  <a:pt x="3232" y="1113"/>
                  <a:pt x="3231" y="1114"/>
                  <a:pt x="3228" y="1114"/>
                </a:cubicBezTo>
                <a:cubicBezTo>
                  <a:pt x="3228" y="1114"/>
                  <a:pt x="3228" y="1114"/>
                  <a:pt x="3228" y="1124"/>
                </a:cubicBezTo>
                <a:cubicBezTo>
                  <a:pt x="3231" y="1123"/>
                  <a:pt x="3234" y="1123"/>
                  <a:pt x="3237" y="1121"/>
                </a:cubicBezTo>
                <a:cubicBezTo>
                  <a:pt x="3239" y="1120"/>
                  <a:pt x="3242" y="1119"/>
                  <a:pt x="3244" y="1117"/>
                </a:cubicBezTo>
                <a:cubicBezTo>
                  <a:pt x="3244" y="1117"/>
                  <a:pt x="3244" y="1117"/>
                  <a:pt x="3244" y="1176"/>
                </a:cubicBezTo>
                <a:cubicBezTo>
                  <a:pt x="3244" y="1176"/>
                  <a:pt x="3244" y="1176"/>
                  <a:pt x="3256" y="1176"/>
                </a:cubicBezTo>
                <a:cubicBezTo>
                  <a:pt x="3256" y="1176"/>
                  <a:pt x="3256" y="1176"/>
                  <a:pt x="3256" y="1103"/>
                </a:cubicBezTo>
                <a:close/>
                <a:moveTo>
                  <a:pt x="3303" y="1103"/>
                </a:moveTo>
                <a:cubicBezTo>
                  <a:pt x="3303" y="1103"/>
                  <a:pt x="3303" y="1103"/>
                  <a:pt x="3303" y="1103"/>
                </a:cubicBezTo>
                <a:cubicBezTo>
                  <a:pt x="3298" y="1103"/>
                  <a:pt x="3298" y="1103"/>
                  <a:pt x="3298" y="1103"/>
                </a:cubicBezTo>
                <a:cubicBezTo>
                  <a:pt x="3296" y="1104"/>
                  <a:pt x="3294" y="1106"/>
                  <a:pt x="3292" y="1107"/>
                </a:cubicBezTo>
                <a:cubicBezTo>
                  <a:pt x="3291" y="1108"/>
                  <a:pt x="3288" y="1109"/>
                  <a:pt x="3287" y="1109"/>
                </a:cubicBezTo>
                <a:cubicBezTo>
                  <a:pt x="3285" y="1111"/>
                  <a:pt x="3283" y="1112"/>
                  <a:pt x="3282" y="1112"/>
                </a:cubicBezTo>
                <a:cubicBezTo>
                  <a:pt x="3280" y="1113"/>
                  <a:pt x="3278" y="1114"/>
                  <a:pt x="3276" y="1114"/>
                </a:cubicBezTo>
                <a:cubicBezTo>
                  <a:pt x="3276" y="1114"/>
                  <a:pt x="3276" y="1114"/>
                  <a:pt x="3276" y="1124"/>
                </a:cubicBezTo>
                <a:cubicBezTo>
                  <a:pt x="3279" y="1123"/>
                  <a:pt x="3282" y="1123"/>
                  <a:pt x="3284" y="1121"/>
                </a:cubicBezTo>
                <a:cubicBezTo>
                  <a:pt x="3287" y="1120"/>
                  <a:pt x="3289" y="1119"/>
                  <a:pt x="3291" y="1117"/>
                </a:cubicBezTo>
                <a:cubicBezTo>
                  <a:pt x="3291" y="1117"/>
                  <a:pt x="3291" y="1117"/>
                  <a:pt x="3291" y="1176"/>
                </a:cubicBezTo>
                <a:cubicBezTo>
                  <a:pt x="3291" y="1176"/>
                  <a:pt x="3291" y="1176"/>
                  <a:pt x="3303" y="1176"/>
                </a:cubicBezTo>
                <a:cubicBezTo>
                  <a:pt x="3303" y="1176"/>
                  <a:pt x="3303" y="1176"/>
                  <a:pt x="3303" y="1103"/>
                </a:cubicBezTo>
                <a:close/>
                <a:moveTo>
                  <a:pt x="3349" y="1103"/>
                </a:moveTo>
                <a:cubicBezTo>
                  <a:pt x="3349" y="1103"/>
                  <a:pt x="3349" y="1103"/>
                  <a:pt x="3349" y="1103"/>
                </a:cubicBezTo>
                <a:cubicBezTo>
                  <a:pt x="3345" y="1103"/>
                  <a:pt x="3345" y="1103"/>
                  <a:pt x="3345" y="1103"/>
                </a:cubicBezTo>
                <a:cubicBezTo>
                  <a:pt x="3343" y="1104"/>
                  <a:pt x="3341" y="1106"/>
                  <a:pt x="3339" y="1107"/>
                </a:cubicBezTo>
                <a:cubicBezTo>
                  <a:pt x="3338" y="1108"/>
                  <a:pt x="3336" y="1109"/>
                  <a:pt x="3334" y="1109"/>
                </a:cubicBezTo>
                <a:cubicBezTo>
                  <a:pt x="3332" y="1110"/>
                  <a:pt x="3331" y="1111"/>
                  <a:pt x="3328" y="1112"/>
                </a:cubicBezTo>
                <a:cubicBezTo>
                  <a:pt x="3327" y="1112"/>
                  <a:pt x="3325" y="1113"/>
                  <a:pt x="3323" y="1114"/>
                </a:cubicBezTo>
                <a:cubicBezTo>
                  <a:pt x="3323" y="1114"/>
                  <a:pt x="3323" y="1114"/>
                  <a:pt x="3323" y="1124"/>
                </a:cubicBezTo>
                <a:cubicBezTo>
                  <a:pt x="3326" y="1123"/>
                  <a:pt x="3329" y="1122"/>
                  <a:pt x="3331" y="1121"/>
                </a:cubicBezTo>
                <a:cubicBezTo>
                  <a:pt x="3333" y="1120"/>
                  <a:pt x="3336" y="1119"/>
                  <a:pt x="3338" y="1117"/>
                </a:cubicBezTo>
                <a:cubicBezTo>
                  <a:pt x="3338" y="1117"/>
                  <a:pt x="3338" y="1117"/>
                  <a:pt x="3338" y="1176"/>
                </a:cubicBezTo>
                <a:cubicBezTo>
                  <a:pt x="3338" y="1176"/>
                  <a:pt x="3338" y="1176"/>
                  <a:pt x="3349" y="1176"/>
                </a:cubicBezTo>
                <a:cubicBezTo>
                  <a:pt x="3349" y="1176"/>
                  <a:pt x="3349" y="1176"/>
                  <a:pt x="3349" y="1103"/>
                </a:cubicBezTo>
                <a:close/>
                <a:moveTo>
                  <a:pt x="1984" y="1102"/>
                </a:moveTo>
                <a:cubicBezTo>
                  <a:pt x="1984" y="1102"/>
                  <a:pt x="1984" y="1102"/>
                  <a:pt x="1984" y="1102"/>
                </a:cubicBezTo>
                <a:cubicBezTo>
                  <a:pt x="1979" y="1102"/>
                  <a:pt x="1979" y="1102"/>
                  <a:pt x="1979" y="1102"/>
                </a:cubicBezTo>
                <a:cubicBezTo>
                  <a:pt x="1977" y="1103"/>
                  <a:pt x="1975" y="1105"/>
                  <a:pt x="1973" y="1106"/>
                </a:cubicBezTo>
                <a:cubicBezTo>
                  <a:pt x="1972" y="1107"/>
                  <a:pt x="1970" y="1108"/>
                  <a:pt x="1968" y="1109"/>
                </a:cubicBezTo>
                <a:cubicBezTo>
                  <a:pt x="1967" y="1110"/>
                  <a:pt x="1965" y="1111"/>
                  <a:pt x="1963" y="1111"/>
                </a:cubicBezTo>
                <a:cubicBezTo>
                  <a:pt x="1961" y="1112"/>
                  <a:pt x="1959" y="1113"/>
                  <a:pt x="1957" y="1113"/>
                </a:cubicBezTo>
                <a:cubicBezTo>
                  <a:pt x="1957" y="1113"/>
                  <a:pt x="1957" y="1113"/>
                  <a:pt x="1957" y="1123"/>
                </a:cubicBezTo>
                <a:cubicBezTo>
                  <a:pt x="1960" y="1122"/>
                  <a:pt x="1963" y="1122"/>
                  <a:pt x="1965" y="1120"/>
                </a:cubicBezTo>
                <a:cubicBezTo>
                  <a:pt x="1968" y="1119"/>
                  <a:pt x="1970" y="1118"/>
                  <a:pt x="1973" y="1117"/>
                </a:cubicBezTo>
                <a:cubicBezTo>
                  <a:pt x="1973" y="1117"/>
                  <a:pt x="1973" y="1117"/>
                  <a:pt x="1973" y="1175"/>
                </a:cubicBezTo>
                <a:cubicBezTo>
                  <a:pt x="1973" y="1175"/>
                  <a:pt x="1973" y="1175"/>
                  <a:pt x="1984" y="1175"/>
                </a:cubicBezTo>
                <a:cubicBezTo>
                  <a:pt x="1984" y="1175"/>
                  <a:pt x="1984" y="1175"/>
                  <a:pt x="1984" y="1102"/>
                </a:cubicBezTo>
                <a:close/>
                <a:moveTo>
                  <a:pt x="1582" y="1104"/>
                </a:moveTo>
                <a:cubicBezTo>
                  <a:pt x="1582" y="1104"/>
                  <a:pt x="1582" y="1104"/>
                  <a:pt x="1582" y="1104"/>
                </a:cubicBezTo>
                <a:cubicBezTo>
                  <a:pt x="1577" y="1104"/>
                  <a:pt x="1577" y="1104"/>
                  <a:pt x="1577" y="1104"/>
                </a:cubicBezTo>
                <a:cubicBezTo>
                  <a:pt x="1575" y="1105"/>
                  <a:pt x="1574" y="1107"/>
                  <a:pt x="1571" y="1108"/>
                </a:cubicBezTo>
                <a:cubicBezTo>
                  <a:pt x="1570" y="1109"/>
                  <a:pt x="1568" y="1110"/>
                  <a:pt x="1566" y="1110"/>
                </a:cubicBezTo>
                <a:cubicBezTo>
                  <a:pt x="1564" y="1111"/>
                  <a:pt x="1562" y="1112"/>
                  <a:pt x="1561" y="1113"/>
                </a:cubicBezTo>
                <a:cubicBezTo>
                  <a:pt x="1559" y="1113"/>
                  <a:pt x="1557" y="1114"/>
                  <a:pt x="1555" y="1115"/>
                </a:cubicBezTo>
                <a:cubicBezTo>
                  <a:pt x="1555" y="1115"/>
                  <a:pt x="1555" y="1115"/>
                  <a:pt x="1555" y="1125"/>
                </a:cubicBezTo>
                <a:cubicBezTo>
                  <a:pt x="1558" y="1124"/>
                  <a:pt x="1561" y="1123"/>
                  <a:pt x="1563" y="1122"/>
                </a:cubicBezTo>
                <a:cubicBezTo>
                  <a:pt x="1566" y="1121"/>
                  <a:pt x="1568" y="1120"/>
                  <a:pt x="1571" y="1118"/>
                </a:cubicBezTo>
                <a:cubicBezTo>
                  <a:pt x="1571" y="1118"/>
                  <a:pt x="1571" y="1118"/>
                  <a:pt x="1571" y="1177"/>
                </a:cubicBezTo>
                <a:cubicBezTo>
                  <a:pt x="1571" y="1177"/>
                  <a:pt x="1571" y="1177"/>
                  <a:pt x="1582" y="1177"/>
                </a:cubicBezTo>
                <a:cubicBezTo>
                  <a:pt x="1582" y="1177"/>
                  <a:pt x="1582" y="1177"/>
                  <a:pt x="1582" y="1104"/>
                </a:cubicBezTo>
                <a:close/>
                <a:moveTo>
                  <a:pt x="1680" y="1177"/>
                </a:moveTo>
                <a:cubicBezTo>
                  <a:pt x="1673" y="1177"/>
                  <a:pt x="1667" y="1174"/>
                  <a:pt x="1662" y="1169"/>
                </a:cubicBezTo>
                <a:cubicBezTo>
                  <a:pt x="1659" y="1162"/>
                  <a:pt x="1656" y="1153"/>
                  <a:pt x="1656" y="1141"/>
                </a:cubicBezTo>
                <a:cubicBezTo>
                  <a:pt x="1656" y="1128"/>
                  <a:pt x="1659" y="1118"/>
                  <a:pt x="1663" y="1112"/>
                </a:cubicBezTo>
                <a:cubicBezTo>
                  <a:pt x="1667" y="1105"/>
                  <a:pt x="1674" y="1101"/>
                  <a:pt x="1683" y="1101"/>
                </a:cubicBezTo>
                <a:cubicBezTo>
                  <a:pt x="1699" y="1101"/>
                  <a:pt x="1707" y="1114"/>
                  <a:pt x="1707" y="1139"/>
                </a:cubicBezTo>
                <a:cubicBezTo>
                  <a:pt x="1707" y="1152"/>
                  <a:pt x="1705" y="1161"/>
                  <a:pt x="1699" y="1168"/>
                </a:cubicBezTo>
                <a:cubicBezTo>
                  <a:pt x="1695" y="1174"/>
                  <a:pt x="1688" y="1177"/>
                  <a:pt x="1680" y="1177"/>
                </a:cubicBezTo>
                <a:close/>
                <a:moveTo>
                  <a:pt x="1682" y="1111"/>
                </a:moveTo>
                <a:cubicBezTo>
                  <a:pt x="1672" y="1111"/>
                  <a:pt x="1668" y="1121"/>
                  <a:pt x="1668" y="1141"/>
                </a:cubicBezTo>
                <a:cubicBezTo>
                  <a:pt x="1668" y="1159"/>
                  <a:pt x="1672" y="1168"/>
                  <a:pt x="1681" y="1168"/>
                </a:cubicBezTo>
                <a:cubicBezTo>
                  <a:pt x="1690" y="1168"/>
                  <a:pt x="1694" y="1159"/>
                  <a:pt x="1694" y="1140"/>
                </a:cubicBezTo>
                <a:cubicBezTo>
                  <a:pt x="1694" y="1120"/>
                  <a:pt x="1690" y="1111"/>
                  <a:pt x="1682" y="1111"/>
                </a:cubicBezTo>
                <a:close/>
                <a:moveTo>
                  <a:pt x="1754" y="1104"/>
                </a:moveTo>
                <a:cubicBezTo>
                  <a:pt x="1754" y="1104"/>
                  <a:pt x="1754" y="1104"/>
                  <a:pt x="1754" y="1104"/>
                </a:cubicBezTo>
                <a:cubicBezTo>
                  <a:pt x="1749" y="1104"/>
                  <a:pt x="1749" y="1104"/>
                  <a:pt x="1749" y="1104"/>
                </a:cubicBezTo>
                <a:cubicBezTo>
                  <a:pt x="1747" y="1105"/>
                  <a:pt x="1746" y="1107"/>
                  <a:pt x="1743" y="1108"/>
                </a:cubicBezTo>
                <a:cubicBezTo>
                  <a:pt x="1742" y="1109"/>
                  <a:pt x="1740" y="1110"/>
                  <a:pt x="1738" y="1110"/>
                </a:cubicBezTo>
                <a:cubicBezTo>
                  <a:pt x="1736" y="1111"/>
                  <a:pt x="1735" y="1112"/>
                  <a:pt x="1733" y="1113"/>
                </a:cubicBezTo>
                <a:cubicBezTo>
                  <a:pt x="1731" y="1113"/>
                  <a:pt x="1730" y="1114"/>
                  <a:pt x="1727" y="1115"/>
                </a:cubicBezTo>
                <a:cubicBezTo>
                  <a:pt x="1727" y="1115"/>
                  <a:pt x="1727" y="1115"/>
                  <a:pt x="1727" y="1125"/>
                </a:cubicBezTo>
                <a:cubicBezTo>
                  <a:pt x="1730" y="1124"/>
                  <a:pt x="1733" y="1123"/>
                  <a:pt x="1735" y="1122"/>
                </a:cubicBezTo>
                <a:cubicBezTo>
                  <a:pt x="1738" y="1121"/>
                  <a:pt x="1740" y="1120"/>
                  <a:pt x="1743" y="1118"/>
                </a:cubicBezTo>
                <a:cubicBezTo>
                  <a:pt x="1743" y="1118"/>
                  <a:pt x="1743" y="1118"/>
                  <a:pt x="1743" y="1177"/>
                </a:cubicBezTo>
                <a:cubicBezTo>
                  <a:pt x="1743" y="1177"/>
                  <a:pt x="1743" y="1177"/>
                  <a:pt x="1754" y="1177"/>
                </a:cubicBezTo>
                <a:cubicBezTo>
                  <a:pt x="1754" y="1177"/>
                  <a:pt x="1754" y="1177"/>
                  <a:pt x="1754" y="1104"/>
                </a:cubicBezTo>
                <a:close/>
                <a:moveTo>
                  <a:pt x="1628" y="1103"/>
                </a:moveTo>
                <a:cubicBezTo>
                  <a:pt x="1628" y="1103"/>
                  <a:pt x="1628" y="1103"/>
                  <a:pt x="1628" y="1103"/>
                </a:cubicBezTo>
                <a:cubicBezTo>
                  <a:pt x="1623" y="1103"/>
                  <a:pt x="1623" y="1103"/>
                  <a:pt x="1623" y="1103"/>
                </a:cubicBezTo>
                <a:cubicBezTo>
                  <a:pt x="1621" y="1104"/>
                  <a:pt x="1620" y="1106"/>
                  <a:pt x="1618" y="1107"/>
                </a:cubicBezTo>
                <a:cubicBezTo>
                  <a:pt x="1616" y="1108"/>
                  <a:pt x="1614" y="1109"/>
                  <a:pt x="1613" y="1109"/>
                </a:cubicBezTo>
                <a:cubicBezTo>
                  <a:pt x="1611" y="1111"/>
                  <a:pt x="1609" y="1112"/>
                  <a:pt x="1607" y="1112"/>
                </a:cubicBezTo>
                <a:cubicBezTo>
                  <a:pt x="1605" y="1113"/>
                  <a:pt x="1604" y="1114"/>
                  <a:pt x="1602" y="1114"/>
                </a:cubicBezTo>
                <a:cubicBezTo>
                  <a:pt x="1602" y="1114"/>
                  <a:pt x="1602" y="1114"/>
                  <a:pt x="1602" y="1124"/>
                </a:cubicBezTo>
                <a:cubicBezTo>
                  <a:pt x="1605" y="1123"/>
                  <a:pt x="1607" y="1123"/>
                  <a:pt x="1610" y="1121"/>
                </a:cubicBezTo>
                <a:cubicBezTo>
                  <a:pt x="1613" y="1120"/>
                  <a:pt x="1615" y="1119"/>
                  <a:pt x="1617" y="1117"/>
                </a:cubicBezTo>
                <a:cubicBezTo>
                  <a:pt x="1617" y="1117"/>
                  <a:pt x="1617" y="1117"/>
                  <a:pt x="1617" y="1176"/>
                </a:cubicBezTo>
                <a:cubicBezTo>
                  <a:pt x="1617" y="1176"/>
                  <a:pt x="1617" y="1176"/>
                  <a:pt x="1628" y="1176"/>
                </a:cubicBezTo>
                <a:cubicBezTo>
                  <a:pt x="1628" y="1176"/>
                  <a:pt x="1628" y="1176"/>
                  <a:pt x="1628" y="1103"/>
                </a:cubicBezTo>
                <a:close/>
                <a:moveTo>
                  <a:pt x="3370" y="1137"/>
                </a:moveTo>
                <a:cubicBezTo>
                  <a:pt x="3370" y="1137"/>
                  <a:pt x="3370" y="1137"/>
                  <a:pt x="3370" y="1137"/>
                </a:cubicBezTo>
                <a:cubicBezTo>
                  <a:pt x="3369" y="1145"/>
                  <a:pt x="3369" y="1145"/>
                  <a:pt x="3369" y="1145"/>
                </a:cubicBezTo>
                <a:cubicBezTo>
                  <a:pt x="3376" y="1146"/>
                  <a:pt x="3377" y="1149"/>
                  <a:pt x="3377" y="1151"/>
                </a:cubicBezTo>
                <a:cubicBezTo>
                  <a:pt x="3377" y="1154"/>
                  <a:pt x="3376" y="1156"/>
                  <a:pt x="3376" y="1158"/>
                </a:cubicBezTo>
                <a:cubicBezTo>
                  <a:pt x="3376" y="1161"/>
                  <a:pt x="3375" y="1163"/>
                  <a:pt x="3375" y="1166"/>
                </a:cubicBezTo>
                <a:cubicBezTo>
                  <a:pt x="3375" y="1175"/>
                  <a:pt x="3382" y="1178"/>
                  <a:pt x="3390" y="1178"/>
                </a:cubicBezTo>
                <a:cubicBezTo>
                  <a:pt x="3390" y="1178"/>
                  <a:pt x="3390" y="1178"/>
                  <a:pt x="3394" y="1178"/>
                </a:cubicBezTo>
                <a:cubicBezTo>
                  <a:pt x="3394" y="1178"/>
                  <a:pt x="3394" y="1178"/>
                  <a:pt x="3394" y="1169"/>
                </a:cubicBezTo>
                <a:cubicBezTo>
                  <a:pt x="3394" y="1169"/>
                  <a:pt x="3394" y="1169"/>
                  <a:pt x="3392" y="1169"/>
                </a:cubicBezTo>
                <a:cubicBezTo>
                  <a:pt x="3389" y="1169"/>
                  <a:pt x="3388" y="1167"/>
                  <a:pt x="3388" y="1163"/>
                </a:cubicBezTo>
                <a:cubicBezTo>
                  <a:pt x="3388" y="1162"/>
                  <a:pt x="3388" y="1160"/>
                  <a:pt x="3388" y="1158"/>
                </a:cubicBezTo>
                <a:cubicBezTo>
                  <a:pt x="3388" y="1157"/>
                  <a:pt x="3388" y="1155"/>
                  <a:pt x="3388" y="1152"/>
                </a:cubicBezTo>
                <a:cubicBezTo>
                  <a:pt x="3388" y="1145"/>
                  <a:pt x="3385" y="1142"/>
                  <a:pt x="3380" y="1141"/>
                </a:cubicBezTo>
                <a:cubicBezTo>
                  <a:pt x="3380" y="1141"/>
                  <a:pt x="3380" y="1141"/>
                  <a:pt x="3380" y="1141"/>
                </a:cubicBezTo>
                <a:cubicBezTo>
                  <a:pt x="3385" y="1140"/>
                  <a:pt x="3388" y="1138"/>
                  <a:pt x="3388" y="1130"/>
                </a:cubicBezTo>
                <a:cubicBezTo>
                  <a:pt x="3388" y="1127"/>
                  <a:pt x="3388" y="1126"/>
                  <a:pt x="3388" y="1124"/>
                </a:cubicBezTo>
                <a:cubicBezTo>
                  <a:pt x="3388" y="1122"/>
                  <a:pt x="3388" y="1120"/>
                  <a:pt x="3388" y="1119"/>
                </a:cubicBezTo>
                <a:cubicBezTo>
                  <a:pt x="3388" y="1115"/>
                  <a:pt x="3389" y="1113"/>
                  <a:pt x="3392" y="1113"/>
                </a:cubicBezTo>
                <a:cubicBezTo>
                  <a:pt x="3392" y="1113"/>
                  <a:pt x="3392" y="1113"/>
                  <a:pt x="3394" y="1113"/>
                </a:cubicBezTo>
                <a:cubicBezTo>
                  <a:pt x="3394" y="1113"/>
                  <a:pt x="3394" y="1113"/>
                  <a:pt x="3394" y="1104"/>
                </a:cubicBezTo>
                <a:cubicBezTo>
                  <a:pt x="3394" y="1104"/>
                  <a:pt x="3394" y="1104"/>
                  <a:pt x="3390" y="1104"/>
                </a:cubicBezTo>
                <a:cubicBezTo>
                  <a:pt x="3381" y="1104"/>
                  <a:pt x="3375" y="1108"/>
                  <a:pt x="3375" y="1117"/>
                </a:cubicBezTo>
                <a:cubicBezTo>
                  <a:pt x="3375" y="1119"/>
                  <a:pt x="3376" y="1121"/>
                  <a:pt x="3376" y="1124"/>
                </a:cubicBezTo>
                <a:cubicBezTo>
                  <a:pt x="3376" y="1126"/>
                  <a:pt x="3377" y="1129"/>
                  <a:pt x="3377" y="1131"/>
                </a:cubicBezTo>
                <a:cubicBezTo>
                  <a:pt x="3377" y="1133"/>
                  <a:pt x="3376" y="1137"/>
                  <a:pt x="3370" y="1137"/>
                </a:cubicBezTo>
                <a:close/>
                <a:moveTo>
                  <a:pt x="3425" y="1145"/>
                </a:moveTo>
                <a:cubicBezTo>
                  <a:pt x="3425" y="1145"/>
                  <a:pt x="3425" y="1145"/>
                  <a:pt x="3425" y="1145"/>
                </a:cubicBezTo>
                <a:cubicBezTo>
                  <a:pt x="3425" y="1137"/>
                  <a:pt x="3425" y="1137"/>
                  <a:pt x="3425" y="1137"/>
                </a:cubicBezTo>
                <a:cubicBezTo>
                  <a:pt x="3418" y="1137"/>
                  <a:pt x="3418" y="1133"/>
                  <a:pt x="3418" y="1131"/>
                </a:cubicBezTo>
                <a:cubicBezTo>
                  <a:pt x="3418" y="1129"/>
                  <a:pt x="3418" y="1126"/>
                  <a:pt x="3418" y="1124"/>
                </a:cubicBezTo>
                <a:cubicBezTo>
                  <a:pt x="3419" y="1121"/>
                  <a:pt x="3419" y="1119"/>
                  <a:pt x="3419" y="1117"/>
                </a:cubicBezTo>
                <a:cubicBezTo>
                  <a:pt x="3419" y="1108"/>
                  <a:pt x="3414" y="1104"/>
                  <a:pt x="3404" y="1104"/>
                </a:cubicBezTo>
                <a:cubicBezTo>
                  <a:pt x="3404" y="1104"/>
                  <a:pt x="3404" y="1104"/>
                  <a:pt x="3401" y="1104"/>
                </a:cubicBezTo>
                <a:cubicBezTo>
                  <a:pt x="3401" y="1104"/>
                  <a:pt x="3401" y="1104"/>
                  <a:pt x="3401" y="1113"/>
                </a:cubicBezTo>
                <a:cubicBezTo>
                  <a:pt x="3401" y="1113"/>
                  <a:pt x="3401" y="1113"/>
                  <a:pt x="3402" y="1113"/>
                </a:cubicBezTo>
                <a:cubicBezTo>
                  <a:pt x="3406" y="1113"/>
                  <a:pt x="3407" y="1115"/>
                  <a:pt x="3407" y="1119"/>
                </a:cubicBezTo>
                <a:cubicBezTo>
                  <a:pt x="3407" y="1120"/>
                  <a:pt x="3407" y="1122"/>
                  <a:pt x="3407" y="1124"/>
                </a:cubicBezTo>
                <a:cubicBezTo>
                  <a:pt x="3407" y="1126"/>
                  <a:pt x="3407" y="1127"/>
                  <a:pt x="3407" y="1130"/>
                </a:cubicBezTo>
                <a:cubicBezTo>
                  <a:pt x="3407" y="1138"/>
                  <a:pt x="3409" y="1140"/>
                  <a:pt x="3415" y="1141"/>
                </a:cubicBezTo>
                <a:cubicBezTo>
                  <a:pt x="3415" y="1141"/>
                  <a:pt x="3415" y="1141"/>
                  <a:pt x="3415" y="1141"/>
                </a:cubicBezTo>
                <a:cubicBezTo>
                  <a:pt x="3409" y="1142"/>
                  <a:pt x="3407" y="1145"/>
                  <a:pt x="3407" y="1152"/>
                </a:cubicBezTo>
                <a:cubicBezTo>
                  <a:pt x="3407" y="1155"/>
                  <a:pt x="3407" y="1157"/>
                  <a:pt x="3407" y="1158"/>
                </a:cubicBezTo>
                <a:cubicBezTo>
                  <a:pt x="3407" y="1160"/>
                  <a:pt x="3407" y="1162"/>
                  <a:pt x="3407" y="1163"/>
                </a:cubicBezTo>
                <a:cubicBezTo>
                  <a:pt x="3407" y="1167"/>
                  <a:pt x="3406" y="1169"/>
                  <a:pt x="3402" y="1169"/>
                </a:cubicBezTo>
                <a:cubicBezTo>
                  <a:pt x="3402" y="1169"/>
                  <a:pt x="3402" y="1169"/>
                  <a:pt x="3401" y="1169"/>
                </a:cubicBezTo>
                <a:cubicBezTo>
                  <a:pt x="3401" y="1169"/>
                  <a:pt x="3401" y="1169"/>
                  <a:pt x="3401" y="1178"/>
                </a:cubicBezTo>
                <a:cubicBezTo>
                  <a:pt x="3401" y="1178"/>
                  <a:pt x="3401" y="1178"/>
                  <a:pt x="3404" y="1178"/>
                </a:cubicBezTo>
                <a:cubicBezTo>
                  <a:pt x="3413" y="1178"/>
                  <a:pt x="3419" y="1175"/>
                  <a:pt x="3419" y="1166"/>
                </a:cubicBezTo>
                <a:cubicBezTo>
                  <a:pt x="3419" y="1163"/>
                  <a:pt x="3419" y="1161"/>
                  <a:pt x="3418" y="1158"/>
                </a:cubicBezTo>
                <a:cubicBezTo>
                  <a:pt x="3418" y="1156"/>
                  <a:pt x="3418" y="1154"/>
                  <a:pt x="3418" y="1151"/>
                </a:cubicBezTo>
                <a:cubicBezTo>
                  <a:pt x="3418" y="1149"/>
                  <a:pt x="3418" y="1146"/>
                  <a:pt x="3425" y="1145"/>
                </a:cubicBezTo>
                <a:close/>
                <a:moveTo>
                  <a:pt x="3472" y="1105"/>
                </a:moveTo>
                <a:cubicBezTo>
                  <a:pt x="3472" y="1105"/>
                  <a:pt x="3472" y="1105"/>
                  <a:pt x="3472" y="1105"/>
                </a:cubicBezTo>
                <a:cubicBezTo>
                  <a:pt x="3467" y="1105"/>
                  <a:pt x="3467" y="1105"/>
                  <a:pt x="3467" y="1105"/>
                </a:cubicBezTo>
                <a:cubicBezTo>
                  <a:pt x="3464" y="1106"/>
                  <a:pt x="3463" y="1108"/>
                  <a:pt x="3461" y="1108"/>
                </a:cubicBezTo>
                <a:cubicBezTo>
                  <a:pt x="3459" y="1110"/>
                  <a:pt x="3457" y="1111"/>
                  <a:pt x="3455" y="1111"/>
                </a:cubicBezTo>
                <a:cubicBezTo>
                  <a:pt x="3453" y="1112"/>
                  <a:pt x="3452" y="1113"/>
                  <a:pt x="3450" y="1114"/>
                </a:cubicBezTo>
                <a:cubicBezTo>
                  <a:pt x="3448" y="1114"/>
                  <a:pt x="3447" y="1115"/>
                  <a:pt x="3444" y="1116"/>
                </a:cubicBezTo>
                <a:cubicBezTo>
                  <a:pt x="3444" y="1116"/>
                  <a:pt x="3444" y="1116"/>
                  <a:pt x="3444" y="1126"/>
                </a:cubicBezTo>
                <a:cubicBezTo>
                  <a:pt x="3447" y="1125"/>
                  <a:pt x="3450" y="1124"/>
                  <a:pt x="3452" y="1123"/>
                </a:cubicBezTo>
                <a:cubicBezTo>
                  <a:pt x="3455" y="1122"/>
                  <a:pt x="3458" y="1121"/>
                  <a:pt x="3460" y="1119"/>
                </a:cubicBezTo>
                <a:cubicBezTo>
                  <a:pt x="3460" y="1119"/>
                  <a:pt x="3460" y="1119"/>
                  <a:pt x="3460" y="1178"/>
                </a:cubicBezTo>
                <a:cubicBezTo>
                  <a:pt x="3460" y="1178"/>
                  <a:pt x="3460" y="1178"/>
                  <a:pt x="3472" y="1178"/>
                </a:cubicBezTo>
                <a:cubicBezTo>
                  <a:pt x="3472" y="1178"/>
                  <a:pt x="3472" y="1178"/>
                  <a:pt x="3472" y="1105"/>
                </a:cubicBezTo>
                <a:close/>
                <a:moveTo>
                  <a:pt x="3518" y="1105"/>
                </a:moveTo>
                <a:cubicBezTo>
                  <a:pt x="3518" y="1105"/>
                  <a:pt x="3518" y="1105"/>
                  <a:pt x="3518" y="1105"/>
                </a:cubicBezTo>
                <a:cubicBezTo>
                  <a:pt x="3513" y="1105"/>
                  <a:pt x="3513" y="1105"/>
                  <a:pt x="3513" y="1105"/>
                </a:cubicBezTo>
                <a:cubicBezTo>
                  <a:pt x="3511" y="1106"/>
                  <a:pt x="3509" y="1108"/>
                  <a:pt x="3507" y="1108"/>
                </a:cubicBezTo>
                <a:cubicBezTo>
                  <a:pt x="3506" y="1110"/>
                  <a:pt x="3504" y="1111"/>
                  <a:pt x="3502" y="1111"/>
                </a:cubicBezTo>
                <a:cubicBezTo>
                  <a:pt x="3501" y="1113"/>
                  <a:pt x="3499" y="1114"/>
                  <a:pt x="3497" y="1114"/>
                </a:cubicBezTo>
                <a:cubicBezTo>
                  <a:pt x="3495" y="1115"/>
                  <a:pt x="3494" y="1116"/>
                  <a:pt x="3491" y="1116"/>
                </a:cubicBezTo>
                <a:cubicBezTo>
                  <a:pt x="3491" y="1116"/>
                  <a:pt x="3491" y="1116"/>
                  <a:pt x="3491" y="1126"/>
                </a:cubicBezTo>
                <a:cubicBezTo>
                  <a:pt x="3494" y="1125"/>
                  <a:pt x="3497" y="1124"/>
                  <a:pt x="3499" y="1123"/>
                </a:cubicBezTo>
                <a:cubicBezTo>
                  <a:pt x="3502" y="1122"/>
                  <a:pt x="3504" y="1121"/>
                  <a:pt x="3506" y="1119"/>
                </a:cubicBezTo>
                <a:cubicBezTo>
                  <a:pt x="3506" y="1119"/>
                  <a:pt x="3506" y="1119"/>
                  <a:pt x="3506" y="1178"/>
                </a:cubicBezTo>
                <a:cubicBezTo>
                  <a:pt x="3506" y="1178"/>
                  <a:pt x="3506" y="1178"/>
                  <a:pt x="3518" y="1178"/>
                </a:cubicBezTo>
                <a:cubicBezTo>
                  <a:pt x="3518" y="1178"/>
                  <a:pt x="3518" y="1178"/>
                  <a:pt x="3518" y="1105"/>
                </a:cubicBezTo>
                <a:close/>
                <a:moveTo>
                  <a:pt x="3564" y="1105"/>
                </a:moveTo>
                <a:cubicBezTo>
                  <a:pt x="3564" y="1105"/>
                  <a:pt x="3564" y="1105"/>
                  <a:pt x="3564" y="1105"/>
                </a:cubicBezTo>
                <a:cubicBezTo>
                  <a:pt x="3560" y="1105"/>
                  <a:pt x="3560" y="1105"/>
                  <a:pt x="3560" y="1105"/>
                </a:cubicBezTo>
                <a:cubicBezTo>
                  <a:pt x="3557" y="1106"/>
                  <a:pt x="3556" y="1108"/>
                  <a:pt x="3554" y="1108"/>
                </a:cubicBezTo>
                <a:cubicBezTo>
                  <a:pt x="3552" y="1110"/>
                  <a:pt x="3550" y="1111"/>
                  <a:pt x="3549" y="1111"/>
                </a:cubicBezTo>
                <a:cubicBezTo>
                  <a:pt x="3547" y="1113"/>
                  <a:pt x="3545" y="1114"/>
                  <a:pt x="3543" y="1114"/>
                </a:cubicBezTo>
                <a:cubicBezTo>
                  <a:pt x="3542" y="1115"/>
                  <a:pt x="3539" y="1116"/>
                  <a:pt x="3538" y="1116"/>
                </a:cubicBezTo>
                <a:cubicBezTo>
                  <a:pt x="3538" y="1116"/>
                  <a:pt x="3538" y="1116"/>
                  <a:pt x="3538" y="1126"/>
                </a:cubicBezTo>
                <a:cubicBezTo>
                  <a:pt x="3541" y="1125"/>
                  <a:pt x="3544" y="1124"/>
                  <a:pt x="3546" y="1123"/>
                </a:cubicBezTo>
                <a:cubicBezTo>
                  <a:pt x="3548" y="1122"/>
                  <a:pt x="3551" y="1121"/>
                  <a:pt x="3552" y="1119"/>
                </a:cubicBezTo>
                <a:cubicBezTo>
                  <a:pt x="3552" y="1119"/>
                  <a:pt x="3552" y="1119"/>
                  <a:pt x="3552" y="1178"/>
                </a:cubicBezTo>
                <a:cubicBezTo>
                  <a:pt x="3552" y="1178"/>
                  <a:pt x="3552" y="1178"/>
                  <a:pt x="3564" y="1178"/>
                </a:cubicBezTo>
                <a:cubicBezTo>
                  <a:pt x="3564" y="1178"/>
                  <a:pt x="3564" y="1178"/>
                  <a:pt x="3564" y="1105"/>
                </a:cubicBezTo>
                <a:close/>
                <a:moveTo>
                  <a:pt x="3609" y="1105"/>
                </a:moveTo>
                <a:cubicBezTo>
                  <a:pt x="3609" y="1105"/>
                  <a:pt x="3609" y="1105"/>
                  <a:pt x="3609" y="1105"/>
                </a:cubicBezTo>
                <a:cubicBezTo>
                  <a:pt x="3605" y="1105"/>
                  <a:pt x="3605" y="1105"/>
                  <a:pt x="3605" y="1105"/>
                </a:cubicBezTo>
                <a:cubicBezTo>
                  <a:pt x="3603" y="1106"/>
                  <a:pt x="3602" y="1108"/>
                  <a:pt x="3599" y="1108"/>
                </a:cubicBezTo>
                <a:cubicBezTo>
                  <a:pt x="3598" y="1110"/>
                  <a:pt x="3596" y="1111"/>
                  <a:pt x="3594" y="1111"/>
                </a:cubicBezTo>
                <a:cubicBezTo>
                  <a:pt x="3592" y="1113"/>
                  <a:pt x="3591" y="1114"/>
                  <a:pt x="3589" y="1114"/>
                </a:cubicBezTo>
                <a:cubicBezTo>
                  <a:pt x="3587" y="1115"/>
                  <a:pt x="3585" y="1116"/>
                  <a:pt x="3584" y="1116"/>
                </a:cubicBezTo>
                <a:cubicBezTo>
                  <a:pt x="3584" y="1116"/>
                  <a:pt x="3584" y="1116"/>
                  <a:pt x="3584" y="1126"/>
                </a:cubicBezTo>
                <a:cubicBezTo>
                  <a:pt x="3586" y="1125"/>
                  <a:pt x="3589" y="1124"/>
                  <a:pt x="3591" y="1123"/>
                </a:cubicBezTo>
                <a:cubicBezTo>
                  <a:pt x="3594" y="1122"/>
                  <a:pt x="3596" y="1121"/>
                  <a:pt x="3598" y="1119"/>
                </a:cubicBezTo>
                <a:cubicBezTo>
                  <a:pt x="3598" y="1119"/>
                  <a:pt x="3598" y="1119"/>
                  <a:pt x="3598" y="1178"/>
                </a:cubicBezTo>
                <a:cubicBezTo>
                  <a:pt x="3598" y="1178"/>
                  <a:pt x="3598" y="1178"/>
                  <a:pt x="3609" y="1178"/>
                </a:cubicBezTo>
                <a:cubicBezTo>
                  <a:pt x="3609" y="1178"/>
                  <a:pt x="3609" y="1178"/>
                  <a:pt x="3609" y="1105"/>
                </a:cubicBezTo>
                <a:close/>
                <a:moveTo>
                  <a:pt x="3630" y="1137"/>
                </a:moveTo>
                <a:cubicBezTo>
                  <a:pt x="3630" y="1137"/>
                  <a:pt x="3630" y="1137"/>
                  <a:pt x="3630" y="1137"/>
                </a:cubicBezTo>
                <a:cubicBezTo>
                  <a:pt x="3630" y="1145"/>
                  <a:pt x="3630" y="1145"/>
                  <a:pt x="3630" y="1145"/>
                </a:cubicBezTo>
                <a:cubicBezTo>
                  <a:pt x="3636" y="1146"/>
                  <a:pt x="3637" y="1149"/>
                  <a:pt x="3637" y="1151"/>
                </a:cubicBezTo>
                <a:cubicBezTo>
                  <a:pt x="3637" y="1154"/>
                  <a:pt x="3636" y="1156"/>
                  <a:pt x="3636" y="1158"/>
                </a:cubicBezTo>
                <a:cubicBezTo>
                  <a:pt x="3636" y="1161"/>
                  <a:pt x="3636" y="1163"/>
                  <a:pt x="3636" y="1166"/>
                </a:cubicBezTo>
                <a:cubicBezTo>
                  <a:pt x="3636" y="1175"/>
                  <a:pt x="3641" y="1178"/>
                  <a:pt x="3650" y="1178"/>
                </a:cubicBezTo>
                <a:cubicBezTo>
                  <a:pt x="3650" y="1178"/>
                  <a:pt x="3650" y="1178"/>
                  <a:pt x="3654" y="1178"/>
                </a:cubicBezTo>
                <a:cubicBezTo>
                  <a:pt x="3654" y="1178"/>
                  <a:pt x="3654" y="1178"/>
                  <a:pt x="3654" y="1169"/>
                </a:cubicBezTo>
                <a:cubicBezTo>
                  <a:pt x="3654" y="1169"/>
                  <a:pt x="3654" y="1169"/>
                  <a:pt x="3652" y="1169"/>
                </a:cubicBezTo>
                <a:cubicBezTo>
                  <a:pt x="3648" y="1169"/>
                  <a:pt x="3647" y="1167"/>
                  <a:pt x="3647" y="1163"/>
                </a:cubicBezTo>
                <a:cubicBezTo>
                  <a:pt x="3647" y="1162"/>
                  <a:pt x="3647" y="1160"/>
                  <a:pt x="3648" y="1158"/>
                </a:cubicBezTo>
                <a:cubicBezTo>
                  <a:pt x="3648" y="1157"/>
                  <a:pt x="3648" y="1155"/>
                  <a:pt x="3648" y="1152"/>
                </a:cubicBezTo>
                <a:cubicBezTo>
                  <a:pt x="3648" y="1145"/>
                  <a:pt x="3645" y="1142"/>
                  <a:pt x="3640" y="1141"/>
                </a:cubicBezTo>
                <a:cubicBezTo>
                  <a:pt x="3640" y="1141"/>
                  <a:pt x="3640" y="1141"/>
                  <a:pt x="3640" y="1141"/>
                </a:cubicBezTo>
                <a:cubicBezTo>
                  <a:pt x="3645" y="1140"/>
                  <a:pt x="3648" y="1138"/>
                  <a:pt x="3648" y="1130"/>
                </a:cubicBezTo>
                <a:cubicBezTo>
                  <a:pt x="3648" y="1127"/>
                  <a:pt x="3648" y="1126"/>
                  <a:pt x="3648" y="1124"/>
                </a:cubicBezTo>
                <a:cubicBezTo>
                  <a:pt x="3647" y="1122"/>
                  <a:pt x="3647" y="1120"/>
                  <a:pt x="3647" y="1119"/>
                </a:cubicBezTo>
                <a:cubicBezTo>
                  <a:pt x="3647" y="1115"/>
                  <a:pt x="3648" y="1113"/>
                  <a:pt x="3652" y="1113"/>
                </a:cubicBezTo>
                <a:cubicBezTo>
                  <a:pt x="3652" y="1113"/>
                  <a:pt x="3652" y="1113"/>
                  <a:pt x="3654" y="1113"/>
                </a:cubicBezTo>
                <a:cubicBezTo>
                  <a:pt x="3654" y="1113"/>
                  <a:pt x="3654" y="1113"/>
                  <a:pt x="3654" y="1104"/>
                </a:cubicBezTo>
                <a:cubicBezTo>
                  <a:pt x="3654" y="1104"/>
                  <a:pt x="3654" y="1104"/>
                  <a:pt x="3650" y="1104"/>
                </a:cubicBezTo>
                <a:cubicBezTo>
                  <a:pt x="3641" y="1104"/>
                  <a:pt x="3636" y="1108"/>
                  <a:pt x="3636" y="1117"/>
                </a:cubicBezTo>
                <a:cubicBezTo>
                  <a:pt x="3636" y="1119"/>
                  <a:pt x="3636" y="1121"/>
                  <a:pt x="3636" y="1124"/>
                </a:cubicBezTo>
                <a:cubicBezTo>
                  <a:pt x="3636" y="1126"/>
                  <a:pt x="3637" y="1129"/>
                  <a:pt x="3637" y="1131"/>
                </a:cubicBezTo>
                <a:cubicBezTo>
                  <a:pt x="3637" y="1133"/>
                  <a:pt x="3636" y="1137"/>
                  <a:pt x="3630" y="1137"/>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US"/>
          </a:p>
        </p:txBody>
      </p:sp>
      <p:pic>
        <p:nvPicPr>
          <p:cNvPr id="2469" name="Picture 2468"/>
          <p:cNvPicPr>
            <a:picLocks noChangeAspect="1"/>
          </p:cNvPicPr>
          <p:nvPr userDrawn="1"/>
        </p:nvPicPr>
        <p:blipFill>
          <a:blip r:embed="rId2"/>
          <a:stretch>
            <a:fillRect/>
          </a:stretch>
        </p:blipFill>
        <p:spPr>
          <a:xfrm>
            <a:off x="459233" y="6243237"/>
            <a:ext cx="1279359" cy="274320"/>
          </a:xfrm>
          <a:prstGeom prst="rect">
            <a:avLst/>
          </a:prstGeom>
        </p:spPr>
      </p:pic>
      <p:sp>
        <p:nvSpPr>
          <p:cNvPr id="2470" name="Title 1"/>
          <p:cNvSpPr>
            <a:spLocks noGrp="1"/>
          </p:cNvSpPr>
          <p:nvPr>
            <p:ph type="title" hasCustomPrompt="1"/>
          </p:nvPr>
        </p:nvSpPr>
        <p:spPr bwMode="auto">
          <a:xfrm>
            <a:off x="274702" y="1211264"/>
            <a:ext cx="9145588" cy="1828800"/>
          </a:xfrm>
          <a:noFill/>
        </p:spPr>
        <p:txBody>
          <a:bodyPr lIns="146304" tIns="91440" rIns="146304" bIns="91440" anchor="t" anchorCtr="0"/>
          <a:lstStyle>
            <a:lvl1pPr>
              <a:defRPr sz="8000" spc="-100" baseline="0">
                <a:gradFill>
                  <a:gsLst>
                    <a:gs pos="57576">
                      <a:srgbClr val="FFFFFF"/>
                    </a:gs>
                    <a:gs pos="35000">
                      <a:srgbClr val="FFFFFF"/>
                    </a:gs>
                  </a:gsLst>
                  <a:lin ang="5400000" scaled="0"/>
                </a:gradFill>
              </a:defRPr>
            </a:lvl1pPr>
          </a:lstStyle>
          <a:p>
            <a:r>
              <a:rPr lang="en-US" dirty="0"/>
              <a:t>Presentation title</a:t>
            </a:r>
          </a:p>
        </p:txBody>
      </p:sp>
      <p:sp>
        <p:nvSpPr>
          <p:cNvPr id="2471" name="Text Placeholder 2"/>
          <p:cNvSpPr>
            <a:spLocks noGrp="1"/>
          </p:cNvSpPr>
          <p:nvPr>
            <p:ph type="body" sz="quarter" idx="14" hasCustomPrompt="1"/>
          </p:nvPr>
        </p:nvSpPr>
        <p:spPr bwMode="auto">
          <a:xfrm>
            <a:off x="273050" y="3954463"/>
            <a:ext cx="9145588" cy="1828800"/>
          </a:xfrm>
        </p:spPr>
        <p:txBody>
          <a:bodyPr tIns="109728" bIns="109728">
            <a:noAutofit/>
          </a:bodyPr>
          <a:lstStyle>
            <a:lvl1pPr marL="0" indent="0">
              <a:spcBef>
                <a:spcPts val="0"/>
              </a:spcBef>
              <a:buNone/>
              <a:defRPr sz="4400">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080300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solidFill>
          <a:srgbClr val="FF8C00"/>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srcRect l="46418" t="28339" b="17442"/>
          <a:stretch/>
        </p:blipFill>
        <p:spPr>
          <a:xfrm>
            <a:off x="-70338" y="-23447"/>
            <a:ext cx="13229832" cy="7057293"/>
          </a:xfrm>
          <a:prstGeom prst="rect">
            <a:avLst/>
          </a:prstGeom>
        </p:spPr>
      </p:pic>
      <p:sp>
        <p:nvSpPr>
          <p:cNvPr id="1381" name="Title 1"/>
          <p:cNvSpPr txBox="1">
            <a:spLocks/>
          </p:cNvSpPr>
          <p:nvPr userDrawn="1"/>
        </p:nvSpPr>
        <p:spPr>
          <a:xfrm>
            <a:off x="309896" y="340565"/>
            <a:ext cx="5244464" cy="3474545"/>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endParaRPr lang="en-US" sz="5399" dirty="0">
              <a:solidFill>
                <a:srgbClr val="0072C6"/>
              </a:solidFill>
            </a:endParaRPr>
          </a:p>
        </p:txBody>
      </p:sp>
      <p:sp>
        <p:nvSpPr>
          <p:cNvPr id="12" name="Title 1"/>
          <p:cNvSpPr>
            <a:spLocks noGrp="1"/>
          </p:cNvSpPr>
          <p:nvPr>
            <p:ph type="title"/>
          </p:nvPr>
        </p:nvSpPr>
        <p:spPr>
          <a:xfrm>
            <a:off x="274639" y="295276"/>
            <a:ext cx="5364246" cy="2433673"/>
          </a:xfrm>
        </p:spPr>
        <p:txBody>
          <a:bodyPr/>
          <a:lstStyle>
            <a:lvl1pPr>
              <a:defRPr sz="5400">
                <a:gradFill>
                  <a:gsLst>
                    <a:gs pos="64912">
                      <a:schemeClr val="accent5"/>
                    </a:gs>
                    <a:gs pos="43000">
                      <a:schemeClr val="accent5"/>
                    </a:gs>
                  </a:gsLst>
                  <a:lin ang="5400000" scaled="1"/>
                </a:gradFill>
              </a:defRPr>
            </a:lvl1pPr>
          </a:lstStyle>
          <a:p>
            <a:r>
              <a:rPr lang="en-US" dirty="0"/>
              <a:t>Click to edit Master title style</a:t>
            </a:r>
          </a:p>
        </p:txBody>
      </p:sp>
    </p:spTree>
    <p:extLst>
      <p:ext uri="{BB962C8B-B14F-4D97-AF65-F5344CB8AC3E}">
        <p14:creationId xmlns:p14="http://schemas.microsoft.com/office/powerpoint/2010/main" val="197047064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019665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image" Target="../media/image7.png"/><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theme" Target="../theme/theme3.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image" Target="../media/image7.png"/><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theme" Target="../theme/theme5.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74638" y="1212850"/>
            <a:ext cx="11887200" cy="209232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11595100" y="6565900"/>
            <a:ext cx="566738" cy="136525"/>
          </a:xfrm>
          <a:prstGeom prst="rect">
            <a:avLst/>
          </a:prstGeom>
        </p:spPr>
        <p:txBody>
          <a:bodyPr vert="horz" lIns="91440" tIns="0" rIns="0" bIns="0" rtlCol="0" anchor="ctr"/>
          <a:lstStyle>
            <a:lvl1pPr algn="r" defTabSz="932742"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4388" r:id="rId1"/>
    <p:sldLayoutId id="2147484382" r:id="rId2"/>
    <p:sldLayoutId id="2147484461" r:id="rId3"/>
    <p:sldLayoutId id="2147484383" r:id="rId4"/>
    <p:sldLayoutId id="2147484389" r:id="rId5"/>
    <p:sldLayoutId id="2147484442" r:id="rId6"/>
    <p:sldLayoutId id="2147484384" r:id="rId7"/>
    <p:sldLayoutId id="2147484462" r:id="rId8"/>
    <p:sldLayoutId id="2147484385" r:id="rId9"/>
    <p:sldLayoutId id="2147484390" r:id="rId10"/>
    <p:sldLayoutId id="2147484386" r:id="rId11"/>
    <p:sldLayoutId id="2147484208" r:id="rId12"/>
    <p:sldLayoutId id="2147484463" r:id="rId13"/>
    <p:sldLayoutId id="2147484381" r:id="rId14"/>
    <p:sldLayoutId id="2147484391" r:id="rId15"/>
    <p:sldLayoutId id="2147484155" r:id="rId16"/>
    <p:sldLayoutId id="2147484444" r:id="rId17"/>
    <p:sldLayoutId id="2147484443" r:id="rId18"/>
    <p:sldLayoutId id="2147484043" r:id="rId19"/>
    <p:sldLayoutId id="2147484044" r:id="rId20"/>
    <p:sldLayoutId id="2147484156" r:id="rId21"/>
    <p:sldLayoutId id="2147484158" r:id="rId22"/>
    <p:sldLayoutId id="2147484178" r:id="rId23"/>
    <p:sldLayoutId id="2147484205" r:id="rId24"/>
    <p:sldLayoutId id="2147484206" r:id="rId25"/>
    <p:sldLayoutId id="2147484316" r:id="rId26"/>
    <p:sldLayoutId id="2147484367" r:id="rId27"/>
    <p:sldLayoutId id="2147484371" r:id="rId28"/>
    <p:sldLayoutId id="2147484375" r:id="rId29"/>
    <p:sldLayoutId id="2147484445" r:id="rId30"/>
    <p:sldLayoutId id="2147484449" r:id="rId31"/>
    <p:sldLayoutId id="2147484453" r:id="rId32"/>
    <p:sldLayoutId id="2147484455" r:id="rId33"/>
    <p:sldLayoutId id="2147484456" r:id="rId34"/>
    <p:sldLayoutId id="2147484457" r:id="rId35"/>
    <p:sldLayoutId id="2147484458" r:id="rId36"/>
    <p:sldLayoutId id="2147484459" r:id="rId37"/>
    <p:sldLayoutId id="2147484460" r:id="rId38"/>
    <p:sldLayoutId id="2147484464" r:id="rId39"/>
  </p:sldLayoutIdLst>
  <p:transition>
    <p:fade/>
  </p:transition>
  <p:txStyles>
    <p:titleStyle>
      <a:lvl1pPr algn="l" defTabSz="931863" rtl="0" fontAlgn="base">
        <a:lnSpc>
          <a:spcPct val="90000"/>
        </a:lnSpc>
        <a:spcBef>
          <a:spcPct val="0"/>
        </a:spcBef>
        <a:spcAft>
          <a:spcPct val="0"/>
        </a:spcAft>
        <a:defRPr lang="en-US" sz="40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p:titleStyle>
    <p:bodyStyle>
      <a:lvl1pPr marL="342900" indent="-342900" algn="l" defTabSz="931863" rtl="0" fontAlgn="base">
        <a:lnSpc>
          <a:spcPct val="90000"/>
        </a:lnSpc>
        <a:spcBef>
          <a:spcPct val="20000"/>
        </a:spcBef>
        <a:spcAft>
          <a:spcPct val="0"/>
        </a:spcAft>
        <a:buSzPct val="90000"/>
        <a:buFont typeface="Arial" charset="0"/>
        <a:buChar char="•"/>
        <a:defRPr sz="3600" kern="1200">
          <a:solidFill>
            <a:schemeClr val="accent1"/>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1"/>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1"/>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1"/>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1"/>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11750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18180340"/>
      </p:ext>
    </p:extLst>
  </p:cSld>
  <p:clrMap bg1="dk1" tx1="lt1" bg2="dk2" tx2="lt2" accent1="accent1" accent2="accent2" accent3="accent3" accent4="accent4" accent5="accent5" accent6="accent6" hlink="hlink" folHlink="folHlink"/>
  <p:sldLayoutIdLst>
    <p:sldLayoutId id="2147484394" r:id="rId1"/>
    <p:sldLayoutId id="2147484395" r:id="rId2"/>
    <p:sldLayoutId id="2147484396" r:id="rId3"/>
    <p:sldLayoutId id="2147484397" r:id="rId4"/>
    <p:sldLayoutId id="2147484398" r:id="rId5"/>
    <p:sldLayoutId id="2147484399" r:id="rId6"/>
    <p:sldLayoutId id="2147484400" r:id="rId7"/>
    <p:sldLayoutId id="2147484401" r:id="rId8"/>
    <p:sldLayoutId id="2147484402" r:id="rId9"/>
    <p:sldLayoutId id="2147484403" r:id="rId10"/>
    <p:sldLayoutId id="2147484404" r:id="rId11"/>
    <p:sldLayoutId id="2147484405" r:id="rId12"/>
    <p:sldLayoutId id="2147484406" r:id="rId13"/>
    <p:sldLayoutId id="2147484407" r:id="rId14"/>
    <p:sldLayoutId id="2147484408" r:id="rId15"/>
    <p:sldLayoutId id="2147484409" r:id="rId16"/>
    <p:sldLayoutId id="2147484410" r:id="rId17"/>
    <p:sldLayoutId id="2147484411" r:id="rId18"/>
    <p:sldLayoutId id="2147484412" r:id="rId19"/>
    <p:sldLayoutId id="2147484413" r:id="rId20"/>
    <p:sldLayoutId id="2147484414" r:id="rId21"/>
    <p:sldLayoutId id="2147484415" r:id="rId22"/>
    <p:sldLayoutId id="2147484416" r:id="rId23"/>
    <p:sldLayoutId id="2147484417" r:id="rId24"/>
    <p:sldLayoutId id="2147484418" r:id="rId25"/>
    <p:sldLayoutId id="2147484419" r:id="rId26"/>
    <p:sldLayoutId id="2147484420" r:id="rId27"/>
    <p:sldLayoutId id="2147484421" r:id="rId28"/>
    <p:sldLayoutId id="2147484422" r:id="rId29"/>
    <p:sldLayoutId id="2147484423" r:id="rId30"/>
    <p:sldLayoutId id="2147484425" r:id="rId31"/>
    <p:sldLayoutId id="2147484426" r:id="rId32"/>
    <p:sldLayoutId id="2147484427" r:id="rId33"/>
    <p:sldLayoutId id="2147484428" r:id="rId34"/>
  </p:sldLayoutIdLst>
  <p:transition>
    <p:fade/>
  </p:transition>
  <p:txStyles>
    <p:titleStyle>
      <a:lvl1pPr algn="l" defTabSz="932742" rtl="0" eaLnBrk="1" latinLnBrk="0" hangingPunct="1">
        <a:lnSpc>
          <a:spcPct val="90000"/>
        </a:lnSpc>
        <a:spcBef>
          <a:spcPct val="0"/>
        </a:spcBef>
        <a:buNone/>
        <a:defRPr lang="en-US" sz="4000" b="0" kern="1200" cap="none" spc="-102" baseline="0" dirty="0" smtClean="0">
          <a:ln w="3175">
            <a:noFill/>
          </a:ln>
          <a:solidFill>
            <a:schemeClr val="bg1"/>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831867783"/>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 id="2147484480" r:id="rId8"/>
    <p:sldLayoutId id="2147484481" r:id="rId9"/>
    <p:sldLayoutId id="2147484482" r:id="rId10"/>
    <p:sldLayoutId id="2147484483" r:id="rId11"/>
    <p:sldLayoutId id="2147484484" r:id="rId12"/>
    <p:sldLayoutId id="2147484485" r:id="rId13"/>
    <p:sldLayoutId id="2147484486" r:id="rId14"/>
    <p:sldLayoutId id="2147484487" r:id="rId15"/>
    <p:sldLayoutId id="2147484488" r:id="rId16"/>
    <p:sldLayoutId id="2147484489" r:id="rId17"/>
    <p:sldLayoutId id="2147484490" r:id="rId18"/>
    <p:sldLayoutId id="2147484491" r:id="rId19"/>
    <p:sldLayoutId id="2147484492" r:id="rId20"/>
    <p:sldLayoutId id="2147484493" r:id="rId21"/>
    <p:sldLayoutId id="2147484494" r:id="rId22"/>
    <p:sldLayoutId id="2147484495"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445442" y="2991033"/>
            <a:ext cx="6858623" cy="876557"/>
          </a:xfrm>
          <a:prstGeom prst="rect">
            <a:avLst/>
          </a:prstGeom>
        </p:spPr>
      </p:pic>
    </p:spTree>
    <p:extLst>
      <p:ext uri="{BB962C8B-B14F-4D97-AF65-F5344CB8AC3E}">
        <p14:creationId xmlns:p14="http://schemas.microsoft.com/office/powerpoint/2010/main" val="962476263"/>
      </p:ext>
    </p:extLst>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 id="2147484514" r:id="rId11"/>
    <p:sldLayoutId id="2147484515" r:id="rId12"/>
    <p:sldLayoutId id="2147484516" r:id="rId13"/>
    <p:sldLayoutId id="2147484517" r:id="rId14"/>
    <p:sldLayoutId id="2147484518" r:id="rId15"/>
    <p:sldLayoutId id="2147484519" r:id="rId16"/>
    <p:sldLayoutId id="2147484520" r:id="rId17"/>
    <p:sldLayoutId id="2147484521" r:id="rId18"/>
    <p:sldLayoutId id="2147484522" r:id="rId19"/>
    <p:sldLayoutId id="2147484523" r:id="rId20"/>
    <p:sldLayoutId id="2147484524" r:id="rId21"/>
    <p:sldLayoutId id="2147484525" r:id="rId22"/>
    <p:sldLayoutId id="2147484526" r:id="rId23"/>
    <p:sldLayoutId id="2147484527" r:id="rId24"/>
    <p:sldLayoutId id="2147484528" r:id="rId25"/>
    <p:sldLayoutId id="2147484529" r:id="rId26"/>
  </p:sldLayoutIdLst>
  <p:transition>
    <p:fade/>
  </p:transition>
  <p:hf sldNum="0" hd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74638" y="1212850"/>
            <a:ext cx="11887200" cy="209232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11595100" y="6565900"/>
            <a:ext cx="566738" cy="136525"/>
          </a:xfrm>
          <a:prstGeom prst="rect">
            <a:avLst/>
          </a:prstGeom>
        </p:spPr>
        <p:txBody>
          <a:bodyPr vert="horz" lIns="91440" tIns="0" rIns="0" bIns="0" rtlCol="0" anchor="ctr"/>
          <a:lstStyle>
            <a:lvl1pPr algn="r" defTabSz="932742"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1301905959"/>
      </p:ext>
    </p:extLst>
  </p:cSld>
  <p:clrMap bg1="lt1" tx1="dk1" bg2="lt2" tx2="dk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 id="2147484549" r:id="rId19"/>
    <p:sldLayoutId id="2147484550" r:id="rId20"/>
    <p:sldLayoutId id="2147484551" r:id="rId21"/>
    <p:sldLayoutId id="2147484552" r:id="rId22"/>
    <p:sldLayoutId id="2147484553" r:id="rId23"/>
    <p:sldLayoutId id="2147484554" r:id="rId24"/>
    <p:sldLayoutId id="2147484555" r:id="rId25"/>
    <p:sldLayoutId id="2147484556" r:id="rId26"/>
    <p:sldLayoutId id="2147484557" r:id="rId27"/>
    <p:sldLayoutId id="2147484558" r:id="rId28"/>
    <p:sldLayoutId id="2147484559" r:id="rId29"/>
    <p:sldLayoutId id="2147484560" r:id="rId30"/>
    <p:sldLayoutId id="2147484561" r:id="rId31"/>
    <p:sldLayoutId id="2147484562" r:id="rId32"/>
    <p:sldLayoutId id="2147484563" r:id="rId33"/>
    <p:sldLayoutId id="2147484564" r:id="rId34"/>
    <p:sldLayoutId id="2147484565" r:id="rId35"/>
    <p:sldLayoutId id="2147484567" r:id="rId36"/>
  </p:sldLayoutIdLst>
  <p:transition>
    <p:fade/>
  </p:transition>
  <p:txStyles>
    <p:titleStyle>
      <a:lvl1pPr algn="l" defTabSz="931863" rtl="0" fontAlgn="base">
        <a:lnSpc>
          <a:spcPct val="90000"/>
        </a:lnSpc>
        <a:spcBef>
          <a:spcPct val="0"/>
        </a:spcBef>
        <a:spcAft>
          <a:spcPct val="0"/>
        </a:spcAft>
        <a:defRPr lang="en-US" sz="40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p:titleStyle>
    <p:bodyStyle>
      <a:lvl1pPr marL="342900" indent="-342900" algn="l" defTabSz="931863" rtl="0" fontAlgn="base">
        <a:lnSpc>
          <a:spcPct val="90000"/>
        </a:lnSpc>
        <a:spcBef>
          <a:spcPct val="20000"/>
        </a:spcBef>
        <a:spcAft>
          <a:spcPct val="0"/>
        </a:spcAft>
        <a:buSzPct val="90000"/>
        <a:buFont typeface="Arial" charset="0"/>
        <a:buChar char="•"/>
        <a:defRPr sz="3600" kern="1200">
          <a:solidFill>
            <a:schemeClr val="accent1"/>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1"/>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1"/>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1"/>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1"/>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10.xml"/><Relationship Id="rId7" Type="http://schemas.openxmlformats.org/officeDocument/2006/relationships/diagramColors" Target="../diagrams/colors1.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docs.microsoft.com/en-us/sql/relational-databases/performance/monitoring-performance-by-using-the-query-store"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hyperlink" Target="https://msdn.microsoft.com/en-us/library/dn148262.aspx" TargetMode="External"/><Relationship Id="rId5" Type="http://schemas.openxmlformats.org/officeDocument/2006/relationships/hyperlink" Target="https://docs.microsoft.com/en-us/azure/sql-database/sql-database-query-performance" TargetMode="External"/><Relationship Id="rId4" Type="http://schemas.openxmlformats.org/officeDocument/2006/relationships/hyperlink" Target="https://docs.microsoft.com/en-us/sql/relational-databases/performance/live-query-statistics"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58.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9"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xml"/><Relationship Id="rId1" Type="http://schemas.openxmlformats.org/officeDocument/2006/relationships/slideLayout" Target="../slideLayouts/slideLayout137.xml"/><Relationship Id="rId4" Type="http://schemas.openxmlformats.org/officeDocument/2006/relationships/image" Target="../media/image16.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1" name="TextBox 2580"/>
          <p:cNvSpPr txBox="1"/>
          <p:nvPr/>
        </p:nvSpPr>
        <p:spPr>
          <a:xfrm>
            <a:off x="2607991" y="538197"/>
            <a:ext cx="10430625" cy="1936062"/>
          </a:xfrm>
          <a:prstGeom prst="rect">
            <a:avLst/>
          </a:prstGeom>
          <a:noFill/>
        </p:spPr>
        <p:txBody>
          <a:bodyPr wrap="square" lIns="182880" tIns="146304" rIns="182880" bIns="146304" rtlCol="0">
            <a:noAutofit/>
          </a:bodyPr>
          <a:lstStyle/>
          <a:p>
            <a:pPr>
              <a:lnSpc>
                <a:spcPct val="90000"/>
              </a:lnSpc>
              <a:spcAft>
                <a:spcPts val="1200"/>
              </a:spcAft>
            </a:pPr>
            <a:r>
              <a:rPr lang="en-US" sz="6600" dirty="0">
                <a:solidFill>
                  <a:schemeClr val="tx1">
                    <a:lumMod val="90000"/>
                    <a:lumOff val="10000"/>
                  </a:schemeClr>
                </a:solidFill>
                <a:latin typeface="Segoe UI Light"/>
              </a:rPr>
              <a:t>SQL Server 2016</a:t>
            </a:r>
          </a:p>
          <a:p>
            <a:pPr>
              <a:lnSpc>
                <a:spcPct val="90000"/>
              </a:lnSpc>
              <a:spcAft>
                <a:spcPts val="1200"/>
              </a:spcAft>
            </a:pPr>
            <a:r>
              <a:rPr lang="en-US" sz="4400" dirty="0">
                <a:solidFill>
                  <a:srgbClr val="C00000"/>
                </a:solidFill>
                <a:latin typeface="Segoe UI Light"/>
              </a:rPr>
              <a:t>Investigating plans with the query stor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93617" y="6311731"/>
            <a:ext cx="1362029" cy="290854"/>
          </a:xfrm>
          <a:prstGeom prst="rect">
            <a:avLst/>
          </a:prstGeom>
        </p:spPr>
      </p:pic>
      <p:sp>
        <p:nvSpPr>
          <p:cNvPr id="4" name="Text Placeholder 5"/>
          <p:cNvSpPr txBox="1">
            <a:spLocks/>
          </p:cNvSpPr>
          <p:nvPr/>
        </p:nvSpPr>
        <p:spPr>
          <a:xfrm>
            <a:off x="2796988" y="4986937"/>
            <a:ext cx="5094515" cy="1851853"/>
          </a:xfrm>
          <a:prstGeom prst="rect">
            <a:avLst/>
          </a:prstGeom>
        </p:spPr>
        <p:txBody>
          <a:bodyPr/>
          <a:lstStyle>
            <a:lvl1pPr marL="339725" marR="0" indent="-339725" algn="l" defTabSz="914363" rtl="0" eaLnBrk="1" fontAlgn="auto" latinLnBrk="0" hangingPunct="1">
              <a:lnSpc>
                <a:spcPct val="90000"/>
              </a:lnSpc>
              <a:spcBef>
                <a:spcPct val="20000"/>
              </a:spcBef>
              <a:spcAft>
                <a:spcPts val="0"/>
              </a:spcAft>
              <a:buClrTx/>
              <a:buSzPct val="90000"/>
              <a:buFont typeface="Segoe" pitchFamily="34" charset="0"/>
              <a:buChar char="–"/>
              <a:tabLst/>
              <a:defRPr sz="3600" kern="1200" spc="-70" baseline="0">
                <a:solidFill>
                  <a:schemeClr val="accent2"/>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Segoe" pitchFamily="34" charset="0"/>
              <a:buChar char="–"/>
              <a:tabLst/>
              <a:defRPr sz="2400" kern="1200" spc="0" baseline="0">
                <a:solidFill>
                  <a:schemeClr val="tx1"/>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Segoe" pitchFamily="34" charset="0"/>
              <a:buChar char="–"/>
              <a:tabLst>
                <a:tab pos="798513" algn="l"/>
              </a:tabLst>
              <a:defRPr sz="2400" kern="1200" spc="0" baseline="0">
                <a:solidFill>
                  <a:schemeClr val="tx1"/>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Segoe" pitchFamily="34" charset="0"/>
              <a:buChar char="–"/>
              <a:tabLst/>
              <a:defRPr sz="2000" kern="1200" spc="0" baseline="0">
                <a:solidFill>
                  <a:schemeClr val="tx1"/>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Segoe" pitchFamily="34" charset="0"/>
              <a:buChar char="–"/>
              <a:tabLst>
                <a:tab pos="1255713" algn="l"/>
              </a:tabLst>
              <a:defRPr sz="2000" kern="1200" spc="0" baseline="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200" dirty="0">
                <a:solidFill>
                  <a:srgbClr val="002050"/>
                </a:solidFill>
              </a:rPr>
              <a:t>John Miner </a:t>
            </a:r>
          </a:p>
          <a:p>
            <a:pPr marL="0" indent="0">
              <a:buNone/>
            </a:pPr>
            <a:r>
              <a:rPr lang="en-US" sz="3200" dirty="0">
                <a:solidFill>
                  <a:srgbClr val="002050"/>
                </a:solidFill>
              </a:rPr>
              <a:t>Data Platform TSP</a:t>
            </a:r>
            <a:endParaRPr lang="en-US" sz="1600" dirty="0">
              <a:solidFill>
                <a:srgbClr val="002050"/>
              </a:solidFill>
            </a:endParaRPr>
          </a:p>
          <a:p>
            <a:pPr marL="0" indent="0">
              <a:buNone/>
            </a:pPr>
            <a:r>
              <a:rPr lang="en-US" sz="3200" dirty="0">
                <a:solidFill>
                  <a:srgbClr val="002050"/>
                </a:solidFill>
              </a:rPr>
              <a:t>May 2017</a:t>
            </a:r>
          </a:p>
          <a:p>
            <a:pPr marL="0" indent="0">
              <a:buNone/>
            </a:pPr>
            <a:endParaRPr lang="en-US" sz="3200" dirty="0">
              <a:solidFill>
                <a:srgbClr val="002050"/>
              </a:solidFill>
            </a:endParaRPr>
          </a:p>
        </p:txBody>
      </p:sp>
    </p:spTree>
    <p:extLst>
      <p:ext uri="{BB962C8B-B14F-4D97-AF65-F5344CB8AC3E}">
        <p14:creationId xmlns:p14="http://schemas.microsoft.com/office/powerpoint/2010/main" val="978505459"/>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05189" y="2588444"/>
            <a:ext cx="1530923" cy="9185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r>
              <a:rPr lang="en-US" sz="1836" dirty="0">
                <a:solidFill>
                  <a:srgbClr val="FFFFFF"/>
                </a:solidFill>
              </a:rPr>
              <a:t>Query text</a:t>
            </a:r>
          </a:p>
        </p:txBody>
      </p:sp>
      <p:sp>
        <p:nvSpPr>
          <p:cNvPr id="6" name="Rectangle 5"/>
          <p:cNvSpPr/>
          <p:nvPr/>
        </p:nvSpPr>
        <p:spPr>
          <a:xfrm>
            <a:off x="2422964" y="2588444"/>
            <a:ext cx="1530923" cy="9185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r>
              <a:rPr lang="en-US" sz="1836" dirty="0">
                <a:solidFill>
                  <a:srgbClr val="FFFFFF"/>
                </a:solidFill>
              </a:rPr>
              <a:t>Query</a:t>
            </a:r>
          </a:p>
        </p:txBody>
      </p:sp>
      <p:sp>
        <p:nvSpPr>
          <p:cNvPr id="7" name="Rectangle 6"/>
          <p:cNvSpPr/>
          <p:nvPr/>
        </p:nvSpPr>
        <p:spPr>
          <a:xfrm>
            <a:off x="4528035" y="2588444"/>
            <a:ext cx="1530923" cy="9185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r>
              <a:rPr lang="en-US" sz="1836" dirty="0">
                <a:solidFill>
                  <a:srgbClr val="FFFFFF"/>
                </a:solidFill>
              </a:rPr>
              <a:t>Plan</a:t>
            </a:r>
          </a:p>
        </p:txBody>
      </p:sp>
      <p:sp>
        <p:nvSpPr>
          <p:cNvPr id="8" name="Rectangle 7"/>
          <p:cNvSpPr/>
          <p:nvPr/>
        </p:nvSpPr>
        <p:spPr>
          <a:xfrm>
            <a:off x="6597077" y="2588444"/>
            <a:ext cx="1358037" cy="918554"/>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r>
              <a:rPr lang="en-US" sz="1836" dirty="0">
                <a:solidFill>
                  <a:srgbClr val="FFFFFF"/>
                </a:solidFill>
              </a:rPr>
              <a:t>Runtime </a:t>
            </a:r>
          </a:p>
          <a:p>
            <a:pPr algn="ctr" defTabSz="932563"/>
            <a:r>
              <a:rPr lang="en-US" sz="1836" dirty="0">
                <a:solidFill>
                  <a:srgbClr val="FFFFFF"/>
                </a:solidFill>
              </a:rPr>
              <a:t>stats</a:t>
            </a:r>
          </a:p>
        </p:txBody>
      </p:sp>
      <p:sp>
        <p:nvSpPr>
          <p:cNvPr id="9" name="Rectangle 8"/>
          <p:cNvSpPr/>
          <p:nvPr/>
        </p:nvSpPr>
        <p:spPr>
          <a:xfrm>
            <a:off x="305189" y="3954677"/>
            <a:ext cx="1530923" cy="9185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r>
              <a:rPr lang="en-US" sz="1836" dirty="0">
                <a:solidFill>
                  <a:srgbClr val="FFFFFF"/>
                </a:solidFill>
              </a:rPr>
              <a:t>Context</a:t>
            </a:r>
          </a:p>
          <a:p>
            <a:pPr algn="ctr" defTabSz="932563"/>
            <a:r>
              <a:rPr lang="en-US" sz="1836" dirty="0">
                <a:solidFill>
                  <a:srgbClr val="FFFFFF"/>
                </a:solidFill>
              </a:rPr>
              <a:t>settings</a:t>
            </a:r>
          </a:p>
        </p:txBody>
      </p:sp>
      <p:sp>
        <p:nvSpPr>
          <p:cNvPr id="10" name="Rectangle 9"/>
          <p:cNvSpPr/>
          <p:nvPr/>
        </p:nvSpPr>
        <p:spPr>
          <a:xfrm>
            <a:off x="4923914" y="3957933"/>
            <a:ext cx="1133993" cy="1403624"/>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r>
              <a:rPr lang="en-US" sz="1836" dirty="0">
                <a:solidFill>
                  <a:srgbClr val="FFFFFF"/>
                </a:solidFill>
              </a:rPr>
              <a:t>Runtime stats interval</a:t>
            </a:r>
          </a:p>
        </p:txBody>
      </p:sp>
      <p:cxnSp>
        <p:nvCxnSpPr>
          <p:cNvPr id="11" name="Straight Arrow Connector 10"/>
          <p:cNvCxnSpPr>
            <a:stCxn id="5" idx="3"/>
            <a:endCxn id="6" idx="1"/>
          </p:cNvCxnSpPr>
          <p:nvPr/>
        </p:nvCxnSpPr>
        <p:spPr>
          <a:xfrm>
            <a:off x="1836111" y="3047720"/>
            <a:ext cx="586853" cy="0"/>
          </a:xfrm>
          <a:prstGeom prst="straightConnector1">
            <a:avLst/>
          </a:prstGeom>
          <a:ln w="44450">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809548" y="3506998"/>
            <a:ext cx="616554" cy="518243"/>
          </a:xfrm>
          <a:prstGeom prst="straightConnector1">
            <a:avLst/>
          </a:prstGeom>
          <a:ln w="44450">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23102" y="5575333"/>
            <a:ext cx="3163231" cy="845809"/>
          </a:xfrm>
          <a:prstGeom prst="rect">
            <a:avLst/>
          </a:prstGeom>
          <a:noFill/>
          <a:ln w="31750">
            <a:solidFill>
              <a:schemeClr val="tx1"/>
            </a:solidFill>
          </a:ln>
        </p:spPr>
        <p:txBody>
          <a:bodyPr wrap="square" rtlCol="0">
            <a:spAutoFit/>
          </a:bodyPr>
          <a:lstStyle/>
          <a:p>
            <a:pPr defTabSz="932563"/>
            <a:r>
              <a:rPr lang="en-US" sz="1632" b="1" dirty="0"/>
              <a:t>One row per query text per  plan affecting option</a:t>
            </a:r>
          </a:p>
          <a:p>
            <a:pPr defTabSz="932563"/>
            <a:r>
              <a:rPr lang="en-US" sz="1632" b="1" dirty="0"/>
              <a:t>(example: ANSI NULLS on/off)</a:t>
            </a:r>
          </a:p>
        </p:txBody>
      </p:sp>
      <p:sp>
        <p:nvSpPr>
          <p:cNvPr id="20" name="TextBox 19"/>
          <p:cNvSpPr txBox="1"/>
          <p:nvPr/>
        </p:nvSpPr>
        <p:spPr>
          <a:xfrm>
            <a:off x="3693238" y="5566387"/>
            <a:ext cx="2043066" cy="606402"/>
          </a:xfrm>
          <a:prstGeom prst="rect">
            <a:avLst/>
          </a:prstGeom>
          <a:noFill/>
          <a:ln w="31750">
            <a:solidFill>
              <a:schemeClr val="tx1"/>
            </a:solidFill>
          </a:ln>
        </p:spPr>
        <p:txBody>
          <a:bodyPr wrap="square" rtlCol="0">
            <a:spAutoFit/>
          </a:bodyPr>
          <a:lstStyle/>
          <a:p>
            <a:pPr defTabSz="932563"/>
            <a:r>
              <a:rPr lang="en-US" sz="1632" b="1" dirty="0"/>
              <a:t>One row per plan (for each query)</a:t>
            </a:r>
          </a:p>
        </p:txBody>
      </p:sp>
      <p:cxnSp>
        <p:nvCxnSpPr>
          <p:cNvPr id="21" name="Straight Arrow Connector 20"/>
          <p:cNvCxnSpPr>
            <a:stCxn id="20" idx="0"/>
          </p:cNvCxnSpPr>
          <p:nvPr/>
        </p:nvCxnSpPr>
        <p:spPr>
          <a:xfrm flipH="1" flipV="1">
            <a:off x="4697892" y="3598268"/>
            <a:ext cx="16879" cy="1968119"/>
          </a:xfrm>
          <a:prstGeom prst="straightConnector1">
            <a:avLst/>
          </a:prstGeom>
          <a:ln w="31750">
            <a:solidFill>
              <a:schemeClr val="tx1"/>
            </a:solidFill>
            <a:tailEnd type="arrow"/>
          </a:ln>
        </p:spPr>
        <p:style>
          <a:lnRef idx="1">
            <a:schemeClr val="accent2"/>
          </a:lnRef>
          <a:fillRef idx="0">
            <a:schemeClr val="accent2"/>
          </a:fillRef>
          <a:effectRef idx="0">
            <a:schemeClr val="accent2"/>
          </a:effectRef>
          <a:fontRef idx="minor">
            <a:schemeClr val="tx1"/>
          </a:fontRef>
        </p:style>
      </p:cxnSp>
      <p:sp>
        <p:nvSpPr>
          <p:cNvPr id="22" name="TextBox 21"/>
          <p:cNvSpPr txBox="1"/>
          <p:nvPr/>
        </p:nvSpPr>
        <p:spPr>
          <a:xfrm>
            <a:off x="6142048" y="5575333"/>
            <a:ext cx="1905655" cy="845809"/>
          </a:xfrm>
          <a:prstGeom prst="rect">
            <a:avLst/>
          </a:prstGeom>
          <a:noFill/>
          <a:ln w="31750">
            <a:solidFill>
              <a:schemeClr val="tx1"/>
            </a:solidFill>
          </a:ln>
        </p:spPr>
        <p:txBody>
          <a:bodyPr wrap="square" rtlCol="0">
            <a:spAutoFit/>
          </a:bodyPr>
          <a:lstStyle/>
          <a:p>
            <a:pPr defTabSz="932563"/>
            <a:r>
              <a:rPr lang="en-US" sz="1632" b="1" dirty="0"/>
              <a:t>One row per plan per time interval (example: 5 min)</a:t>
            </a:r>
          </a:p>
        </p:txBody>
      </p:sp>
      <p:cxnSp>
        <p:nvCxnSpPr>
          <p:cNvPr id="23" name="Straight Arrow Connector 22"/>
          <p:cNvCxnSpPr/>
          <p:nvPr/>
        </p:nvCxnSpPr>
        <p:spPr>
          <a:xfrm flipV="1">
            <a:off x="7323659" y="3598267"/>
            <a:ext cx="8743" cy="1977066"/>
          </a:xfrm>
          <a:prstGeom prst="straightConnector1">
            <a:avLst/>
          </a:prstGeom>
          <a:ln w="31750">
            <a:solidFill>
              <a:schemeClr val="tx1"/>
            </a:solidFill>
            <a:tailEnd type="arrow"/>
          </a:ln>
        </p:spPr>
        <p:style>
          <a:lnRef idx="1">
            <a:schemeClr val="accent2"/>
          </a:lnRef>
          <a:fillRef idx="0">
            <a:schemeClr val="accent2"/>
          </a:fillRef>
          <a:effectRef idx="0">
            <a:schemeClr val="accent2"/>
          </a:effectRef>
          <a:fontRef idx="minor">
            <a:schemeClr val="tx1"/>
          </a:fontRef>
        </p:style>
      </p:cxnSp>
      <p:sp>
        <p:nvSpPr>
          <p:cNvPr id="24" name="TextBox 23"/>
          <p:cNvSpPr txBox="1"/>
          <p:nvPr/>
        </p:nvSpPr>
        <p:spPr>
          <a:xfrm>
            <a:off x="3952560" y="2596065"/>
            <a:ext cx="699354" cy="318241"/>
          </a:xfrm>
          <a:prstGeom prst="rect">
            <a:avLst/>
          </a:prstGeom>
          <a:noFill/>
        </p:spPr>
        <p:txBody>
          <a:bodyPr wrap="square" rtlCol="0">
            <a:spAutoFit/>
          </a:bodyPr>
          <a:lstStyle/>
          <a:p>
            <a:pPr defTabSz="932563"/>
            <a:r>
              <a:rPr lang="en-US" sz="1428" b="1" dirty="0"/>
              <a:t>1 - n</a:t>
            </a:r>
          </a:p>
        </p:txBody>
      </p:sp>
      <p:sp>
        <p:nvSpPr>
          <p:cNvPr id="2" name="TextBox 1"/>
          <p:cNvSpPr txBox="1"/>
          <p:nvPr/>
        </p:nvSpPr>
        <p:spPr>
          <a:xfrm>
            <a:off x="8354131" y="3268719"/>
            <a:ext cx="3953435" cy="209283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lIns="182854" tIns="146283" rIns="182854" bIns="146283" rtlCol="0">
            <a:spAutoFit/>
          </a:bodyPr>
          <a:lstStyle/>
          <a:p>
            <a:pPr marL="90000" lvl="1" defTabSz="932563">
              <a:lnSpc>
                <a:spcPct val="90000"/>
              </a:lnSpc>
              <a:spcAft>
                <a:spcPts val="600"/>
              </a:spcAft>
            </a:pPr>
            <a:r>
              <a:rPr lang="en-US" sz="1700" u="sng" dirty="0">
                <a:solidFill>
                  <a:srgbClr val="FFFFFF"/>
                </a:solidFill>
              </a:rPr>
              <a:t>Compile stats:</a:t>
            </a:r>
            <a:endParaRPr lang="en-US" sz="1700" dirty="0">
              <a:solidFill>
                <a:srgbClr val="FFFFFF"/>
              </a:solidFill>
            </a:endParaRPr>
          </a:p>
          <a:p>
            <a:pPr marL="180000" lvl="1" defTabSz="932563">
              <a:lnSpc>
                <a:spcPct val="90000"/>
              </a:lnSpc>
              <a:spcAft>
                <a:spcPts val="600"/>
              </a:spcAft>
            </a:pPr>
            <a:r>
              <a:rPr lang="en-US" sz="1700" dirty="0" err="1">
                <a:solidFill>
                  <a:srgbClr val="FFFFFF"/>
                </a:solidFill>
              </a:rPr>
              <a:t>query_store_query_text</a:t>
            </a:r>
            <a:endParaRPr lang="en-US" sz="1700" dirty="0">
              <a:solidFill>
                <a:srgbClr val="FFFFFF"/>
              </a:solidFill>
            </a:endParaRPr>
          </a:p>
          <a:p>
            <a:pPr marL="180000" lvl="1" defTabSz="932563">
              <a:lnSpc>
                <a:spcPct val="90000"/>
              </a:lnSpc>
              <a:spcAft>
                <a:spcPts val="600"/>
              </a:spcAft>
            </a:pPr>
            <a:r>
              <a:rPr lang="en-US" sz="1700" dirty="0">
                <a:solidFill>
                  <a:srgbClr val="FFFFFF"/>
                </a:solidFill>
              </a:rPr>
              <a:t>query_context_settings</a:t>
            </a:r>
          </a:p>
          <a:p>
            <a:pPr marL="180000" lvl="1" defTabSz="932563">
              <a:lnSpc>
                <a:spcPct val="90000"/>
              </a:lnSpc>
              <a:spcAft>
                <a:spcPts val="600"/>
              </a:spcAft>
            </a:pPr>
            <a:r>
              <a:rPr lang="en-US" sz="1700" dirty="0">
                <a:solidFill>
                  <a:srgbClr val="FFFFFF"/>
                </a:solidFill>
              </a:rPr>
              <a:t>query_store_query</a:t>
            </a:r>
          </a:p>
          <a:p>
            <a:pPr marL="180000" lvl="1" defTabSz="932563">
              <a:lnSpc>
                <a:spcPct val="90000"/>
              </a:lnSpc>
              <a:spcAft>
                <a:spcPts val="600"/>
              </a:spcAft>
            </a:pPr>
            <a:r>
              <a:rPr lang="en-US" sz="1700" dirty="0">
                <a:solidFill>
                  <a:srgbClr val="FFFFFF"/>
                </a:solidFill>
              </a:rPr>
              <a:t>query_store_plan</a:t>
            </a:r>
          </a:p>
          <a:p>
            <a:pPr defTabSz="932563">
              <a:lnSpc>
                <a:spcPct val="90000"/>
              </a:lnSpc>
              <a:spcAft>
                <a:spcPts val="600"/>
              </a:spcAft>
            </a:pPr>
            <a:endParaRPr lang="en-US" sz="1700" dirty="0">
              <a:gradFill>
                <a:gsLst>
                  <a:gs pos="2917">
                    <a:srgbClr val="FFFFFF"/>
                  </a:gs>
                  <a:gs pos="30000">
                    <a:srgbClr val="FFFFFF"/>
                  </a:gs>
                </a:gsLst>
                <a:lin ang="5400000" scaled="0"/>
              </a:gradFill>
            </a:endParaRPr>
          </a:p>
        </p:txBody>
      </p:sp>
      <p:sp>
        <p:nvSpPr>
          <p:cNvPr id="3" name="TextBox 2"/>
          <p:cNvSpPr txBox="1"/>
          <p:nvPr/>
        </p:nvSpPr>
        <p:spPr>
          <a:xfrm>
            <a:off x="8354130" y="5084935"/>
            <a:ext cx="3947954" cy="1155659"/>
          </a:xfrm>
          <a:prstGeom prst="rect">
            <a:avLst/>
          </a:prstGeom>
          <a:solidFill>
            <a:schemeClr val="accent3"/>
          </a:solidFill>
          <a:ln>
            <a:solidFill>
              <a:srgbClr val="D83B01"/>
            </a:solidFill>
          </a:ln>
        </p:spPr>
        <p:txBody>
          <a:bodyPr wrap="square" lIns="182854" tIns="146283" rIns="182854" bIns="146283" rtlCol="0">
            <a:spAutoFit/>
          </a:bodyPr>
          <a:lstStyle/>
          <a:p>
            <a:pPr marL="90000" lvl="1" defTabSz="932563">
              <a:lnSpc>
                <a:spcPct val="90000"/>
              </a:lnSpc>
              <a:spcAft>
                <a:spcPts val="600"/>
              </a:spcAft>
            </a:pPr>
            <a:r>
              <a:rPr lang="en-US" sz="1700" u="sng" dirty="0">
                <a:solidFill>
                  <a:srgbClr val="FFFFFF"/>
                </a:solidFill>
              </a:rPr>
              <a:t>Runtime stats:</a:t>
            </a:r>
          </a:p>
          <a:p>
            <a:pPr marL="180000" lvl="1" defTabSz="932563">
              <a:lnSpc>
                <a:spcPct val="90000"/>
              </a:lnSpc>
              <a:spcAft>
                <a:spcPts val="600"/>
              </a:spcAft>
            </a:pPr>
            <a:r>
              <a:rPr lang="en-US" sz="1700" dirty="0" err="1">
                <a:solidFill>
                  <a:srgbClr val="FFFFFF"/>
                </a:solidFill>
              </a:rPr>
              <a:t>query_store_runtime_stats_interval</a:t>
            </a:r>
            <a:endParaRPr lang="en-US" sz="1700" dirty="0">
              <a:solidFill>
                <a:srgbClr val="FFFFFF"/>
              </a:solidFill>
            </a:endParaRPr>
          </a:p>
          <a:p>
            <a:pPr marL="180000" lvl="1" defTabSz="932563">
              <a:lnSpc>
                <a:spcPct val="90000"/>
              </a:lnSpc>
              <a:spcAft>
                <a:spcPts val="600"/>
              </a:spcAft>
            </a:pPr>
            <a:r>
              <a:rPr lang="en-US" sz="1700" dirty="0" err="1">
                <a:solidFill>
                  <a:srgbClr val="FFFFFF"/>
                </a:solidFill>
              </a:rPr>
              <a:t>query_store_runtime_stats</a:t>
            </a:r>
            <a:endParaRPr lang="en-US" sz="1700" dirty="0">
              <a:solidFill>
                <a:srgbClr val="FFFFFF"/>
              </a:solidFill>
            </a:endParaRPr>
          </a:p>
        </p:txBody>
      </p:sp>
      <p:sp>
        <p:nvSpPr>
          <p:cNvPr id="26" name="TextBox 25"/>
          <p:cNvSpPr txBox="1"/>
          <p:nvPr/>
        </p:nvSpPr>
        <p:spPr>
          <a:xfrm>
            <a:off x="8362830" y="2582992"/>
            <a:ext cx="3933866" cy="627822"/>
          </a:xfrm>
          <a:prstGeom prst="rect">
            <a:avLst/>
          </a:prstGeom>
          <a:noFill/>
          <a:ln>
            <a:solidFill>
              <a:schemeClr val="tx1"/>
            </a:solidFill>
          </a:ln>
        </p:spPr>
        <p:txBody>
          <a:bodyPr wrap="square" lIns="182854" tIns="146283" rIns="182854" bIns="146283" rtlCol="0">
            <a:spAutoFit/>
          </a:bodyPr>
          <a:lstStyle/>
          <a:p>
            <a:pPr defTabSz="932563">
              <a:lnSpc>
                <a:spcPct val="90000"/>
              </a:lnSpc>
              <a:spcAft>
                <a:spcPts val="600"/>
              </a:spcAft>
            </a:pPr>
            <a:r>
              <a:rPr lang="en-US" b="1" dirty="0"/>
              <a:t>sys.</a:t>
            </a:r>
          </a:p>
        </p:txBody>
      </p:sp>
      <p:sp>
        <p:nvSpPr>
          <p:cNvPr id="31" name="Right Brace 30"/>
          <p:cNvSpPr/>
          <p:nvPr/>
        </p:nvSpPr>
        <p:spPr>
          <a:xfrm rot="16200000">
            <a:off x="3999712" y="-1572846"/>
            <a:ext cx="353472" cy="774251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63"/>
            <a:endParaRPr lang="en-US" dirty="0">
              <a:solidFill>
                <a:srgbClr val="FFFFFF"/>
              </a:solidFill>
            </a:endParaRPr>
          </a:p>
        </p:txBody>
      </p:sp>
      <p:sp>
        <p:nvSpPr>
          <p:cNvPr id="32" name="TextBox 31"/>
          <p:cNvSpPr txBox="1"/>
          <p:nvPr/>
        </p:nvSpPr>
        <p:spPr>
          <a:xfrm>
            <a:off x="3053002" y="1450444"/>
            <a:ext cx="2294678" cy="627822"/>
          </a:xfrm>
          <a:prstGeom prst="rect">
            <a:avLst/>
          </a:prstGeom>
          <a:noFill/>
        </p:spPr>
        <p:txBody>
          <a:bodyPr wrap="none" lIns="182854" tIns="146283" rIns="182854" bIns="146283" rtlCol="0">
            <a:spAutoFit/>
          </a:bodyPr>
          <a:lstStyle/>
          <a:p>
            <a:pPr defTabSz="932563">
              <a:lnSpc>
                <a:spcPct val="90000"/>
              </a:lnSpc>
              <a:spcAft>
                <a:spcPts val="600"/>
              </a:spcAft>
            </a:pPr>
            <a:r>
              <a:rPr lang="en-US" sz="2400" dirty="0"/>
              <a:t>Internal tables</a:t>
            </a:r>
          </a:p>
        </p:txBody>
      </p:sp>
      <p:sp>
        <p:nvSpPr>
          <p:cNvPr id="33" name="Right Brace 32"/>
          <p:cNvSpPr/>
          <p:nvPr/>
        </p:nvSpPr>
        <p:spPr>
          <a:xfrm rot="16200000">
            <a:off x="10171396" y="349846"/>
            <a:ext cx="308035" cy="394256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63"/>
            <a:endParaRPr lang="en-US" dirty="0">
              <a:solidFill>
                <a:srgbClr val="FFFFFF"/>
              </a:solidFill>
            </a:endParaRPr>
          </a:p>
        </p:txBody>
      </p:sp>
      <p:sp>
        <p:nvSpPr>
          <p:cNvPr id="34" name="TextBox 33"/>
          <p:cNvSpPr txBox="1"/>
          <p:nvPr/>
        </p:nvSpPr>
        <p:spPr>
          <a:xfrm>
            <a:off x="9083164" y="1468819"/>
            <a:ext cx="2320134" cy="627822"/>
          </a:xfrm>
          <a:prstGeom prst="rect">
            <a:avLst/>
          </a:prstGeom>
          <a:noFill/>
        </p:spPr>
        <p:txBody>
          <a:bodyPr wrap="none" lIns="182854" tIns="146283" rIns="182854" bIns="146283" rtlCol="0">
            <a:spAutoFit/>
          </a:bodyPr>
          <a:lstStyle/>
          <a:p>
            <a:pPr defTabSz="932563">
              <a:lnSpc>
                <a:spcPct val="90000"/>
              </a:lnSpc>
              <a:spcAft>
                <a:spcPts val="600"/>
              </a:spcAft>
            </a:pPr>
            <a:r>
              <a:rPr lang="en-US" sz="2400" dirty="0"/>
              <a:t>Exposed views</a:t>
            </a:r>
          </a:p>
        </p:txBody>
      </p:sp>
      <p:sp>
        <p:nvSpPr>
          <p:cNvPr id="30" name="Title 1"/>
          <p:cNvSpPr txBox="1">
            <a:spLocks/>
          </p:cNvSpPr>
          <p:nvPr/>
        </p:nvSpPr>
        <p:spPr>
          <a:xfrm>
            <a:off x="294172" y="274829"/>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1863">
              <a:lnSpc>
                <a:spcPts val="6176"/>
              </a:lnSpc>
            </a:pPr>
            <a:r>
              <a:rPr lang="en-US" sz="4000" dirty="0">
                <a:solidFill>
                  <a:schemeClr val="tx1"/>
                </a:solidFill>
                <a:ea typeface="ＭＳ Ｐゴシック" charset="0"/>
              </a:rPr>
              <a:t>Query Store schema explained</a:t>
            </a:r>
          </a:p>
        </p:txBody>
      </p:sp>
      <p:cxnSp>
        <p:nvCxnSpPr>
          <p:cNvPr id="35" name="Straight Arrow Connector 34"/>
          <p:cNvCxnSpPr/>
          <p:nvPr/>
        </p:nvCxnSpPr>
        <p:spPr>
          <a:xfrm>
            <a:off x="3938044" y="3047720"/>
            <a:ext cx="586853" cy="0"/>
          </a:xfrm>
          <a:prstGeom prst="straightConnector1">
            <a:avLst/>
          </a:prstGeom>
          <a:ln w="44450">
            <a:tailEnd type="arrow"/>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6058958" y="2596065"/>
            <a:ext cx="699354" cy="318241"/>
          </a:xfrm>
          <a:prstGeom prst="rect">
            <a:avLst/>
          </a:prstGeom>
          <a:noFill/>
        </p:spPr>
        <p:txBody>
          <a:bodyPr wrap="square" rtlCol="0">
            <a:spAutoFit/>
          </a:bodyPr>
          <a:lstStyle/>
          <a:p>
            <a:pPr defTabSz="932563"/>
            <a:r>
              <a:rPr lang="en-US" sz="1428" b="1" dirty="0"/>
              <a:t>1 - n</a:t>
            </a:r>
          </a:p>
        </p:txBody>
      </p:sp>
      <p:cxnSp>
        <p:nvCxnSpPr>
          <p:cNvPr id="37" name="Straight Arrow Connector 36"/>
          <p:cNvCxnSpPr>
            <a:endCxn id="8" idx="1"/>
          </p:cNvCxnSpPr>
          <p:nvPr/>
        </p:nvCxnSpPr>
        <p:spPr>
          <a:xfrm>
            <a:off x="6058958" y="3047720"/>
            <a:ext cx="538119" cy="1"/>
          </a:xfrm>
          <a:prstGeom prst="straightConnector1">
            <a:avLst/>
          </a:prstGeom>
          <a:ln w="44450">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V="1">
            <a:off x="5980523" y="3506998"/>
            <a:ext cx="616554" cy="518243"/>
          </a:xfrm>
          <a:prstGeom prst="straightConnector1">
            <a:avLst/>
          </a:prstGeom>
          <a:ln w="444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V="1">
            <a:off x="2953265" y="3598267"/>
            <a:ext cx="12357" cy="1968120"/>
          </a:xfrm>
          <a:prstGeom prst="straightConnector1">
            <a:avLst/>
          </a:prstGeom>
          <a:ln w="317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1" y="6642289"/>
            <a:ext cx="3806190" cy="352236"/>
          </a:xfrm>
          <a:prstGeom prst="rect">
            <a:avLst/>
          </a:prstGeom>
          <a:noFill/>
        </p:spPr>
        <p:txBody>
          <a:bodyPr wrap="square" lIns="365760" tIns="146304" rIns="182880" bIns="146304" rtlCol="0" anchor="ctr" anchorCtr="0">
            <a:noAutofit/>
          </a:bodyPr>
          <a:lstStyle/>
          <a:p>
            <a:pPr>
              <a:lnSpc>
                <a:spcPct val="90000"/>
              </a:lnSpc>
              <a:spcAft>
                <a:spcPts val="600"/>
              </a:spcAft>
            </a:pPr>
            <a:r>
              <a:rPr lang="en-US" sz="14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10236195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100"/>
                                  </p:stCondLst>
                                  <p:childTnLst>
                                    <p:set>
                                      <p:cBhvr>
                                        <p:cTn id="6" dur="1" fill="hold">
                                          <p:stCondLst>
                                            <p:cond delay="0"/>
                                          </p:stCondLst>
                                        </p:cTn>
                                        <p:tgtEl>
                                          <p:spTgt spid="19"/>
                                        </p:tgtEl>
                                        <p:attrNameLst>
                                          <p:attrName>style.visibility</p:attrName>
                                        </p:attrNameLst>
                                      </p:cBhvr>
                                      <p:to>
                                        <p:strVal val="visible"/>
                                      </p:to>
                                    </p:set>
                                  </p:childTnLst>
                                </p:cTn>
                              </p:par>
                              <p:par>
                                <p:cTn id="7" presetID="22" presetClass="entr" presetSubtype="4" fill="hold" nodeType="withEffect">
                                  <p:stCondLst>
                                    <p:cond delay="0"/>
                                  </p:stCondLst>
                                  <p:childTnLst>
                                    <p:set>
                                      <p:cBhvr>
                                        <p:cTn id="8" dur="1" fill="hold">
                                          <p:stCondLst>
                                            <p:cond delay="0"/>
                                          </p:stCondLst>
                                        </p:cTn>
                                        <p:tgtEl>
                                          <p:spTgt spid="61"/>
                                        </p:tgtEl>
                                        <p:attrNameLst>
                                          <p:attrName>style.visibility</p:attrName>
                                        </p:attrNameLst>
                                      </p:cBhvr>
                                      <p:to>
                                        <p:strVal val="visible"/>
                                      </p:to>
                                    </p:set>
                                    <p:animEffect transition="in" filter="wipe(down)">
                                      <p:cBhvr>
                                        <p:cTn id="9" dur="500"/>
                                        <p:tgtEl>
                                          <p:spTgt spid="61"/>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20"/>
                                        </p:tgtEl>
                                        <p:attrNameLst>
                                          <p:attrName>style.visibility</p:attrName>
                                        </p:attrNameLst>
                                      </p:cBhvr>
                                      <p:to>
                                        <p:strVal val="visible"/>
                                      </p:to>
                                    </p:set>
                                  </p:childTnLst>
                                </p:cTn>
                              </p:par>
                              <p:par>
                                <p:cTn id="14" presetID="22" presetClass="entr" presetSubtype="4" fill="hold"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wipe(down)">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par>
                                <p:cTn id="21" presetID="22" presetClass="entr" presetSubtype="4" fill="hold"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wipe(down)">
                                      <p:cBhvr>
                                        <p:cTn id="23" dur="500"/>
                                        <p:tgtEl>
                                          <p:spTgt spid="23"/>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wipe(up)">
                                      <p:cBhvr>
                                        <p:cTn id="28" dur="500"/>
                                        <p:tgtEl>
                                          <p:spTgt spid="31"/>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up)">
                                      <p:cBhvr>
                                        <p:cTn id="31" dur="500"/>
                                        <p:tgtEl>
                                          <p:spTgt spid="32"/>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wipe(up)">
                                      <p:cBhvr>
                                        <p:cTn id="36" dur="500"/>
                                        <p:tgtEl>
                                          <p:spTgt spid="34"/>
                                        </p:tgtEl>
                                      </p:cBhvr>
                                    </p:animEffect>
                                  </p:childTnLst>
                                </p:cTn>
                              </p:par>
                              <p:par>
                                <p:cTn id="37" presetID="22" presetClass="entr" presetSubtype="1" fill="hold" grpId="0" nodeType="with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wipe(up)">
                                      <p:cBhvr>
                                        <p:cTn id="39" dur="500"/>
                                        <p:tgtEl>
                                          <p:spTgt spid="33"/>
                                        </p:tgtEl>
                                      </p:cBhvr>
                                    </p:animEffect>
                                  </p:childTnLst>
                                </p:cTn>
                              </p:par>
                              <p:par>
                                <p:cTn id="40" presetID="22" presetClass="entr" presetSubtype="1" fill="hold" grpId="0"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par>
                                <p:cTn id="43" presetID="22" presetClass="entr" presetSubtype="1" fill="hold" grpId="0" nodeType="with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wipe(up)">
                                      <p:cBhvr>
                                        <p:cTn id="45" dur="500"/>
                                        <p:tgtEl>
                                          <p:spTgt spid="2"/>
                                        </p:tgtEl>
                                      </p:cBhvr>
                                    </p:animEffect>
                                  </p:childTnLst>
                                </p:cTn>
                              </p:par>
                              <p:par>
                                <p:cTn id="46" presetID="22" presetClass="entr" presetSubtype="1" fill="hold" grpId="0" nodeType="withEffect">
                                  <p:stCondLst>
                                    <p:cond delay="0"/>
                                  </p:stCondLst>
                                  <p:childTnLst>
                                    <p:set>
                                      <p:cBhvr>
                                        <p:cTn id="47" dur="1" fill="hold">
                                          <p:stCondLst>
                                            <p:cond delay="0"/>
                                          </p:stCondLst>
                                        </p:cTn>
                                        <p:tgtEl>
                                          <p:spTgt spid="3"/>
                                        </p:tgtEl>
                                        <p:attrNameLst>
                                          <p:attrName>style.visibility</p:attrName>
                                        </p:attrNameLst>
                                      </p:cBhvr>
                                      <p:to>
                                        <p:strVal val="visible"/>
                                      </p:to>
                                    </p:set>
                                    <p:animEffect transition="in" filter="wipe(up)">
                                      <p:cBhvr>
                                        <p:cTn id="4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2" grpId="0" animBg="1"/>
      <p:bldP spid="2" grpId="0" animBg="1"/>
      <p:bldP spid="3" grpId="0" animBg="1"/>
      <p:bldP spid="26" grpId="0" animBg="1"/>
      <p:bldP spid="31" grpId="0" animBg="1"/>
      <p:bldP spid="32" grpId="0"/>
      <p:bldP spid="33" grpId="0" animBg="1"/>
      <p:bldP spid="3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23"/>
          <p:cNvSpPr>
            <a:spLocks/>
          </p:cNvSpPr>
          <p:nvPr/>
        </p:nvSpPr>
        <p:spPr bwMode="auto">
          <a:xfrm>
            <a:off x="7500310" y="2176595"/>
            <a:ext cx="1755098" cy="946950"/>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a:xfrm>
            <a:off x="291543" y="260185"/>
            <a:ext cx="11653521" cy="1075884"/>
          </a:xfrm>
        </p:spPr>
        <p:txBody>
          <a:bodyPr/>
          <a:lstStyle/>
          <a:p>
            <a:r>
              <a:rPr lang="en-US" spc="-76" dirty="0">
                <a:solidFill>
                  <a:schemeClr val="tx1">
                    <a:lumMod val="90000"/>
                    <a:lumOff val="10000"/>
                  </a:schemeClr>
                </a:solidFill>
                <a:latin typeface="Segoe UI Light"/>
                <a:cs typeface="Segoe UI Light"/>
              </a:rPr>
              <a:t>Keeping stability while upgrading to SQL Sever 2016</a:t>
            </a:r>
          </a:p>
        </p:txBody>
      </p:sp>
      <p:sp>
        <p:nvSpPr>
          <p:cNvPr id="5" name="Freeform 15"/>
          <p:cNvSpPr>
            <a:spLocks/>
          </p:cNvSpPr>
          <p:nvPr/>
        </p:nvSpPr>
        <p:spPr bwMode="auto">
          <a:xfrm>
            <a:off x="2422274" y="4761866"/>
            <a:ext cx="1620075" cy="666778"/>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23"/>
          <p:cNvSpPr>
            <a:spLocks/>
          </p:cNvSpPr>
          <p:nvPr/>
        </p:nvSpPr>
        <p:spPr bwMode="auto">
          <a:xfrm>
            <a:off x="-362587" y="2053912"/>
            <a:ext cx="1263656" cy="681796"/>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19"/>
          <p:cNvSpPr>
            <a:spLocks/>
          </p:cNvSpPr>
          <p:nvPr/>
        </p:nvSpPr>
        <p:spPr bwMode="auto">
          <a:xfrm>
            <a:off x="10900780" y="4314248"/>
            <a:ext cx="2043964" cy="1165759"/>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9" name="Content Placeholder 3"/>
          <p:cNvGraphicFramePr>
            <a:graphicFrameLocks/>
          </p:cNvGraphicFramePr>
          <p:nvPr>
            <p:extLst>
              <p:ext uri="{D42A27DB-BD31-4B8C-83A1-F6EECF244321}">
                <p14:modId xmlns:p14="http://schemas.microsoft.com/office/powerpoint/2010/main" val="4165312891"/>
              </p:ext>
            </p:extLst>
          </p:nvPr>
        </p:nvGraphicFramePr>
        <p:xfrm>
          <a:off x="433577" y="1757407"/>
          <a:ext cx="11263705" cy="404545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Freeform 9"/>
          <p:cNvSpPr/>
          <p:nvPr>
            <p:custDataLst>
              <p:tags r:id="rId1"/>
            </p:custDataLst>
          </p:nvPr>
        </p:nvSpPr>
        <p:spPr>
          <a:xfrm>
            <a:off x="11018837" y="2735262"/>
            <a:ext cx="601005" cy="569839"/>
          </a:xfrm>
          <a:custGeom>
            <a:avLst/>
            <a:gdLst>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33474 w 723010"/>
              <a:gd name="connsiteY13" fmla="*/ 238484 h 685518"/>
              <a:gd name="connsiteX14" fmla="*/ 394052 w 723010"/>
              <a:gd name="connsiteY14" fmla="*/ 191519 h 685518"/>
              <a:gd name="connsiteX15" fmla="*/ 459749 w 723010"/>
              <a:gd name="connsiteY15" fmla="*/ 191519 h 685518"/>
              <a:gd name="connsiteX16" fmla="*/ 711059 w 723010"/>
              <a:gd name="connsiteY16"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94052 w 723010"/>
              <a:gd name="connsiteY13" fmla="*/ 191519 h 685518"/>
              <a:gd name="connsiteX14" fmla="*/ 459749 w 723010"/>
              <a:gd name="connsiteY14" fmla="*/ 191519 h 685518"/>
              <a:gd name="connsiteX15" fmla="*/ 711059 w 723010"/>
              <a:gd name="connsiteY15"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459749 w 723010"/>
              <a:gd name="connsiteY13" fmla="*/ 191519 h 685518"/>
              <a:gd name="connsiteX14" fmla="*/ 711059 w 723010"/>
              <a:gd name="connsiteY14"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441083 w 723010"/>
              <a:gd name="connsiteY4" fmla="*/ 329412 h 685518"/>
              <a:gd name="connsiteX5" fmla="*/ 351142 w 723010"/>
              <a:gd name="connsiteY5" fmla="*/ 455167 h 685518"/>
              <a:gd name="connsiteX6" fmla="*/ 270880 w 723010"/>
              <a:gd name="connsiteY6" fmla="*/ 606267 h 685518"/>
              <a:gd name="connsiteX7" fmla="*/ 159341 w 723010"/>
              <a:gd name="connsiteY7" fmla="*/ 685518 h 685518"/>
              <a:gd name="connsiteX8" fmla="*/ 0 w 723010"/>
              <a:gd name="connsiteY8" fmla="*/ 408140 h 685518"/>
              <a:gd name="connsiteX9" fmla="*/ 91621 w 723010"/>
              <a:gd name="connsiteY9" fmla="*/ 354646 h 685518"/>
              <a:gd name="connsiteX10" fmla="*/ 207143 w 723010"/>
              <a:gd name="connsiteY10" fmla="*/ 497297 h 685518"/>
              <a:gd name="connsiteX11" fmla="*/ 411963 w 723010"/>
              <a:gd name="connsiteY11" fmla="*/ 238484 h 685518"/>
              <a:gd name="connsiteX12" fmla="*/ 459749 w 723010"/>
              <a:gd name="connsiteY12" fmla="*/ 191519 h 685518"/>
              <a:gd name="connsiteX13" fmla="*/ 711059 w 723010"/>
              <a:gd name="connsiteY13"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351142 w 723010"/>
              <a:gd name="connsiteY4" fmla="*/ 455167 h 685518"/>
              <a:gd name="connsiteX5" fmla="*/ 270880 w 723010"/>
              <a:gd name="connsiteY5" fmla="*/ 606267 h 685518"/>
              <a:gd name="connsiteX6" fmla="*/ 159341 w 723010"/>
              <a:gd name="connsiteY6" fmla="*/ 685518 h 685518"/>
              <a:gd name="connsiteX7" fmla="*/ 0 w 723010"/>
              <a:gd name="connsiteY7" fmla="*/ 408140 h 685518"/>
              <a:gd name="connsiteX8" fmla="*/ 91621 w 723010"/>
              <a:gd name="connsiteY8" fmla="*/ 354646 h 685518"/>
              <a:gd name="connsiteX9" fmla="*/ 207143 w 723010"/>
              <a:gd name="connsiteY9" fmla="*/ 497297 h 685518"/>
              <a:gd name="connsiteX10" fmla="*/ 411963 w 723010"/>
              <a:gd name="connsiteY10" fmla="*/ 238484 h 685518"/>
              <a:gd name="connsiteX11" fmla="*/ 459749 w 723010"/>
              <a:gd name="connsiteY11" fmla="*/ 191519 h 685518"/>
              <a:gd name="connsiteX12" fmla="*/ 711059 w 723010"/>
              <a:gd name="connsiteY12" fmla="*/ 0 h 6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3010" h="685518">
                <a:moveTo>
                  <a:pt x="711059" y="0"/>
                </a:moveTo>
                <a:lnTo>
                  <a:pt x="723010" y="21794"/>
                </a:lnTo>
                <a:cubicBezTo>
                  <a:pt x="642190" y="100164"/>
                  <a:pt x="564806" y="178154"/>
                  <a:pt x="495948" y="261172"/>
                </a:cubicBezTo>
                <a:lnTo>
                  <a:pt x="444503" y="318664"/>
                </a:lnTo>
                <a:lnTo>
                  <a:pt x="351142" y="455167"/>
                </a:lnTo>
                <a:cubicBezTo>
                  <a:pt x="321171" y="503145"/>
                  <a:pt x="294261" y="553324"/>
                  <a:pt x="270880" y="606267"/>
                </a:cubicBezTo>
                <a:lnTo>
                  <a:pt x="159341" y="685518"/>
                </a:lnTo>
                <a:cubicBezTo>
                  <a:pt x="132119" y="571264"/>
                  <a:pt x="80998" y="480786"/>
                  <a:pt x="0" y="408140"/>
                </a:cubicBezTo>
                <a:cubicBezTo>
                  <a:pt x="20581" y="382385"/>
                  <a:pt x="45147" y="364552"/>
                  <a:pt x="91621" y="354646"/>
                </a:cubicBezTo>
                <a:cubicBezTo>
                  <a:pt x="146063" y="360590"/>
                  <a:pt x="196520" y="443803"/>
                  <a:pt x="207143" y="497297"/>
                </a:cubicBezTo>
                <a:cubicBezTo>
                  <a:pt x="268211" y="397578"/>
                  <a:pt x="339176" y="311314"/>
                  <a:pt x="411963" y="238484"/>
                </a:cubicBezTo>
                <a:lnTo>
                  <a:pt x="459749" y="191519"/>
                </a:lnTo>
                <a:cubicBezTo>
                  <a:pt x="549474" y="108091"/>
                  <a:pt x="638583" y="44519"/>
                  <a:pt x="711059" y="0"/>
                </a:cubicBezTo>
                <a:close/>
              </a:path>
            </a:pathLst>
          </a:custGeom>
          <a:solidFill>
            <a:schemeClr val="tx1"/>
          </a:solidFill>
        </p:spPr>
        <p:txBody>
          <a:bodyPr wrap="square" lIns="93260" tIns="46630" rIns="93260" bIns="46630" rtlCol="0" anchor="t">
            <a:noAutofit/>
          </a:bodyPr>
          <a:lstStyle/>
          <a:p>
            <a:pPr marL="0" lvl="2">
              <a:spcBef>
                <a:spcPts val="918"/>
              </a:spcBef>
              <a:buClr>
                <a:srgbClr val="505050"/>
              </a:buClr>
              <a:defRPr/>
            </a:pPr>
            <a:endParaRPr lang="en-US" sz="2448" dirty="0">
              <a:solidFill>
                <a:srgbClr val="FFFFFF"/>
              </a:solidFill>
              <a:cs typeface="Calibri" pitchFamily="34" charset="0"/>
            </a:endParaRPr>
          </a:p>
        </p:txBody>
      </p:sp>
      <p:sp>
        <p:nvSpPr>
          <p:cNvPr id="11" name="TextBox 10"/>
          <p:cNvSpPr txBox="1"/>
          <p:nvPr/>
        </p:nvSpPr>
        <p:spPr>
          <a:xfrm>
            <a:off x="702773" y="1315384"/>
            <a:ext cx="11192805" cy="878959"/>
          </a:xfrm>
          <a:prstGeom prst="rect">
            <a:avLst/>
          </a:prstGeom>
          <a:noFill/>
        </p:spPr>
        <p:txBody>
          <a:bodyPr wrap="square" lIns="0" tIns="0" rIns="0" bIns="0" rtlCol="0">
            <a:spAutoFit/>
          </a:bodyPr>
          <a:lstStyle/>
          <a:p>
            <a:r>
              <a:rPr lang="en-US" sz="2856" b="1" u="sng" dirty="0">
                <a:solidFill>
                  <a:srgbClr val="C00000"/>
                </a:solidFill>
                <a:latin typeface="Segoe UI Light" pitchFamily="34" charset="0"/>
              </a:rPr>
              <a:t>SQL Server 2016</a:t>
            </a:r>
          </a:p>
          <a:p>
            <a:r>
              <a:rPr lang="en-US" sz="2856" i="1" dirty="0">
                <a:latin typeface="Segoe UI Light" pitchFamily="34" charset="0"/>
              </a:rPr>
              <a:t>Query Optimizer (QO) enhancements tied to database compatibility level</a:t>
            </a:r>
          </a:p>
        </p:txBody>
      </p:sp>
      <p:sp>
        <p:nvSpPr>
          <p:cNvPr id="12" name="TextBox 11"/>
          <p:cNvSpPr txBox="1"/>
          <p:nvPr/>
        </p:nvSpPr>
        <p:spPr>
          <a:xfrm>
            <a:off x="1" y="6642289"/>
            <a:ext cx="3806190" cy="352236"/>
          </a:xfrm>
          <a:prstGeom prst="rect">
            <a:avLst/>
          </a:prstGeom>
          <a:noFill/>
        </p:spPr>
        <p:txBody>
          <a:bodyPr wrap="square" lIns="365760" tIns="146304" rIns="182880" bIns="146304" rtlCol="0" anchor="ctr" anchorCtr="0">
            <a:noAutofit/>
          </a:bodyPr>
          <a:lstStyle/>
          <a:p>
            <a:pPr>
              <a:lnSpc>
                <a:spcPct val="90000"/>
              </a:lnSpc>
              <a:spcAft>
                <a:spcPts val="600"/>
              </a:spcAft>
            </a:pPr>
            <a:r>
              <a:rPr lang="en-US" sz="14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2428519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circle(in)">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1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3"/>
          <p:cNvPicPr>
            <a:picLocks noGrp="1" noChangeAspect="1"/>
          </p:cNvPicPr>
          <p:nvPr>
            <p:ph type="pic" sz="quarter" idx="4294967295"/>
          </p:nvPr>
        </p:nvPicPr>
        <p:blipFill>
          <a:blip r:embed="rId3"/>
          <a:srcRect l="67" r="67"/>
          <a:stretch>
            <a:fillRect/>
          </a:stretch>
        </p:blipFill>
        <p:spPr>
          <a:xfrm>
            <a:off x="0" y="1500865"/>
            <a:ext cx="7294563" cy="4949825"/>
          </a:xfrm>
          <a:prstGeom prst="rect">
            <a:avLst/>
          </a:prstGeom>
          <a:ln w="63500">
            <a:noFill/>
            <a:miter lim="800000"/>
          </a:ln>
        </p:spPr>
      </p:pic>
      <p:sp>
        <p:nvSpPr>
          <p:cNvPr id="5" name="Text Placeholder 4"/>
          <p:cNvSpPr>
            <a:spLocks noGrp="1"/>
          </p:cNvSpPr>
          <p:nvPr>
            <p:ph type="body" sz="quarter" idx="4294967295"/>
          </p:nvPr>
        </p:nvSpPr>
        <p:spPr>
          <a:xfrm>
            <a:off x="7837488" y="1500865"/>
            <a:ext cx="4326715" cy="3850624"/>
          </a:xfrm>
        </p:spPr>
        <p:txBody>
          <a:bodyPr/>
          <a:lstStyle/>
          <a:p>
            <a:pPr marL="0" indent="0">
              <a:buNone/>
            </a:pPr>
            <a:r>
              <a:rPr lang="en-US" sz="3200" dirty="0">
                <a:solidFill>
                  <a:srgbClr val="C00000"/>
                </a:solidFill>
                <a:latin typeface="Segoe UI Semilight" panose="020B0402040204020203" pitchFamily="34" charset="0"/>
                <a:cs typeface="Segoe UI Semilight" panose="020B0402040204020203" pitchFamily="34" charset="0"/>
              </a:rPr>
              <a:t>The Query Store feature provides DBAs with insight on query plan choice and performance</a:t>
            </a:r>
          </a:p>
        </p:txBody>
      </p:sp>
      <p:sp>
        <p:nvSpPr>
          <p:cNvPr id="6" name="Title 1"/>
          <p:cNvSpPr txBox="1">
            <a:spLocks/>
          </p:cNvSpPr>
          <p:nvPr/>
        </p:nvSpPr>
        <p:spPr>
          <a:xfrm>
            <a:off x="274639" y="273240"/>
            <a:ext cx="11889564" cy="903939"/>
          </a:xfrm>
          <a:prstGeom prst="rect">
            <a:avLst/>
          </a:prstGeom>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1863">
              <a:lnSpc>
                <a:spcPts val="6176"/>
              </a:lnSpc>
            </a:pPr>
            <a:r>
              <a:rPr lang="en-US" sz="4000" dirty="0">
                <a:solidFill>
                  <a:schemeClr val="tx1"/>
                </a:solidFill>
                <a:ea typeface="ＭＳ Ｐゴシック" charset="0"/>
              </a:rPr>
              <a:t>Monitoring performance by using the Query Store</a:t>
            </a:r>
          </a:p>
        </p:txBody>
      </p:sp>
      <p:sp>
        <p:nvSpPr>
          <p:cNvPr id="7" name="TextBox 6"/>
          <p:cNvSpPr txBox="1"/>
          <p:nvPr/>
        </p:nvSpPr>
        <p:spPr>
          <a:xfrm>
            <a:off x="1" y="6642289"/>
            <a:ext cx="3806190" cy="352236"/>
          </a:xfrm>
          <a:prstGeom prst="rect">
            <a:avLst/>
          </a:prstGeom>
          <a:noFill/>
        </p:spPr>
        <p:txBody>
          <a:bodyPr wrap="square" lIns="365760" tIns="146304" rIns="182880" bIns="146304" rtlCol="0" anchor="ctr" anchorCtr="0">
            <a:noAutofit/>
          </a:bodyPr>
          <a:lstStyle/>
          <a:p>
            <a:pPr>
              <a:lnSpc>
                <a:spcPct val="90000"/>
              </a:lnSpc>
              <a:spcAft>
                <a:spcPts val="600"/>
              </a:spcAft>
            </a:pPr>
            <a:r>
              <a:rPr lang="en-US" sz="14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18384578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306102" y="427177"/>
            <a:ext cx="11888787" cy="707886"/>
          </a:xfrm>
          <a:prstGeom prst="rect">
            <a:avLst/>
          </a:prstGeom>
        </p:spPr>
        <p:txBody>
          <a:bodyPr vert="horz" lIns="146304" tIns="45720" rIns="146304" bIns="45720" rtlCol="0" anchor="t" anchorCtr="0">
            <a:spAutoFit/>
          </a:bodyPr>
          <a:lstStyle>
            <a:lvl1pPr algn="l" defTabSz="914400" rtl="0" eaLnBrk="1" latinLnBrk="0" hangingPunct="1">
              <a:spcBef>
                <a:spcPct val="0"/>
              </a:spcBef>
              <a:buNone/>
              <a:defRPr sz="5200" kern="1200" cap="none" baseline="0">
                <a:ln>
                  <a:solidFill>
                    <a:schemeClr val="bg1">
                      <a:alpha val="0"/>
                    </a:schemeClr>
                  </a:solidFill>
                </a:ln>
                <a:solidFill>
                  <a:srgbClr val="505050"/>
                </a:solidFill>
                <a:latin typeface="+mj-lt"/>
                <a:ea typeface="Segoe UI"/>
                <a:cs typeface="Segoe UI"/>
                <a:sym typeface="Segoe UI"/>
              </a:defRPr>
            </a:lvl1pPr>
          </a:lstStyle>
          <a:p>
            <a:r>
              <a:rPr lang="en-US" sz="4000" dirty="0">
                <a:solidFill>
                  <a:schemeClr val="tx1"/>
                </a:solidFill>
              </a:rPr>
              <a:t>Working with Query Store</a:t>
            </a:r>
          </a:p>
        </p:txBody>
      </p:sp>
      <p:grpSp>
        <p:nvGrpSpPr>
          <p:cNvPr id="19" name="Group 2"/>
          <p:cNvGrpSpPr/>
          <p:nvPr/>
        </p:nvGrpSpPr>
        <p:grpSpPr>
          <a:xfrm>
            <a:off x="-1200" y="6642289"/>
            <a:ext cx="12436794" cy="360996"/>
            <a:chOff x="2577137" y="4571778"/>
            <a:chExt cx="9101124" cy="1390560"/>
          </a:xfrm>
        </p:grpSpPr>
        <p:sp>
          <p:nvSpPr>
            <p:cNvPr id="20" name="TextBox 19"/>
            <p:cNvSpPr txBox="1"/>
            <p:nvPr/>
          </p:nvSpPr>
          <p:spPr>
            <a:xfrm>
              <a:off x="2577137" y="4571778"/>
              <a:ext cx="3034890" cy="1390458"/>
            </a:xfrm>
            <a:prstGeom prst="rect">
              <a:avLst/>
            </a:prstGeom>
            <a:solidFill>
              <a:schemeClr val="accent4"/>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21" name="TextBox 20"/>
            <p:cNvSpPr txBox="1"/>
            <p:nvPr/>
          </p:nvSpPr>
          <p:spPr>
            <a:xfrm>
              <a:off x="5612027" y="4572324"/>
              <a:ext cx="6066234" cy="1390014"/>
            </a:xfrm>
            <a:prstGeom prst="rect">
              <a:avLst/>
            </a:prstGeom>
            <a:solidFill>
              <a:schemeClr val="accent4">
                <a:lumMod val="75000"/>
              </a:schemeClr>
            </a:solidFill>
          </p:spPr>
          <p:txBody>
            <a:bodyPr wrap="square" lIns="457135" tIns="137141" rIns="639989" rtlCol="0">
              <a:noAutofit/>
            </a:bodyPr>
            <a:lstStyle/>
            <a:p>
              <a:pPr defTabSz="932055" fontAlgn="auto">
                <a:lnSpc>
                  <a:spcPts val="3001"/>
                </a:lnSpc>
                <a:spcBef>
                  <a:spcPts val="0"/>
                </a:spcBef>
                <a:spcAft>
                  <a:spcPts val="0"/>
                </a:spcAft>
                <a:defRPr/>
              </a:pPr>
              <a:endParaRPr lang="en-US" sz="2856" kern="0" dirty="0">
                <a:solidFill>
                  <a:srgbClr val="FFFFFF"/>
                </a:solidFill>
                <a:latin typeface="Segoe UI Light"/>
                <a:ea typeface="+mn-ea"/>
                <a:cs typeface="+mn-cs"/>
              </a:endParaRPr>
            </a:p>
          </p:txBody>
        </p:sp>
      </p:grpSp>
      <p:sp>
        <p:nvSpPr>
          <p:cNvPr id="26" name="TextBox 25"/>
          <p:cNvSpPr txBox="1"/>
          <p:nvPr/>
        </p:nvSpPr>
        <p:spPr>
          <a:xfrm>
            <a:off x="444677" y="1378190"/>
            <a:ext cx="5595619" cy="4873354"/>
          </a:xfrm>
          <a:prstGeom prst="rect">
            <a:avLst/>
          </a:prstGeom>
          <a:solidFill>
            <a:schemeClr val="bg1">
              <a:lumMod val="95000"/>
            </a:schemeClr>
          </a:solidFill>
          <a:ln w="63500">
            <a:solidFill>
              <a:srgbClr val="C00000"/>
            </a:solidFill>
            <a:miter lim="800000"/>
          </a:ln>
        </p:spPr>
        <p:txBody>
          <a:bodyPr wrap="square" lIns="186521" tIns="149217" rIns="186521" bIns="149217" rtlCol="0">
            <a:noAutofit/>
          </a:bodyPr>
          <a:lstStyle/>
          <a:p>
            <a:pPr defTabSz="932597" fontAlgn="auto">
              <a:spcBef>
                <a:spcPts val="0"/>
              </a:spcBef>
              <a:spcAft>
                <a:spcPts val="0"/>
              </a:spcAft>
            </a:pPr>
            <a:r>
              <a:rPr lang="en-US" sz="1224" dirty="0">
                <a:solidFill>
                  <a:srgbClr val="008000"/>
                </a:solidFill>
                <a:latin typeface="Consolas" panose="020B0609020204030204" pitchFamily="49" charset="0"/>
                <a:ea typeface="+mn-ea"/>
                <a:cs typeface="+mn-cs"/>
              </a:rPr>
              <a:t>/* (1) Turn ON Query Store */</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srgbClr val="0000FF"/>
                </a:solidFill>
                <a:latin typeface="Consolas" panose="020B0609020204030204" pitchFamily="49" charset="0"/>
                <a:ea typeface="+mn-ea"/>
                <a:cs typeface="+mn-cs"/>
              </a:rPr>
              <a:t>ALTER</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DATABASE</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MyDB</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SET</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QUERY_STORE</a:t>
            </a:r>
            <a:r>
              <a:rPr lang="en-US" sz="1224" dirty="0">
                <a:solidFill>
                  <a:prstClr val="black"/>
                </a:solidFill>
                <a:latin typeface="Consolas" panose="020B0609020204030204" pitchFamily="49" charset="0"/>
                <a:ea typeface="+mn-ea"/>
                <a:cs typeface="+mn-cs"/>
              </a:rPr>
              <a:t> </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ON</a:t>
            </a:r>
            <a:r>
              <a:rPr lang="en-US" sz="1224" dirty="0">
                <a:solidFill>
                  <a:srgbClr val="808080"/>
                </a:solidFill>
                <a:latin typeface="Consolas" panose="020B0609020204030204" pitchFamily="49" charset="0"/>
                <a:ea typeface="+mn-ea"/>
                <a:cs typeface="+mn-cs"/>
              </a:rPr>
              <a:t>;</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srgbClr val="008000"/>
                </a:solidFill>
                <a:latin typeface="Consolas" panose="020B0609020204030204" pitchFamily="49" charset="0"/>
                <a:ea typeface="+mn-ea"/>
                <a:cs typeface="+mn-cs"/>
              </a:rPr>
              <a:t>/* (2) Review current Query Store parameters */</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srgbClr val="0000FF"/>
                </a:solidFill>
                <a:latin typeface="Consolas" panose="020B0609020204030204" pitchFamily="49" charset="0"/>
                <a:ea typeface="+mn-ea"/>
                <a:cs typeface="+mn-cs"/>
              </a:rPr>
              <a:t>SELECT</a:t>
            </a:r>
            <a:r>
              <a:rPr lang="en-US" sz="1224" dirty="0">
                <a:solidFill>
                  <a:prstClr val="black"/>
                </a:solidFill>
                <a:latin typeface="Consolas" panose="020B0609020204030204" pitchFamily="49" charset="0"/>
                <a:ea typeface="+mn-ea"/>
                <a:cs typeface="+mn-cs"/>
              </a:rPr>
              <a:t> </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FROM</a:t>
            </a:r>
            <a:r>
              <a:rPr lang="en-US" sz="1224" dirty="0">
                <a:solidFill>
                  <a:prstClr val="black"/>
                </a:solidFill>
                <a:latin typeface="Consolas" panose="020B0609020204030204" pitchFamily="49" charset="0"/>
                <a:ea typeface="+mn-ea"/>
                <a:cs typeface="+mn-cs"/>
              </a:rPr>
              <a:t> </a:t>
            </a:r>
            <a:r>
              <a:rPr lang="en-US" sz="1224" dirty="0" err="1">
                <a:solidFill>
                  <a:srgbClr val="008000"/>
                </a:solidFill>
                <a:latin typeface="Consolas" panose="020B0609020204030204" pitchFamily="49" charset="0"/>
                <a:ea typeface="+mn-ea"/>
                <a:cs typeface="+mn-cs"/>
              </a:rPr>
              <a:t>sys</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database_query_store_options</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srgbClr val="008000"/>
                </a:solidFill>
                <a:latin typeface="Consolas" panose="020B0609020204030204" pitchFamily="49" charset="0"/>
                <a:ea typeface="+mn-ea"/>
                <a:cs typeface="+mn-cs"/>
              </a:rPr>
              <a:t>/* (3) Set new parameter values */</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srgbClr val="0000FF"/>
                </a:solidFill>
                <a:latin typeface="Consolas" panose="020B0609020204030204" pitchFamily="49" charset="0"/>
                <a:ea typeface="+mn-ea"/>
                <a:cs typeface="+mn-cs"/>
              </a:rPr>
              <a:t>ALTER</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DATABASE</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MyDB</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srgbClr val="0000FF"/>
                </a:solidFill>
                <a:latin typeface="Consolas" panose="020B0609020204030204" pitchFamily="49" charset="0"/>
                <a:ea typeface="+mn-ea"/>
                <a:cs typeface="+mn-cs"/>
              </a:rPr>
              <a:t>SET</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QUERY_STORE </a:t>
            </a:r>
            <a:r>
              <a:rPr lang="en-US" sz="1224" dirty="0">
                <a:solidFill>
                  <a:srgbClr val="808080"/>
                </a:solidFill>
                <a:latin typeface="Consolas" panose="020B0609020204030204" pitchFamily="49" charset="0"/>
                <a:ea typeface="+mn-ea"/>
                <a:cs typeface="+mn-cs"/>
              </a:rPr>
              <a:t>(</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prstClr val="black"/>
                </a:solidFill>
                <a:latin typeface="Consolas" panose="020B0609020204030204" pitchFamily="49" charset="0"/>
                <a:ea typeface="+mn-ea"/>
                <a:cs typeface="+mn-cs"/>
              </a:rPr>
              <a:t>  OPERATION_MODE </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READ_WRITE</a:t>
            </a:r>
            <a:r>
              <a:rPr lang="en-US" sz="1224" dirty="0">
                <a:solidFill>
                  <a:srgbClr val="808080"/>
                </a:solidFill>
                <a:latin typeface="Consolas" panose="020B0609020204030204" pitchFamily="49" charset="0"/>
                <a:ea typeface="+mn-ea"/>
                <a:cs typeface="+mn-cs"/>
              </a:rPr>
              <a:t>,</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prstClr val="black"/>
                </a:solidFill>
                <a:latin typeface="Consolas" panose="020B0609020204030204" pitchFamily="49" charset="0"/>
                <a:ea typeface="+mn-ea"/>
                <a:cs typeface="+mn-cs"/>
              </a:rPr>
              <a:t>  CLEANUP_POLICY </a:t>
            </a:r>
            <a:r>
              <a:rPr lang="en-US" sz="1224" dirty="0">
                <a:solidFill>
                  <a:srgbClr val="808080"/>
                </a:solidFill>
                <a:latin typeface="Consolas" panose="020B0609020204030204" pitchFamily="49" charset="0"/>
                <a:ea typeface="+mn-ea"/>
                <a:cs typeface="+mn-cs"/>
              </a:rPr>
              <a:t>=</a:t>
            </a:r>
            <a:r>
              <a:rPr lang="en-US" sz="1224" dirty="0">
                <a:solidFill>
                  <a:srgbClr val="0000FF"/>
                </a:solidFill>
                <a:latin typeface="Consolas" panose="020B0609020204030204" pitchFamily="49" charset="0"/>
                <a:ea typeface="+mn-ea"/>
                <a:cs typeface="+mn-cs"/>
              </a:rPr>
              <a:t> </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a:t>
            </a:r>
          </a:p>
          <a:p>
            <a:pPr defTabSz="932597" fontAlgn="auto">
              <a:spcBef>
                <a:spcPts val="0"/>
              </a:spcBef>
              <a:spcAft>
                <a:spcPts val="0"/>
              </a:spcAft>
            </a:pPr>
            <a:r>
              <a:rPr lang="en-US" sz="1224" dirty="0">
                <a:solidFill>
                  <a:prstClr val="black"/>
                </a:solidFill>
                <a:latin typeface="Consolas" panose="020B0609020204030204" pitchFamily="49" charset="0"/>
                <a:ea typeface="+mn-ea"/>
                <a:cs typeface="+mn-cs"/>
              </a:rPr>
              <a:t>    STALE_QUERY_THRESHOLD_DAYS </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30</a:t>
            </a:r>
          </a:p>
          <a:p>
            <a:pPr defTabSz="932597" fontAlgn="auto">
              <a:spcBef>
                <a:spcPts val="0"/>
              </a:spcBef>
              <a:spcAft>
                <a:spcPts val="0"/>
              </a:spcAft>
            </a:pPr>
            <a:r>
              <a:rPr lang="en-US" sz="1224" dirty="0">
                <a:solidFill>
                  <a:prstClr val="black"/>
                </a:solidFill>
                <a:latin typeface="Consolas" panose="020B0609020204030204" pitchFamily="49" charset="0"/>
                <a:ea typeface="+mn-ea"/>
                <a:cs typeface="+mn-cs"/>
              </a:rPr>
              <a:t>  </a:t>
            </a:r>
            <a:r>
              <a:rPr lang="en-US" sz="1224" dirty="0">
                <a:solidFill>
                  <a:srgbClr val="808080"/>
                </a:solidFill>
                <a:latin typeface="Consolas" panose="020B0609020204030204" pitchFamily="49" charset="0"/>
                <a:ea typeface="+mn-ea"/>
                <a:cs typeface="+mn-cs"/>
              </a:rPr>
              <a:t>),</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prstClr val="black"/>
                </a:solidFill>
                <a:latin typeface="Consolas" panose="020B0609020204030204" pitchFamily="49" charset="0"/>
                <a:ea typeface="+mn-ea"/>
                <a:cs typeface="+mn-cs"/>
              </a:rPr>
              <a:t>  DATA_FLUSH_INTERVAL_SECONDS </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3000</a:t>
            </a:r>
            <a:r>
              <a:rPr lang="en-US" sz="1224" dirty="0">
                <a:solidFill>
                  <a:srgbClr val="808080"/>
                </a:solidFill>
                <a:latin typeface="Consolas" panose="020B0609020204030204" pitchFamily="49" charset="0"/>
                <a:ea typeface="+mn-ea"/>
                <a:cs typeface="+mn-cs"/>
              </a:rPr>
              <a:t>,</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prstClr val="black"/>
                </a:solidFill>
                <a:latin typeface="Consolas" panose="020B0609020204030204" pitchFamily="49" charset="0"/>
                <a:ea typeface="+mn-ea"/>
                <a:cs typeface="+mn-cs"/>
              </a:rPr>
              <a:t>  MAX_SIZE_MB </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500</a:t>
            </a:r>
            <a:r>
              <a:rPr lang="en-US" sz="1224" dirty="0">
                <a:solidFill>
                  <a:srgbClr val="808080"/>
                </a:solidFill>
                <a:latin typeface="Consolas" panose="020B0609020204030204" pitchFamily="49" charset="0"/>
                <a:ea typeface="+mn-ea"/>
                <a:cs typeface="+mn-cs"/>
              </a:rPr>
              <a:t>,</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prstClr val="black"/>
                </a:solidFill>
                <a:latin typeface="Consolas" panose="020B0609020204030204" pitchFamily="49" charset="0"/>
                <a:ea typeface="+mn-ea"/>
                <a:cs typeface="+mn-cs"/>
              </a:rPr>
              <a:t>  INTERVAL_LENGTH_MINUTES </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15</a:t>
            </a:r>
          </a:p>
          <a:p>
            <a:pPr defTabSz="932597" fontAlgn="auto">
              <a:spcBef>
                <a:spcPts val="0"/>
              </a:spcBef>
              <a:spcAft>
                <a:spcPts val="0"/>
              </a:spcAft>
            </a:pPr>
            <a:r>
              <a:rPr lang="en-US" sz="1224" dirty="0">
                <a:solidFill>
                  <a:srgbClr val="808080"/>
                </a:solidFill>
                <a:latin typeface="Consolas" panose="020B0609020204030204" pitchFamily="49" charset="0"/>
                <a:ea typeface="+mn-ea"/>
                <a:cs typeface="+mn-cs"/>
              </a:rPr>
              <a:t>);</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srgbClr val="008000"/>
                </a:solidFill>
                <a:latin typeface="Consolas" panose="020B0609020204030204" pitchFamily="49" charset="0"/>
                <a:ea typeface="+mn-ea"/>
                <a:cs typeface="+mn-cs"/>
              </a:rPr>
              <a:t>/* (4) Clear all Query Store data */</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srgbClr val="0000FF"/>
                </a:solidFill>
                <a:latin typeface="Consolas" panose="020B0609020204030204" pitchFamily="49" charset="0"/>
                <a:ea typeface="+mn-ea"/>
                <a:cs typeface="+mn-cs"/>
              </a:rPr>
              <a:t>ALTER</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DATABASE</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MyDB</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SET</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QUERY_STORE</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CLEAR</a:t>
            </a:r>
            <a:r>
              <a:rPr lang="en-US" sz="1224" dirty="0">
                <a:solidFill>
                  <a:srgbClr val="808080"/>
                </a:solidFill>
                <a:latin typeface="Consolas" panose="020B0609020204030204" pitchFamily="49" charset="0"/>
                <a:ea typeface="+mn-ea"/>
                <a:cs typeface="+mn-cs"/>
              </a:rPr>
              <a:t>;</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srgbClr val="008000"/>
                </a:solidFill>
                <a:latin typeface="Consolas" panose="020B0609020204030204" pitchFamily="49" charset="0"/>
                <a:ea typeface="+mn-ea"/>
                <a:cs typeface="+mn-cs"/>
              </a:rPr>
              <a:t>/* (5) Turn OFF Query Store */</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srgbClr val="0000FF"/>
                </a:solidFill>
                <a:latin typeface="Consolas" panose="020B0609020204030204" pitchFamily="49" charset="0"/>
                <a:ea typeface="+mn-ea"/>
                <a:cs typeface="+mn-cs"/>
              </a:rPr>
              <a:t>ALTER</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DATABASE</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MyDB</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SET</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QUERY_STORE</a:t>
            </a:r>
            <a:r>
              <a:rPr lang="en-US" sz="1224" dirty="0">
                <a:solidFill>
                  <a:prstClr val="black"/>
                </a:solidFill>
                <a:latin typeface="Consolas" panose="020B0609020204030204" pitchFamily="49" charset="0"/>
                <a:ea typeface="+mn-ea"/>
                <a:cs typeface="+mn-cs"/>
              </a:rPr>
              <a:t> </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OFF</a:t>
            </a:r>
            <a:r>
              <a:rPr lang="en-US" sz="1224" dirty="0">
                <a:solidFill>
                  <a:srgbClr val="808080"/>
                </a:solidFill>
                <a:latin typeface="Consolas" panose="020B0609020204030204" pitchFamily="49" charset="0"/>
                <a:ea typeface="+mn-ea"/>
                <a:cs typeface="+mn-cs"/>
              </a:rPr>
              <a:t>;</a:t>
            </a:r>
            <a:endParaRPr lang="en-US" sz="1224" dirty="0">
              <a:solidFill>
                <a:prstClr val="black"/>
              </a:solidFill>
              <a:latin typeface="Consolas" panose="020B0609020204030204" pitchFamily="49" charset="0"/>
              <a:ea typeface="+mn-ea"/>
              <a:cs typeface="+mn-cs"/>
            </a:endParaRPr>
          </a:p>
        </p:txBody>
      </p:sp>
      <p:sp>
        <p:nvSpPr>
          <p:cNvPr id="27" name="TextBox 26"/>
          <p:cNvSpPr txBox="1"/>
          <p:nvPr/>
        </p:nvSpPr>
        <p:spPr>
          <a:xfrm>
            <a:off x="444676" y="1377434"/>
            <a:ext cx="5595619" cy="3375510"/>
          </a:xfrm>
          <a:prstGeom prst="rect">
            <a:avLst/>
          </a:prstGeom>
          <a:solidFill>
            <a:schemeClr val="bg1">
              <a:lumMod val="95000"/>
            </a:schemeClr>
          </a:solidFill>
          <a:ln w="63500">
            <a:solidFill>
              <a:srgbClr val="C00000"/>
            </a:solidFill>
            <a:miter lim="800000"/>
          </a:ln>
        </p:spPr>
        <p:txBody>
          <a:bodyPr wrap="square" lIns="186521" tIns="149217" rIns="186521" bIns="149217" rtlCol="0">
            <a:noAutofit/>
          </a:bodyPr>
          <a:lstStyle/>
          <a:p>
            <a:pPr defTabSz="932597" fontAlgn="auto">
              <a:spcBef>
                <a:spcPts val="0"/>
              </a:spcBef>
              <a:spcAft>
                <a:spcPts val="0"/>
              </a:spcAft>
            </a:pPr>
            <a:r>
              <a:rPr lang="en-US" sz="1224" dirty="0">
                <a:solidFill>
                  <a:srgbClr val="008000"/>
                </a:solidFill>
                <a:latin typeface="Consolas" panose="020B0609020204030204" pitchFamily="49" charset="0"/>
                <a:ea typeface="+mn-ea"/>
                <a:cs typeface="+mn-cs"/>
              </a:rPr>
              <a:t>/* (6) Performance analysis using Query Store views*/</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srgbClr val="0000FF"/>
                </a:solidFill>
                <a:latin typeface="Consolas" panose="020B0609020204030204" pitchFamily="49" charset="0"/>
                <a:ea typeface="+mn-ea"/>
                <a:cs typeface="+mn-cs"/>
              </a:rPr>
              <a:t>SELECT</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q</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query_id</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qt</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query_text_id</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qt</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query_sql_text</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a:t>
            </a:r>
            <a:r>
              <a:rPr lang="en-US" sz="1224" dirty="0">
                <a:solidFill>
                  <a:srgbClr val="FF00FF"/>
                </a:solidFill>
                <a:latin typeface="Consolas" panose="020B0609020204030204" pitchFamily="49" charset="0"/>
                <a:ea typeface="+mn-ea"/>
                <a:cs typeface="+mn-cs"/>
              </a:rPr>
              <a:t>SUM</a:t>
            </a:r>
            <a:r>
              <a:rPr lang="en-US" sz="1224" dirty="0">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rs</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count_executions</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AS</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total_execution_count</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srgbClr val="0000FF"/>
                </a:solidFill>
                <a:latin typeface="Consolas" panose="020B0609020204030204" pitchFamily="49" charset="0"/>
                <a:ea typeface="+mn-ea"/>
                <a:cs typeface="+mn-cs"/>
              </a:rPr>
              <a:t>FROM</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err="1">
                <a:solidFill>
                  <a:srgbClr val="008000"/>
                </a:solidFill>
                <a:latin typeface="Consolas" panose="020B0609020204030204" pitchFamily="49" charset="0"/>
                <a:ea typeface="+mn-ea"/>
                <a:cs typeface="+mn-cs"/>
              </a:rPr>
              <a:t>sys</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query_store_query_text</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qt</a:t>
            </a:r>
            <a:r>
              <a:rPr lang="en-US" sz="1224" dirty="0">
                <a:solidFill>
                  <a:prstClr val="black"/>
                </a:solidFill>
                <a:latin typeface="Consolas" panose="020B0609020204030204" pitchFamily="49" charset="0"/>
                <a:ea typeface="+mn-ea"/>
                <a:cs typeface="+mn-cs"/>
              </a:rPr>
              <a:t> </a:t>
            </a:r>
            <a:r>
              <a:rPr lang="en-US" sz="1224" dirty="0">
                <a:solidFill>
                  <a:srgbClr val="808080"/>
                </a:solidFill>
                <a:latin typeface="Consolas" panose="020B0609020204030204" pitchFamily="49" charset="0"/>
                <a:ea typeface="+mn-ea"/>
                <a:cs typeface="+mn-cs"/>
              </a:rPr>
              <a:t>JOIN</a:t>
            </a:r>
            <a:r>
              <a:rPr lang="en-US" sz="1224" dirty="0">
                <a:solidFill>
                  <a:prstClr val="black"/>
                </a:solidFill>
                <a:latin typeface="Consolas" panose="020B0609020204030204" pitchFamily="49" charset="0"/>
                <a:ea typeface="+mn-ea"/>
                <a:cs typeface="+mn-cs"/>
              </a:rPr>
              <a:t> </a:t>
            </a:r>
          </a:p>
          <a:p>
            <a:pPr defTabSz="932597" fontAlgn="auto">
              <a:spcBef>
                <a:spcPts val="0"/>
              </a:spcBef>
              <a:spcAft>
                <a:spcPts val="0"/>
              </a:spcAft>
            </a:pPr>
            <a:r>
              <a:rPr lang="en-US" sz="1224" dirty="0" err="1">
                <a:solidFill>
                  <a:srgbClr val="008000"/>
                </a:solidFill>
                <a:latin typeface="Consolas" panose="020B0609020204030204" pitchFamily="49" charset="0"/>
                <a:ea typeface="+mn-ea"/>
                <a:cs typeface="+mn-cs"/>
              </a:rPr>
              <a:t>sys</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query_store_query</a:t>
            </a:r>
            <a:r>
              <a:rPr lang="en-US" sz="1224" dirty="0">
                <a:solidFill>
                  <a:prstClr val="black"/>
                </a:solidFill>
                <a:latin typeface="Consolas" panose="020B0609020204030204" pitchFamily="49" charset="0"/>
                <a:ea typeface="+mn-ea"/>
                <a:cs typeface="+mn-cs"/>
              </a:rPr>
              <a:t> q </a:t>
            </a:r>
            <a:r>
              <a:rPr lang="en-US" sz="1224" dirty="0">
                <a:solidFill>
                  <a:srgbClr val="0000FF"/>
                </a:solidFill>
                <a:latin typeface="Consolas" panose="020B0609020204030204" pitchFamily="49" charset="0"/>
                <a:ea typeface="+mn-ea"/>
                <a:cs typeface="+mn-cs"/>
              </a:rPr>
              <a:t>ON</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qt</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query_text_id</a:t>
            </a:r>
            <a:r>
              <a:rPr lang="en-US" sz="1224" dirty="0">
                <a:solidFill>
                  <a:prstClr val="black"/>
                </a:solidFill>
                <a:latin typeface="Consolas" panose="020B0609020204030204" pitchFamily="49" charset="0"/>
                <a:ea typeface="+mn-ea"/>
                <a:cs typeface="+mn-cs"/>
              </a:rPr>
              <a:t> </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q</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query_text_id</a:t>
            </a:r>
            <a:r>
              <a:rPr lang="en-US" sz="1224" dirty="0">
                <a:solidFill>
                  <a:prstClr val="black"/>
                </a:solidFill>
                <a:latin typeface="Consolas" panose="020B0609020204030204" pitchFamily="49" charset="0"/>
                <a:ea typeface="+mn-ea"/>
                <a:cs typeface="+mn-cs"/>
              </a:rPr>
              <a:t> </a:t>
            </a:r>
            <a:r>
              <a:rPr lang="en-US" sz="1224" dirty="0">
                <a:solidFill>
                  <a:srgbClr val="808080"/>
                </a:solidFill>
                <a:latin typeface="Consolas" panose="020B0609020204030204" pitchFamily="49" charset="0"/>
                <a:ea typeface="+mn-ea"/>
                <a:cs typeface="+mn-cs"/>
              </a:rPr>
              <a:t>JOIN</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err="1">
                <a:solidFill>
                  <a:srgbClr val="008000"/>
                </a:solidFill>
                <a:latin typeface="Consolas" panose="020B0609020204030204" pitchFamily="49" charset="0"/>
                <a:ea typeface="+mn-ea"/>
                <a:cs typeface="+mn-cs"/>
              </a:rPr>
              <a:t>sys</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query_store_plan</a:t>
            </a:r>
            <a:r>
              <a:rPr lang="en-US" sz="1224" dirty="0">
                <a:solidFill>
                  <a:prstClr val="black"/>
                </a:solidFill>
                <a:latin typeface="Consolas" panose="020B0609020204030204" pitchFamily="49" charset="0"/>
                <a:ea typeface="+mn-ea"/>
                <a:cs typeface="+mn-cs"/>
              </a:rPr>
              <a:t> p </a:t>
            </a:r>
            <a:r>
              <a:rPr lang="en-US" sz="1224" dirty="0">
                <a:solidFill>
                  <a:srgbClr val="0000FF"/>
                </a:solidFill>
                <a:latin typeface="Consolas" panose="020B0609020204030204" pitchFamily="49" charset="0"/>
                <a:ea typeface="+mn-ea"/>
                <a:cs typeface="+mn-cs"/>
              </a:rPr>
              <a:t>ON</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q</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query_id</a:t>
            </a:r>
            <a:r>
              <a:rPr lang="en-US" sz="1224" dirty="0">
                <a:solidFill>
                  <a:prstClr val="black"/>
                </a:solidFill>
                <a:latin typeface="Consolas" panose="020B0609020204030204" pitchFamily="49" charset="0"/>
                <a:ea typeface="+mn-ea"/>
                <a:cs typeface="+mn-cs"/>
              </a:rPr>
              <a:t> </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p</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query_id</a:t>
            </a:r>
            <a:r>
              <a:rPr lang="en-US" sz="1224" dirty="0">
                <a:solidFill>
                  <a:prstClr val="black"/>
                </a:solidFill>
                <a:latin typeface="Consolas" panose="020B0609020204030204" pitchFamily="49" charset="0"/>
                <a:ea typeface="+mn-ea"/>
                <a:cs typeface="+mn-cs"/>
              </a:rPr>
              <a:t> </a:t>
            </a:r>
            <a:r>
              <a:rPr lang="en-US" sz="1224" dirty="0">
                <a:solidFill>
                  <a:srgbClr val="808080"/>
                </a:solidFill>
                <a:latin typeface="Consolas" panose="020B0609020204030204" pitchFamily="49" charset="0"/>
                <a:ea typeface="+mn-ea"/>
                <a:cs typeface="+mn-cs"/>
              </a:rPr>
              <a:t>JOIN</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err="1">
                <a:solidFill>
                  <a:srgbClr val="008000"/>
                </a:solidFill>
                <a:latin typeface="Consolas" panose="020B0609020204030204" pitchFamily="49" charset="0"/>
                <a:ea typeface="+mn-ea"/>
                <a:cs typeface="+mn-cs"/>
              </a:rPr>
              <a:t>sys</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query_store_runtime_stats</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rs</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ON</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p</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plan_id</a:t>
            </a:r>
            <a:r>
              <a:rPr lang="en-US" sz="1224" dirty="0">
                <a:solidFill>
                  <a:prstClr val="black"/>
                </a:solidFill>
                <a:latin typeface="Consolas" panose="020B0609020204030204" pitchFamily="49" charset="0"/>
                <a:ea typeface="+mn-ea"/>
                <a:cs typeface="+mn-cs"/>
              </a:rPr>
              <a:t> </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rs</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plan_id</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srgbClr val="0000FF"/>
                </a:solidFill>
                <a:latin typeface="Consolas" panose="020B0609020204030204" pitchFamily="49" charset="0"/>
                <a:ea typeface="+mn-ea"/>
                <a:cs typeface="+mn-cs"/>
              </a:rPr>
              <a:t>GROUP</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BY</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q</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query_id</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qt</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query_text_id</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qt</a:t>
            </a:r>
            <a:r>
              <a:rPr lang="en-US" sz="1224" dirty="0" err="1">
                <a:solidFill>
                  <a:srgbClr val="808080"/>
                </a:solidFill>
                <a:latin typeface="Consolas" panose="020B0609020204030204" pitchFamily="49" charset="0"/>
                <a:ea typeface="+mn-ea"/>
                <a:cs typeface="+mn-cs"/>
              </a:rPr>
              <a:t>.</a:t>
            </a:r>
            <a:r>
              <a:rPr lang="en-US" sz="1224" dirty="0" err="1">
                <a:solidFill>
                  <a:prstClr val="black"/>
                </a:solidFill>
                <a:latin typeface="Consolas" panose="020B0609020204030204" pitchFamily="49" charset="0"/>
                <a:ea typeface="+mn-ea"/>
                <a:cs typeface="+mn-cs"/>
              </a:rPr>
              <a:t>query_sql_text</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srgbClr val="0000FF"/>
                </a:solidFill>
                <a:latin typeface="Consolas" panose="020B0609020204030204" pitchFamily="49" charset="0"/>
                <a:ea typeface="+mn-ea"/>
                <a:cs typeface="+mn-cs"/>
              </a:rPr>
              <a:t>ORDER</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BY</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total_execution_count</a:t>
            </a:r>
            <a:r>
              <a:rPr lang="en-US" sz="1224" dirty="0">
                <a:solidFill>
                  <a:prstClr val="black"/>
                </a:solidFill>
                <a:latin typeface="Consolas" panose="020B0609020204030204" pitchFamily="49" charset="0"/>
                <a:ea typeface="+mn-ea"/>
                <a:cs typeface="+mn-cs"/>
              </a:rPr>
              <a:t> </a:t>
            </a:r>
            <a:r>
              <a:rPr lang="en-US" sz="1224" dirty="0">
                <a:solidFill>
                  <a:srgbClr val="0000FF"/>
                </a:solidFill>
                <a:latin typeface="Consolas" panose="020B0609020204030204" pitchFamily="49" charset="0"/>
                <a:ea typeface="+mn-ea"/>
                <a:cs typeface="+mn-cs"/>
              </a:rPr>
              <a:t>DESC</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srgbClr val="008000"/>
                </a:solidFill>
                <a:latin typeface="Consolas" panose="020B0609020204030204" pitchFamily="49" charset="0"/>
                <a:ea typeface="+mn-ea"/>
                <a:cs typeface="+mn-cs"/>
              </a:rPr>
              <a:t>/* (7) Force plan for a given query */</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r>
              <a:rPr lang="en-US" sz="1224" dirty="0">
                <a:solidFill>
                  <a:srgbClr val="0000FF"/>
                </a:solidFill>
                <a:latin typeface="Consolas" panose="020B0609020204030204" pitchFamily="49" charset="0"/>
                <a:ea typeface="+mn-ea"/>
                <a:cs typeface="+mn-cs"/>
              </a:rPr>
              <a:t>exec</a:t>
            </a:r>
            <a:r>
              <a:rPr lang="en-US" sz="1224" dirty="0">
                <a:solidFill>
                  <a:prstClr val="black"/>
                </a:solidFill>
                <a:latin typeface="Consolas" panose="020B0609020204030204" pitchFamily="49" charset="0"/>
                <a:ea typeface="+mn-ea"/>
                <a:cs typeface="+mn-cs"/>
              </a:rPr>
              <a:t> </a:t>
            </a:r>
            <a:r>
              <a:rPr lang="en-US" sz="1224" dirty="0" err="1">
                <a:solidFill>
                  <a:prstClr val="black"/>
                </a:solidFill>
                <a:latin typeface="Consolas" panose="020B0609020204030204" pitchFamily="49" charset="0"/>
                <a:ea typeface="+mn-ea"/>
                <a:cs typeface="+mn-cs"/>
              </a:rPr>
              <a:t>sp_query_store_force_plan</a:t>
            </a:r>
            <a:r>
              <a:rPr lang="en-US" sz="1224" dirty="0">
                <a:solidFill>
                  <a:srgbClr val="0000FF"/>
                </a:solidFill>
                <a:latin typeface="Consolas" panose="020B0609020204030204" pitchFamily="49" charset="0"/>
                <a:ea typeface="+mn-ea"/>
                <a:cs typeface="+mn-cs"/>
              </a:rPr>
              <a:t> </a:t>
            </a:r>
          </a:p>
          <a:p>
            <a:pPr defTabSz="932597" fontAlgn="auto">
              <a:spcBef>
                <a:spcPts val="0"/>
              </a:spcBef>
              <a:spcAft>
                <a:spcPts val="0"/>
              </a:spcAft>
            </a:pPr>
            <a:r>
              <a:rPr lang="en-US" sz="1224" dirty="0">
                <a:solidFill>
                  <a:prstClr val="black"/>
                </a:solidFill>
                <a:latin typeface="Consolas" panose="020B0609020204030204" pitchFamily="49" charset="0"/>
                <a:ea typeface="+mn-ea"/>
                <a:cs typeface="+mn-cs"/>
              </a:rPr>
              <a:t>12 </a:t>
            </a:r>
            <a:r>
              <a:rPr lang="en-US" sz="1224" dirty="0">
                <a:solidFill>
                  <a:srgbClr val="008000"/>
                </a:solidFill>
                <a:latin typeface="Consolas" panose="020B0609020204030204" pitchFamily="49" charset="0"/>
                <a:ea typeface="+mn-ea"/>
                <a:cs typeface="+mn-cs"/>
              </a:rPr>
              <a:t>/*@</a:t>
            </a:r>
            <a:r>
              <a:rPr lang="en-US" sz="1224" dirty="0" err="1">
                <a:solidFill>
                  <a:srgbClr val="008000"/>
                </a:solidFill>
                <a:latin typeface="Consolas" panose="020B0609020204030204" pitchFamily="49" charset="0"/>
                <a:ea typeface="+mn-ea"/>
                <a:cs typeface="+mn-cs"/>
              </a:rPr>
              <a:t>query_id</a:t>
            </a:r>
            <a:r>
              <a:rPr lang="en-US" sz="1224" dirty="0">
                <a:solidFill>
                  <a:srgbClr val="008000"/>
                </a:solidFill>
                <a:latin typeface="Consolas" panose="020B0609020204030204" pitchFamily="49" charset="0"/>
                <a:ea typeface="+mn-ea"/>
                <a:cs typeface="+mn-cs"/>
              </a:rPr>
              <a:t>*/</a:t>
            </a:r>
            <a:r>
              <a:rPr lang="en-US" sz="1224" dirty="0">
                <a:solidFill>
                  <a:srgbClr val="808080"/>
                </a:solidFill>
                <a:latin typeface="Consolas" panose="020B0609020204030204" pitchFamily="49" charset="0"/>
                <a:ea typeface="+mn-ea"/>
                <a:cs typeface="+mn-cs"/>
              </a:rPr>
              <a:t>,</a:t>
            </a:r>
            <a:r>
              <a:rPr lang="en-US" sz="1224" dirty="0">
                <a:solidFill>
                  <a:prstClr val="black"/>
                </a:solidFill>
                <a:latin typeface="Consolas" panose="020B0609020204030204" pitchFamily="49" charset="0"/>
                <a:ea typeface="+mn-ea"/>
                <a:cs typeface="+mn-cs"/>
              </a:rPr>
              <a:t> 14 </a:t>
            </a:r>
            <a:r>
              <a:rPr lang="en-US" sz="1224" dirty="0">
                <a:solidFill>
                  <a:srgbClr val="008000"/>
                </a:solidFill>
                <a:latin typeface="Consolas" panose="020B0609020204030204" pitchFamily="49" charset="0"/>
                <a:ea typeface="+mn-ea"/>
                <a:cs typeface="+mn-cs"/>
              </a:rPr>
              <a:t>/*@</a:t>
            </a:r>
            <a:r>
              <a:rPr lang="en-US" sz="1224" dirty="0" err="1">
                <a:solidFill>
                  <a:srgbClr val="008000"/>
                </a:solidFill>
                <a:latin typeface="Consolas" panose="020B0609020204030204" pitchFamily="49" charset="0"/>
                <a:ea typeface="+mn-ea"/>
                <a:cs typeface="+mn-cs"/>
              </a:rPr>
              <a:t>plan_id</a:t>
            </a:r>
            <a:r>
              <a:rPr lang="en-US" sz="1224" dirty="0">
                <a:solidFill>
                  <a:srgbClr val="008000"/>
                </a:solidFill>
                <a:latin typeface="Consolas" panose="020B0609020204030204" pitchFamily="49" charset="0"/>
                <a:ea typeface="+mn-ea"/>
                <a:cs typeface="+mn-cs"/>
              </a:rPr>
              <a:t>*/</a:t>
            </a:r>
            <a:endParaRPr lang="en-US" sz="1224" dirty="0">
              <a:solidFill>
                <a:prstClr val="black"/>
              </a:solidFill>
              <a:latin typeface="Consolas" panose="020B0609020204030204" pitchFamily="49" charset="0"/>
              <a:ea typeface="+mn-ea"/>
              <a:cs typeface="+mn-cs"/>
            </a:endParaRPr>
          </a:p>
          <a:p>
            <a:pPr defTabSz="932597" fontAlgn="auto">
              <a:spcBef>
                <a:spcPts val="0"/>
              </a:spcBef>
              <a:spcAft>
                <a:spcPts val="0"/>
              </a:spcAft>
            </a:pPr>
            <a:endParaRPr lang="en-US" sz="1224" dirty="0">
              <a:solidFill>
                <a:prstClr val="black"/>
              </a:solidFill>
              <a:latin typeface="Consolas" panose="020B0609020204030204" pitchFamily="49" charset="0"/>
              <a:ea typeface="+mn-ea"/>
              <a:cs typeface="+mn-cs"/>
            </a:endParaRPr>
          </a:p>
        </p:txBody>
      </p:sp>
      <p:sp>
        <p:nvSpPr>
          <p:cNvPr id="28" name="Text Placeholder 2"/>
          <p:cNvSpPr>
            <a:spLocks noGrp="1"/>
          </p:cNvSpPr>
          <p:nvPr>
            <p:ph type="body" sz="quarter" idx="13"/>
          </p:nvPr>
        </p:nvSpPr>
        <p:spPr>
          <a:xfrm>
            <a:off x="6097445" y="1350963"/>
            <a:ext cx="6225296" cy="4923425"/>
          </a:xfrm>
        </p:spPr>
        <p:txBody>
          <a:bodyPr rIns="0"/>
          <a:lstStyle/>
          <a:p>
            <a:pPr>
              <a:spcBef>
                <a:spcPts val="1500"/>
              </a:spcBef>
            </a:pPr>
            <a:r>
              <a:rPr lang="en-US" sz="3200" dirty="0">
                <a:latin typeface="Segoe UI Semilight" panose="020B0402040204020203" pitchFamily="34" charset="0"/>
                <a:cs typeface="Segoe UI Semilight" panose="020B0402040204020203" pitchFamily="34" charset="0"/>
              </a:rPr>
              <a:t>DB-level feature exposed </a:t>
            </a:r>
            <a:br>
              <a:rPr lang="en-US" sz="3200" dirty="0">
                <a:latin typeface="Segoe UI Semilight" panose="020B0402040204020203" pitchFamily="34" charset="0"/>
                <a:cs typeface="Segoe UI Semilight" panose="020B0402040204020203" pitchFamily="34" charset="0"/>
              </a:rPr>
            </a:br>
            <a:r>
              <a:rPr lang="en-US" sz="3200" dirty="0">
                <a:latin typeface="Segoe UI Semilight" panose="020B0402040204020203" pitchFamily="34" charset="0"/>
                <a:cs typeface="Segoe UI Semilight" panose="020B0402040204020203" pitchFamily="34" charset="0"/>
              </a:rPr>
              <a:t>through T-SQL extensions</a:t>
            </a:r>
          </a:p>
          <a:p>
            <a:pPr>
              <a:spcBef>
                <a:spcPts val="1500"/>
              </a:spcBef>
            </a:pPr>
            <a:r>
              <a:rPr lang="en-US" sz="2000" b="1" dirty="0">
                <a:solidFill>
                  <a:schemeClr val="tx1">
                    <a:lumMod val="90000"/>
                    <a:lumOff val="10000"/>
                  </a:schemeClr>
                </a:solidFill>
              </a:rPr>
              <a:t>ALTER DATABASE</a:t>
            </a:r>
          </a:p>
          <a:p>
            <a:pPr>
              <a:spcBef>
                <a:spcPts val="1500"/>
              </a:spcBef>
            </a:pPr>
            <a:r>
              <a:rPr lang="en-US" sz="1800" dirty="0">
                <a:solidFill>
                  <a:schemeClr val="tx1">
                    <a:lumMod val="90000"/>
                    <a:lumOff val="10000"/>
                  </a:schemeClr>
                </a:solidFill>
                <a:latin typeface="Segoe UI" panose="020B0502040204020203" pitchFamily="34" charset="0"/>
                <a:cs typeface="Segoe UI" panose="020B0502040204020203" pitchFamily="34" charset="0"/>
              </a:rPr>
              <a:t>Catalog views (settings, compile, and runtime stats)</a:t>
            </a:r>
          </a:p>
          <a:p>
            <a:pPr>
              <a:spcBef>
                <a:spcPts val="1500"/>
              </a:spcBef>
            </a:pPr>
            <a:r>
              <a:rPr lang="en-US" sz="1800" dirty="0">
                <a:solidFill>
                  <a:schemeClr val="tx1">
                    <a:lumMod val="90000"/>
                    <a:lumOff val="10000"/>
                  </a:schemeClr>
                </a:solidFill>
                <a:latin typeface="Segoe UI" panose="020B0502040204020203" pitchFamily="34" charset="0"/>
                <a:cs typeface="Segoe UI" panose="020B0502040204020203" pitchFamily="34" charset="0"/>
              </a:rPr>
              <a:t>Stored Procs (plan forcing, query/plan/stats cleanup)</a:t>
            </a:r>
          </a:p>
        </p:txBody>
      </p:sp>
      <p:sp>
        <p:nvSpPr>
          <p:cNvPr id="9" name="TextBox 8"/>
          <p:cNvSpPr txBox="1"/>
          <p:nvPr/>
        </p:nvSpPr>
        <p:spPr>
          <a:xfrm>
            <a:off x="1" y="6642289"/>
            <a:ext cx="3806190" cy="352236"/>
          </a:xfrm>
          <a:prstGeom prst="rect">
            <a:avLst/>
          </a:prstGeom>
          <a:noFill/>
        </p:spPr>
        <p:txBody>
          <a:bodyPr wrap="square" lIns="365760" tIns="146304" rIns="182880" bIns="146304" rtlCol="0" anchor="ctr" anchorCtr="0">
            <a:noAutofit/>
          </a:bodyPr>
          <a:lstStyle/>
          <a:p>
            <a:pPr>
              <a:lnSpc>
                <a:spcPct val="90000"/>
              </a:lnSpc>
              <a:spcAft>
                <a:spcPts val="600"/>
              </a:spcAft>
            </a:pPr>
            <a:r>
              <a:rPr lang="en-US" sz="14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11418189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grpId="1" nodeType="clickEffect">
                                  <p:stCondLst>
                                    <p:cond delay="0"/>
                                  </p:stCondLst>
                                  <p:childTnLst>
                                    <p:set>
                                      <p:cBhvr>
                                        <p:cTn id="11" dur="1" fill="hold">
                                          <p:stCondLst>
                                            <p:cond delay="0"/>
                                          </p:stCondLst>
                                        </p:cTn>
                                        <p:tgtEl>
                                          <p:spTgt spid="26"/>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2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6" grpId="1" animBg="1"/>
      <p:bldP spid="27" grpId="0" animBg="1"/>
      <p:bldP spid="27"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390206" y="1845821"/>
            <a:ext cx="5635511" cy="4629357"/>
            <a:chOff x="390206" y="1845821"/>
            <a:chExt cx="5635511" cy="4629357"/>
          </a:xfrm>
        </p:grpSpPr>
        <p:sp>
          <p:nvSpPr>
            <p:cNvPr id="29" name="Rectangle 28"/>
            <p:cNvSpPr/>
            <p:nvPr/>
          </p:nvSpPr>
          <p:spPr bwMode="auto">
            <a:xfrm>
              <a:off x="402157" y="6429459"/>
              <a:ext cx="5623560" cy="4571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err="1">
                <a:solidFill>
                  <a:schemeClr val="bg1"/>
                </a:solidFill>
                <a:latin typeface="+mj-lt"/>
                <a:ea typeface="Segoe UI" pitchFamily="34" charset="0"/>
                <a:cs typeface="Segoe UI" pitchFamily="34" charset="0"/>
              </a:endParaRPr>
            </a:p>
          </p:txBody>
        </p:sp>
        <p:grpSp>
          <p:nvGrpSpPr>
            <p:cNvPr id="7" name="Group 6"/>
            <p:cNvGrpSpPr/>
            <p:nvPr/>
          </p:nvGrpSpPr>
          <p:grpSpPr>
            <a:xfrm>
              <a:off x="390206" y="1845821"/>
              <a:ext cx="5614940" cy="4595492"/>
              <a:chOff x="401636" y="1878037"/>
              <a:chExt cx="5614940" cy="4595492"/>
            </a:xfrm>
          </p:grpSpPr>
          <p:pic>
            <p:nvPicPr>
              <p:cNvPr id="3" name="Picture 2"/>
              <p:cNvPicPr/>
              <p:nvPr/>
            </p:nvPicPr>
            <p:blipFill rotWithShape="1">
              <a:blip r:embed="rId3"/>
              <a:srcRect l="665" t="831" r="304" b="1274"/>
              <a:stretch/>
            </p:blipFill>
            <p:spPr>
              <a:xfrm>
                <a:off x="417635" y="1878037"/>
                <a:ext cx="5598941" cy="4564966"/>
              </a:xfrm>
              <a:prstGeom prst="rect">
                <a:avLst/>
              </a:prstGeom>
              <a:ln w="63500">
                <a:solidFill>
                  <a:srgbClr val="C00000"/>
                </a:solidFill>
                <a:miter lim="800000"/>
              </a:ln>
            </p:spPr>
          </p:pic>
          <p:sp>
            <p:nvSpPr>
              <p:cNvPr id="4" name="Rectangle 3"/>
              <p:cNvSpPr/>
              <p:nvPr/>
            </p:nvSpPr>
            <p:spPr>
              <a:xfrm>
                <a:off x="401636" y="6231989"/>
                <a:ext cx="1272420" cy="241540"/>
              </a:xfrm>
              <a:prstGeom prst="rect">
                <a:avLst/>
              </a:prstGeom>
              <a:noFill/>
              <a:ln w="50800">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grpSp>
      </p:grpSp>
      <p:grpSp>
        <p:nvGrpSpPr>
          <p:cNvPr id="8" name="Group 2"/>
          <p:cNvGrpSpPr/>
          <p:nvPr/>
        </p:nvGrpSpPr>
        <p:grpSpPr>
          <a:xfrm>
            <a:off x="-1200" y="6642289"/>
            <a:ext cx="12436794" cy="360996"/>
            <a:chOff x="2577137" y="4571778"/>
            <a:chExt cx="9101124" cy="1390560"/>
          </a:xfrm>
        </p:grpSpPr>
        <p:sp>
          <p:nvSpPr>
            <p:cNvPr id="9" name="TextBox 8"/>
            <p:cNvSpPr txBox="1"/>
            <p:nvPr/>
          </p:nvSpPr>
          <p:spPr>
            <a:xfrm>
              <a:off x="2577137" y="4571778"/>
              <a:ext cx="3034890" cy="1390458"/>
            </a:xfrm>
            <a:prstGeom prst="rect">
              <a:avLst/>
            </a:prstGeom>
            <a:solidFill>
              <a:schemeClr val="accent4"/>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10" name="TextBox 9"/>
            <p:cNvSpPr txBox="1"/>
            <p:nvPr/>
          </p:nvSpPr>
          <p:spPr>
            <a:xfrm>
              <a:off x="5612027" y="4572324"/>
              <a:ext cx="6066234" cy="1390014"/>
            </a:xfrm>
            <a:prstGeom prst="rect">
              <a:avLst/>
            </a:prstGeom>
            <a:solidFill>
              <a:schemeClr val="accent4">
                <a:lumMod val="75000"/>
              </a:schemeClr>
            </a:solidFill>
          </p:spPr>
          <p:txBody>
            <a:bodyPr wrap="square" lIns="457135" tIns="137141" rIns="639989" rtlCol="0">
              <a:noAutofit/>
            </a:bodyPr>
            <a:lstStyle/>
            <a:p>
              <a:pPr defTabSz="932055" fontAlgn="auto">
                <a:lnSpc>
                  <a:spcPts val="3001"/>
                </a:lnSpc>
                <a:spcBef>
                  <a:spcPts val="0"/>
                </a:spcBef>
                <a:spcAft>
                  <a:spcPts val="0"/>
                </a:spcAft>
                <a:defRPr/>
              </a:pPr>
              <a:endParaRPr lang="en-US" sz="2856" kern="0" dirty="0">
                <a:solidFill>
                  <a:srgbClr val="FFFFFF"/>
                </a:solidFill>
                <a:latin typeface="Segoe UI Light"/>
                <a:ea typeface="+mn-ea"/>
                <a:cs typeface="+mn-cs"/>
              </a:endParaRPr>
            </a:p>
          </p:txBody>
        </p:sp>
      </p:grpSp>
      <p:sp>
        <p:nvSpPr>
          <p:cNvPr id="15" name="Title 1"/>
          <p:cNvSpPr txBox="1">
            <a:spLocks/>
          </p:cNvSpPr>
          <p:nvPr/>
        </p:nvSpPr>
        <p:spPr>
          <a:xfrm>
            <a:off x="335121" y="471356"/>
            <a:ext cx="11887200" cy="946413"/>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en-US" sz="4000" dirty="0"/>
              <a:t>Live query statistics</a:t>
            </a:r>
            <a:endParaRPr lang="en-US" sz="3200" dirty="0">
              <a:solidFill>
                <a:srgbClr val="C00000"/>
              </a:solidFill>
            </a:endParaRPr>
          </a:p>
        </p:txBody>
      </p:sp>
      <p:sp>
        <p:nvSpPr>
          <p:cNvPr id="18" name="Text Placeholder 2"/>
          <p:cNvSpPr txBox="1">
            <a:spLocks/>
          </p:cNvSpPr>
          <p:nvPr/>
        </p:nvSpPr>
        <p:spPr>
          <a:xfrm>
            <a:off x="6364145" y="1722303"/>
            <a:ext cx="5797694" cy="4923425"/>
          </a:xfrm>
          <a:prstGeom prst="rect">
            <a:avLst/>
          </a:prstGeom>
        </p:spPr>
        <p:txBody>
          <a:bodyPr rIns="0"/>
          <a:lstStyle>
            <a:lvl1pPr marL="342900" indent="-342900" algn="l" defTabSz="931863" rtl="0" fontAlgn="base">
              <a:lnSpc>
                <a:spcPct val="90000"/>
              </a:lnSpc>
              <a:spcBef>
                <a:spcPct val="20000"/>
              </a:spcBef>
              <a:spcAft>
                <a:spcPct val="0"/>
              </a:spcAft>
              <a:buSzPct val="90000"/>
              <a:buFont typeface="Arial" charset="0"/>
              <a:buChar char="•"/>
              <a:defRPr sz="3600" kern="1200">
                <a:solidFill>
                  <a:schemeClr val="accent1"/>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1"/>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1"/>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1"/>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1"/>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000"/>
              </a:spcBef>
              <a:buNone/>
            </a:pPr>
            <a:r>
              <a:rPr lang="en-US" sz="2000" dirty="0">
                <a:solidFill>
                  <a:schemeClr val="tx1"/>
                </a:solidFill>
                <a:latin typeface="Segoe UI" panose="020B0502040204020203" pitchFamily="34" charset="0"/>
                <a:cs typeface="Segoe UI" panose="020B0502040204020203" pitchFamily="34" charset="0"/>
              </a:rPr>
              <a:t>View CPU/memory usage, execution time, query progress, and more </a:t>
            </a:r>
          </a:p>
          <a:p>
            <a:pPr marL="0" indent="0">
              <a:lnSpc>
                <a:spcPct val="100000"/>
              </a:lnSpc>
              <a:spcBef>
                <a:spcPts val="2000"/>
              </a:spcBef>
              <a:buNone/>
            </a:pPr>
            <a:r>
              <a:rPr lang="en-US" sz="2000" dirty="0">
                <a:solidFill>
                  <a:schemeClr val="tx1"/>
                </a:solidFill>
                <a:latin typeface="Segoe UI" panose="020B0502040204020203" pitchFamily="34" charset="0"/>
                <a:cs typeface="Segoe UI" panose="020B0502040204020203" pitchFamily="34" charset="0"/>
              </a:rPr>
              <a:t>Enables rapid identification of potential bottlenecks for troubleshooting query performance issues</a:t>
            </a:r>
          </a:p>
          <a:p>
            <a:pPr marL="0" indent="0">
              <a:lnSpc>
                <a:spcPct val="100000"/>
              </a:lnSpc>
              <a:spcBef>
                <a:spcPts val="2000"/>
              </a:spcBef>
              <a:buNone/>
            </a:pPr>
            <a:r>
              <a:rPr lang="en-US" sz="2000" dirty="0">
                <a:solidFill>
                  <a:schemeClr val="tx1"/>
                </a:solidFill>
                <a:latin typeface="Segoe UI" panose="020B0502040204020203" pitchFamily="34" charset="0"/>
                <a:cs typeface="Segoe UI" panose="020B0502040204020203" pitchFamily="34" charset="0"/>
              </a:rPr>
              <a:t>Allows drill down to live operator level statistics:</a:t>
            </a:r>
          </a:p>
          <a:p>
            <a:pPr marL="0" indent="0">
              <a:lnSpc>
                <a:spcPct val="100000"/>
              </a:lnSpc>
              <a:spcBef>
                <a:spcPts val="2000"/>
              </a:spcBef>
              <a:buNone/>
            </a:pPr>
            <a:r>
              <a:rPr lang="en-US" sz="2000" dirty="0">
                <a:solidFill>
                  <a:schemeClr val="tx1"/>
                </a:solidFill>
                <a:latin typeface="Segoe UI" panose="020B0502040204020203" pitchFamily="34" charset="0"/>
                <a:cs typeface="Segoe UI" panose="020B0502040204020203" pitchFamily="34" charset="0"/>
              </a:rPr>
              <a:t>Number of generated rows</a:t>
            </a:r>
          </a:p>
          <a:p>
            <a:pPr marL="0" indent="0">
              <a:lnSpc>
                <a:spcPct val="100000"/>
              </a:lnSpc>
              <a:spcBef>
                <a:spcPts val="2000"/>
              </a:spcBef>
              <a:buNone/>
            </a:pPr>
            <a:r>
              <a:rPr lang="en-US" sz="2000" dirty="0">
                <a:solidFill>
                  <a:schemeClr val="tx1"/>
                </a:solidFill>
                <a:latin typeface="Segoe UI" panose="020B0502040204020203" pitchFamily="34" charset="0"/>
                <a:cs typeface="Segoe UI" panose="020B0502040204020203" pitchFamily="34" charset="0"/>
              </a:rPr>
              <a:t>Elapsed time</a:t>
            </a:r>
          </a:p>
          <a:p>
            <a:pPr marL="0" indent="0">
              <a:lnSpc>
                <a:spcPct val="100000"/>
              </a:lnSpc>
              <a:spcBef>
                <a:spcPts val="2000"/>
              </a:spcBef>
              <a:buNone/>
            </a:pPr>
            <a:r>
              <a:rPr lang="en-US" sz="2000" dirty="0">
                <a:solidFill>
                  <a:schemeClr val="tx1"/>
                </a:solidFill>
                <a:latin typeface="Segoe UI" panose="020B0502040204020203" pitchFamily="34" charset="0"/>
                <a:cs typeface="Segoe UI" panose="020B0502040204020203" pitchFamily="34" charset="0"/>
              </a:rPr>
              <a:t>Operator progress </a:t>
            </a:r>
          </a:p>
          <a:p>
            <a:pPr marL="0" indent="0">
              <a:lnSpc>
                <a:spcPct val="100000"/>
              </a:lnSpc>
              <a:spcBef>
                <a:spcPts val="2000"/>
              </a:spcBef>
              <a:buNone/>
            </a:pPr>
            <a:r>
              <a:rPr lang="en-US" sz="2000" dirty="0">
                <a:solidFill>
                  <a:schemeClr val="tx1"/>
                </a:solidFill>
                <a:latin typeface="Segoe UI" panose="020B0502040204020203" pitchFamily="34" charset="0"/>
                <a:cs typeface="Segoe UI" panose="020B0502040204020203" pitchFamily="34" charset="0"/>
              </a:rPr>
              <a:t>Live warnings</a:t>
            </a:r>
          </a:p>
        </p:txBody>
      </p:sp>
      <p:sp>
        <p:nvSpPr>
          <p:cNvPr id="16" name="TextBox 15"/>
          <p:cNvSpPr txBox="1"/>
          <p:nvPr/>
        </p:nvSpPr>
        <p:spPr>
          <a:xfrm>
            <a:off x="1" y="6642289"/>
            <a:ext cx="3806190" cy="352236"/>
          </a:xfrm>
          <a:prstGeom prst="rect">
            <a:avLst/>
          </a:prstGeom>
          <a:noFill/>
        </p:spPr>
        <p:txBody>
          <a:bodyPr wrap="square" lIns="365760" tIns="146304" rIns="182880" bIns="146304" rtlCol="0" anchor="ctr" anchorCtr="0">
            <a:noAutofit/>
          </a:bodyPr>
          <a:lstStyle/>
          <a:p>
            <a:pPr>
              <a:lnSpc>
                <a:spcPct val="90000"/>
              </a:lnSpc>
              <a:spcAft>
                <a:spcPts val="600"/>
              </a:spcAft>
            </a:pPr>
            <a:r>
              <a:rPr lang="en-US" sz="14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3334182208"/>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26900" y="471356"/>
            <a:ext cx="11887200" cy="946413"/>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en-US" sz="4000" dirty="0"/>
              <a:t>Summary: Query Store</a:t>
            </a:r>
          </a:p>
        </p:txBody>
      </p:sp>
      <p:sp>
        <p:nvSpPr>
          <p:cNvPr id="7" name="Rectangle 6"/>
          <p:cNvSpPr/>
          <p:nvPr/>
        </p:nvSpPr>
        <p:spPr>
          <a:xfrm>
            <a:off x="274638" y="1430153"/>
            <a:ext cx="11023625" cy="3539430"/>
          </a:xfrm>
          <a:prstGeom prst="rect">
            <a:avLst/>
          </a:prstGeom>
        </p:spPr>
        <p:txBody>
          <a:bodyPr wrap="square">
            <a:spAutoFit/>
          </a:bodyPr>
          <a:lstStyle/>
          <a:p>
            <a:pPr marR="0">
              <a:spcBef>
                <a:spcPts val="1200"/>
              </a:spcBef>
              <a:spcAft>
                <a:spcPts val="0"/>
              </a:spcAft>
            </a:pPr>
            <a:r>
              <a:rPr lang="en-US" sz="3200" dirty="0">
                <a:solidFill>
                  <a:schemeClr val="accent4"/>
                </a:solidFill>
                <a:latin typeface="Segoe UI Semilight" panose="020B0402040204020203" pitchFamily="34" charset="0"/>
                <a:ea typeface="Times New Roman" panose="02020603050405020304" pitchFamily="18" charset="0"/>
                <a:cs typeface="Segoe UI Semilight" panose="020B0402040204020203" pitchFamily="34" charset="0"/>
              </a:rPr>
              <a:t>Capability</a:t>
            </a:r>
          </a:p>
          <a:p>
            <a:pPr marR="0">
              <a:spcBef>
                <a:spcPts val="1200"/>
              </a:spcBef>
              <a:spcAft>
                <a:spcPts val="0"/>
              </a:spcAft>
            </a:pPr>
            <a:r>
              <a:rPr lang="en-US" sz="2000" dirty="0">
                <a:latin typeface="+mn-lt"/>
                <a:ea typeface="Times New Roman" panose="02020603050405020304" pitchFamily="18" charset="0"/>
                <a:cs typeface="Segoe UI Light" panose="020B0502040204020203" pitchFamily="34" charset="0"/>
              </a:rPr>
              <a:t>Query Store helps customers quickly find and fix query performance issues</a:t>
            </a:r>
          </a:p>
          <a:p>
            <a:pPr marR="0">
              <a:spcBef>
                <a:spcPts val="1200"/>
              </a:spcBef>
              <a:spcAft>
                <a:spcPts val="0"/>
              </a:spcAft>
            </a:pPr>
            <a:r>
              <a:rPr lang="en-US" sz="2000" dirty="0">
                <a:latin typeface="+mn-lt"/>
                <a:ea typeface="Times New Roman" panose="02020603050405020304" pitchFamily="18" charset="0"/>
                <a:cs typeface="Segoe UI Light" panose="020B0502040204020203" pitchFamily="34" charset="0"/>
              </a:rPr>
              <a:t>Query Store is a ‘flight data recorder’ for database workloads</a:t>
            </a:r>
          </a:p>
          <a:p>
            <a:pPr marR="0">
              <a:spcBef>
                <a:spcPts val="1200"/>
              </a:spcBef>
              <a:spcAft>
                <a:spcPts val="0"/>
              </a:spcAft>
            </a:pPr>
            <a:r>
              <a:rPr lang="en-US" sz="3200" dirty="0">
                <a:solidFill>
                  <a:schemeClr val="accent4"/>
                </a:solidFill>
                <a:latin typeface="Segoe UI Semilight" panose="020B0402040204020203" pitchFamily="34" charset="0"/>
                <a:ea typeface="Times New Roman" panose="02020603050405020304" pitchFamily="18" charset="0"/>
                <a:cs typeface="Segoe UI Semilight" panose="020B0402040204020203" pitchFamily="34" charset="0"/>
              </a:rPr>
              <a:t>Benefits</a:t>
            </a:r>
          </a:p>
          <a:p>
            <a:pPr marR="0">
              <a:spcBef>
                <a:spcPts val="1200"/>
              </a:spcBef>
              <a:spcAft>
                <a:spcPts val="0"/>
              </a:spcAft>
            </a:pPr>
            <a:r>
              <a:rPr lang="en-US" sz="2000" dirty="0">
                <a:latin typeface="+mn-lt"/>
                <a:ea typeface="Times New Roman" panose="02020603050405020304" pitchFamily="18" charset="0"/>
                <a:cs typeface="Segoe UI Light" panose="020B0502040204020203" pitchFamily="34" charset="0"/>
              </a:rPr>
              <a:t>Greatly simplifies query performance troubleshooting</a:t>
            </a:r>
          </a:p>
          <a:p>
            <a:pPr marR="0">
              <a:spcBef>
                <a:spcPts val="1200"/>
              </a:spcBef>
              <a:spcAft>
                <a:spcPts val="0"/>
              </a:spcAft>
            </a:pPr>
            <a:r>
              <a:rPr lang="en-US" sz="2000" dirty="0">
                <a:latin typeface="+mn-lt"/>
                <a:ea typeface="Times New Roman" panose="02020603050405020304" pitchFamily="18" charset="0"/>
                <a:cs typeface="Segoe UI Light" panose="020B0502040204020203" pitchFamily="34" charset="0"/>
              </a:rPr>
              <a:t>Provides performance stability across SQL Server upgrades</a:t>
            </a:r>
          </a:p>
          <a:p>
            <a:pPr marR="0">
              <a:spcBef>
                <a:spcPts val="1200"/>
              </a:spcBef>
              <a:spcAft>
                <a:spcPts val="0"/>
              </a:spcAft>
            </a:pPr>
            <a:r>
              <a:rPr lang="en-US" sz="2000" dirty="0">
                <a:latin typeface="+mn-lt"/>
                <a:ea typeface="Times New Roman" panose="02020603050405020304" pitchFamily="18" charset="0"/>
                <a:cs typeface="Segoe UI Light" panose="020B0502040204020203" pitchFamily="34" charset="0"/>
              </a:rPr>
              <a:t>Allows deeper insight into workload performance</a:t>
            </a:r>
          </a:p>
        </p:txBody>
      </p:sp>
      <p:sp>
        <p:nvSpPr>
          <p:cNvPr id="5" name="TextBox 4"/>
          <p:cNvSpPr txBox="1"/>
          <p:nvPr/>
        </p:nvSpPr>
        <p:spPr>
          <a:xfrm>
            <a:off x="1" y="6642289"/>
            <a:ext cx="3806190" cy="352236"/>
          </a:xfrm>
          <a:prstGeom prst="rect">
            <a:avLst/>
          </a:prstGeom>
          <a:noFill/>
        </p:spPr>
        <p:txBody>
          <a:bodyPr wrap="square" lIns="365760" tIns="146304" rIns="182880" bIns="146304" rtlCol="0" anchor="ctr" anchorCtr="0">
            <a:noAutofit/>
          </a:bodyPr>
          <a:lstStyle/>
          <a:p>
            <a:pPr>
              <a:lnSpc>
                <a:spcPct val="90000"/>
              </a:lnSpc>
              <a:spcAft>
                <a:spcPts val="600"/>
              </a:spcAft>
            </a:pPr>
            <a:r>
              <a:rPr lang="en-US" sz="14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413860192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26900" y="471356"/>
            <a:ext cx="11887200" cy="946413"/>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en-US" sz="4000" dirty="0"/>
              <a:t>References</a:t>
            </a:r>
          </a:p>
        </p:txBody>
      </p:sp>
      <p:sp>
        <p:nvSpPr>
          <p:cNvPr id="7" name="Rectangle 6"/>
          <p:cNvSpPr/>
          <p:nvPr/>
        </p:nvSpPr>
        <p:spPr>
          <a:xfrm>
            <a:off x="326900" y="1417769"/>
            <a:ext cx="11023625" cy="6555641"/>
          </a:xfrm>
          <a:prstGeom prst="rect">
            <a:avLst/>
          </a:prstGeom>
        </p:spPr>
        <p:txBody>
          <a:bodyPr wrap="square">
            <a:spAutoFit/>
          </a:bodyPr>
          <a:lstStyle/>
          <a:p>
            <a:pPr>
              <a:spcBef>
                <a:spcPts val="1200"/>
              </a:spcBef>
              <a:spcAft>
                <a:spcPts val="0"/>
              </a:spcAft>
            </a:pPr>
            <a:r>
              <a:rPr lang="en-US" sz="2000" dirty="0">
                <a:solidFill>
                  <a:srgbClr val="C00000"/>
                </a:solidFill>
                <a:ea typeface="Times New Roman" panose="02020603050405020304" pitchFamily="18" charset="0"/>
                <a:cs typeface="Segoe UI Light" panose="020B0502040204020203" pitchFamily="34" charset="0"/>
              </a:rPr>
              <a:t>Query Store</a:t>
            </a:r>
          </a:p>
          <a:p>
            <a:pPr marR="0">
              <a:spcBef>
                <a:spcPts val="1200"/>
              </a:spcBef>
              <a:spcAft>
                <a:spcPts val="0"/>
              </a:spcAft>
            </a:pPr>
            <a:r>
              <a:rPr lang="en-US" sz="2000" dirty="0">
                <a:latin typeface="+mn-lt"/>
                <a:ea typeface="Times New Roman" panose="02020603050405020304" pitchFamily="18" charset="0"/>
                <a:cs typeface="Segoe UI Light" panose="020B0502040204020203" pitchFamily="34" charset="0"/>
                <a:hlinkClick r:id="rId3"/>
              </a:rPr>
              <a:t>https://docs.microsoft.com/en-us/sql/relational-databases/performance/monitoring-performance-by-using-the-query-store</a:t>
            </a:r>
            <a:endParaRPr lang="en-US" sz="2000" dirty="0">
              <a:latin typeface="+mn-lt"/>
              <a:ea typeface="Times New Roman" panose="02020603050405020304" pitchFamily="18" charset="0"/>
              <a:cs typeface="Segoe UI Light" panose="020B0502040204020203" pitchFamily="34" charset="0"/>
            </a:endParaRPr>
          </a:p>
          <a:p>
            <a:pPr marR="0">
              <a:spcBef>
                <a:spcPts val="1200"/>
              </a:spcBef>
              <a:spcAft>
                <a:spcPts val="0"/>
              </a:spcAft>
            </a:pPr>
            <a:endParaRPr lang="en-US" sz="1200" dirty="0">
              <a:latin typeface="+mn-lt"/>
              <a:ea typeface="Times New Roman" panose="02020603050405020304" pitchFamily="18" charset="0"/>
              <a:cs typeface="Segoe UI Light" panose="020B0502040204020203" pitchFamily="34" charset="0"/>
            </a:endParaRPr>
          </a:p>
          <a:p>
            <a:pPr marR="0">
              <a:spcBef>
                <a:spcPts val="1200"/>
              </a:spcBef>
              <a:spcAft>
                <a:spcPts val="0"/>
              </a:spcAft>
            </a:pPr>
            <a:r>
              <a:rPr lang="en-US" sz="2000" dirty="0">
                <a:solidFill>
                  <a:srgbClr val="C00000"/>
                </a:solidFill>
                <a:latin typeface="+mn-lt"/>
                <a:ea typeface="Times New Roman" panose="02020603050405020304" pitchFamily="18" charset="0"/>
                <a:cs typeface="Segoe UI Light" panose="020B0502040204020203" pitchFamily="34" charset="0"/>
              </a:rPr>
              <a:t>Live Query Statistics</a:t>
            </a:r>
          </a:p>
          <a:p>
            <a:pPr marR="0">
              <a:spcBef>
                <a:spcPts val="1200"/>
              </a:spcBef>
              <a:spcAft>
                <a:spcPts val="0"/>
              </a:spcAft>
            </a:pPr>
            <a:r>
              <a:rPr lang="en-US" sz="2000" dirty="0">
                <a:latin typeface="+mn-lt"/>
                <a:ea typeface="Times New Roman" panose="02020603050405020304" pitchFamily="18" charset="0"/>
                <a:cs typeface="Segoe UI Light" panose="020B0502040204020203" pitchFamily="34" charset="0"/>
                <a:hlinkClick r:id="rId4"/>
              </a:rPr>
              <a:t>https://docs.microsoft.com/en-us/sql/relational-databases/performance/live-query-statistics</a:t>
            </a:r>
            <a:endParaRPr lang="en-US" sz="2000" dirty="0">
              <a:latin typeface="+mn-lt"/>
              <a:ea typeface="Times New Roman" panose="02020603050405020304" pitchFamily="18" charset="0"/>
              <a:cs typeface="Segoe UI Light" panose="020B0502040204020203" pitchFamily="34" charset="0"/>
            </a:endParaRPr>
          </a:p>
          <a:p>
            <a:pPr marR="0">
              <a:spcBef>
                <a:spcPts val="1200"/>
              </a:spcBef>
              <a:spcAft>
                <a:spcPts val="0"/>
              </a:spcAft>
            </a:pPr>
            <a:endParaRPr lang="en-US" sz="1200" dirty="0">
              <a:latin typeface="+mn-lt"/>
              <a:ea typeface="Times New Roman" panose="02020603050405020304" pitchFamily="18" charset="0"/>
              <a:cs typeface="Segoe UI Light" panose="020B0502040204020203" pitchFamily="34" charset="0"/>
            </a:endParaRPr>
          </a:p>
          <a:p>
            <a:pPr>
              <a:spcBef>
                <a:spcPts val="1200"/>
              </a:spcBef>
              <a:spcAft>
                <a:spcPts val="0"/>
              </a:spcAft>
            </a:pPr>
            <a:r>
              <a:rPr lang="en-US" sz="2000" dirty="0">
                <a:solidFill>
                  <a:srgbClr val="C00000"/>
                </a:solidFill>
                <a:ea typeface="Times New Roman" panose="02020603050405020304" pitchFamily="18" charset="0"/>
                <a:cs typeface="Segoe UI Light" panose="020B0502040204020203" pitchFamily="34" charset="0"/>
              </a:rPr>
              <a:t>Query Performance Insight (Azure SQL DB)</a:t>
            </a:r>
            <a:endParaRPr lang="en-US" sz="2000" dirty="0">
              <a:latin typeface="+mn-lt"/>
              <a:ea typeface="Times New Roman" panose="02020603050405020304" pitchFamily="18" charset="0"/>
              <a:cs typeface="Segoe UI Light" panose="020B0502040204020203" pitchFamily="34" charset="0"/>
            </a:endParaRPr>
          </a:p>
          <a:p>
            <a:pPr marR="0">
              <a:spcBef>
                <a:spcPts val="1200"/>
              </a:spcBef>
              <a:spcAft>
                <a:spcPts val="0"/>
              </a:spcAft>
            </a:pPr>
            <a:r>
              <a:rPr lang="en-US" sz="2000" dirty="0">
                <a:latin typeface="+mn-lt"/>
                <a:ea typeface="Times New Roman" panose="02020603050405020304" pitchFamily="18" charset="0"/>
                <a:cs typeface="Segoe UI Light" panose="020B0502040204020203" pitchFamily="34" charset="0"/>
                <a:hlinkClick r:id="rId5"/>
              </a:rPr>
              <a:t>https://docs.microsoft.com/en-us/azure/sql-database/sql-database-query-performance</a:t>
            </a:r>
            <a:br>
              <a:rPr lang="en-US" sz="2000" dirty="0">
                <a:latin typeface="+mn-lt"/>
                <a:ea typeface="Times New Roman" panose="02020603050405020304" pitchFamily="18" charset="0"/>
                <a:cs typeface="Segoe UI Light" panose="020B0502040204020203" pitchFamily="34" charset="0"/>
              </a:rPr>
            </a:br>
            <a:endParaRPr lang="en-US" sz="2000" dirty="0">
              <a:latin typeface="+mn-lt"/>
              <a:ea typeface="Times New Roman" panose="02020603050405020304" pitchFamily="18" charset="0"/>
              <a:cs typeface="Segoe UI Light" panose="020B0502040204020203" pitchFamily="34" charset="0"/>
            </a:endParaRPr>
          </a:p>
          <a:p>
            <a:pPr>
              <a:spcBef>
                <a:spcPts val="1200"/>
              </a:spcBef>
              <a:spcAft>
                <a:spcPts val="0"/>
              </a:spcAft>
            </a:pPr>
            <a:r>
              <a:rPr lang="en-US" sz="2000" dirty="0">
                <a:solidFill>
                  <a:srgbClr val="C00000"/>
                </a:solidFill>
                <a:ea typeface="Times New Roman" panose="02020603050405020304" pitchFamily="18" charset="0"/>
                <a:cs typeface="Segoe UI Light" panose="020B0502040204020203" pitchFamily="34" charset="0"/>
              </a:rPr>
              <a:t>Plan caching &amp; re-use</a:t>
            </a:r>
            <a:endParaRPr lang="en-US" sz="2000" dirty="0">
              <a:latin typeface="+mn-lt"/>
              <a:ea typeface="Times New Roman" panose="02020603050405020304" pitchFamily="18" charset="0"/>
              <a:cs typeface="Segoe UI Light" panose="020B0502040204020203" pitchFamily="34" charset="0"/>
            </a:endParaRPr>
          </a:p>
          <a:p>
            <a:pPr marR="0">
              <a:spcBef>
                <a:spcPts val="1200"/>
              </a:spcBef>
              <a:spcAft>
                <a:spcPts val="0"/>
              </a:spcAft>
            </a:pPr>
            <a:r>
              <a:rPr lang="en-US" sz="2000" dirty="0">
                <a:latin typeface="+mn-lt"/>
                <a:ea typeface="Times New Roman" panose="02020603050405020304" pitchFamily="18" charset="0"/>
                <a:cs typeface="Segoe UI Light" panose="020B0502040204020203" pitchFamily="34" charset="0"/>
                <a:hlinkClick r:id="rId6"/>
              </a:rPr>
              <a:t>https://msdn.microsoft.com/en-us/library/dn148262.aspx</a:t>
            </a:r>
            <a:endParaRPr lang="en-US" sz="2000" dirty="0">
              <a:latin typeface="+mn-lt"/>
              <a:ea typeface="Times New Roman" panose="02020603050405020304" pitchFamily="18" charset="0"/>
              <a:cs typeface="Segoe UI Light" panose="020B0502040204020203" pitchFamily="34" charset="0"/>
            </a:endParaRPr>
          </a:p>
          <a:p>
            <a:pPr marR="0">
              <a:spcBef>
                <a:spcPts val="1200"/>
              </a:spcBef>
              <a:spcAft>
                <a:spcPts val="0"/>
              </a:spcAft>
            </a:pPr>
            <a:endParaRPr lang="en-US" sz="2000" dirty="0">
              <a:latin typeface="+mn-lt"/>
              <a:ea typeface="Times New Roman" panose="02020603050405020304" pitchFamily="18" charset="0"/>
              <a:cs typeface="Segoe UI Light" panose="020B0502040204020203" pitchFamily="34" charset="0"/>
            </a:endParaRPr>
          </a:p>
          <a:p>
            <a:pPr marR="0">
              <a:spcBef>
                <a:spcPts val="1200"/>
              </a:spcBef>
              <a:spcAft>
                <a:spcPts val="0"/>
              </a:spcAft>
            </a:pPr>
            <a:endParaRPr lang="en-US" sz="2000" dirty="0">
              <a:latin typeface="+mn-lt"/>
              <a:ea typeface="Times New Roman" panose="02020603050405020304" pitchFamily="18" charset="0"/>
              <a:cs typeface="Segoe UI Light" panose="020B0502040204020203" pitchFamily="34" charset="0"/>
            </a:endParaRPr>
          </a:p>
          <a:p>
            <a:pPr marR="0">
              <a:spcBef>
                <a:spcPts val="1200"/>
              </a:spcBef>
              <a:spcAft>
                <a:spcPts val="0"/>
              </a:spcAft>
            </a:pPr>
            <a:endParaRPr lang="en-US" sz="2000" dirty="0">
              <a:latin typeface="+mn-lt"/>
              <a:ea typeface="Times New Roman" panose="02020603050405020304" pitchFamily="18" charset="0"/>
              <a:cs typeface="Segoe UI Light" panose="020B0502040204020203" pitchFamily="34" charset="0"/>
            </a:endParaRPr>
          </a:p>
        </p:txBody>
      </p:sp>
      <p:sp>
        <p:nvSpPr>
          <p:cNvPr id="5" name="TextBox 4"/>
          <p:cNvSpPr txBox="1"/>
          <p:nvPr/>
        </p:nvSpPr>
        <p:spPr>
          <a:xfrm>
            <a:off x="1" y="6642289"/>
            <a:ext cx="3806190" cy="352236"/>
          </a:xfrm>
          <a:prstGeom prst="rect">
            <a:avLst/>
          </a:prstGeom>
          <a:noFill/>
        </p:spPr>
        <p:txBody>
          <a:bodyPr wrap="square" lIns="365760" tIns="146304" rIns="182880" bIns="146304" rtlCol="0" anchor="ctr" anchorCtr="0">
            <a:noAutofit/>
          </a:bodyPr>
          <a:lstStyle/>
          <a:p>
            <a:pPr>
              <a:lnSpc>
                <a:spcPct val="90000"/>
              </a:lnSpc>
              <a:spcAft>
                <a:spcPts val="600"/>
              </a:spcAft>
            </a:pPr>
            <a:r>
              <a:rPr lang="en-US" sz="14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165994453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bwMode="invGray">
          <a:xfrm>
            <a:off x="458499" y="3144997"/>
            <a:ext cx="3288927" cy="704535"/>
          </a:xfrm>
          <a:prstGeom prst="rect">
            <a:avLst/>
          </a:prstGeom>
        </p:spPr>
      </p:pic>
      <p:sp>
        <p:nvSpPr>
          <p:cNvPr id="5" name="Text Box 3"/>
          <p:cNvSpPr txBox="1">
            <a:spLocks noChangeArrowheads="1"/>
          </p:cNvSpPr>
          <p:nvPr/>
        </p:nvSpPr>
        <p:spPr bwMode="blackWhite">
          <a:xfrm>
            <a:off x="272292" y="6079363"/>
            <a:ext cx="10975789" cy="726446"/>
          </a:xfrm>
          <a:prstGeom prst="rect">
            <a:avLst/>
          </a:prstGeom>
        </p:spPr>
        <p:txBody>
          <a:bodyPr vert="horz" wrap="square" lIns="182903" tIns="146323" rIns="182903" bIns="146323" numCol="1" anchor="t" anchorCtr="0" compatLnSpc="1">
            <a:prstTxWarp prst="textNoShape">
              <a:avLst/>
            </a:prstTxWarp>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Segoe UI"/>
                <a:ea typeface="+mn-ea"/>
                <a:cs typeface="+mn-cs"/>
              </a:rPr>
              <a:t>© 2016 Microsoft Corporation. All rights reserved. Microsoft, Windows, and other product names are or may be registered trademarks and/or trademarks in the U.S. and/or other countries.</a:t>
            </a:r>
          </a:p>
          <a:p>
            <a:pPr marL="0" marR="0" lvl="0" indent="0" defTabSz="932742"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Segoe UI"/>
                <a:ea typeface="+mn-ea"/>
                <a:cs typeface="+mn-cs"/>
              </a:rPr>
              <a:t> </a:t>
            </a:r>
          </a:p>
          <a:p>
            <a:pPr marL="0" marR="0" lvl="0" indent="0" defTabSz="932742"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Segoe UI"/>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612610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Straight Connector 37"/>
          <p:cNvCxnSpPr/>
          <p:nvPr/>
        </p:nvCxnSpPr>
        <p:spPr>
          <a:xfrm flipH="1" flipV="1">
            <a:off x="8242158" y="1807771"/>
            <a:ext cx="14832" cy="2820972"/>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10111832" y="1807770"/>
            <a:ext cx="0" cy="3525130"/>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11667916" y="1732561"/>
            <a:ext cx="0" cy="4257485"/>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sp>
        <p:nvSpPr>
          <p:cNvPr id="31" name="Pentagon 30"/>
          <p:cNvSpPr/>
          <p:nvPr/>
        </p:nvSpPr>
        <p:spPr>
          <a:xfrm>
            <a:off x="9829876" y="1162530"/>
            <a:ext cx="2497227" cy="780394"/>
          </a:xfrm>
          <a:prstGeom prst="homePlate">
            <a:avLst/>
          </a:prstGeom>
          <a:solidFill>
            <a:schemeClr val="accent5"/>
          </a:solidFill>
          <a:ln w="9525" cap="flat" cmpd="sng" algn="ctr">
            <a:solidFill>
              <a:schemeClr val="bg1"/>
            </a:solidFill>
            <a:prstDash val="solid"/>
            <a:headEnd type="none" w="med" len="med"/>
            <a:tailEnd type="none" w="med" len="med"/>
          </a:ln>
          <a:effectLst/>
        </p:spPr>
        <p:txBody>
          <a:bodyPr lIns="274291" tIns="62162" rIns="149332" bIns="74664" anchor="ctr"/>
          <a:lstStyle/>
          <a:p>
            <a:pPr algn="r" defTabSz="1492909">
              <a:defRPr/>
            </a:pPr>
            <a:r>
              <a:rPr lang="en-US" sz="1600" kern="0" dirty="0">
                <a:gradFill>
                  <a:gsLst>
                    <a:gs pos="0">
                      <a:srgbClr val="FFFFFF"/>
                    </a:gs>
                    <a:gs pos="100000">
                      <a:srgbClr val="FFFFFF"/>
                    </a:gs>
                  </a:gsLst>
                  <a:lin ang="5400000" scaled="0"/>
                </a:gradFill>
                <a:latin typeface="+mn-lt"/>
                <a:ea typeface="+mn-ea"/>
                <a:cs typeface="+mn-cs"/>
              </a:rPr>
              <a:t>Everything </a:t>
            </a:r>
            <a:br>
              <a:rPr lang="en-US" sz="1600" kern="0" dirty="0">
                <a:gradFill>
                  <a:gsLst>
                    <a:gs pos="0">
                      <a:srgbClr val="FFFFFF"/>
                    </a:gs>
                    <a:gs pos="100000">
                      <a:srgbClr val="FFFFFF"/>
                    </a:gs>
                  </a:gsLst>
                  <a:lin ang="5400000" scaled="0"/>
                </a:gradFill>
                <a:latin typeface="+mn-lt"/>
                <a:ea typeface="+mn-ea"/>
                <a:cs typeface="+mn-cs"/>
              </a:rPr>
            </a:br>
            <a:r>
              <a:rPr lang="en-US" sz="1600" kern="0" dirty="0">
                <a:gradFill>
                  <a:gsLst>
                    <a:gs pos="0">
                      <a:srgbClr val="FFFFFF"/>
                    </a:gs>
                    <a:gs pos="100000">
                      <a:srgbClr val="FFFFFF"/>
                    </a:gs>
                  </a:gsLst>
                  <a:lin ang="5400000" scaled="0"/>
                </a:gradFill>
                <a:latin typeface="+mn-lt"/>
                <a:ea typeface="+mn-ea"/>
                <a:cs typeface="+mn-cs"/>
              </a:rPr>
              <a:t>built-in </a:t>
            </a:r>
          </a:p>
        </p:txBody>
      </p:sp>
      <p:sp>
        <p:nvSpPr>
          <p:cNvPr id="40" name="Pentagon 39"/>
          <p:cNvSpPr/>
          <p:nvPr/>
        </p:nvSpPr>
        <p:spPr>
          <a:xfrm>
            <a:off x="8042286" y="1162530"/>
            <a:ext cx="2497227" cy="780394"/>
          </a:xfrm>
          <a:prstGeom prst="homePlate">
            <a:avLst/>
          </a:prstGeom>
          <a:solidFill>
            <a:srgbClr val="BA1419"/>
          </a:solidFill>
          <a:ln w="9525" cap="flat" cmpd="sng" algn="ctr">
            <a:solidFill>
              <a:schemeClr val="bg1"/>
            </a:solidFill>
            <a:prstDash val="solid"/>
            <a:headEnd type="none" w="med" len="med"/>
            <a:tailEnd type="none" w="med" len="med"/>
          </a:ln>
          <a:effectLst/>
        </p:spPr>
        <p:txBody>
          <a:bodyPr lIns="274291" tIns="62162" rIns="91440" bIns="74664" anchor="ctr"/>
          <a:lstStyle/>
          <a:p>
            <a:pPr algn="r" defTabSz="1492909">
              <a:defRPr/>
            </a:pPr>
            <a:r>
              <a:rPr lang="en-US" sz="1600" kern="0" dirty="0">
                <a:gradFill>
                  <a:gsLst>
                    <a:gs pos="0">
                      <a:srgbClr val="FFFFFF"/>
                    </a:gs>
                    <a:gs pos="100000">
                      <a:srgbClr val="FFFFFF"/>
                    </a:gs>
                  </a:gsLst>
                  <a:lin ang="5400000" scaled="0"/>
                </a:gradFill>
                <a:latin typeface="+mn-lt"/>
                <a:ea typeface="+mn-ea"/>
                <a:cs typeface="+mn-cs"/>
              </a:rPr>
              <a:t>Mission-critical and                    cloud performance</a:t>
            </a:r>
          </a:p>
        </p:txBody>
      </p:sp>
      <p:sp>
        <p:nvSpPr>
          <p:cNvPr id="17" name="Rectangle 16"/>
          <p:cNvSpPr/>
          <p:nvPr>
            <p:custDataLst>
              <p:tags r:id="rId1"/>
            </p:custDataLst>
          </p:nvPr>
        </p:nvSpPr>
        <p:spPr bwMode="auto">
          <a:xfrm>
            <a:off x="104987" y="3386104"/>
            <a:ext cx="6457214" cy="593857"/>
          </a:xfrm>
          <a:prstGeom prst="rect">
            <a:avLst/>
          </a:prstGeom>
          <a:solidFill>
            <a:schemeClr val="bg1">
              <a:lumMod val="95000"/>
            </a:schemeClr>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4334" tIns="62167" rIns="124334" bIns="62167" numCol="1" rtlCol="0" anchor="t" anchorCtr="0" compatLnSpc="1">
            <a:prstTxWarp prst="textNoShape">
              <a:avLst/>
            </a:prstTxWarp>
            <a:noAutofit/>
          </a:bodyPr>
          <a:lstStyle/>
          <a:p>
            <a:pPr defTabSz="1243032">
              <a:lnSpc>
                <a:spcPct val="90000"/>
              </a:lnSpc>
              <a:spcBef>
                <a:spcPts val="857"/>
              </a:spcBef>
              <a:spcAft>
                <a:spcPts val="816"/>
              </a:spcAft>
              <a:buClr>
                <a:srgbClr val="B5D331"/>
              </a:buClr>
              <a:buSzPct val="120000"/>
            </a:pPr>
            <a:endParaRPr lang="en-US" sz="2200" dirty="0">
              <a:ln>
                <a:solidFill>
                  <a:srgbClr val="FFFFFF">
                    <a:alpha val="0"/>
                  </a:srgbClr>
                </a:solidFill>
              </a:ln>
              <a:solidFill>
                <a:srgbClr val="FFFFFF">
                  <a:alpha val="99000"/>
                </a:srgbClr>
              </a:solidFill>
              <a:latin typeface="Segoe UI Light"/>
              <a:cs typeface="Segoe UI" pitchFamily="34" charset="0"/>
            </a:endParaRPr>
          </a:p>
        </p:txBody>
      </p:sp>
      <p:sp>
        <p:nvSpPr>
          <p:cNvPr id="18" name="TextBox 59"/>
          <p:cNvSpPr txBox="1"/>
          <p:nvPr/>
        </p:nvSpPr>
        <p:spPr>
          <a:xfrm>
            <a:off x="4802463" y="3430803"/>
            <a:ext cx="1637804" cy="492443"/>
          </a:xfrm>
          <a:prstGeom prst="rect">
            <a:avLst/>
          </a:prstGeom>
          <a:noFill/>
          <a:ln>
            <a:noFill/>
          </a:ln>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fontAlgn="auto">
              <a:spcBef>
                <a:spcPts val="0"/>
              </a:spcBef>
              <a:spcAft>
                <a:spcPts val="0"/>
              </a:spcAft>
            </a:pPr>
            <a:r>
              <a:rPr lang="en-US" sz="1600" b="1" dirty="0">
                <a:solidFill>
                  <a:schemeClr val="accent5"/>
                </a:solidFill>
                <a:latin typeface="Segoe UI Semibold" panose="020B0702040204020203" pitchFamily="34" charset="0"/>
                <a:cs typeface="Segoe UI Semibold" panose="020B0702040204020203" pitchFamily="34" charset="0"/>
              </a:rPr>
              <a:t>SQL Server</a:t>
            </a:r>
          </a:p>
          <a:p>
            <a:pPr algn="r" fontAlgn="auto">
              <a:spcBef>
                <a:spcPts val="0"/>
              </a:spcBef>
              <a:spcAft>
                <a:spcPts val="0"/>
              </a:spcAft>
            </a:pPr>
            <a:r>
              <a:rPr lang="en-US" sz="1600" b="1" dirty="0">
                <a:solidFill>
                  <a:schemeClr val="accent5"/>
                </a:solidFill>
                <a:latin typeface="Segoe UI Semibold" panose="020B0702040204020203" pitchFamily="34" charset="0"/>
                <a:cs typeface="Segoe UI Semibold" panose="020B0702040204020203" pitchFamily="34" charset="0"/>
              </a:rPr>
              <a:t>2008</a:t>
            </a:r>
            <a:endParaRPr lang="en-US" sz="1600" dirty="0">
              <a:solidFill>
                <a:schemeClr val="accent5"/>
              </a:solidFill>
              <a:latin typeface="Segoe UI Semibold" panose="020B0702040204020203" pitchFamily="34" charset="0"/>
              <a:cs typeface="Segoe UI Semibold" panose="020B0702040204020203" pitchFamily="34" charset="0"/>
            </a:endParaRPr>
          </a:p>
        </p:txBody>
      </p:sp>
      <p:sp>
        <p:nvSpPr>
          <p:cNvPr id="19" name="Rectangle 18"/>
          <p:cNvSpPr/>
          <p:nvPr>
            <p:custDataLst>
              <p:tags r:id="rId2"/>
            </p:custDataLst>
          </p:nvPr>
        </p:nvSpPr>
        <p:spPr bwMode="auto">
          <a:xfrm>
            <a:off x="104505" y="4070997"/>
            <a:ext cx="7521421" cy="593857"/>
          </a:xfrm>
          <a:prstGeom prst="rect">
            <a:avLst/>
          </a:prstGeom>
          <a:solidFill>
            <a:schemeClr val="bg1">
              <a:lumMod val="95000"/>
            </a:schemeClr>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4334" tIns="62167" rIns="124334" bIns="62167" numCol="1" rtlCol="0" anchor="t" anchorCtr="0" compatLnSpc="1">
            <a:prstTxWarp prst="textNoShape">
              <a:avLst/>
            </a:prstTxWarp>
            <a:noAutofit/>
          </a:bodyPr>
          <a:lstStyle/>
          <a:p>
            <a:pPr defTabSz="1243032">
              <a:lnSpc>
                <a:spcPct val="90000"/>
              </a:lnSpc>
              <a:spcBef>
                <a:spcPts val="857"/>
              </a:spcBef>
              <a:spcAft>
                <a:spcPts val="816"/>
              </a:spcAft>
              <a:buClr>
                <a:srgbClr val="B5D331"/>
              </a:buClr>
              <a:buSzPct val="120000"/>
            </a:pPr>
            <a:endParaRPr lang="en-US" sz="2200" dirty="0">
              <a:ln>
                <a:solidFill>
                  <a:srgbClr val="FFFFFF">
                    <a:alpha val="0"/>
                  </a:srgbClr>
                </a:solidFill>
              </a:ln>
              <a:solidFill>
                <a:srgbClr val="FFFFFF">
                  <a:alpha val="99000"/>
                </a:srgbClr>
              </a:solidFill>
              <a:latin typeface="Segoe UI Light"/>
              <a:cs typeface="Segoe UI" pitchFamily="34" charset="0"/>
            </a:endParaRPr>
          </a:p>
        </p:txBody>
      </p:sp>
      <p:sp>
        <p:nvSpPr>
          <p:cNvPr id="20" name="TextBox 59"/>
          <p:cNvSpPr txBox="1"/>
          <p:nvPr/>
        </p:nvSpPr>
        <p:spPr>
          <a:xfrm>
            <a:off x="5987082" y="4125012"/>
            <a:ext cx="1502393" cy="492443"/>
          </a:xfrm>
          <a:prstGeom prst="rect">
            <a:avLst/>
          </a:prstGeom>
          <a:noFill/>
          <a:ln>
            <a:noFill/>
          </a:ln>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fontAlgn="auto">
              <a:spcBef>
                <a:spcPts val="0"/>
              </a:spcBef>
              <a:spcAft>
                <a:spcPts val="0"/>
              </a:spcAft>
            </a:pPr>
            <a:r>
              <a:rPr lang="en-US" sz="1600" b="1" dirty="0">
                <a:solidFill>
                  <a:schemeClr val="accent5"/>
                </a:solidFill>
                <a:latin typeface="Segoe UI Semibold" panose="020B0702040204020203" pitchFamily="34" charset="0"/>
                <a:cs typeface="Segoe UI Semibold" panose="020B0702040204020203" pitchFamily="34" charset="0"/>
              </a:rPr>
              <a:t>SQL Server</a:t>
            </a:r>
          </a:p>
          <a:p>
            <a:pPr algn="r" fontAlgn="auto">
              <a:spcBef>
                <a:spcPts val="0"/>
              </a:spcBef>
              <a:spcAft>
                <a:spcPts val="0"/>
              </a:spcAft>
            </a:pPr>
            <a:r>
              <a:rPr lang="en-US" sz="1600" b="1" dirty="0">
                <a:solidFill>
                  <a:schemeClr val="accent5"/>
                </a:solidFill>
                <a:latin typeface="Segoe UI Semibold" panose="020B0702040204020203" pitchFamily="34" charset="0"/>
                <a:cs typeface="Segoe UI Semibold" panose="020B0702040204020203" pitchFamily="34" charset="0"/>
              </a:rPr>
              <a:t>2008 R2</a:t>
            </a:r>
            <a:endParaRPr lang="en-US" sz="1600" dirty="0">
              <a:solidFill>
                <a:schemeClr val="accent5"/>
              </a:solidFill>
              <a:latin typeface="Segoe UI Semibold" panose="020B0702040204020203" pitchFamily="34" charset="0"/>
              <a:cs typeface="Segoe UI Semibold" panose="020B0702040204020203" pitchFamily="34" charset="0"/>
            </a:endParaRPr>
          </a:p>
        </p:txBody>
      </p:sp>
      <p:grpSp>
        <p:nvGrpSpPr>
          <p:cNvPr id="28" name="Group 27"/>
          <p:cNvGrpSpPr/>
          <p:nvPr/>
        </p:nvGrpSpPr>
        <p:grpSpPr>
          <a:xfrm>
            <a:off x="104505" y="2015245"/>
            <a:ext cx="2842546" cy="593857"/>
            <a:chOff x="104505" y="2015245"/>
            <a:chExt cx="2842546" cy="593857"/>
          </a:xfrm>
        </p:grpSpPr>
        <p:sp>
          <p:nvSpPr>
            <p:cNvPr id="13" name="Rectangle 12"/>
            <p:cNvSpPr/>
            <p:nvPr>
              <p:custDataLst>
                <p:tags r:id="rId7"/>
              </p:custDataLst>
            </p:nvPr>
          </p:nvSpPr>
          <p:spPr bwMode="auto">
            <a:xfrm>
              <a:off x="104505" y="2015245"/>
              <a:ext cx="2842546" cy="593857"/>
            </a:xfrm>
            <a:prstGeom prst="rect">
              <a:avLst/>
            </a:prstGeom>
            <a:solidFill>
              <a:schemeClr val="bg1">
                <a:lumMod val="95000"/>
              </a:schemeClr>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4334" tIns="62167" rIns="124334" bIns="62167" numCol="1" rtlCol="0" anchor="t" anchorCtr="0" compatLnSpc="1">
              <a:prstTxWarp prst="textNoShape">
                <a:avLst/>
              </a:prstTxWarp>
              <a:noAutofit/>
            </a:bodyPr>
            <a:lstStyle/>
            <a:p>
              <a:pPr algn="r" defTabSz="1243032">
                <a:lnSpc>
                  <a:spcPct val="90000"/>
                </a:lnSpc>
                <a:spcBef>
                  <a:spcPts val="857"/>
                </a:spcBef>
                <a:spcAft>
                  <a:spcPts val="816"/>
                </a:spcAft>
                <a:buClr>
                  <a:srgbClr val="B5D331"/>
                </a:buClr>
                <a:buSzPct val="120000"/>
              </a:pPr>
              <a:endParaRPr lang="en-US" sz="2200" dirty="0">
                <a:ln>
                  <a:solidFill>
                    <a:srgbClr val="FFFFFF">
                      <a:alpha val="0"/>
                    </a:srgbClr>
                  </a:solidFill>
                </a:ln>
                <a:solidFill>
                  <a:srgbClr val="FFFFFF">
                    <a:alpha val="99000"/>
                  </a:srgbClr>
                </a:solidFill>
                <a:latin typeface="Segoe UI Light"/>
                <a:cs typeface="Segoe UI" pitchFamily="34" charset="0"/>
              </a:endParaRPr>
            </a:p>
          </p:txBody>
        </p:sp>
        <p:sp>
          <p:nvSpPr>
            <p:cNvPr id="14" name="TextBox 59"/>
            <p:cNvSpPr txBox="1"/>
            <p:nvPr/>
          </p:nvSpPr>
          <p:spPr>
            <a:xfrm>
              <a:off x="1203411" y="2050637"/>
              <a:ext cx="1615758" cy="492443"/>
            </a:xfrm>
            <a:prstGeom prst="rect">
              <a:avLst/>
            </a:prstGeom>
            <a:noFill/>
            <a:ln>
              <a:noFill/>
            </a:ln>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fontAlgn="auto">
                <a:spcBef>
                  <a:spcPts val="0"/>
                </a:spcBef>
                <a:spcAft>
                  <a:spcPts val="0"/>
                </a:spcAft>
              </a:pPr>
              <a:r>
                <a:rPr lang="en-US" sz="1600" dirty="0">
                  <a:solidFill>
                    <a:schemeClr val="accent5"/>
                  </a:solidFill>
                  <a:latin typeface="Segoe UI Semibold" panose="020B0702040204020203" pitchFamily="34" charset="0"/>
                  <a:cs typeface="Segoe UI Semibold" panose="020B0702040204020203" pitchFamily="34" charset="0"/>
                </a:rPr>
                <a:t>SQL Server</a:t>
              </a:r>
            </a:p>
            <a:p>
              <a:pPr algn="r" fontAlgn="auto">
                <a:spcBef>
                  <a:spcPts val="0"/>
                </a:spcBef>
                <a:spcAft>
                  <a:spcPts val="0"/>
                </a:spcAft>
              </a:pPr>
              <a:r>
                <a:rPr lang="en-US" sz="1600" dirty="0">
                  <a:solidFill>
                    <a:schemeClr val="accent5"/>
                  </a:solidFill>
                  <a:latin typeface="Segoe UI Semibold" panose="020B0702040204020203" pitchFamily="34" charset="0"/>
                  <a:cs typeface="Segoe UI Semibold" panose="020B0702040204020203" pitchFamily="34" charset="0"/>
                </a:rPr>
                <a:t>2000</a:t>
              </a:r>
            </a:p>
          </p:txBody>
        </p:sp>
        <p:sp>
          <p:nvSpPr>
            <p:cNvPr id="3" name="TextBox 2"/>
            <p:cNvSpPr txBox="1"/>
            <p:nvPr/>
          </p:nvSpPr>
          <p:spPr>
            <a:xfrm>
              <a:off x="140448" y="2151669"/>
              <a:ext cx="1338808" cy="369322"/>
            </a:xfrm>
            <a:prstGeom prst="rect">
              <a:avLst/>
            </a:prstGeom>
            <a:noFill/>
            <a:ln>
              <a:noFill/>
            </a:ln>
          </p:spPr>
          <p:txBody>
            <a:bodyPr wrap="none" lIns="91430" tIns="45715" rIns="91430" bIns="45715" rtlCol="0">
              <a:spAutoFit/>
            </a:bodyPr>
            <a:lstStyle/>
            <a:p>
              <a:pPr algn="r" defTabSz="932305" fontAlgn="auto">
                <a:spcBef>
                  <a:spcPts val="0"/>
                </a:spcBef>
                <a:spcAft>
                  <a:spcPts val="0"/>
                </a:spcAft>
              </a:pPr>
              <a:r>
                <a:rPr lang="en-US" sz="1800" dirty="0">
                  <a:solidFill>
                    <a:srgbClr val="5E5E5E"/>
                  </a:solidFill>
                  <a:latin typeface="Segoe UI"/>
                  <a:ea typeface="+mn-ea"/>
                  <a:cs typeface="+mn-cs"/>
                </a:rPr>
                <a:t>XML</a:t>
              </a:r>
              <a:r>
                <a:rPr lang="en-US" sz="1800" dirty="0">
                  <a:solidFill>
                    <a:srgbClr val="505050"/>
                  </a:solidFill>
                  <a:latin typeface="Segoe UI"/>
                  <a:ea typeface="+mn-ea"/>
                  <a:cs typeface="+mn-cs"/>
                </a:rPr>
                <a:t> </a:t>
              </a:r>
              <a:r>
                <a:rPr lang="en-US" sz="1000" dirty="0">
                  <a:solidFill>
                    <a:srgbClr val="ADADAD"/>
                  </a:solidFill>
                  <a:latin typeface="Segoe UI"/>
                  <a:ea typeface="+mn-ea"/>
                  <a:cs typeface="+mn-cs"/>
                </a:rPr>
                <a:t>●</a:t>
              </a:r>
              <a:r>
                <a:rPr lang="en-US" sz="1800" dirty="0">
                  <a:solidFill>
                    <a:srgbClr val="505050"/>
                  </a:solidFill>
                  <a:latin typeface="Segoe UI"/>
                  <a:ea typeface="+mn-ea"/>
                  <a:cs typeface="+mn-cs"/>
                </a:rPr>
                <a:t> </a:t>
              </a:r>
              <a:r>
                <a:rPr lang="en-US" sz="1800" dirty="0">
                  <a:solidFill>
                    <a:srgbClr val="5E5E5E"/>
                  </a:solidFill>
                  <a:latin typeface="Segoe UI"/>
                  <a:ea typeface="+mn-ea"/>
                  <a:cs typeface="+mn-cs"/>
                </a:rPr>
                <a:t>KPIs</a:t>
              </a:r>
            </a:p>
          </p:txBody>
        </p:sp>
      </p:grpSp>
      <p:sp>
        <p:nvSpPr>
          <p:cNvPr id="24" name="TextBox 23"/>
          <p:cNvSpPr txBox="1"/>
          <p:nvPr/>
        </p:nvSpPr>
        <p:spPr>
          <a:xfrm>
            <a:off x="155356" y="3482632"/>
            <a:ext cx="5238722" cy="338544"/>
          </a:xfrm>
          <a:prstGeom prst="rect">
            <a:avLst/>
          </a:prstGeom>
          <a:noFill/>
          <a:ln>
            <a:noFill/>
          </a:ln>
        </p:spPr>
        <p:txBody>
          <a:bodyPr wrap="none" lIns="91430" tIns="45715" rIns="91430" bIns="45715" rtlCol="0">
            <a:spAutoFit/>
          </a:bodyPr>
          <a:lstStyle/>
          <a:p>
            <a:pPr defTabSz="932305" fontAlgn="auto">
              <a:spcBef>
                <a:spcPts val="0"/>
              </a:spcBef>
              <a:spcAft>
                <a:spcPts val="0"/>
              </a:spcAft>
            </a:pPr>
            <a:r>
              <a:rPr lang="en-US" sz="1600" dirty="0">
                <a:solidFill>
                  <a:srgbClr val="5E5E5E"/>
                </a:solidFill>
                <a:latin typeface="Segoe UI"/>
                <a:ea typeface="+mn-ea"/>
                <a:cs typeface="+mn-cs"/>
              </a:rPr>
              <a:t>Compression</a:t>
            </a:r>
            <a:r>
              <a:rPr lang="en-US" sz="1600" dirty="0">
                <a:solidFill>
                  <a:srgbClr val="505050"/>
                </a:solidFill>
                <a:latin typeface="Segoe UI"/>
                <a:ea typeface="+mn-ea"/>
                <a:cs typeface="+mn-cs"/>
              </a:rPr>
              <a:t> </a:t>
            </a:r>
            <a:r>
              <a:rPr lang="en-US" sz="1000" dirty="0">
                <a:solidFill>
                  <a:srgbClr val="ADADAD"/>
                </a:solidFill>
                <a:latin typeface="Segoe UI"/>
              </a:rPr>
              <a:t>●</a:t>
            </a:r>
            <a:r>
              <a:rPr lang="en-US" sz="1600" dirty="0">
                <a:solidFill>
                  <a:srgbClr val="505050"/>
                </a:solidFill>
                <a:latin typeface="Segoe UI"/>
                <a:ea typeface="+mn-ea"/>
                <a:cs typeface="+mn-cs"/>
              </a:rPr>
              <a:t> </a:t>
            </a:r>
            <a:r>
              <a:rPr lang="en-US" sz="1600" dirty="0">
                <a:solidFill>
                  <a:srgbClr val="5E5E5E"/>
                </a:solidFill>
                <a:latin typeface="Segoe UI"/>
                <a:ea typeface="+mn-ea"/>
                <a:cs typeface="+mn-cs"/>
              </a:rPr>
              <a:t>Policy-Based </a:t>
            </a:r>
            <a:r>
              <a:rPr lang="en-US" sz="1600" dirty="0" err="1">
                <a:solidFill>
                  <a:srgbClr val="5E5E5E"/>
                </a:solidFill>
                <a:latin typeface="Segoe UI"/>
                <a:ea typeface="+mn-ea"/>
                <a:cs typeface="+mn-cs"/>
              </a:rPr>
              <a:t>Mgmt</a:t>
            </a:r>
            <a:r>
              <a:rPr lang="en-US" sz="1600" dirty="0">
                <a:solidFill>
                  <a:srgbClr val="5E5E5E"/>
                </a:solidFill>
                <a:latin typeface="Segoe UI"/>
                <a:ea typeface="+mn-ea"/>
                <a:cs typeface="+mn-cs"/>
              </a:rPr>
              <a:t> </a:t>
            </a:r>
            <a:r>
              <a:rPr lang="en-US" sz="1000" dirty="0">
                <a:solidFill>
                  <a:srgbClr val="ADADAD"/>
                </a:solidFill>
                <a:latin typeface="Segoe UI"/>
              </a:rPr>
              <a:t>●</a:t>
            </a:r>
            <a:r>
              <a:rPr lang="en-US" sz="1600" dirty="0">
                <a:solidFill>
                  <a:srgbClr val="505050"/>
                </a:solidFill>
                <a:latin typeface="Segoe UI"/>
                <a:ea typeface="+mn-ea"/>
                <a:cs typeface="+mn-cs"/>
              </a:rPr>
              <a:t> </a:t>
            </a:r>
            <a:r>
              <a:rPr lang="en-US" sz="1600" dirty="0">
                <a:solidFill>
                  <a:srgbClr val="5E5E5E"/>
                </a:solidFill>
                <a:latin typeface="Segoe UI"/>
                <a:ea typeface="+mn-ea"/>
                <a:cs typeface="+mn-cs"/>
              </a:rPr>
              <a:t>Programmability</a:t>
            </a:r>
          </a:p>
        </p:txBody>
      </p:sp>
      <p:sp>
        <p:nvSpPr>
          <p:cNvPr id="25" name="TextBox 24"/>
          <p:cNvSpPr txBox="1"/>
          <p:nvPr/>
        </p:nvSpPr>
        <p:spPr>
          <a:xfrm>
            <a:off x="155356" y="4180336"/>
            <a:ext cx="5789578" cy="338544"/>
          </a:xfrm>
          <a:prstGeom prst="rect">
            <a:avLst/>
          </a:prstGeom>
          <a:noFill/>
          <a:ln>
            <a:noFill/>
          </a:ln>
        </p:spPr>
        <p:txBody>
          <a:bodyPr wrap="none" lIns="91430" tIns="45715" rIns="91430" bIns="45715" rtlCol="0">
            <a:spAutoFit/>
          </a:bodyPr>
          <a:lstStyle/>
          <a:p>
            <a:pPr defTabSz="932305" fontAlgn="auto">
              <a:spcBef>
                <a:spcPts val="0"/>
              </a:spcBef>
              <a:spcAft>
                <a:spcPts val="0"/>
              </a:spcAft>
            </a:pPr>
            <a:r>
              <a:rPr lang="en-US" sz="1600" dirty="0">
                <a:solidFill>
                  <a:srgbClr val="5E5E5E"/>
                </a:solidFill>
                <a:latin typeface="Segoe UI"/>
                <a:ea typeface="+mn-ea"/>
                <a:cs typeface="+mn-cs"/>
              </a:rPr>
              <a:t>PowerPivot</a:t>
            </a:r>
            <a:r>
              <a:rPr lang="en-US" sz="1600" dirty="0">
                <a:solidFill>
                  <a:srgbClr val="505050"/>
                </a:solidFill>
                <a:latin typeface="Segoe UI"/>
                <a:ea typeface="+mn-ea"/>
                <a:cs typeface="+mn-cs"/>
              </a:rPr>
              <a:t> </a:t>
            </a:r>
            <a:r>
              <a:rPr lang="en-US" sz="1000" dirty="0">
                <a:solidFill>
                  <a:srgbClr val="ADADAD"/>
                </a:solidFill>
                <a:latin typeface="Segoe UI"/>
              </a:rPr>
              <a:t>●</a:t>
            </a:r>
            <a:r>
              <a:rPr lang="en-US" sz="1600" dirty="0">
                <a:solidFill>
                  <a:srgbClr val="505050"/>
                </a:solidFill>
                <a:latin typeface="Segoe UI"/>
                <a:ea typeface="+mn-ea"/>
                <a:cs typeface="+mn-cs"/>
              </a:rPr>
              <a:t> </a:t>
            </a:r>
            <a:r>
              <a:rPr lang="en-US" sz="1600" dirty="0">
                <a:solidFill>
                  <a:srgbClr val="5E5E5E"/>
                </a:solidFill>
                <a:latin typeface="Segoe UI"/>
                <a:ea typeface="+mn-ea"/>
                <a:cs typeface="+mn-cs"/>
              </a:rPr>
              <a:t>SharePoint Integration </a:t>
            </a:r>
            <a:r>
              <a:rPr lang="en-US" sz="1000" dirty="0">
                <a:solidFill>
                  <a:srgbClr val="ADADAD"/>
                </a:solidFill>
                <a:latin typeface="Segoe UI"/>
              </a:rPr>
              <a:t>●</a:t>
            </a:r>
            <a:r>
              <a:rPr lang="en-US" sz="1600" dirty="0">
                <a:solidFill>
                  <a:srgbClr val="505050"/>
                </a:solidFill>
                <a:latin typeface="Segoe UI"/>
                <a:ea typeface="+mn-ea"/>
                <a:cs typeface="+mn-cs"/>
              </a:rPr>
              <a:t> </a:t>
            </a:r>
            <a:r>
              <a:rPr lang="en-US" sz="1600" dirty="0">
                <a:solidFill>
                  <a:srgbClr val="5E5E5E"/>
                </a:solidFill>
                <a:latin typeface="Segoe UI"/>
                <a:ea typeface="+mn-ea"/>
                <a:cs typeface="+mn-cs"/>
              </a:rPr>
              <a:t>Master Data Services </a:t>
            </a:r>
          </a:p>
        </p:txBody>
      </p:sp>
      <p:sp>
        <p:nvSpPr>
          <p:cNvPr id="21" name="Rectangle 20"/>
          <p:cNvSpPr/>
          <p:nvPr>
            <p:custDataLst>
              <p:tags r:id="rId3"/>
            </p:custDataLst>
          </p:nvPr>
        </p:nvSpPr>
        <p:spPr bwMode="auto">
          <a:xfrm>
            <a:off x="104985" y="4765833"/>
            <a:ext cx="9891165" cy="593857"/>
          </a:xfrm>
          <a:prstGeom prst="rect">
            <a:avLst/>
          </a:prstGeom>
          <a:solidFill>
            <a:schemeClr val="bg1">
              <a:lumMod val="95000"/>
            </a:schemeClr>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4334" tIns="62167" rIns="124334" bIns="62167" numCol="1" rtlCol="0" anchor="t" anchorCtr="0" compatLnSpc="1">
            <a:prstTxWarp prst="textNoShape">
              <a:avLst/>
            </a:prstTxWarp>
            <a:noAutofit/>
          </a:bodyPr>
          <a:lstStyle/>
          <a:p>
            <a:pPr defTabSz="1243032">
              <a:lnSpc>
                <a:spcPct val="90000"/>
              </a:lnSpc>
              <a:spcBef>
                <a:spcPts val="857"/>
              </a:spcBef>
              <a:spcAft>
                <a:spcPts val="816"/>
              </a:spcAft>
              <a:buClr>
                <a:srgbClr val="B5D331"/>
              </a:buClr>
              <a:buSzPct val="120000"/>
            </a:pPr>
            <a:endParaRPr lang="en-US" sz="2200" dirty="0">
              <a:ln>
                <a:solidFill>
                  <a:srgbClr val="FFFFFF">
                    <a:alpha val="0"/>
                  </a:srgbClr>
                </a:solidFill>
              </a:ln>
              <a:solidFill>
                <a:srgbClr val="FFFFFF">
                  <a:alpha val="99000"/>
                </a:srgbClr>
              </a:solidFill>
              <a:latin typeface="Segoe UI Light"/>
              <a:cs typeface="Segoe UI" pitchFamily="34" charset="0"/>
            </a:endParaRPr>
          </a:p>
        </p:txBody>
      </p:sp>
      <p:sp>
        <p:nvSpPr>
          <p:cNvPr id="22" name="TextBox 59"/>
          <p:cNvSpPr txBox="1"/>
          <p:nvPr/>
        </p:nvSpPr>
        <p:spPr>
          <a:xfrm>
            <a:off x="8256990" y="4794443"/>
            <a:ext cx="1615758" cy="492443"/>
          </a:xfrm>
          <a:prstGeom prst="rect">
            <a:avLst/>
          </a:prstGeom>
          <a:noFill/>
          <a:ln>
            <a:noFill/>
          </a:ln>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fontAlgn="auto">
              <a:spcBef>
                <a:spcPts val="0"/>
              </a:spcBef>
              <a:spcAft>
                <a:spcPts val="0"/>
              </a:spcAft>
            </a:pPr>
            <a:r>
              <a:rPr lang="en-US" sz="1600" b="1" dirty="0">
                <a:solidFill>
                  <a:schemeClr val="accent5"/>
                </a:solidFill>
                <a:latin typeface="Segoe UI Semibold" panose="020B0702040204020203" pitchFamily="34" charset="0"/>
                <a:cs typeface="Segoe UI Semibold" panose="020B0702040204020203" pitchFamily="34" charset="0"/>
              </a:rPr>
              <a:t>SQL Server</a:t>
            </a:r>
          </a:p>
          <a:p>
            <a:pPr algn="r" fontAlgn="auto">
              <a:spcBef>
                <a:spcPts val="0"/>
              </a:spcBef>
              <a:spcAft>
                <a:spcPts val="0"/>
              </a:spcAft>
            </a:pPr>
            <a:r>
              <a:rPr lang="en-US" sz="1600" b="1" dirty="0">
                <a:solidFill>
                  <a:schemeClr val="accent5"/>
                </a:solidFill>
                <a:latin typeface="Segoe UI Semibold" panose="020B0702040204020203" pitchFamily="34" charset="0"/>
                <a:cs typeface="Segoe UI Semibold" panose="020B0702040204020203" pitchFamily="34" charset="0"/>
              </a:rPr>
              <a:t>2012</a:t>
            </a:r>
            <a:endParaRPr lang="en-US" sz="1600" dirty="0">
              <a:solidFill>
                <a:schemeClr val="accent5"/>
              </a:solidFill>
              <a:latin typeface="Segoe UI Semibold" panose="020B0702040204020203" pitchFamily="34" charset="0"/>
              <a:cs typeface="Segoe UI Semibold" panose="020B0702040204020203" pitchFamily="34" charset="0"/>
            </a:endParaRPr>
          </a:p>
        </p:txBody>
      </p:sp>
      <p:sp>
        <p:nvSpPr>
          <p:cNvPr id="26" name="TextBox 25"/>
          <p:cNvSpPr txBox="1"/>
          <p:nvPr/>
        </p:nvSpPr>
        <p:spPr>
          <a:xfrm>
            <a:off x="155357" y="4879274"/>
            <a:ext cx="8723715" cy="338544"/>
          </a:xfrm>
          <a:prstGeom prst="rect">
            <a:avLst/>
          </a:prstGeom>
          <a:noFill/>
          <a:ln>
            <a:noFill/>
          </a:ln>
        </p:spPr>
        <p:txBody>
          <a:bodyPr wrap="none" lIns="91430" tIns="45715" rIns="91430" bIns="45715" rtlCol="0">
            <a:spAutoFit/>
          </a:bodyPr>
          <a:lstStyle/>
          <a:p>
            <a:pPr defTabSz="932305" fontAlgn="auto">
              <a:spcBef>
                <a:spcPts val="0"/>
              </a:spcBef>
              <a:spcAft>
                <a:spcPts val="0"/>
              </a:spcAft>
            </a:pPr>
            <a:r>
              <a:rPr lang="en-US" sz="1600" dirty="0">
                <a:solidFill>
                  <a:srgbClr val="5E5E5E"/>
                </a:solidFill>
                <a:latin typeface="Segoe UI"/>
                <a:ea typeface="+mn-ea"/>
                <a:cs typeface="+mn-cs"/>
              </a:rPr>
              <a:t>AlwaysOn</a:t>
            </a:r>
            <a:r>
              <a:rPr lang="en-US" sz="1600" dirty="0">
                <a:solidFill>
                  <a:srgbClr val="505050"/>
                </a:solidFill>
                <a:latin typeface="Segoe UI"/>
                <a:ea typeface="+mn-ea"/>
                <a:cs typeface="+mn-cs"/>
              </a:rPr>
              <a:t> </a:t>
            </a:r>
            <a:r>
              <a:rPr lang="en-US" sz="1000" dirty="0">
                <a:solidFill>
                  <a:srgbClr val="ADADAD"/>
                </a:solidFill>
                <a:latin typeface="Segoe UI"/>
                <a:ea typeface="+mn-ea"/>
                <a:cs typeface="+mn-cs"/>
              </a:rPr>
              <a:t>●</a:t>
            </a:r>
            <a:r>
              <a:rPr lang="en-US" sz="1600" dirty="0">
                <a:solidFill>
                  <a:srgbClr val="505050"/>
                </a:solidFill>
                <a:latin typeface="Segoe UI"/>
                <a:ea typeface="+mn-ea"/>
                <a:cs typeface="+mn-cs"/>
              </a:rPr>
              <a:t> </a:t>
            </a:r>
            <a:r>
              <a:rPr lang="en-US" sz="1600" dirty="0">
                <a:solidFill>
                  <a:srgbClr val="5E5E5E"/>
                </a:solidFill>
                <a:latin typeface="Segoe UI"/>
                <a:ea typeface="+mn-ea"/>
                <a:cs typeface="+mn-cs"/>
              </a:rPr>
              <a:t>ColumnStore Index </a:t>
            </a:r>
            <a:r>
              <a:rPr lang="en-US" sz="1000" dirty="0">
                <a:solidFill>
                  <a:srgbClr val="ADADAD"/>
                </a:solidFill>
                <a:latin typeface="Segoe UI"/>
                <a:ea typeface="+mn-ea"/>
                <a:cs typeface="+mn-cs"/>
              </a:rPr>
              <a:t>●</a:t>
            </a:r>
            <a:r>
              <a:rPr lang="en-US" sz="1600" dirty="0">
                <a:solidFill>
                  <a:srgbClr val="505050"/>
                </a:solidFill>
                <a:latin typeface="Segoe UI"/>
                <a:ea typeface="+mn-ea"/>
                <a:cs typeface="+mn-cs"/>
              </a:rPr>
              <a:t> </a:t>
            </a:r>
            <a:r>
              <a:rPr lang="en-US" sz="1600" dirty="0">
                <a:solidFill>
                  <a:srgbClr val="5E5E5E"/>
                </a:solidFill>
                <a:latin typeface="Segoe UI"/>
                <a:ea typeface="+mn-ea"/>
                <a:cs typeface="+mn-cs"/>
              </a:rPr>
              <a:t>Data Quality Services </a:t>
            </a:r>
            <a:r>
              <a:rPr lang="en-US" sz="1000" dirty="0">
                <a:solidFill>
                  <a:srgbClr val="ADADAD"/>
                </a:solidFill>
                <a:latin typeface="Segoe UI"/>
                <a:ea typeface="+mn-ea"/>
                <a:cs typeface="+mn-cs"/>
              </a:rPr>
              <a:t>●</a:t>
            </a:r>
            <a:r>
              <a:rPr lang="en-US" sz="1600" dirty="0">
                <a:solidFill>
                  <a:srgbClr val="505050"/>
                </a:solidFill>
                <a:latin typeface="Segoe UI"/>
                <a:ea typeface="+mn-ea"/>
                <a:cs typeface="+mn-cs"/>
              </a:rPr>
              <a:t> </a:t>
            </a:r>
            <a:r>
              <a:rPr lang="en-US" sz="1600" dirty="0">
                <a:solidFill>
                  <a:srgbClr val="5E5E5E"/>
                </a:solidFill>
                <a:latin typeface="Segoe UI"/>
                <a:ea typeface="+mn-ea"/>
                <a:cs typeface="+mn-cs"/>
              </a:rPr>
              <a:t>Power View </a:t>
            </a:r>
            <a:r>
              <a:rPr lang="en-US" sz="1000" dirty="0">
                <a:solidFill>
                  <a:srgbClr val="ADADAD"/>
                </a:solidFill>
                <a:latin typeface="Segoe UI"/>
                <a:ea typeface="+mn-ea"/>
                <a:cs typeface="+mn-cs"/>
              </a:rPr>
              <a:t>●</a:t>
            </a:r>
            <a:r>
              <a:rPr lang="en-US" sz="1600" dirty="0">
                <a:solidFill>
                  <a:srgbClr val="505050"/>
                </a:solidFill>
                <a:latin typeface="Segoe UI"/>
                <a:ea typeface="+mn-ea"/>
                <a:cs typeface="+mn-cs"/>
              </a:rPr>
              <a:t> </a:t>
            </a:r>
            <a:r>
              <a:rPr lang="en-US" sz="1600" dirty="0">
                <a:solidFill>
                  <a:srgbClr val="5E5E5E"/>
                </a:solidFill>
                <a:latin typeface="Segoe UI"/>
                <a:ea typeface="+mn-ea"/>
                <a:cs typeface="+mn-cs"/>
              </a:rPr>
              <a:t>Cloud Connectivity</a:t>
            </a:r>
          </a:p>
        </p:txBody>
      </p:sp>
      <p:cxnSp>
        <p:nvCxnSpPr>
          <p:cNvPr id="27" name="Straight Connector 26"/>
          <p:cNvCxnSpPr/>
          <p:nvPr/>
        </p:nvCxnSpPr>
        <p:spPr>
          <a:xfrm flipV="1">
            <a:off x="1762466" y="1954310"/>
            <a:ext cx="0" cy="610349"/>
          </a:xfrm>
          <a:prstGeom prst="line">
            <a:avLst/>
          </a:prstGeom>
          <a:ln w="25400">
            <a:noFill/>
            <a:prstDash val="sysDot"/>
            <a:headEnd type="oval"/>
            <a:tailEnd type="non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158322" y="1934769"/>
            <a:ext cx="0" cy="616341"/>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5043609" y="1934769"/>
            <a:ext cx="0" cy="1326299"/>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flipV="1">
            <a:off x="6677882" y="1807769"/>
            <a:ext cx="3769" cy="2115477"/>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sp>
        <p:nvSpPr>
          <p:cNvPr id="9" name="Pentagon 8"/>
          <p:cNvSpPr/>
          <p:nvPr/>
        </p:nvSpPr>
        <p:spPr>
          <a:xfrm>
            <a:off x="6572652" y="1162050"/>
            <a:ext cx="1914712" cy="780394"/>
          </a:xfrm>
          <a:prstGeom prst="homePlate">
            <a:avLst/>
          </a:prstGeom>
          <a:solidFill>
            <a:schemeClr val="accent5"/>
          </a:solidFill>
          <a:ln w="9525" cap="flat" cmpd="sng" algn="ctr">
            <a:solidFill>
              <a:schemeClr val="bg1"/>
            </a:solidFill>
            <a:prstDash val="solid"/>
            <a:headEnd type="none" w="med" len="med"/>
            <a:tailEnd type="none" w="med" len="med"/>
          </a:ln>
          <a:effectLst/>
        </p:spPr>
        <p:txBody>
          <a:bodyPr lIns="149332" tIns="62162" rIns="149332" bIns="74664" anchor="ctr"/>
          <a:lstStyle/>
          <a:p>
            <a:pPr algn="r" defTabSz="1492909">
              <a:defRPr/>
            </a:pPr>
            <a:r>
              <a:rPr lang="en-US" sz="1600" kern="0" dirty="0">
                <a:gradFill>
                  <a:gsLst>
                    <a:gs pos="0">
                      <a:srgbClr val="FFFFFF"/>
                    </a:gs>
                    <a:gs pos="100000">
                      <a:srgbClr val="FFFFFF"/>
                    </a:gs>
                  </a:gsLst>
                  <a:lin ang="5400000" scaled="0"/>
                </a:gradFill>
                <a:latin typeface="+mn-lt"/>
                <a:ea typeface="+mn-ea"/>
                <a:cs typeface="+mn-cs"/>
              </a:rPr>
              <a:t>  Cloud-ready </a:t>
            </a:r>
          </a:p>
        </p:txBody>
      </p:sp>
      <p:sp>
        <p:nvSpPr>
          <p:cNvPr id="8" name="Pentagon 7"/>
          <p:cNvSpPr/>
          <p:nvPr/>
        </p:nvSpPr>
        <p:spPr>
          <a:xfrm>
            <a:off x="4812503" y="1162050"/>
            <a:ext cx="2139648" cy="780394"/>
          </a:xfrm>
          <a:prstGeom prst="homePlate">
            <a:avLst/>
          </a:prstGeom>
          <a:solidFill>
            <a:srgbClr val="BA1419"/>
          </a:solidFill>
          <a:ln w="9525" cap="flat" cmpd="sng" algn="ctr">
            <a:solidFill>
              <a:schemeClr val="bg1"/>
            </a:solidFill>
            <a:prstDash val="solid"/>
            <a:headEnd type="none" w="med" len="med"/>
            <a:tailEnd type="none" w="med" len="med"/>
          </a:ln>
          <a:effectLst/>
        </p:spPr>
        <p:txBody>
          <a:bodyPr lIns="274291" tIns="62162" rIns="149332" bIns="74664" anchor="ctr"/>
          <a:lstStyle/>
          <a:p>
            <a:pPr algn="r" defTabSz="1492909">
              <a:defRPr/>
            </a:pPr>
            <a:r>
              <a:rPr lang="en-US" sz="1600" kern="0" dirty="0">
                <a:gradFill>
                  <a:gsLst>
                    <a:gs pos="0">
                      <a:srgbClr val="FFFFFF"/>
                    </a:gs>
                    <a:gs pos="100000">
                      <a:srgbClr val="FFFFFF"/>
                    </a:gs>
                  </a:gsLst>
                  <a:lin ang="5400000" scaled="0"/>
                </a:gradFill>
                <a:latin typeface="+mn-lt"/>
                <a:ea typeface="+mn-ea"/>
                <a:cs typeface="+mn-cs"/>
              </a:rPr>
              <a:t>Self-service </a:t>
            </a:r>
            <a:br>
              <a:rPr lang="en-US" sz="1600" kern="0" dirty="0">
                <a:gradFill>
                  <a:gsLst>
                    <a:gs pos="0">
                      <a:srgbClr val="FFFFFF"/>
                    </a:gs>
                    <a:gs pos="100000">
                      <a:srgbClr val="FFFFFF"/>
                    </a:gs>
                  </a:gsLst>
                  <a:lin ang="5400000" scaled="0"/>
                </a:gradFill>
                <a:latin typeface="+mn-lt"/>
                <a:ea typeface="+mn-ea"/>
                <a:cs typeface="+mn-cs"/>
              </a:rPr>
            </a:br>
            <a:r>
              <a:rPr lang="en-US" sz="1600" kern="0" dirty="0">
                <a:gradFill>
                  <a:gsLst>
                    <a:gs pos="0">
                      <a:srgbClr val="FFFFFF"/>
                    </a:gs>
                    <a:gs pos="100000">
                      <a:srgbClr val="FFFFFF"/>
                    </a:gs>
                  </a:gsLst>
                  <a:lin ang="5400000" scaled="0"/>
                </a:gradFill>
                <a:latin typeface="+mn-lt"/>
                <a:ea typeface="+mn-ea"/>
                <a:cs typeface="+mn-cs"/>
              </a:rPr>
              <a:t>BI</a:t>
            </a:r>
          </a:p>
        </p:txBody>
      </p:sp>
      <p:sp>
        <p:nvSpPr>
          <p:cNvPr id="33" name="Rectangle 32"/>
          <p:cNvSpPr/>
          <p:nvPr>
            <p:custDataLst>
              <p:tags r:id="rId4"/>
            </p:custDataLst>
          </p:nvPr>
        </p:nvSpPr>
        <p:spPr bwMode="auto">
          <a:xfrm>
            <a:off x="104505" y="5455877"/>
            <a:ext cx="11368023" cy="593857"/>
          </a:xfrm>
          <a:prstGeom prst="rect">
            <a:avLst/>
          </a:prstGeom>
          <a:solidFill>
            <a:schemeClr val="bg1">
              <a:lumMod val="95000"/>
            </a:schemeClr>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4334" tIns="62167" rIns="124334" bIns="62167" numCol="1" rtlCol="0" anchor="t" anchorCtr="0" compatLnSpc="1">
            <a:prstTxWarp prst="textNoShape">
              <a:avLst/>
            </a:prstTxWarp>
            <a:noAutofit/>
          </a:bodyPr>
          <a:lstStyle/>
          <a:p>
            <a:pPr defTabSz="1243032">
              <a:lnSpc>
                <a:spcPct val="90000"/>
              </a:lnSpc>
              <a:spcBef>
                <a:spcPts val="857"/>
              </a:spcBef>
              <a:spcAft>
                <a:spcPts val="816"/>
              </a:spcAft>
              <a:buClr>
                <a:srgbClr val="B5D331"/>
              </a:buClr>
              <a:buSzPct val="120000"/>
            </a:pPr>
            <a:endParaRPr lang="en-US" sz="2200" dirty="0">
              <a:ln>
                <a:solidFill>
                  <a:srgbClr val="FFFFFF">
                    <a:alpha val="0"/>
                  </a:srgbClr>
                </a:solidFill>
              </a:ln>
              <a:solidFill>
                <a:srgbClr val="FFFFFF">
                  <a:alpha val="99000"/>
                </a:srgbClr>
              </a:solidFill>
              <a:latin typeface="Segoe UI Light"/>
              <a:cs typeface="Segoe UI" pitchFamily="34" charset="0"/>
            </a:endParaRPr>
          </a:p>
        </p:txBody>
      </p:sp>
      <p:sp>
        <p:nvSpPr>
          <p:cNvPr id="35" name="TextBox 59"/>
          <p:cNvSpPr txBox="1"/>
          <p:nvPr/>
        </p:nvSpPr>
        <p:spPr>
          <a:xfrm>
            <a:off x="9758528" y="5496780"/>
            <a:ext cx="1615758" cy="492443"/>
          </a:xfrm>
          <a:prstGeom prst="rect">
            <a:avLst/>
          </a:prstGeom>
          <a:noFill/>
          <a:ln>
            <a:noFill/>
          </a:ln>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fontAlgn="auto">
              <a:spcBef>
                <a:spcPts val="0"/>
              </a:spcBef>
              <a:spcAft>
                <a:spcPts val="0"/>
              </a:spcAft>
            </a:pPr>
            <a:r>
              <a:rPr lang="en-US" sz="1600" b="1" dirty="0">
                <a:solidFill>
                  <a:schemeClr val="accent5"/>
                </a:solidFill>
                <a:latin typeface="Segoe UI Semibold" panose="020B0702040204020203" pitchFamily="34" charset="0"/>
                <a:cs typeface="Segoe UI Semibold" panose="020B0702040204020203" pitchFamily="34" charset="0"/>
              </a:rPr>
              <a:t>SQL Server</a:t>
            </a:r>
          </a:p>
          <a:p>
            <a:pPr algn="r" fontAlgn="auto">
              <a:spcBef>
                <a:spcPts val="0"/>
              </a:spcBef>
              <a:spcAft>
                <a:spcPts val="0"/>
              </a:spcAft>
            </a:pPr>
            <a:r>
              <a:rPr lang="en-US" sz="1600" b="1" dirty="0">
                <a:solidFill>
                  <a:schemeClr val="accent5"/>
                </a:solidFill>
                <a:latin typeface="Segoe UI Semibold" panose="020B0702040204020203" pitchFamily="34" charset="0"/>
                <a:cs typeface="Segoe UI Semibold" panose="020B0702040204020203" pitchFamily="34" charset="0"/>
              </a:rPr>
              <a:t>2014</a:t>
            </a:r>
            <a:endParaRPr lang="en-US" sz="1600" dirty="0">
              <a:solidFill>
                <a:schemeClr val="accent5"/>
              </a:solidFill>
              <a:latin typeface="Segoe UI Semibold" panose="020B0702040204020203" pitchFamily="34" charset="0"/>
              <a:cs typeface="Segoe UI Semibold" panose="020B0702040204020203" pitchFamily="34" charset="0"/>
            </a:endParaRPr>
          </a:p>
        </p:txBody>
      </p:sp>
      <p:sp>
        <p:nvSpPr>
          <p:cNvPr id="39" name="TextBox 38"/>
          <p:cNvSpPr txBox="1"/>
          <p:nvPr/>
        </p:nvSpPr>
        <p:spPr>
          <a:xfrm>
            <a:off x="138110" y="5549790"/>
            <a:ext cx="9988805" cy="338544"/>
          </a:xfrm>
          <a:prstGeom prst="rect">
            <a:avLst/>
          </a:prstGeom>
          <a:noFill/>
          <a:ln>
            <a:noFill/>
          </a:ln>
        </p:spPr>
        <p:txBody>
          <a:bodyPr wrap="none" lIns="91430" tIns="45715" rIns="91430" bIns="45715" rtlCol="0">
            <a:spAutoFit/>
          </a:bodyPr>
          <a:lstStyle/>
          <a:p>
            <a:pPr defTabSz="932305" fontAlgn="auto">
              <a:spcBef>
                <a:spcPts val="0"/>
              </a:spcBef>
              <a:spcAft>
                <a:spcPts val="0"/>
              </a:spcAft>
            </a:pPr>
            <a:r>
              <a:rPr lang="en-US" sz="1600" dirty="0">
                <a:solidFill>
                  <a:srgbClr val="5E5E5E"/>
                </a:solidFill>
                <a:latin typeface="Segoe UI"/>
                <a:ea typeface="+mn-ea"/>
                <a:cs typeface="+mn-cs"/>
              </a:rPr>
              <a:t>In-Memory Across Workloads </a:t>
            </a:r>
            <a:r>
              <a:rPr lang="en-US" sz="1000" dirty="0">
                <a:solidFill>
                  <a:srgbClr val="ADADAD"/>
                </a:solidFill>
                <a:latin typeface="Segoe UI"/>
                <a:ea typeface="+mn-ea"/>
                <a:cs typeface="+mn-cs"/>
              </a:rPr>
              <a:t>●</a:t>
            </a:r>
            <a:r>
              <a:rPr lang="en-US" sz="1600" dirty="0">
                <a:solidFill>
                  <a:srgbClr val="505050"/>
                </a:solidFill>
                <a:latin typeface="Segoe UI"/>
                <a:ea typeface="+mn-ea"/>
                <a:cs typeface="+mn-cs"/>
              </a:rPr>
              <a:t> </a:t>
            </a:r>
            <a:r>
              <a:rPr lang="en-US" sz="1600" dirty="0">
                <a:solidFill>
                  <a:srgbClr val="5E5E5E"/>
                </a:solidFill>
                <a:latin typeface="Segoe UI"/>
                <a:ea typeface="+mn-ea"/>
                <a:cs typeface="+mn-cs"/>
              </a:rPr>
              <a:t>Performance &amp; Scale </a:t>
            </a:r>
            <a:r>
              <a:rPr lang="en-US" sz="1000" dirty="0">
                <a:solidFill>
                  <a:srgbClr val="ADADAD"/>
                </a:solidFill>
                <a:latin typeface="Segoe UI"/>
                <a:ea typeface="+mn-ea"/>
                <a:cs typeface="+mn-cs"/>
              </a:rPr>
              <a:t>●</a:t>
            </a:r>
            <a:r>
              <a:rPr lang="en-US" sz="1600" dirty="0">
                <a:solidFill>
                  <a:srgbClr val="505050"/>
                </a:solidFill>
                <a:latin typeface="Segoe UI"/>
                <a:ea typeface="+mn-ea"/>
                <a:cs typeface="+mn-cs"/>
              </a:rPr>
              <a:t> Hybrid Cloud Optimized </a:t>
            </a:r>
            <a:r>
              <a:rPr lang="en-US" sz="1000" dirty="0">
                <a:solidFill>
                  <a:srgbClr val="ADADAD"/>
                </a:solidFill>
                <a:latin typeface="Segoe UI"/>
                <a:ea typeface="+mn-ea"/>
                <a:cs typeface="+mn-cs"/>
              </a:rPr>
              <a:t>●</a:t>
            </a:r>
            <a:r>
              <a:rPr lang="en-US" sz="1600" dirty="0">
                <a:solidFill>
                  <a:srgbClr val="505050"/>
                </a:solidFill>
                <a:latin typeface="Segoe UI"/>
                <a:ea typeface="+mn-ea"/>
                <a:cs typeface="+mn-cs"/>
              </a:rPr>
              <a:t> </a:t>
            </a:r>
            <a:r>
              <a:rPr lang="en-US" sz="1600" dirty="0" err="1">
                <a:solidFill>
                  <a:srgbClr val="5E5E5E"/>
                </a:solidFill>
                <a:latin typeface="Segoe UI"/>
                <a:ea typeface="+mn-ea"/>
                <a:cs typeface="+mn-cs"/>
              </a:rPr>
              <a:t>HDInsight</a:t>
            </a:r>
            <a:r>
              <a:rPr lang="en-US" sz="1600" dirty="0">
                <a:solidFill>
                  <a:srgbClr val="505050"/>
                </a:solidFill>
                <a:latin typeface="Segoe UI"/>
                <a:ea typeface="+mn-ea"/>
                <a:cs typeface="+mn-cs"/>
              </a:rPr>
              <a:t>  </a:t>
            </a:r>
            <a:r>
              <a:rPr lang="en-US" sz="1000" dirty="0">
                <a:solidFill>
                  <a:srgbClr val="ADADAD"/>
                </a:solidFill>
                <a:latin typeface="Segoe UI"/>
                <a:ea typeface="+mn-ea"/>
                <a:cs typeface="+mn-cs"/>
              </a:rPr>
              <a:t>●</a:t>
            </a:r>
            <a:r>
              <a:rPr lang="en-US" sz="1600" dirty="0">
                <a:solidFill>
                  <a:srgbClr val="505050"/>
                </a:solidFill>
                <a:latin typeface="Segoe UI"/>
                <a:ea typeface="+mn-ea"/>
                <a:cs typeface="+mn-cs"/>
              </a:rPr>
              <a:t> </a:t>
            </a:r>
            <a:r>
              <a:rPr lang="en-US" sz="1600" dirty="0">
                <a:solidFill>
                  <a:srgbClr val="5E5E5E"/>
                </a:solidFill>
                <a:latin typeface="Segoe UI"/>
                <a:ea typeface="+mn-ea"/>
                <a:cs typeface="+mn-cs"/>
              </a:rPr>
              <a:t>Cloud BI </a:t>
            </a:r>
          </a:p>
        </p:txBody>
      </p:sp>
      <p:sp>
        <p:nvSpPr>
          <p:cNvPr id="7" name="Pentagon 6"/>
          <p:cNvSpPr/>
          <p:nvPr/>
        </p:nvSpPr>
        <p:spPr>
          <a:xfrm>
            <a:off x="3014727" y="1162050"/>
            <a:ext cx="2323242" cy="780394"/>
          </a:xfrm>
          <a:prstGeom prst="homePlate">
            <a:avLst/>
          </a:prstGeom>
          <a:solidFill>
            <a:schemeClr val="accent5"/>
          </a:solidFill>
          <a:ln w="9525" cap="flat" cmpd="sng" algn="ctr">
            <a:solidFill>
              <a:schemeClr val="bg1"/>
            </a:solidFill>
            <a:prstDash val="solid"/>
            <a:headEnd type="none" w="med" len="med"/>
            <a:tailEnd type="none" w="med" len="med"/>
          </a:ln>
          <a:effectLst/>
        </p:spPr>
        <p:txBody>
          <a:bodyPr lIns="149332" tIns="62162" rIns="149332" bIns="74664" anchor="ctr"/>
          <a:lstStyle/>
          <a:p>
            <a:pPr algn="r" defTabSz="1492909">
              <a:defRPr/>
            </a:pPr>
            <a:r>
              <a:rPr lang="en-US" sz="1600" kern="0" dirty="0">
                <a:gradFill>
                  <a:gsLst>
                    <a:gs pos="0">
                      <a:srgbClr val="FFFFFF"/>
                    </a:gs>
                    <a:gs pos="100000">
                      <a:srgbClr val="FFFFFF"/>
                    </a:gs>
                  </a:gsLst>
                  <a:lin ang="5400000" scaled="0"/>
                </a:gradFill>
                <a:latin typeface="+mn-lt"/>
                <a:ea typeface="+mn-ea"/>
                <a:cs typeface="+mn-cs"/>
              </a:rPr>
              <a:t>Performance and productivity</a:t>
            </a:r>
          </a:p>
        </p:txBody>
      </p:sp>
      <p:sp>
        <p:nvSpPr>
          <p:cNvPr id="6" name="Pentagon 5"/>
          <p:cNvSpPr/>
          <p:nvPr/>
        </p:nvSpPr>
        <p:spPr>
          <a:xfrm>
            <a:off x="1576710" y="1162050"/>
            <a:ext cx="1865420" cy="780394"/>
          </a:xfrm>
          <a:prstGeom prst="homePlate">
            <a:avLst/>
          </a:prstGeom>
          <a:solidFill>
            <a:srgbClr val="BA1419"/>
          </a:solidFill>
          <a:ln w="9525" cap="flat" cmpd="sng" algn="ctr">
            <a:solidFill>
              <a:schemeClr val="bg1"/>
            </a:solidFill>
            <a:prstDash val="solid"/>
            <a:headEnd type="none" w="med" len="med"/>
            <a:tailEnd type="none" w="med" len="med"/>
          </a:ln>
          <a:effectLst/>
        </p:spPr>
        <p:txBody>
          <a:bodyPr lIns="149332" tIns="62162" rIns="149332" bIns="74664" anchor="ctr"/>
          <a:lstStyle/>
          <a:p>
            <a:pPr algn="r" defTabSz="1492909">
              <a:defRPr/>
            </a:pPr>
            <a:r>
              <a:rPr lang="en-US" sz="1600" kern="0" dirty="0">
                <a:gradFill>
                  <a:gsLst>
                    <a:gs pos="0">
                      <a:srgbClr val="FFFFFF"/>
                    </a:gs>
                    <a:gs pos="100000">
                      <a:srgbClr val="FFFFFF"/>
                    </a:gs>
                  </a:gsLst>
                  <a:lin ang="5400000" scaled="0"/>
                </a:gradFill>
                <a:latin typeface="+mn-lt"/>
                <a:ea typeface="+mn-ea"/>
                <a:cs typeface="Segoe UI Semibold" panose="020B0702040204020203" pitchFamily="34" charset="0"/>
              </a:rPr>
              <a:t>Mission </a:t>
            </a:r>
          </a:p>
          <a:p>
            <a:pPr algn="r" defTabSz="1492909">
              <a:defRPr/>
            </a:pPr>
            <a:r>
              <a:rPr lang="en-US" sz="1600" kern="0" dirty="0">
                <a:gradFill>
                  <a:gsLst>
                    <a:gs pos="0">
                      <a:srgbClr val="FFFFFF"/>
                    </a:gs>
                    <a:gs pos="100000">
                      <a:srgbClr val="FFFFFF"/>
                    </a:gs>
                  </a:gsLst>
                  <a:lin ang="5400000" scaled="0"/>
                </a:gradFill>
                <a:latin typeface="+mn-lt"/>
                <a:ea typeface="+mn-ea"/>
                <a:cs typeface="Segoe UI Semibold" panose="020B0702040204020203" pitchFamily="34" charset="0"/>
              </a:rPr>
              <a:t>critical</a:t>
            </a:r>
          </a:p>
        </p:txBody>
      </p:sp>
      <p:sp>
        <p:nvSpPr>
          <p:cNvPr id="5" name="Pentagon 4"/>
          <p:cNvSpPr/>
          <p:nvPr/>
        </p:nvSpPr>
        <p:spPr>
          <a:xfrm>
            <a:off x="104505" y="1162050"/>
            <a:ext cx="1865420" cy="780394"/>
          </a:xfrm>
          <a:prstGeom prst="homePlate">
            <a:avLst/>
          </a:prstGeom>
          <a:solidFill>
            <a:schemeClr val="accent5"/>
          </a:solidFill>
          <a:ln w="9525" cap="flat" cmpd="sng" algn="ctr">
            <a:solidFill>
              <a:schemeClr val="bg1"/>
            </a:solidFill>
            <a:prstDash val="solid"/>
            <a:headEnd type="none" w="med" len="med"/>
            <a:tailEnd type="none" w="med" len="med"/>
          </a:ln>
          <a:effectLst/>
        </p:spPr>
        <p:txBody>
          <a:bodyPr lIns="149332" tIns="62162" rIns="149332" bIns="74664" anchor="ctr"/>
          <a:lstStyle/>
          <a:p>
            <a:pPr algn="r" defTabSz="1492909">
              <a:defRPr/>
            </a:pPr>
            <a:r>
              <a:rPr lang="en-US" sz="1600" kern="0" dirty="0">
                <a:gradFill>
                  <a:gsLst>
                    <a:gs pos="0">
                      <a:srgbClr val="FFFFFF"/>
                    </a:gs>
                    <a:gs pos="100000">
                      <a:srgbClr val="FFFFFF"/>
                    </a:gs>
                  </a:gsLst>
                  <a:lin ang="5400000" scaled="0"/>
                </a:gradFill>
                <a:latin typeface="+mn-lt"/>
                <a:ea typeface="+mn-ea"/>
                <a:cs typeface="Segoe UI Semibold" panose="020B0702040204020203" pitchFamily="34" charset="0"/>
              </a:rPr>
              <a:t>Modern DB platform</a:t>
            </a:r>
          </a:p>
        </p:txBody>
      </p:sp>
      <p:grpSp>
        <p:nvGrpSpPr>
          <p:cNvPr id="16" name="Group 15"/>
          <p:cNvGrpSpPr/>
          <p:nvPr/>
        </p:nvGrpSpPr>
        <p:grpSpPr>
          <a:xfrm>
            <a:off x="104986" y="2695018"/>
            <a:ext cx="4686314" cy="593857"/>
            <a:chOff x="104986" y="2684650"/>
            <a:chExt cx="4686314" cy="593857"/>
          </a:xfrm>
        </p:grpSpPr>
        <p:sp>
          <p:nvSpPr>
            <p:cNvPr id="15" name="Rectangle 14"/>
            <p:cNvSpPr/>
            <p:nvPr>
              <p:custDataLst>
                <p:tags r:id="rId6"/>
              </p:custDataLst>
            </p:nvPr>
          </p:nvSpPr>
          <p:spPr bwMode="auto">
            <a:xfrm>
              <a:off x="104986" y="2684650"/>
              <a:ext cx="4686314" cy="593857"/>
            </a:xfrm>
            <a:prstGeom prst="rect">
              <a:avLst/>
            </a:prstGeom>
            <a:solidFill>
              <a:schemeClr val="bg1">
                <a:lumMod val="95000"/>
              </a:schemeClr>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4334" tIns="62167" rIns="124334" bIns="62167" numCol="1" rtlCol="0" anchor="t" anchorCtr="0" compatLnSpc="1">
              <a:prstTxWarp prst="textNoShape">
                <a:avLst/>
              </a:prstTxWarp>
              <a:noAutofit/>
            </a:bodyPr>
            <a:lstStyle/>
            <a:p>
              <a:pPr defTabSz="1243032">
                <a:lnSpc>
                  <a:spcPct val="90000"/>
                </a:lnSpc>
                <a:spcBef>
                  <a:spcPts val="857"/>
                </a:spcBef>
                <a:spcAft>
                  <a:spcPts val="816"/>
                </a:spcAft>
                <a:buClr>
                  <a:srgbClr val="B5D331"/>
                </a:buClr>
                <a:buSzPct val="120000"/>
              </a:pPr>
              <a:endParaRPr lang="en-US" sz="2200" dirty="0">
                <a:ln>
                  <a:solidFill>
                    <a:srgbClr val="FFFFFF">
                      <a:alpha val="0"/>
                    </a:srgbClr>
                  </a:solidFill>
                </a:ln>
                <a:solidFill>
                  <a:srgbClr val="FFFFFF">
                    <a:alpha val="99000"/>
                  </a:srgbClr>
                </a:solidFill>
                <a:latin typeface="Segoe UI Light"/>
                <a:cs typeface="Segoe UI" pitchFamily="34" charset="0"/>
              </a:endParaRPr>
            </a:p>
          </p:txBody>
        </p:sp>
        <p:sp>
          <p:nvSpPr>
            <p:cNvPr id="23" name="TextBox 22"/>
            <p:cNvSpPr txBox="1"/>
            <p:nvPr/>
          </p:nvSpPr>
          <p:spPr>
            <a:xfrm>
              <a:off x="155358" y="2837624"/>
              <a:ext cx="3192200" cy="338544"/>
            </a:xfrm>
            <a:prstGeom prst="rect">
              <a:avLst/>
            </a:prstGeom>
            <a:noFill/>
            <a:ln>
              <a:noFill/>
            </a:ln>
          </p:spPr>
          <p:txBody>
            <a:bodyPr wrap="none" lIns="91430" tIns="45715" rIns="91430" bIns="45715" rtlCol="0">
              <a:spAutoFit/>
            </a:bodyPr>
            <a:lstStyle/>
            <a:p>
              <a:pPr defTabSz="932305" fontAlgn="auto">
                <a:spcBef>
                  <a:spcPts val="0"/>
                </a:spcBef>
                <a:spcAft>
                  <a:spcPts val="0"/>
                </a:spcAft>
              </a:pPr>
              <a:r>
                <a:rPr lang="en-US" sz="1600" dirty="0">
                  <a:solidFill>
                    <a:srgbClr val="5E5E5E"/>
                  </a:solidFill>
                  <a:latin typeface="Segoe UI"/>
                  <a:ea typeface="+mn-ea"/>
                  <a:cs typeface="+mn-cs"/>
                </a:rPr>
                <a:t>Management Studio </a:t>
              </a:r>
              <a:r>
                <a:rPr lang="en-US" sz="1000" dirty="0">
                  <a:solidFill>
                    <a:srgbClr val="ADADAD"/>
                  </a:solidFill>
                  <a:latin typeface="Segoe UI"/>
                </a:rPr>
                <a:t>●</a:t>
              </a:r>
              <a:r>
                <a:rPr lang="en-US" sz="1600" dirty="0">
                  <a:solidFill>
                    <a:srgbClr val="505050"/>
                  </a:solidFill>
                  <a:latin typeface="Segoe UI"/>
                  <a:ea typeface="+mn-ea"/>
                  <a:cs typeface="+mn-cs"/>
                </a:rPr>
                <a:t> </a:t>
              </a:r>
              <a:r>
                <a:rPr lang="en-US" sz="1600" dirty="0">
                  <a:solidFill>
                    <a:srgbClr val="5E5E5E"/>
                  </a:solidFill>
                  <a:latin typeface="Segoe UI"/>
                  <a:ea typeface="+mn-ea"/>
                  <a:cs typeface="+mn-cs"/>
                </a:rPr>
                <a:t>Mirroring</a:t>
              </a:r>
            </a:p>
          </p:txBody>
        </p:sp>
        <p:sp>
          <p:nvSpPr>
            <p:cNvPr id="41" name="TextBox 59"/>
            <p:cNvSpPr txBox="1"/>
            <p:nvPr/>
          </p:nvSpPr>
          <p:spPr>
            <a:xfrm>
              <a:off x="3093473" y="2730793"/>
              <a:ext cx="1561257" cy="492443"/>
            </a:xfrm>
            <a:prstGeom prst="rect">
              <a:avLst/>
            </a:prstGeom>
            <a:noFill/>
            <a:ln>
              <a:noFill/>
            </a:ln>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fontAlgn="auto">
                <a:spcBef>
                  <a:spcPts val="0"/>
                </a:spcBef>
                <a:spcAft>
                  <a:spcPts val="0"/>
                </a:spcAft>
              </a:pPr>
              <a:r>
                <a:rPr lang="en-US" sz="1600" b="1" dirty="0">
                  <a:solidFill>
                    <a:schemeClr val="accent5"/>
                  </a:solidFill>
                  <a:latin typeface="Segoe UI Semibold" panose="020B0702040204020203" pitchFamily="34" charset="0"/>
                  <a:cs typeface="Segoe UI Semibold" panose="020B0702040204020203" pitchFamily="34" charset="0"/>
                </a:rPr>
                <a:t>SQL Server</a:t>
              </a:r>
            </a:p>
            <a:p>
              <a:pPr algn="r" fontAlgn="auto">
                <a:spcBef>
                  <a:spcPts val="0"/>
                </a:spcBef>
                <a:spcAft>
                  <a:spcPts val="0"/>
                </a:spcAft>
              </a:pPr>
              <a:r>
                <a:rPr lang="en-US" sz="1600" b="1" dirty="0">
                  <a:solidFill>
                    <a:schemeClr val="accent5"/>
                  </a:solidFill>
                  <a:latin typeface="Segoe UI Semibold" panose="020B0702040204020203" pitchFamily="34" charset="0"/>
                  <a:cs typeface="Segoe UI Semibold" panose="020B0702040204020203" pitchFamily="34" charset="0"/>
                </a:rPr>
                <a:t>2005</a:t>
              </a:r>
              <a:endParaRPr lang="en-US" sz="1600" dirty="0">
                <a:solidFill>
                  <a:schemeClr val="accent5"/>
                </a:solidFill>
                <a:latin typeface="Segoe UI Semibold" panose="020B0702040204020203" pitchFamily="34" charset="0"/>
                <a:cs typeface="Segoe UI Semibold" panose="020B0702040204020203" pitchFamily="34" charset="0"/>
              </a:endParaRPr>
            </a:p>
          </p:txBody>
        </p:sp>
      </p:grpSp>
      <p:grpSp>
        <p:nvGrpSpPr>
          <p:cNvPr id="10" name="Group 9"/>
          <p:cNvGrpSpPr/>
          <p:nvPr/>
        </p:nvGrpSpPr>
        <p:grpSpPr>
          <a:xfrm>
            <a:off x="104505" y="6148929"/>
            <a:ext cx="12249492" cy="608367"/>
            <a:chOff x="104505" y="6161441"/>
            <a:chExt cx="12249492" cy="608367"/>
          </a:xfrm>
        </p:grpSpPr>
        <p:sp>
          <p:nvSpPr>
            <p:cNvPr id="42" name="Rectangle 41"/>
            <p:cNvSpPr/>
            <p:nvPr>
              <p:custDataLst>
                <p:tags r:id="rId5"/>
              </p:custDataLst>
            </p:nvPr>
          </p:nvSpPr>
          <p:spPr bwMode="auto">
            <a:xfrm>
              <a:off x="104505" y="6161441"/>
              <a:ext cx="12249492" cy="593857"/>
            </a:xfrm>
            <a:prstGeom prst="rect">
              <a:avLst/>
            </a:prstGeom>
            <a:solidFill>
              <a:schemeClr val="bg1">
                <a:lumMod val="95000"/>
              </a:schemeClr>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4334" tIns="62167" rIns="124334" bIns="62167" numCol="1" rtlCol="0" anchor="t" anchorCtr="0" compatLnSpc="1">
              <a:prstTxWarp prst="textNoShape">
                <a:avLst/>
              </a:prstTxWarp>
              <a:noAutofit/>
            </a:bodyPr>
            <a:lstStyle/>
            <a:p>
              <a:pPr defTabSz="1243032">
                <a:lnSpc>
                  <a:spcPct val="90000"/>
                </a:lnSpc>
                <a:spcBef>
                  <a:spcPts val="857"/>
                </a:spcBef>
                <a:spcAft>
                  <a:spcPts val="816"/>
                </a:spcAft>
                <a:buClr>
                  <a:srgbClr val="B5D331"/>
                </a:buClr>
                <a:buSzPct val="120000"/>
              </a:pPr>
              <a:endParaRPr lang="en-US" sz="2200" dirty="0">
                <a:ln>
                  <a:solidFill>
                    <a:srgbClr val="FFFFFF">
                      <a:alpha val="0"/>
                    </a:srgbClr>
                  </a:solidFill>
                </a:ln>
                <a:solidFill>
                  <a:srgbClr val="FFFFFF">
                    <a:alpha val="99000"/>
                  </a:srgbClr>
                </a:solidFill>
                <a:latin typeface="Segoe UI Light"/>
                <a:cs typeface="Segoe UI" pitchFamily="34" charset="0"/>
              </a:endParaRPr>
            </a:p>
          </p:txBody>
        </p:sp>
        <p:sp>
          <p:nvSpPr>
            <p:cNvPr id="43" name="TextBox 59"/>
            <p:cNvSpPr txBox="1"/>
            <p:nvPr/>
          </p:nvSpPr>
          <p:spPr>
            <a:xfrm>
              <a:off x="10625673" y="6191607"/>
              <a:ext cx="1615758" cy="492443"/>
            </a:xfrm>
            <a:prstGeom prst="rect">
              <a:avLst/>
            </a:prstGeom>
            <a:noFill/>
            <a:ln>
              <a:noFill/>
            </a:ln>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fontAlgn="auto">
                <a:spcBef>
                  <a:spcPts val="0"/>
                </a:spcBef>
                <a:spcAft>
                  <a:spcPts val="0"/>
                </a:spcAft>
              </a:pPr>
              <a:r>
                <a:rPr lang="en-US" sz="1600" b="1" dirty="0">
                  <a:solidFill>
                    <a:schemeClr val="accent5"/>
                  </a:solidFill>
                  <a:latin typeface="Segoe UI Semibold" panose="020B0702040204020203" pitchFamily="34" charset="0"/>
                  <a:cs typeface="Segoe UI Semibold" panose="020B0702040204020203" pitchFamily="34" charset="0"/>
                </a:rPr>
                <a:t>SQL Server</a:t>
              </a:r>
            </a:p>
            <a:p>
              <a:pPr algn="r" fontAlgn="auto">
                <a:spcBef>
                  <a:spcPts val="0"/>
                </a:spcBef>
                <a:spcAft>
                  <a:spcPts val="0"/>
                </a:spcAft>
              </a:pPr>
              <a:r>
                <a:rPr lang="en-US" sz="1600" b="1" dirty="0">
                  <a:solidFill>
                    <a:schemeClr val="accent5"/>
                  </a:solidFill>
                  <a:latin typeface="Segoe UI Semibold" panose="020B0702040204020203" pitchFamily="34" charset="0"/>
                  <a:cs typeface="Segoe UI Semibold" panose="020B0702040204020203" pitchFamily="34" charset="0"/>
                </a:rPr>
                <a:t>2016</a:t>
              </a:r>
              <a:endParaRPr lang="en-US" sz="1600" dirty="0">
                <a:solidFill>
                  <a:schemeClr val="accent5"/>
                </a:solidFill>
                <a:latin typeface="Segoe UI Semibold" panose="020B0702040204020203" pitchFamily="34" charset="0"/>
                <a:cs typeface="Segoe UI Semibold" panose="020B0702040204020203" pitchFamily="34" charset="0"/>
              </a:endParaRPr>
            </a:p>
          </p:txBody>
        </p:sp>
        <p:sp>
          <p:nvSpPr>
            <p:cNvPr id="44" name="TextBox 43"/>
            <p:cNvSpPr txBox="1"/>
            <p:nvPr/>
          </p:nvSpPr>
          <p:spPr>
            <a:xfrm>
              <a:off x="138109" y="6185043"/>
              <a:ext cx="11236177" cy="584765"/>
            </a:xfrm>
            <a:prstGeom prst="rect">
              <a:avLst/>
            </a:prstGeom>
            <a:noFill/>
            <a:ln>
              <a:noFill/>
            </a:ln>
          </p:spPr>
          <p:txBody>
            <a:bodyPr wrap="square" lIns="91430" tIns="45715" rIns="91430" bIns="45715" rtlCol="0">
              <a:spAutoFit/>
            </a:bodyPr>
            <a:lstStyle/>
            <a:p>
              <a:pPr defTabSz="932305" fontAlgn="auto">
                <a:spcBef>
                  <a:spcPts val="0"/>
                </a:spcBef>
                <a:spcAft>
                  <a:spcPts val="0"/>
                </a:spcAft>
              </a:pPr>
              <a:r>
                <a:rPr lang="en-US" sz="1600" dirty="0">
                  <a:solidFill>
                    <a:srgbClr val="5E5E5E"/>
                  </a:solidFill>
                  <a:latin typeface="Segoe UI"/>
                  <a:ea typeface="+mn-ea"/>
                  <a:cs typeface="+mn-cs"/>
                </a:rPr>
                <a:t>Enhanced Always On </a:t>
              </a:r>
              <a:r>
                <a:rPr lang="en-US" sz="1000" dirty="0">
                  <a:solidFill>
                    <a:srgbClr val="ADADAD"/>
                  </a:solidFill>
                  <a:latin typeface="Segoe UI"/>
                  <a:ea typeface="+mn-ea"/>
                  <a:cs typeface="+mn-cs"/>
                </a:rPr>
                <a:t>●</a:t>
              </a:r>
              <a:r>
                <a:rPr lang="en-US" sz="1100" dirty="0">
                  <a:solidFill>
                    <a:srgbClr val="ADADAD"/>
                  </a:solidFill>
                  <a:latin typeface="Segoe UI"/>
                  <a:ea typeface="+mn-ea"/>
                  <a:cs typeface="+mn-cs"/>
                </a:rPr>
                <a:t> </a:t>
              </a:r>
              <a:r>
                <a:rPr lang="en-US" sz="1600" dirty="0">
                  <a:solidFill>
                    <a:srgbClr val="5E5E5E"/>
                  </a:solidFill>
                  <a:latin typeface="Segoe UI"/>
                  <a:ea typeface="+mn-ea"/>
                  <a:cs typeface="+mn-cs"/>
                </a:rPr>
                <a:t>In-Memory</a:t>
              </a:r>
              <a:r>
                <a:rPr lang="en-US" sz="1600" dirty="0">
                  <a:solidFill>
                    <a:srgbClr val="505050"/>
                  </a:solidFill>
                  <a:latin typeface="Segoe UI"/>
                  <a:ea typeface="+mn-ea"/>
                  <a:cs typeface="+mn-cs"/>
                </a:rPr>
                <a:t> OLTP </a:t>
              </a:r>
              <a:r>
                <a:rPr lang="en-US" sz="1000" dirty="0">
                  <a:solidFill>
                    <a:srgbClr val="ADADAD"/>
                  </a:solidFill>
                  <a:latin typeface="Segoe UI"/>
                  <a:ea typeface="+mn-ea"/>
                  <a:cs typeface="+mn-cs"/>
                </a:rPr>
                <a:t>●</a:t>
              </a:r>
              <a:r>
                <a:rPr lang="en-US" sz="1600" dirty="0">
                  <a:solidFill>
                    <a:srgbClr val="505050"/>
                  </a:solidFill>
                  <a:latin typeface="Segoe UI"/>
                  <a:ea typeface="+mn-ea"/>
                  <a:cs typeface="+mn-cs"/>
                </a:rPr>
                <a:t> </a:t>
              </a:r>
              <a:r>
                <a:rPr lang="en-US" sz="1600" dirty="0">
                  <a:solidFill>
                    <a:srgbClr val="5E5E5E"/>
                  </a:solidFill>
                  <a:latin typeface="Segoe UI"/>
                  <a:ea typeface="+mn-ea"/>
                  <a:cs typeface="+mn-cs"/>
                </a:rPr>
                <a:t>Stretch DB </a:t>
              </a:r>
              <a:r>
                <a:rPr lang="en-US" sz="1000" dirty="0">
                  <a:solidFill>
                    <a:srgbClr val="ADADAD"/>
                  </a:solidFill>
                  <a:latin typeface="Segoe UI"/>
                  <a:ea typeface="+mn-ea"/>
                  <a:cs typeface="+mn-cs"/>
                </a:rPr>
                <a:t>●</a:t>
              </a:r>
              <a:r>
                <a:rPr lang="en-US" sz="1100" dirty="0">
                  <a:solidFill>
                    <a:srgbClr val="ADADAD"/>
                  </a:solidFill>
                  <a:latin typeface="Segoe UI"/>
                  <a:ea typeface="+mn-ea"/>
                  <a:cs typeface="+mn-cs"/>
                </a:rPr>
                <a:t> </a:t>
              </a:r>
              <a:r>
                <a:rPr lang="en-US" sz="1600" dirty="0">
                  <a:solidFill>
                    <a:srgbClr val="5E5E5E"/>
                  </a:solidFill>
                  <a:latin typeface="Segoe UI"/>
                  <a:ea typeface="+mn-ea"/>
                  <a:cs typeface="+mn-cs"/>
                </a:rPr>
                <a:t>Temporal Tables</a:t>
              </a:r>
              <a:r>
                <a:rPr lang="en-US" sz="1600" dirty="0">
                  <a:solidFill>
                    <a:srgbClr val="505050"/>
                  </a:solidFill>
                  <a:latin typeface="Segoe UI"/>
                </a:rPr>
                <a:t> </a:t>
              </a:r>
              <a:r>
                <a:rPr lang="en-US" sz="1000" dirty="0">
                  <a:solidFill>
                    <a:srgbClr val="ADADAD"/>
                  </a:solidFill>
                  <a:latin typeface="Segoe UI"/>
                </a:rPr>
                <a:t>●</a:t>
              </a:r>
              <a:r>
                <a:rPr lang="en-US" sz="1100" dirty="0">
                  <a:solidFill>
                    <a:srgbClr val="ADADAD"/>
                  </a:solidFill>
                  <a:latin typeface="Segoe UI"/>
                </a:rPr>
                <a:t> </a:t>
              </a:r>
              <a:r>
                <a:rPr lang="en-US" sz="1600" dirty="0">
                  <a:solidFill>
                    <a:srgbClr val="5E5E5E"/>
                  </a:solidFill>
                  <a:latin typeface="Segoe UI"/>
                </a:rPr>
                <a:t>Enhanced Backup to Cloud </a:t>
              </a:r>
              <a:r>
                <a:rPr lang="en-US" sz="1000" dirty="0">
                  <a:solidFill>
                    <a:srgbClr val="ADADAD"/>
                  </a:solidFill>
                  <a:latin typeface="Segoe UI"/>
                </a:rPr>
                <a:t>●</a:t>
              </a:r>
              <a:r>
                <a:rPr lang="en-US" sz="1100" dirty="0">
                  <a:solidFill>
                    <a:srgbClr val="ADADAD"/>
                  </a:solidFill>
                  <a:latin typeface="Segoe UI"/>
                </a:rPr>
                <a:t> </a:t>
              </a:r>
              <a:r>
                <a:rPr lang="en-US" sz="1600" dirty="0" err="1">
                  <a:solidFill>
                    <a:srgbClr val="5E5E5E"/>
                  </a:solidFill>
                  <a:latin typeface="Segoe UI"/>
                </a:rPr>
                <a:t>Polybase</a:t>
              </a:r>
              <a:r>
                <a:rPr lang="en-US" sz="1600" dirty="0">
                  <a:solidFill>
                    <a:srgbClr val="505050"/>
                  </a:solidFill>
                  <a:latin typeface="Segoe UI"/>
                </a:rPr>
                <a:t> </a:t>
              </a:r>
              <a:r>
                <a:rPr lang="en-US" sz="1000" dirty="0">
                  <a:solidFill>
                    <a:srgbClr val="ADADAD"/>
                  </a:solidFill>
                  <a:latin typeface="Segoe UI"/>
                </a:rPr>
                <a:t>●</a:t>
              </a:r>
              <a:r>
                <a:rPr lang="en-US" sz="1600" dirty="0">
                  <a:solidFill>
                    <a:srgbClr val="505050"/>
                  </a:solidFill>
                  <a:latin typeface="Segoe UI"/>
                </a:rPr>
                <a:t> Real-Time Operational Analytics</a:t>
              </a:r>
              <a:r>
                <a:rPr lang="en-US" sz="1600" dirty="0">
                  <a:solidFill>
                    <a:srgbClr val="5E5E5E"/>
                  </a:solidFill>
                  <a:latin typeface="Segoe UI"/>
                </a:rPr>
                <a:t> </a:t>
              </a:r>
              <a:r>
                <a:rPr lang="en-US" sz="1000" dirty="0">
                  <a:solidFill>
                    <a:srgbClr val="ADADAD"/>
                  </a:solidFill>
                  <a:latin typeface="Segoe UI"/>
                </a:rPr>
                <a:t>●</a:t>
              </a:r>
              <a:r>
                <a:rPr lang="en-US" sz="1100" dirty="0">
                  <a:solidFill>
                    <a:srgbClr val="ADADAD"/>
                  </a:solidFill>
                  <a:latin typeface="Segoe UI"/>
                </a:rPr>
                <a:t> </a:t>
              </a:r>
              <a:r>
                <a:rPr lang="en-US" sz="1600" dirty="0">
                  <a:solidFill>
                    <a:srgbClr val="5E5E5E"/>
                  </a:solidFill>
                  <a:latin typeface="Segoe UI"/>
                </a:rPr>
                <a:t>Row-Level Security </a:t>
              </a:r>
              <a:r>
                <a:rPr lang="en-US" sz="1000" dirty="0">
                  <a:solidFill>
                    <a:srgbClr val="ADADAD"/>
                  </a:solidFill>
                  <a:latin typeface="Segoe UI"/>
                </a:rPr>
                <a:t>●</a:t>
              </a:r>
              <a:r>
                <a:rPr lang="en-US" sz="1100" dirty="0">
                  <a:solidFill>
                    <a:srgbClr val="ADADAD"/>
                  </a:solidFill>
                  <a:latin typeface="Segoe UI"/>
                </a:rPr>
                <a:t> </a:t>
              </a:r>
              <a:r>
                <a:rPr lang="en-US" sz="1600" b="1" dirty="0">
                  <a:solidFill>
                    <a:srgbClr val="FF0000"/>
                  </a:solidFill>
                  <a:latin typeface="Segoe UI"/>
                </a:rPr>
                <a:t>Query Store </a:t>
              </a:r>
              <a:r>
                <a:rPr lang="en-US" sz="1000" dirty="0">
                  <a:solidFill>
                    <a:srgbClr val="ADADAD"/>
                  </a:solidFill>
                  <a:latin typeface="Segoe UI"/>
                </a:rPr>
                <a:t>●</a:t>
              </a:r>
              <a:r>
                <a:rPr lang="en-US" sz="1100" dirty="0">
                  <a:solidFill>
                    <a:srgbClr val="ADADAD"/>
                  </a:solidFill>
                  <a:latin typeface="Segoe UI"/>
                </a:rPr>
                <a:t> </a:t>
              </a:r>
              <a:r>
                <a:rPr lang="en-US" sz="1600" dirty="0">
                  <a:solidFill>
                    <a:srgbClr val="5E5E5E"/>
                  </a:solidFill>
                  <a:latin typeface="Segoe UI"/>
                </a:rPr>
                <a:t>R Services</a:t>
              </a:r>
              <a:r>
                <a:rPr lang="en-US" sz="1000" dirty="0">
                  <a:solidFill>
                    <a:srgbClr val="ADADAD"/>
                  </a:solidFill>
                  <a:latin typeface="Segoe UI"/>
                </a:rPr>
                <a:t>● </a:t>
              </a:r>
              <a:r>
                <a:rPr lang="en-US" sz="1600" dirty="0">
                  <a:solidFill>
                    <a:srgbClr val="5E5E5E"/>
                  </a:solidFill>
                  <a:latin typeface="Segoe UI"/>
                  <a:ea typeface="+mn-ea"/>
                  <a:cs typeface="+mn-cs"/>
                </a:rPr>
                <a:t>Always Encrypted </a:t>
              </a:r>
              <a:r>
                <a:rPr lang="en-US" sz="1000" dirty="0">
                  <a:solidFill>
                    <a:srgbClr val="ADADAD"/>
                  </a:solidFill>
                  <a:latin typeface="Segoe UI"/>
                </a:rPr>
                <a:t>● </a:t>
              </a:r>
              <a:r>
                <a:rPr lang="en-US" sz="1600" dirty="0">
                  <a:solidFill>
                    <a:srgbClr val="5E5E5E"/>
                  </a:solidFill>
                  <a:latin typeface="Segoe UI"/>
                  <a:ea typeface="+mn-ea"/>
                  <a:cs typeface="+mn-cs"/>
                </a:rPr>
                <a:t>Mobile BI</a:t>
              </a:r>
              <a:endParaRPr lang="en-US" sz="1000" dirty="0">
                <a:solidFill>
                  <a:srgbClr val="ADADAD"/>
                </a:solidFill>
                <a:latin typeface="Segoe UI"/>
              </a:endParaRPr>
            </a:p>
          </p:txBody>
        </p:sp>
      </p:grpSp>
      <p:sp>
        <p:nvSpPr>
          <p:cNvPr id="46" name="Title 3"/>
          <p:cNvSpPr txBox="1">
            <a:spLocks/>
          </p:cNvSpPr>
          <p:nvPr/>
        </p:nvSpPr>
        <p:spPr>
          <a:xfrm>
            <a:off x="284889" y="322784"/>
            <a:ext cx="12151586" cy="946145"/>
          </a:xfrm>
          <a:prstGeom prst="rect">
            <a:avLst/>
          </a:prstGeom>
        </p:spPr>
        <p:txBody>
          <a:bodyPr vert="horz" wrap="square" lIns="146237" tIns="91399" rIns="146237" bIns="91399" rtlCol="0" anchor="t">
            <a:noAutofit/>
          </a:bodyPr>
          <a:lstStyle>
            <a:lvl1pPr algn="l" defTabSz="932305" rtl="0" eaLnBrk="1" latinLnBrk="0" hangingPunct="1">
              <a:lnSpc>
                <a:spcPct val="90000"/>
              </a:lnSpc>
              <a:spcBef>
                <a:spcPct val="0"/>
              </a:spcBef>
              <a:buNone/>
              <a:defRPr lang="en-US" sz="53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pPr>
            <a:r>
              <a:rPr lang="en-US" sz="4800" dirty="0">
                <a:solidFill>
                  <a:srgbClr val="5E5E5E"/>
                </a:solidFill>
              </a:rPr>
              <a:t>Evolution of Microsoft SQL Server</a:t>
            </a:r>
            <a:endParaRPr lang="en-US" sz="3200" dirty="0">
              <a:solidFill>
                <a:srgbClr val="5E5E5E"/>
              </a:solidFill>
            </a:endParaRPr>
          </a:p>
        </p:txBody>
      </p:sp>
    </p:spTree>
    <p:extLst>
      <p:ext uri="{BB962C8B-B14F-4D97-AF65-F5344CB8AC3E}">
        <p14:creationId xmlns:p14="http://schemas.microsoft.com/office/powerpoint/2010/main" val="373713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8279742" y="1288226"/>
            <a:ext cx="3883683" cy="3272691"/>
          </a:xfrm>
          <a:prstGeom prst="rect">
            <a:avLst/>
          </a:prstGeom>
        </p:spPr>
        <p:txBody>
          <a:bodyPr wrap="square">
            <a:spAutoFit/>
          </a:bodyPr>
          <a:lstStyle/>
          <a:p>
            <a:pPr marL="0" marR="0" lvl="0" indent="0" defTabSz="914400" eaLnBrk="1" fontAlgn="auto" latinLnBrk="0" hangingPunct="1">
              <a:lnSpc>
                <a:spcPct val="100000"/>
              </a:lnSpc>
              <a:spcBef>
                <a:spcPts val="2000"/>
              </a:spcBef>
              <a:spcAft>
                <a:spcPts val="0"/>
              </a:spcAft>
              <a:buClrTx/>
              <a:buSzTx/>
              <a:buFontTx/>
              <a:buNone/>
              <a:tabLst/>
              <a:defRPr/>
            </a:pPr>
            <a:r>
              <a:rPr kumimoji="0" lang="en-US" sz="3200" b="0" i="0" u="none" strike="noStrike" kern="0" cap="none" spc="0" normalizeH="0" baseline="0" noProof="0" dirty="0">
                <a:ln>
                  <a:noFill/>
                </a:ln>
                <a:solidFill>
                  <a:schemeClr val="accent1"/>
                </a:solidFill>
                <a:effectLst/>
                <a:uLnTx/>
                <a:uFillTx/>
                <a:latin typeface="+mj-lt"/>
                <a:ea typeface="Times New Roman" panose="02020603050405020304" pitchFamily="18" charset="0"/>
                <a:cs typeface="Segoe UI Semilight" panose="020B0402040204020203" pitchFamily="34" charset="0"/>
              </a:rPr>
              <a:t>Options:</a:t>
            </a:r>
          </a:p>
          <a:p>
            <a:pPr marL="0" marR="0" lvl="0" indent="0" defTabSz="914400" eaLnBrk="1" fontAlgn="auto" latinLnBrk="0" hangingPunct="1">
              <a:lnSpc>
                <a:spcPct val="100000"/>
              </a:lnSpc>
              <a:spcBef>
                <a:spcPts val="200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Times New Roman" panose="02020603050405020304" pitchFamily="18" charset="0"/>
                <a:cs typeface="Segoe UI" panose="020B0502040204020203" pitchFamily="34" charset="0"/>
              </a:rPr>
              <a:t>SQL Server on physical machines</a:t>
            </a:r>
          </a:p>
          <a:p>
            <a:pPr marL="0" marR="0" lvl="0" indent="0" defTabSz="914400" eaLnBrk="1" fontAlgn="auto" latinLnBrk="0" hangingPunct="1">
              <a:lnSpc>
                <a:spcPct val="100000"/>
              </a:lnSpc>
              <a:spcBef>
                <a:spcPts val="200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Times New Roman" panose="02020603050405020304" pitchFamily="18" charset="0"/>
                <a:cs typeface="Segoe UI" panose="020B0502040204020203" pitchFamily="34" charset="0"/>
              </a:rPr>
              <a:t>SQL Server in on-premises VMs (private cloud)</a:t>
            </a:r>
          </a:p>
          <a:p>
            <a:pPr marL="0" marR="0" lvl="0" indent="0" defTabSz="914400" eaLnBrk="1" fontAlgn="auto" latinLnBrk="0" hangingPunct="1">
              <a:lnSpc>
                <a:spcPct val="100000"/>
              </a:lnSpc>
              <a:spcBef>
                <a:spcPts val="200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Times New Roman" panose="02020603050405020304" pitchFamily="18" charset="0"/>
                <a:cs typeface="Segoe UI" panose="020B0502040204020203" pitchFamily="34" charset="0"/>
              </a:rPr>
              <a:t>SQL Server in Azure VMs </a:t>
            </a:r>
            <a:br>
              <a:rPr kumimoji="0" 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Times New Roman" panose="02020603050405020304" pitchFamily="18" charset="0"/>
                <a:cs typeface="Segoe UI" panose="020B0502040204020203" pitchFamily="34" charset="0"/>
              </a:rPr>
            </a:br>
            <a:r>
              <a:rPr kumimoji="0" 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Times New Roman" panose="02020603050405020304" pitchFamily="18" charset="0"/>
                <a:cs typeface="Segoe UI" panose="020B0502040204020203" pitchFamily="34" charset="0"/>
              </a:rPr>
              <a:t>(public cloud)</a:t>
            </a:r>
          </a:p>
          <a:p>
            <a:pPr marL="0" marR="0" lvl="0" indent="0" defTabSz="914400" eaLnBrk="1" fontAlgn="auto" latinLnBrk="0" hangingPunct="1">
              <a:lnSpc>
                <a:spcPct val="100000"/>
              </a:lnSpc>
              <a:spcBef>
                <a:spcPts val="200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anose="020B0502040204020203" pitchFamily="34" charset="0"/>
                <a:ea typeface="Times New Roman" panose="02020603050405020304" pitchFamily="18" charset="0"/>
                <a:cs typeface="Segoe UI" panose="020B0502040204020203" pitchFamily="34" charset="0"/>
              </a:rPr>
              <a:t>SQL Database (public cloud)</a:t>
            </a:r>
          </a:p>
        </p:txBody>
      </p:sp>
      <p:grpSp>
        <p:nvGrpSpPr>
          <p:cNvPr id="64" name="Group 63"/>
          <p:cNvGrpSpPr>
            <a:grpSpLocks noChangeAspect="1"/>
          </p:cNvGrpSpPr>
          <p:nvPr/>
        </p:nvGrpSpPr>
        <p:grpSpPr>
          <a:xfrm>
            <a:off x="502920" y="1455016"/>
            <a:ext cx="7443216" cy="4942535"/>
            <a:chOff x="4717231" y="1653699"/>
            <a:chExt cx="7447090" cy="4945107"/>
          </a:xfrm>
        </p:grpSpPr>
        <p:sp>
          <p:nvSpPr>
            <p:cNvPr id="65" name="Rectangle 64"/>
            <p:cNvSpPr/>
            <p:nvPr/>
          </p:nvSpPr>
          <p:spPr bwMode="auto">
            <a:xfrm>
              <a:off x="4767942" y="1661077"/>
              <a:ext cx="7379044" cy="4760770"/>
            </a:xfrm>
            <a:prstGeom prst="rect">
              <a:avLst/>
            </a:prstGeom>
            <a:solidFill>
              <a:schemeClr val="bg1">
                <a:lumMod val="95000"/>
              </a:schemeClr>
            </a:solidFill>
            <a:ln w="635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6" name="TextBox 65"/>
            <p:cNvSpPr txBox="1"/>
            <p:nvPr/>
          </p:nvSpPr>
          <p:spPr>
            <a:xfrm>
              <a:off x="4717231" y="2330113"/>
              <a:ext cx="1085561" cy="1219200"/>
            </a:xfrm>
            <a:prstGeom prst="rect">
              <a:avLst/>
            </a:prstGeom>
            <a:noFill/>
          </p:spPr>
          <p:txBody>
            <a:bodyPr wrap="square" lIns="182880" tIns="146304" rIns="182880" bIns="146304" rtlCol="0">
              <a:no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50" b="1" i="0" u="none" strike="noStrike" kern="0" cap="none" spc="0" normalizeH="0" baseline="0" noProof="0" dirty="0">
                  <a:ln>
                    <a:noFill/>
                  </a:ln>
                  <a:solidFill>
                    <a:schemeClr val="tx2"/>
                  </a:solidFill>
                  <a:effectLst/>
                  <a:uLnTx/>
                  <a:uFillTx/>
                </a:rPr>
                <a:t>Shared lower cost</a:t>
              </a:r>
            </a:p>
          </p:txBody>
        </p:sp>
        <p:sp>
          <p:nvSpPr>
            <p:cNvPr id="67" name="TextBox 66"/>
            <p:cNvSpPr txBox="1"/>
            <p:nvPr/>
          </p:nvSpPr>
          <p:spPr>
            <a:xfrm>
              <a:off x="4717231" y="5379606"/>
              <a:ext cx="1069121" cy="1219200"/>
            </a:xfrm>
            <a:prstGeom prst="rect">
              <a:avLst/>
            </a:prstGeom>
            <a:noFill/>
          </p:spPr>
          <p:txBody>
            <a:bodyPr wrap="square" lIns="182880" tIns="146304" rIns="182880" bIns="146304" rtlCol="0">
              <a:no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50" b="1" i="0" u="none" strike="noStrike" kern="0" cap="none" spc="0" normalizeH="0" baseline="0" noProof="0" dirty="0">
                  <a:ln>
                    <a:noFill/>
                  </a:ln>
                  <a:solidFill>
                    <a:schemeClr val="tx2"/>
                  </a:solidFill>
                  <a:effectLst/>
                  <a:uLnTx/>
                  <a:uFillTx/>
                </a:rPr>
                <a:t>Dedicated higher cost</a:t>
              </a:r>
            </a:p>
          </p:txBody>
        </p:sp>
        <p:sp>
          <p:nvSpPr>
            <p:cNvPr id="68" name="TextBox 67"/>
            <p:cNvSpPr txBox="1"/>
            <p:nvPr/>
          </p:nvSpPr>
          <p:spPr>
            <a:xfrm>
              <a:off x="5687266" y="5922304"/>
              <a:ext cx="2053049" cy="439749"/>
            </a:xfrm>
            <a:prstGeom prst="rect">
              <a:avLst/>
            </a:prstGeom>
            <a:noFill/>
          </p:spPr>
          <p:txBody>
            <a:bodyPr wrap="square" lIns="0" tIns="146304" rIns="182880" bIns="146304" rtlCol="0">
              <a:no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50" b="1" i="0" u="none" strike="noStrike" kern="0" cap="none" spc="0" normalizeH="0" baseline="0" noProof="0" dirty="0">
                  <a:ln>
                    <a:noFill/>
                  </a:ln>
                  <a:solidFill>
                    <a:schemeClr val="tx2"/>
                  </a:solidFill>
                  <a:effectLst/>
                  <a:uLnTx/>
                  <a:uFillTx/>
                </a:rPr>
                <a:t>Higher administration</a:t>
              </a:r>
            </a:p>
          </p:txBody>
        </p:sp>
        <p:sp>
          <p:nvSpPr>
            <p:cNvPr id="69" name="TextBox 68"/>
            <p:cNvSpPr txBox="1"/>
            <p:nvPr/>
          </p:nvSpPr>
          <p:spPr>
            <a:xfrm>
              <a:off x="10018343" y="5922304"/>
              <a:ext cx="2145978" cy="439749"/>
            </a:xfrm>
            <a:prstGeom prst="rect">
              <a:avLst/>
            </a:prstGeom>
            <a:noFill/>
          </p:spPr>
          <p:txBody>
            <a:bodyPr wrap="square" lIns="182880" tIns="146304" rIns="182880" bIns="146304" rtlCol="0">
              <a:noAutofit/>
            </a:bodyPr>
            <a:lstStyle/>
            <a:p>
              <a:pPr marL="0" marR="0" lvl="0" indent="0" algn="r" defTabSz="914400" eaLnBrk="1" fontAlgn="auto" latinLnBrk="0" hangingPunct="1">
                <a:lnSpc>
                  <a:spcPct val="90000"/>
                </a:lnSpc>
                <a:spcBef>
                  <a:spcPts val="0"/>
                </a:spcBef>
                <a:spcAft>
                  <a:spcPts val="600"/>
                </a:spcAft>
                <a:buClrTx/>
                <a:buSzTx/>
                <a:buFontTx/>
                <a:buNone/>
                <a:tabLst/>
                <a:defRPr/>
              </a:pPr>
              <a:r>
                <a:rPr kumimoji="0" lang="en-US" sz="1050" b="1" i="0" u="none" strike="noStrike" kern="0" cap="none" spc="0" normalizeH="0" baseline="0" noProof="0" dirty="0">
                  <a:ln>
                    <a:noFill/>
                  </a:ln>
                  <a:solidFill>
                    <a:schemeClr val="tx2"/>
                  </a:solidFill>
                  <a:effectLst/>
                  <a:uLnTx/>
                  <a:uFillTx/>
                </a:rPr>
                <a:t>Lower administration</a:t>
              </a:r>
            </a:p>
          </p:txBody>
        </p:sp>
        <p:sp>
          <p:nvSpPr>
            <p:cNvPr id="70" name="TextBox 69"/>
            <p:cNvSpPr txBox="1"/>
            <p:nvPr/>
          </p:nvSpPr>
          <p:spPr>
            <a:xfrm>
              <a:off x="10018343" y="5632629"/>
              <a:ext cx="2145978" cy="439749"/>
            </a:xfrm>
            <a:prstGeom prst="rect">
              <a:avLst/>
            </a:prstGeom>
            <a:noFill/>
          </p:spPr>
          <p:txBody>
            <a:bodyPr wrap="square" lIns="182880" tIns="146304" rIns="182880" bIns="146304" rtlCol="0">
              <a:noAutofit/>
            </a:bodyPr>
            <a:lstStyle/>
            <a:p>
              <a:pPr marL="0" marR="0" lvl="0" indent="0" algn="r" defTabSz="914400" eaLnBrk="1" fontAlgn="auto" latinLnBrk="0" hangingPunct="1">
                <a:lnSpc>
                  <a:spcPct val="90000"/>
                </a:lnSpc>
                <a:spcBef>
                  <a:spcPts val="0"/>
                </a:spcBef>
                <a:spcAft>
                  <a:spcPts val="600"/>
                </a:spcAft>
                <a:buClrTx/>
                <a:buSzTx/>
                <a:buFontTx/>
                <a:buNone/>
                <a:tabLst/>
                <a:defRPr/>
              </a:pPr>
              <a:r>
                <a:rPr kumimoji="0" lang="en-US" sz="1050" b="1" i="0" u="none" strike="noStrike" kern="0" cap="none" spc="0" normalizeH="0" baseline="0" noProof="0" dirty="0">
                  <a:ln>
                    <a:noFill/>
                  </a:ln>
                  <a:solidFill>
                    <a:schemeClr val="tx2"/>
                  </a:solidFill>
                  <a:effectLst/>
                  <a:uLnTx/>
                  <a:uFillTx/>
                </a:rPr>
                <a:t>Off-premises</a:t>
              </a:r>
            </a:p>
          </p:txBody>
        </p:sp>
        <p:cxnSp>
          <p:nvCxnSpPr>
            <p:cNvPr id="71" name="Straight Connector 70"/>
            <p:cNvCxnSpPr/>
            <p:nvPr/>
          </p:nvCxnSpPr>
          <p:spPr>
            <a:xfrm>
              <a:off x="5698841" y="2491631"/>
              <a:ext cx="0" cy="3504663"/>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Left Brace 71"/>
            <p:cNvSpPr/>
            <p:nvPr/>
          </p:nvSpPr>
          <p:spPr>
            <a:xfrm rot="5400000">
              <a:off x="8672334" y="-918221"/>
              <a:ext cx="363476" cy="6292890"/>
            </a:xfrm>
            <a:prstGeom prst="leftBrace">
              <a:avLst>
                <a:gd name="adj1" fmla="val 45896"/>
                <a:gd name="adj2" fmla="val 50000"/>
              </a:avLst>
            </a:prstGeom>
            <a:ln w="254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cxnSp>
          <p:nvCxnSpPr>
            <p:cNvPr id="73" name="Straight Connector 72"/>
            <p:cNvCxnSpPr/>
            <p:nvPr/>
          </p:nvCxnSpPr>
          <p:spPr>
            <a:xfrm>
              <a:off x="5687267" y="5997279"/>
              <a:ext cx="6297208" cy="0"/>
            </a:xfrm>
            <a:prstGeom prst="line">
              <a:avLst/>
            </a:prstGeom>
            <a:ln w="254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TextBox 73"/>
            <p:cNvSpPr txBox="1"/>
            <p:nvPr/>
          </p:nvSpPr>
          <p:spPr>
            <a:xfrm>
              <a:off x="8110846" y="1653699"/>
              <a:ext cx="1509341" cy="420152"/>
            </a:xfrm>
            <a:prstGeom prst="rect">
              <a:avLst/>
            </a:prstGeom>
            <a:noFill/>
          </p:spPr>
          <p:txBody>
            <a:bodyPr wrap="square" lIns="182880" tIns="146304" rIns="182880" bIns="146304" rtlCol="0">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rPr>
                <a:t>Hybrid cloud</a:t>
              </a:r>
            </a:p>
          </p:txBody>
        </p:sp>
        <p:sp>
          <p:nvSpPr>
            <p:cNvPr id="75" name="Freeform 15"/>
            <p:cNvSpPr>
              <a:spLocks/>
            </p:cNvSpPr>
            <p:nvPr/>
          </p:nvSpPr>
          <p:spPr bwMode="auto">
            <a:xfrm>
              <a:off x="11091332" y="4141359"/>
              <a:ext cx="813845" cy="334956"/>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1">
                <a:lumMod val="85000"/>
                <a:alpha val="4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 name="Freeform 23"/>
            <p:cNvSpPr>
              <a:spLocks/>
            </p:cNvSpPr>
            <p:nvPr/>
          </p:nvSpPr>
          <p:spPr bwMode="auto">
            <a:xfrm>
              <a:off x="9443248" y="5411882"/>
              <a:ext cx="874281" cy="471712"/>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85000"/>
                <a:alpha val="4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 name="Freeform 19"/>
            <p:cNvSpPr>
              <a:spLocks/>
            </p:cNvSpPr>
            <p:nvPr/>
          </p:nvSpPr>
          <p:spPr bwMode="auto">
            <a:xfrm>
              <a:off x="10352979" y="4706842"/>
              <a:ext cx="1433409" cy="817534"/>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bg1">
                <a:lumMod val="85000"/>
                <a:alpha val="4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 name="Freeform 77"/>
            <p:cNvSpPr>
              <a:spLocks noEditPoints="1"/>
            </p:cNvSpPr>
            <p:nvPr/>
          </p:nvSpPr>
          <p:spPr bwMode="auto">
            <a:xfrm>
              <a:off x="5818958" y="2612734"/>
              <a:ext cx="1043539" cy="2840514"/>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E6E6E6">
                <a:alpha val="77000"/>
              </a:srgbClr>
            </a:solidFill>
            <a:ln>
              <a:noFill/>
            </a:ln>
            <a:extLst/>
          </p:spPr>
          <p:txBody>
            <a:bodyPr vert="horz" wrap="square" lIns="91427" tIns="45713" rIns="91427" bIns="4571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1199" b="0" i="0" u="none" strike="noStrike" kern="1200" cap="none" spc="0" normalizeH="0" baseline="0" noProof="0" dirty="0">
                <a:ln>
                  <a:noFill/>
                </a:ln>
                <a:solidFill>
                  <a:srgbClr val="000000"/>
                </a:solidFill>
                <a:effectLst/>
                <a:uLnTx/>
                <a:uFillTx/>
                <a:latin typeface="Segoe UI" charset="0"/>
                <a:ea typeface="MS PGothic" charset="0"/>
                <a:cs typeface="MS PGothic" charset="0"/>
              </a:endParaRPr>
            </a:p>
          </p:txBody>
        </p:sp>
        <p:sp>
          <p:nvSpPr>
            <p:cNvPr id="79" name="Freeform 78"/>
            <p:cNvSpPr>
              <a:spLocks noEditPoints="1"/>
            </p:cNvSpPr>
            <p:nvPr/>
          </p:nvSpPr>
          <p:spPr bwMode="auto">
            <a:xfrm>
              <a:off x="6966447" y="2564701"/>
              <a:ext cx="1040915" cy="211558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E6E6E6">
                <a:alpha val="77000"/>
              </a:srgbClr>
            </a:solidFill>
            <a:ln>
              <a:noFill/>
            </a:ln>
            <a:extLst/>
          </p:spPr>
          <p:txBody>
            <a:bodyPr vert="horz" wrap="square" lIns="91427" tIns="45713" rIns="91427" bIns="4571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1199" b="0" i="0" u="none" strike="noStrike" kern="1200" cap="none" spc="0" normalizeH="0" baseline="0" noProof="0" dirty="0">
                <a:ln>
                  <a:noFill/>
                </a:ln>
                <a:solidFill>
                  <a:srgbClr val="000000"/>
                </a:solidFill>
                <a:effectLst/>
                <a:uLnTx/>
                <a:uFillTx/>
                <a:latin typeface="Segoe UI" charset="0"/>
                <a:ea typeface="MS PGothic" charset="0"/>
                <a:cs typeface="MS PGothic" charset="0"/>
              </a:endParaRPr>
            </a:p>
          </p:txBody>
        </p:sp>
        <p:grpSp>
          <p:nvGrpSpPr>
            <p:cNvPr id="80" name="Group 79"/>
            <p:cNvGrpSpPr/>
            <p:nvPr/>
          </p:nvGrpSpPr>
          <p:grpSpPr>
            <a:xfrm>
              <a:off x="5822523" y="4621107"/>
              <a:ext cx="2758083" cy="1265517"/>
              <a:chOff x="5822523" y="4621107"/>
              <a:chExt cx="2758083" cy="1265517"/>
            </a:xfrm>
          </p:grpSpPr>
          <p:sp>
            <p:nvSpPr>
              <p:cNvPr id="114" name="Rectangle 113"/>
              <p:cNvSpPr/>
              <p:nvPr/>
            </p:nvSpPr>
            <p:spPr bwMode="auto">
              <a:xfrm>
                <a:off x="5822523" y="4621107"/>
                <a:ext cx="1044147" cy="61831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Physical</a:t>
                </a:r>
              </a:p>
            </p:txBody>
          </p:sp>
          <p:grpSp>
            <p:nvGrpSpPr>
              <p:cNvPr id="115" name="Group 114"/>
              <p:cNvGrpSpPr/>
              <p:nvPr/>
            </p:nvGrpSpPr>
            <p:grpSpPr>
              <a:xfrm>
                <a:off x="5822523" y="5268307"/>
                <a:ext cx="2758083" cy="618317"/>
                <a:chOff x="5822523" y="5268307"/>
                <a:chExt cx="2758083" cy="618317"/>
              </a:xfrm>
            </p:grpSpPr>
            <p:sp>
              <p:nvSpPr>
                <p:cNvPr id="116" name="Rectangle 115"/>
                <p:cNvSpPr/>
                <p:nvPr/>
              </p:nvSpPr>
              <p:spPr bwMode="auto">
                <a:xfrm>
                  <a:off x="5822523" y="5268307"/>
                  <a:ext cx="2758083" cy="61831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0" rIns="0" bIns="0"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SQL Server</a:t>
                  </a:r>
                </a:p>
                <a:p>
                  <a:pPr marL="0" marR="0" lvl="0" indent="0"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Physical machines (raw iron)</a:t>
                  </a:r>
                </a:p>
              </p:txBody>
            </p:sp>
            <p:grpSp>
              <p:nvGrpSpPr>
                <p:cNvPr id="117" name="Group 116"/>
                <p:cNvGrpSpPr/>
                <p:nvPr/>
              </p:nvGrpSpPr>
              <p:grpSpPr>
                <a:xfrm>
                  <a:off x="5877891" y="5324317"/>
                  <a:ext cx="470306" cy="526856"/>
                  <a:chOff x="5909975" y="5356401"/>
                  <a:chExt cx="470306" cy="526856"/>
                </a:xfrm>
              </p:grpSpPr>
              <p:pic>
                <p:nvPicPr>
                  <p:cNvPr id="118" name="Picture 117"/>
                  <p:cNvPicPr>
                    <a:picLocks noChangeAspect="1"/>
                  </p:cNvPicPr>
                  <p:nvPr/>
                </p:nvPicPr>
                <p:blipFill>
                  <a:blip r:embed="rId3"/>
                  <a:stretch>
                    <a:fillRect/>
                  </a:stretch>
                </p:blipFill>
                <p:spPr>
                  <a:xfrm>
                    <a:off x="5909975" y="5356401"/>
                    <a:ext cx="226077" cy="524550"/>
                  </a:xfrm>
                  <a:prstGeom prst="rect">
                    <a:avLst/>
                  </a:prstGeom>
                </p:spPr>
              </p:pic>
              <p:grpSp>
                <p:nvGrpSpPr>
                  <p:cNvPr id="119" name="Group 118"/>
                  <p:cNvGrpSpPr/>
                  <p:nvPr/>
                </p:nvGrpSpPr>
                <p:grpSpPr>
                  <a:xfrm>
                    <a:off x="6145097" y="5541171"/>
                    <a:ext cx="235184" cy="342086"/>
                    <a:chOff x="6210403" y="5541171"/>
                    <a:chExt cx="235184" cy="342086"/>
                  </a:xfrm>
                </p:grpSpPr>
                <p:pic>
                  <p:nvPicPr>
                    <p:cNvPr id="120" name="Picture 119"/>
                    <p:cNvPicPr>
                      <a:picLocks noChangeAspect="1"/>
                    </p:cNvPicPr>
                    <p:nvPr/>
                  </p:nvPicPr>
                  <p:blipFill>
                    <a:blip r:embed="rId4"/>
                    <a:stretch>
                      <a:fillRect/>
                    </a:stretch>
                  </p:blipFill>
                  <p:spPr>
                    <a:xfrm>
                      <a:off x="6210403" y="5541171"/>
                      <a:ext cx="235184" cy="342086"/>
                    </a:xfrm>
                    <a:prstGeom prst="rect">
                      <a:avLst/>
                    </a:prstGeom>
                  </p:spPr>
                </p:pic>
                <p:sp>
                  <p:nvSpPr>
                    <p:cNvPr id="121" name="TextBox 120"/>
                    <p:cNvSpPr txBox="1"/>
                    <p:nvPr/>
                  </p:nvSpPr>
                  <p:spPr>
                    <a:xfrm>
                      <a:off x="6239417" y="5667162"/>
                      <a:ext cx="177157" cy="104338"/>
                    </a:xfrm>
                    <a:prstGeom prst="rect">
                      <a:avLst/>
                    </a:prstGeom>
                    <a:noFill/>
                  </p:spPr>
                  <p:txBody>
                    <a:bodyPr wrap="square" lIns="0" tIns="0" rIns="0" bIns="0" rtlCol="0">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700" b="1" i="0" u="none" strike="noStrike" kern="0" cap="none" spc="0" normalizeH="0" baseline="0" noProof="0" dirty="0">
                          <a:ln>
                            <a:noFill/>
                          </a:ln>
                          <a:solidFill>
                            <a:srgbClr val="003963"/>
                          </a:solidFill>
                          <a:effectLst/>
                          <a:uLnTx/>
                          <a:uFillTx/>
                        </a:rPr>
                        <a:t>SQL</a:t>
                      </a:r>
                    </a:p>
                  </p:txBody>
                </p:sp>
              </p:grpSp>
            </p:grpSp>
          </p:grpSp>
        </p:grpSp>
        <p:grpSp>
          <p:nvGrpSpPr>
            <p:cNvPr id="81" name="Group 80"/>
            <p:cNvGrpSpPr/>
            <p:nvPr/>
          </p:nvGrpSpPr>
          <p:grpSpPr>
            <a:xfrm>
              <a:off x="6966684" y="3917005"/>
              <a:ext cx="2758083" cy="1265518"/>
              <a:chOff x="6966684" y="3917005"/>
              <a:chExt cx="2758083" cy="1265518"/>
            </a:xfrm>
          </p:grpSpPr>
          <p:sp>
            <p:nvSpPr>
              <p:cNvPr id="105" name="Rectangle 104"/>
              <p:cNvSpPr/>
              <p:nvPr/>
            </p:nvSpPr>
            <p:spPr bwMode="auto">
              <a:xfrm>
                <a:off x="6966684" y="3917005"/>
                <a:ext cx="1044147" cy="61831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Virtual</a:t>
                </a:r>
              </a:p>
            </p:txBody>
          </p:sp>
          <p:grpSp>
            <p:nvGrpSpPr>
              <p:cNvPr id="106" name="Group 105"/>
              <p:cNvGrpSpPr/>
              <p:nvPr/>
            </p:nvGrpSpPr>
            <p:grpSpPr>
              <a:xfrm>
                <a:off x="6966684" y="4564206"/>
                <a:ext cx="2758083" cy="618317"/>
                <a:chOff x="6966684" y="4564206"/>
                <a:chExt cx="2758083" cy="618317"/>
              </a:xfrm>
            </p:grpSpPr>
            <p:sp>
              <p:nvSpPr>
                <p:cNvPr id="107" name="Rectangle 106"/>
                <p:cNvSpPr/>
                <p:nvPr/>
              </p:nvSpPr>
              <p:spPr bwMode="auto">
                <a:xfrm>
                  <a:off x="6966684" y="4564206"/>
                  <a:ext cx="2758083" cy="618317"/>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0" rIns="0" bIns="0" numCol="1" spcCol="0" rtlCol="0" fromWordArt="0" anchor="ctr" anchorCtr="0" forceAA="0" compatLnSpc="1">
                  <a:prstTxWarp prst="textNoShape">
                    <a:avLst/>
                  </a:prstTxWarp>
                  <a:noAutofit/>
                </a:bodyPr>
                <a:lstStyle/>
                <a:p>
                  <a:pPr marL="0" marR="0" lvl="0" indent="0" defTabSz="932472"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SQL Server Private Cloud</a:t>
                  </a:r>
                </a:p>
                <a:p>
                  <a:pPr marL="0" marR="0" lvl="0" indent="0" defTabSz="932472"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Virtualized machines + appliances</a:t>
                  </a:r>
                </a:p>
              </p:txBody>
            </p:sp>
            <p:grpSp>
              <p:nvGrpSpPr>
                <p:cNvPr id="108" name="Group 107"/>
                <p:cNvGrpSpPr/>
                <p:nvPr/>
              </p:nvGrpSpPr>
              <p:grpSpPr>
                <a:xfrm>
                  <a:off x="7025373" y="4611089"/>
                  <a:ext cx="701893" cy="524550"/>
                  <a:chOff x="7057457" y="4627272"/>
                  <a:chExt cx="701893" cy="524550"/>
                </a:xfrm>
              </p:grpSpPr>
              <p:pic>
                <p:nvPicPr>
                  <p:cNvPr id="109" name="Picture 108"/>
                  <p:cNvPicPr>
                    <a:picLocks noChangeAspect="1"/>
                  </p:cNvPicPr>
                  <p:nvPr/>
                </p:nvPicPr>
                <p:blipFill>
                  <a:blip r:embed="rId3">
                    <a:lum contrast="-40000"/>
                  </a:blip>
                  <a:stretch>
                    <a:fillRect/>
                  </a:stretch>
                </p:blipFill>
                <p:spPr>
                  <a:xfrm>
                    <a:off x="7057457" y="4627272"/>
                    <a:ext cx="226077" cy="524550"/>
                  </a:xfrm>
                  <a:prstGeom prst="rect">
                    <a:avLst/>
                  </a:prstGeom>
                </p:spPr>
              </p:pic>
              <p:pic>
                <p:nvPicPr>
                  <p:cNvPr id="111" name="Picture 110"/>
                  <p:cNvPicPr>
                    <a:picLocks noChangeAspect="1"/>
                  </p:cNvPicPr>
                  <p:nvPr/>
                </p:nvPicPr>
                <p:blipFill>
                  <a:blip r:embed="rId3">
                    <a:lum contrast="-20000"/>
                  </a:blip>
                  <a:stretch>
                    <a:fillRect/>
                  </a:stretch>
                </p:blipFill>
                <p:spPr>
                  <a:xfrm>
                    <a:off x="7295755" y="4627272"/>
                    <a:ext cx="226077" cy="524550"/>
                  </a:xfrm>
                  <a:prstGeom prst="rect">
                    <a:avLst/>
                  </a:prstGeom>
                </p:spPr>
              </p:pic>
              <p:pic>
                <p:nvPicPr>
                  <p:cNvPr id="113" name="Picture 112"/>
                  <p:cNvPicPr>
                    <a:picLocks noChangeAspect="1"/>
                  </p:cNvPicPr>
                  <p:nvPr/>
                </p:nvPicPr>
                <p:blipFill>
                  <a:blip r:embed="rId3">
                    <a:lum bright="40000" contrast="-40000"/>
                  </a:blip>
                  <a:stretch>
                    <a:fillRect/>
                  </a:stretch>
                </p:blipFill>
                <p:spPr>
                  <a:xfrm>
                    <a:off x="7533273" y="4627272"/>
                    <a:ext cx="226077" cy="524550"/>
                  </a:xfrm>
                  <a:prstGeom prst="rect">
                    <a:avLst/>
                  </a:prstGeom>
                </p:spPr>
              </p:pic>
            </p:grpSp>
          </p:grpSp>
        </p:grpSp>
        <p:grpSp>
          <p:nvGrpSpPr>
            <p:cNvPr id="82" name="Group 81"/>
            <p:cNvGrpSpPr/>
            <p:nvPr/>
          </p:nvGrpSpPr>
          <p:grpSpPr>
            <a:xfrm>
              <a:off x="8094804" y="3212906"/>
              <a:ext cx="2758083" cy="1265517"/>
              <a:chOff x="8094804" y="3212906"/>
              <a:chExt cx="2758083" cy="1265517"/>
            </a:xfrm>
          </p:grpSpPr>
          <p:sp>
            <p:nvSpPr>
              <p:cNvPr id="92" name="Rectangle 91"/>
              <p:cNvSpPr/>
              <p:nvPr/>
            </p:nvSpPr>
            <p:spPr bwMode="auto">
              <a:xfrm>
                <a:off x="8094804" y="3212906"/>
                <a:ext cx="1044147" cy="618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Infrastructure as a service</a:t>
                </a:r>
              </a:p>
            </p:txBody>
          </p:sp>
          <p:grpSp>
            <p:nvGrpSpPr>
              <p:cNvPr id="93" name="Group 92"/>
              <p:cNvGrpSpPr/>
              <p:nvPr/>
            </p:nvGrpSpPr>
            <p:grpSpPr>
              <a:xfrm>
                <a:off x="8094804" y="3860106"/>
                <a:ext cx="2758083" cy="618317"/>
                <a:chOff x="8094804" y="3860106"/>
                <a:chExt cx="2758083" cy="618317"/>
              </a:xfrm>
            </p:grpSpPr>
            <p:sp>
              <p:nvSpPr>
                <p:cNvPr id="94" name="Rectangle 93"/>
                <p:cNvSpPr/>
                <p:nvPr/>
              </p:nvSpPr>
              <p:spPr bwMode="auto">
                <a:xfrm>
                  <a:off x="8094804" y="3860106"/>
                  <a:ext cx="2758083" cy="618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0" rIns="0" bIns="0"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SQL Server in Azure VM</a:t>
                  </a:r>
                </a:p>
                <a:p>
                  <a:pPr marL="0" marR="0" lvl="0" indent="0"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Virtualized machines</a:t>
                  </a:r>
                </a:p>
              </p:txBody>
            </p:sp>
            <p:grpSp>
              <p:nvGrpSpPr>
                <p:cNvPr id="95" name="Group 94"/>
                <p:cNvGrpSpPr/>
                <p:nvPr/>
              </p:nvGrpSpPr>
              <p:grpSpPr>
                <a:xfrm>
                  <a:off x="8152326" y="3908782"/>
                  <a:ext cx="708397" cy="524550"/>
                  <a:chOff x="5671884" y="5356401"/>
                  <a:chExt cx="708397" cy="524550"/>
                </a:xfrm>
              </p:grpSpPr>
              <p:pic>
                <p:nvPicPr>
                  <p:cNvPr id="96" name="Picture 95"/>
                  <p:cNvPicPr>
                    <a:picLocks noChangeAspect="1"/>
                  </p:cNvPicPr>
                  <p:nvPr/>
                </p:nvPicPr>
                <p:blipFill>
                  <a:blip r:embed="rId3"/>
                  <a:stretch>
                    <a:fillRect/>
                  </a:stretch>
                </p:blipFill>
                <p:spPr>
                  <a:xfrm>
                    <a:off x="5909975" y="5356401"/>
                    <a:ext cx="226077" cy="524550"/>
                  </a:xfrm>
                  <a:prstGeom prst="rect">
                    <a:avLst/>
                  </a:prstGeom>
                </p:spPr>
              </p:pic>
              <p:grpSp>
                <p:nvGrpSpPr>
                  <p:cNvPr id="97" name="Group 96"/>
                  <p:cNvGrpSpPr/>
                  <p:nvPr/>
                </p:nvGrpSpPr>
                <p:grpSpPr>
                  <a:xfrm>
                    <a:off x="6145097" y="5535420"/>
                    <a:ext cx="235184" cy="342086"/>
                    <a:chOff x="6210403" y="5535420"/>
                    <a:chExt cx="235184" cy="342086"/>
                  </a:xfrm>
                </p:grpSpPr>
                <p:pic>
                  <p:nvPicPr>
                    <p:cNvPr id="103" name="Picture 102"/>
                    <p:cNvPicPr>
                      <a:picLocks noChangeAspect="1"/>
                    </p:cNvPicPr>
                    <p:nvPr/>
                  </p:nvPicPr>
                  <p:blipFill>
                    <a:blip r:embed="rId4"/>
                    <a:stretch>
                      <a:fillRect/>
                    </a:stretch>
                  </p:blipFill>
                  <p:spPr>
                    <a:xfrm>
                      <a:off x="6210403" y="5535420"/>
                      <a:ext cx="235184" cy="342086"/>
                    </a:xfrm>
                    <a:prstGeom prst="rect">
                      <a:avLst/>
                    </a:prstGeom>
                  </p:spPr>
                </p:pic>
                <p:sp>
                  <p:nvSpPr>
                    <p:cNvPr id="104" name="TextBox 103"/>
                    <p:cNvSpPr txBox="1"/>
                    <p:nvPr/>
                  </p:nvSpPr>
                  <p:spPr>
                    <a:xfrm>
                      <a:off x="6239417" y="5661411"/>
                      <a:ext cx="177157" cy="104338"/>
                    </a:xfrm>
                    <a:prstGeom prst="rect">
                      <a:avLst/>
                    </a:prstGeom>
                    <a:noFill/>
                  </p:spPr>
                  <p:txBody>
                    <a:bodyPr wrap="square" lIns="0" tIns="0" rIns="0" bIns="0" rtlCol="0">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700" b="1" i="0" u="none" strike="noStrike" kern="0" cap="none" spc="0" normalizeH="0" baseline="0" noProof="0" dirty="0">
                          <a:ln>
                            <a:noFill/>
                          </a:ln>
                          <a:solidFill>
                            <a:schemeClr val="accent1"/>
                          </a:solidFill>
                          <a:effectLst/>
                          <a:uLnTx/>
                          <a:uFillTx/>
                        </a:rPr>
                        <a:t>SQL</a:t>
                      </a:r>
                    </a:p>
                  </p:txBody>
                </p:sp>
              </p:grpSp>
              <p:pic>
                <p:nvPicPr>
                  <p:cNvPr id="100" name="Picture 99"/>
                  <p:cNvPicPr>
                    <a:picLocks noChangeAspect="1"/>
                  </p:cNvPicPr>
                  <p:nvPr/>
                </p:nvPicPr>
                <p:blipFill>
                  <a:blip r:embed="rId3">
                    <a:lum bright="20000" contrast="-40000"/>
                  </a:blip>
                  <a:stretch>
                    <a:fillRect/>
                  </a:stretch>
                </p:blipFill>
                <p:spPr>
                  <a:xfrm>
                    <a:off x="5671884" y="5356401"/>
                    <a:ext cx="226077" cy="524550"/>
                  </a:xfrm>
                  <a:prstGeom prst="rect">
                    <a:avLst/>
                  </a:prstGeom>
                </p:spPr>
              </p:pic>
            </p:grpSp>
          </p:grpSp>
        </p:grpSp>
        <p:grpSp>
          <p:nvGrpSpPr>
            <p:cNvPr id="83" name="Group 82"/>
            <p:cNvGrpSpPr/>
            <p:nvPr/>
          </p:nvGrpSpPr>
          <p:grpSpPr>
            <a:xfrm>
              <a:off x="9226392" y="2508807"/>
              <a:ext cx="2758083" cy="1265517"/>
              <a:chOff x="9226392" y="2508807"/>
              <a:chExt cx="2758083" cy="1265517"/>
            </a:xfrm>
          </p:grpSpPr>
          <p:sp>
            <p:nvSpPr>
              <p:cNvPr id="85" name="Rectangle 84"/>
              <p:cNvSpPr/>
              <p:nvPr/>
            </p:nvSpPr>
            <p:spPr bwMode="auto">
              <a:xfrm>
                <a:off x="9226392" y="2508807"/>
                <a:ext cx="1044147" cy="61831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Platform as </a:t>
                </a:r>
                <a:br>
                  <a:rPr kumimoji="0" lang="en-US" sz="12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br>
                <a:r>
                  <a:rPr kumimoji="0" lang="en-US" sz="12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a service</a:t>
                </a:r>
              </a:p>
            </p:txBody>
          </p:sp>
          <p:sp>
            <p:nvSpPr>
              <p:cNvPr id="86" name="Rectangle 85"/>
              <p:cNvSpPr/>
              <p:nvPr/>
            </p:nvSpPr>
            <p:spPr bwMode="auto">
              <a:xfrm>
                <a:off x="10290774" y="2508807"/>
                <a:ext cx="1044147" cy="61831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Software as </a:t>
                </a:r>
                <a:br>
                  <a:rPr kumimoji="0" lang="en-US" sz="12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br>
                <a:r>
                  <a:rPr kumimoji="0" lang="en-US" sz="12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a service</a:t>
                </a:r>
              </a:p>
            </p:txBody>
          </p:sp>
          <p:grpSp>
            <p:nvGrpSpPr>
              <p:cNvPr id="87" name="Group 86"/>
              <p:cNvGrpSpPr/>
              <p:nvPr/>
            </p:nvGrpSpPr>
            <p:grpSpPr>
              <a:xfrm>
                <a:off x="9226392" y="3156007"/>
                <a:ext cx="2758083" cy="618317"/>
                <a:chOff x="9226392" y="3156007"/>
                <a:chExt cx="2758083" cy="618317"/>
              </a:xfrm>
            </p:grpSpPr>
            <p:sp>
              <p:nvSpPr>
                <p:cNvPr id="88" name="Rectangle 87"/>
                <p:cNvSpPr/>
                <p:nvPr/>
              </p:nvSpPr>
              <p:spPr bwMode="auto">
                <a:xfrm>
                  <a:off x="9226392" y="3156007"/>
                  <a:ext cx="2758083" cy="61831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0" rIns="0" bIns="0"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SQL Database</a:t>
                  </a:r>
                </a:p>
                <a:p>
                  <a:pPr marL="0" marR="0" lvl="0" indent="0" defTabSz="932472"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chemeClr val="bg1"/>
                      </a:solidFill>
                      <a:effectLst/>
                      <a:uLnTx/>
                      <a:uFillTx/>
                      <a:ea typeface="Segoe UI" pitchFamily="34" charset="0"/>
                      <a:cs typeface="Segoe UI Semilight" panose="020B0402040204020203" pitchFamily="34" charset="0"/>
                    </a:rPr>
                    <a:t>Virtualized databases</a:t>
                  </a:r>
                </a:p>
              </p:txBody>
            </p:sp>
            <p:grpSp>
              <p:nvGrpSpPr>
                <p:cNvPr id="89" name="Group 88"/>
                <p:cNvGrpSpPr/>
                <p:nvPr/>
              </p:nvGrpSpPr>
              <p:grpSpPr>
                <a:xfrm>
                  <a:off x="9300865" y="3212015"/>
                  <a:ext cx="345959" cy="503213"/>
                  <a:chOff x="8826065" y="4283787"/>
                  <a:chExt cx="235184" cy="342086"/>
                </a:xfrm>
              </p:grpSpPr>
              <p:pic>
                <p:nvPicPr>
                  <p:cNvPr id="90" name="Picture 89"/>
                  <p:cNvPicPr>
                    <a:picLocks noChangeAspect="1"/>
                  </p:cNvPicPr>
                  <p:nvPr/>
                </p:nvPicPr>
                <p:blipFill>
                  <a:blip r:embed="rId4"/>
                  <a:stretch>
                    <a:fillRect/>
                  </a:stretch>
                </p:blipFill>
                <p:spPr>
                  <a:xfrm>
                    <a:off x="8826065" y="4283787"/>
                    <a:ext cx="235184" cy="342086"/>
                  </a:xfrm>
                  <a:prstGeom prst="rect">
                    <a:avLst/>
                  </a:prstGeom>
                </p:spPr>
              </p:pic>
              <p:sp>
                <p:nvSpPr>
                  <p:cNvPr id="91" name="TextBox 90"/>
                  <p:cNvSpPr txBox="1"/>
                  <p:nvPr/>
                </p:nvSpPr>
                <p:spPr>
                  <a:xfrm>
                    <a:off x="8855079" y="4428860"/>
                    <a:ext cx="177157" cy="104338"/>
                  </a:xfrm>
                  <a:prstGeom prst="rect">
                    <a:avLst/>
                  </a:prstGeom>
                  <a:noFill/>
                </p:spPr>
                <p:txBody>
                  <a:bodyPr wrap="square" lIns="0" tIns="0" rIns="0" bIns="0" rtlCol="0">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700" b="1" i="0" u="none" strike="noStrike" kern="0" cap="none" spc="0" normalizeH="0" baseline="0" noProof="0" dirty="0">
                        <a:ln>
                          <a:noFill/>
                        </a:ln>
                        <a:solidFill>
                          <a:schemeClr val="accent6"/>
                        </a:solidFill>
                        <a:effectLst/>
                        <a:uLnTx/>
                        <a:uFillTx/>
                      </a:rPr>
                      <a:t>SQL</a:t>
                    </a:r>
                  </a:p>
                </p:txBody>
              </p:sp>
            </p:grpSp>
          </p:grpSp>
        </p:grpSp>
        <p:sp>
          <p:nvSpPr>
            <p:cNvPr id="84" name="TextBox 83"/>
            <p:cNvSpPr txBox="1"/>
            <p:nvPr/>
          </p:nvSpPr>
          <p:spPr>
            <a:xfrm>
              <a:off x="5508705" y="1841468"/>
              <a:ext cx="1400239" cy="1219200"/>
            </a:xfrm>
            <a:prstGeom prst="rect">
              <a:avLst/>
            </a:prstGeom>
            <a:noFill/>
          </p:spPr>
          <p:txBody>
            <a:bodyPr wrap="square" lIns="182880" tIns="146304" rIns="182880" bIns="146304" rtlCol="0">
              <a:no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50" b="1" i="0" u="none" strike="noStrike" kern="0" cap="none" spc="0" normalizeH="0" baseline="0" noProof="0" dirty="0">
                  <a:ln>
                    <a:noFill/>
                  </a:ln>
                  <a:solidFill>
                    <a:schemeClr val="tx2"/>
                  </a:solidFill>
                  <a:effectLst/>
                  <a:uLnTx/>
                  <a:uFillTx/>
                </a:rPr>
                <a:t>On-premises</a:t>
              </a:r>
            </a:p>
          </p:txBody>
        </p:sp>
      </p:grpSp>
      <p:sp>
        <p:nvSpPr>
          <p:cNvPr id="56" name="TextBox 55"/>
          <p:cNvSpPr txBox="1"/>
          <p:nvPr/>
        </p:nvSpPr>
        <p:spPr>
          <a:xfrm>
            <a:off x="0" y="6642289"/>
            <a:ext cx="3806190" cy="352236"/>
          </a:xfrm>
          <a:prstGeom prst="rect">
            <a:avLst/>
          </a:prstGeom>
          <a:noFill/>
        </p:spPr>
        <p:txBody>
          <a:bodyPr wrap="square" lIns="365760" tIns="146304" rIns="182880" bIns="146304" rtlCol="0" anchor="ctr" anchorCtr="0">
            <a:no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nsistency</a:t>
            </a:r>
          </a:p>
        </p:txBody>
      </p:sp>
      <p:sp>
        <p:nvSpPr>
          <p:cNvPr id="2" name="Title 1"/>
          <p:cNvSpPr>
            <a:spLocks noGrp="1"/>
          </p:cNvSpPr>
          <p:nvPr>
            <p:ph type="title"/>
          </p:nvPr>
        </p:nvSpPr>
        <p:spPr/>
        <p:txBody>
          <a:bodyPr/>
          <a:lstStyle/>
          <a:p>
            <a:r>
              <a:rPr lang="en-US" dirty="0"/>
              <a:t>Location of Microsoft SQL Server</a:t>
            </a:r>
          </a:p>
        </p:txBody>
      </p:sp>
    </p:spTree>
    <p:extLst>
      <p:ext uri="{BB962C8B-B14F-4D97-AF65-F5344CB8AC3E}">
        <p14:creationId xmlns:p14="http://schemas.microsoft.com/office/powerpoint/2010/main" val="280081176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ry Store</a:t>
            </a:r>
            <a:endParaRPr lang="en-US" sz="3264" dirty="0"/>
          </a:p>
        </p:txBody>
      </p:sp>
      <p:sp>
        <p:nvSpPr>
          <p:cNvPr id="4" name="Title 1"/>
          <p:cNvSpPr txBox="1">
            <a:spLocks/>
          </p:cNvSpPr>
          <p:nvPr/>
        </p:nvSpPr>
        <p:spPr>
          <a:xfrm>
            <a:off x="274639" y="1520721"/>
            <a:ext cx="5364246" cy="2433673"/>
          </a:xfrm>
          <a:prstGeom prst="rect">
            <a:avLst/>
          </a:prstGeom>
        </p:spPr>
        <p:txBody>
          <a:bodyPr vert="horz" wrap="square" lIns="146304" tIns="91440" rIns="146304" bIns="91440" rtlCol="0" anchor="t">
            <a:noAutofit/>
          </a:bodyPr>
          <a:lstStyle>
            <a:lvl1pPr algn="l" defTabSz="931863" rtl="0" fontAlgn="base">
              <a:lnSpc>
                <a:spcPct val="90000"/>
              </a:lnSpc>
              <a:spcBef>
                <a:spcPct val="0"/>
              </a:spcBef>
              <a:spcAft>
                <a:spcPct val="0"/>
              </a:spcAft>
              <a:defRPr lang="en-US" sz="5400" kern="1200" spc="-102">
                <a:ln w="3175">
                  <a:noFill/>
                </a:ln>
                <a:solidFill>
                  <a:schemeClr val="accent4"/>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en-US" sz="3264">
                <a:solidFill>
                  <a:schemeClr val="tx1"/>
                </a:solidFill>
              </a:rPr>
              <a:t>Your flight data recorder </a:t>
            </a:r>
            <a:br>
              <a:rPr lang="en-US" sz="3264">
                <a:solidFill>
                  <a:schemeClr val="tx1"/>
                </a:solidFill>
              </a:rPr>
            </a:br>
            <a:r>
              <a:rPr lang="en-US" sz="3264">
                <a:solidFill>
                  <a:schemeClr val="tx1"/>
                </a:solidFill>
              </a:rPr>
              <a:t>for your database</a:t>
            </a:r>
            <a:endParaRPr lang="en-US" sz="3264" dirty="0">
              <a:solidFill>
                <a:schemeClr val="tx1"/>
              </a:solidFill>
            </a:endParaRPr>
          </a:p>
        </p:txBody>
      </p:sp>
    </p:spTree>
    <p:extLst>
      <p:ext uri="{BB962C8B-B14F-4D97-AF65-F5344CB8AC3E}">
        <p14:creationId xmlns:p14="http://schemas.microsoft.com/office/powerpoint/2010/main" val="274282713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655" y="438496"/>
            <a:ext cx="11888787" cy="917575"/>
          </a:xfrm>
        </p:spPr>
        <p:txBody>
          <a:bodyPr/>
          <a:lstStyle/>
          <a:p>
            <a:r>
              <a:rPr lang="en-US" dirty="0"/>
              <a:t>Problems with query performance</a:t>
            </a:r>
          </a:p>
        </p:txBody>
      </p:sp>
      <p:sp>
        <p:nvSpPr>
          <p:cNvPr id="5" name="Text Placeholder 2"/>
          <p:cNvSpPr>
            <a:spLocks noGrp="1"/>
          </p:cNvSpPr>
          <p:nvPr>
            <p:ph type="body" sz="quarter" idx="4294967295"/>
          </p:nvPr>
        </p:nvSpPr>
        <p:spPr>
          <a:xfrm>
            <a:off x="3542726" y="1212851"/>
            <a:ext cx="8448858" cy="4490000"/>
          </a:xfrm>
          <a:prstGeom prst="rect">
            <a:avLst/>
          </a:prstGeom>
        </p:spPr>
        <p:txBody>
          <a:bodyPr>
            <a:normAutofit fontScale="92500" lnSpcReduction="10000"/>
          </a:bodyPr>
          <a:lstStyle/>
          <a:p>
            <a:pPr marL="0" indent="0">
              <a:spcBef>
                <a:spcPts val="800"/>
              </a:spcBef>
              <a:buNone/>
            </a:pPr>
            <a:r>
              <a:rPr lang="en-US" sz="3500" dirty="0">
                <a:solidFill>
                  <a:srgbClr val="C00000"/>
                </a:solidFill>
                <a:latin typeface="Segoe UI Semilight" panose="020B0402040204020203" pitchFamily="34" charset="0"/>
                <a:cs typeface="Segoe UI Semilight" panose="020B0402040204020203" pitchFamily="34" charset="0"/>
              </a:rPr>
              <a:t>Fixing query plan choice regressions is difficult</a:t>
            </a:r>
          </a:p>
          <a:p>
            <a:pPr>
              <a:lnSpc>
                <a:spcPct val="120000"/>
              </a:lnSpc>
              <a:spcBef>
                <a:spcPts val="800"/>
              </a:spcBef>
            </a:pPr>
            <a:r>
              <a:rPr lang="en-US" sz="1900" dirty="0">
                <a:solidFill>
                  <a:schemeClr val="tx1"/>
                </a:solidFill>
                <a:latin typeface="+mn-lt"/>
              </a:rPr>
              <a:t>Query plan cache is not well-suited for performance troubleshooting</a:t>
            </a:r>
          </a:p>
          <a:p>
            <a:pPr marL="0" indent="0">
              <a:spcBef>
                <a:spcPts val="800"/>
              </a:spcBef>
              <a:buNone/>
            </a:pPr>
            <a:endParaRPr lang="en-US" dirty="0">
              <a:solidFill>
                <a:srgbClr val="C00000"/>
              </a:solidFill>
            </a:endParaRPr>
          </a:p>
          <a:p>
            <a:pPr marL="0" indent="0">
              <a:spcBef>
                <a:spcPts val="800"/>
              </a:spcBef>
              <a:buNone/>
            </a:pPr>
            <a:r>
              <a:rPr lang="en-US" sz="3500" dirty="0">
                <a:solidFill>
                  <a:srgbClr val="C00000"/>
                </a:solidFill>
                <a:latin typeface="Segoe UI Semilight" panose="020B0402040204020203" pitchFamily="34" charset="0"/>
                <a:cs typeface="Segoe UI Semilight" panose="020B0402040204020203" pitchFamily="34" charset="0"/>
              </a:rPr>
              <a:t>Long time to detect the issue (TTD)</a:t>
            </a:r>
          </a:p>
          <a:p>
            <a:pPr>
              <a:spcBef>
                <a:spcPts val="800"/>
              </a:spcBef>
            </a:pPr>
            <a:r>
              <a:rPr lang="en-US" sz="1900" dirty="0">
                <a:solidFill>
                  <a:schemeClr val="tx1"/>
                </a:solidFill>
                <a:latin typeface="+mn-lt"/>
              </a:rPr>
              <a:t>Which query is slow? Why is it slow? </a:t>
            </a:r>
          </a:p>
          <a:p>
            <a:pPr>
              <a:spcBef>
                <a:spcPts val="800"/>
              </a:spcBef>
            </a:pPr>
            <a:r>
              <a:rPr lang="en-US" sz="1900" dirty="0">
                <a:solidFill>
                  <a:schemeClr val="tx1"/>
                </a:solidFill>
                <a:latin typeface="+mn-lt"/>
              </a:rPr>
              <a:t>What was the previous plan?</a:t>
            </a:r>
          </a:p>
          <a:p>
            <a:pPr marL="0" indent="0">
              <a:spcBef>
                <a:spcPts val="800"/>
              </a:spcBef>
              <a:buNone/>
            </a:pPr>
            <a:endParaRPr lang="en-US" dirty="0">
              <a:solidFill>
                <a:srgbClr val="C00000"/>
              </a:solidFill>
            </a:endParaRPr>
          </a:p>
          <a:p>
            <a:pPr marL="0" indent="0">
              <a:spcBef>
                <a:spcPts val="800"/>
              </a:spcBef>
              <a:buNone/>
            </a:pPr>
            <a:r>
              <a:rPr lang="en-US" sz="3500" dirty="0">
                <a:solidFill>
                  <a:srgbClr val="C00000"/>
                </a:solidFill>
                <a:latin typeface="Segoe UI Semilight" panose="020B0402040204020203" pitchFamily="34" charset="0"/>
                <a:cs typeface="Segoe UI Semilight" panose="020B0402040204020203" pitchFamily="34" charset="0"/>
              </a:rPr>
              <a:t>Long time to mitigate (TTM)</a:t>
            </a:r>
          </a:p>
          <a:p>
            <a:pPr>
              <a:spcBef>
                <a:spcPts val="800"/>
              </a:spcBef>
            </a:pPr>
            <a:r>
              <a:rPr lang="en-US" sz="1900" dirty="0">
                <a:solidFill>
                  <a:schemeClr val="tx1"/>
                </a:solidFill>
                <a:latin typeface="+mn-lt"/>
              </a:rPr>
              <a:t>Can I modify the query?</a:t>
            </a:r>
          </a:p>
          <a:p>
            <a:pPr>
              <a:spcBef>
                <a:spcPts val="800"/>
              </a:spcBef>
            </a:pPr>
            <a:r>
              <a:rPr lang="en-US" sz="1900" dirty="0">
                <a:solidFill>
                  <a:schemeClr val="tx1"/>
                </a:solidFill>
                <a:latin typeface="+mn-lt"/>
              </a:rPr>
              <a:t>How to use plan guide?</a:t>
            </a:r>
          </a:p>
          <a:p>
            <a:pPr marL="0" indent="0">
              <a:spcBef>
                <a:spcPts val="800"/>
              </a:spcBef>
              <a:buNone/>
            </a:pPr>
            <a:endParaRPr lang="en-US" dirty="0">
              <a:solidFill>
                <a:srgbClr val="C00000"/>
              </a:solidFill>
            </a:endParaRPr>
          </a:p>
        </p:txBody>
      </p:sp>
      <p:sp>
        <p:nvSpPr>
          <p:cNvPr id="8" name="Freeform 7"/>
          <p:cNvSpPr/>
          <p:nvPr/>
        </p:nvSpPr>
        <p:spPr>
          <a:xfrm>
            <a:off x="1191142" y="1367288"/>
            <a:ext cx="1928051" cy="859792"/>
          </a:xfrm>
          <a:custGeom>
            <a:avLst/>
            <a:gdLst>
              <a:gd name="connsiteX0" fmla="*/ 0 w 1289044"/>
              <a:gd name="connsiteY0" fmla="*/ 0 h 859792"/>
              <a:gd name="connsiteX1" fmla="*/ 1289044 w 1289044"/>
              <a:gd name="connsiteY1" fmla="*/ 0 h 859792"/>
              <a:gd name="connsiteX2" fmla="*/ 1289044 w 1289044"/>
              <a:gd name="connsiteY2" fmla="*/ 859792 h 859792"/>
              <a:gd name="connsiteX3" fmla="*/ 0 w 1289044"/>
              <a:gd name="connsiteY3" fmla="*/ 859792 h 859792"/>
              <a:gd name="connsiteX4" fmla="*/ 0 w 1289044"/>
              <a:gd name="connsiteY4" fmla="*/ 0 h 859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044" h="859792">
                <a:moveTo>
                  <a:pt x="0" y="0"/>
                </a:moveTo>
                <a:lnTo>
                  <a:pt x="1289044" y="0"/>
                </a:lnTo>
                <a:lnTo>
                  <a:pt x="1289044" y="859792"/>
                </a:lnTo>
                <a:lnTo>
                  <a:pt x="0" y="859792"/>
                </a:lnTo>
                <a:lnTo>
                  <a:pt x="0" y="0"/>
                </a:lnTo>
                <a:close/>
              </a:path>
            </a:pathLst>
          </a:custGeom>
        </p:spPr>
        <p:style>
          <a:lnRef idx="2">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0">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06247" tIns="99568" rIns="99568" bIns="99568" numCol="1" spcCol="1270" anchor="ctr" anchorCtr="0">
            <a:noAutofit/>
          </a:bodyPr>
          <a:lstStyle/>
          <a:p>
            <a:pPr lvl="0" algn="r" defTabSz="622300">
              <a:lnSpc>
                <a:spcPct val="90000"/>
              </a:lnSpc>
              <a:spcBef>
                <a:spcPct val="0"/>
              </a:spcBef>
              <a:spcAft>
                <a:spcPct val="35000"/>
              </a:spcAft>
            </a:pPr>
            <a:endParaRPr lang="en-US" sz="1300" kern="1200" dirty="0"/>
          </a:p>
        </p:txBody>
      </p:sp>
      <p:sp>
        <p:nvSpPr>
          <p:cNvPr id="10" name="Freeform 9"/>
          <p:cNvSpPr/>
          <p:nvPr/>
        </p:nvSpPr>
        <p:spPr>
          <a:xfrm>
            <a:off x="1191142" y="2872243"/>
            <a:ext cx="1928051" cy="859792"/>
          </a:xfrm>
          <a:custGeom>
            <a:avLst/>
            <a:gdLst>
              <a:gd name="connsiteX0" fmla="*/ 0 w 1289044"/>
              <a:gd name="connsiteY0" fmla="*/ 0 h 859792"/>
              <a:gd name="connsiteX1" fmla="*/ 1289044 w 1289044"/>
              <a:gd name="connsiteY1" fmla="*/ 0 h 859792"/>
              <a:gd name="connsiteX2" fmla="*/ 1289044 w 1289044"/>
              <a:gd name="connsiteY2" fmla="*/ 859792 h 859792"/>
              <a:gd name="connsiteX3" fmla="*/ 0 w 1289044"/>
              <a:gd name="connsiteY3" fmla="*/ 859792 h 859792"/>
              <a:gd name="connsiteX4" fmla="*/ 0 w 1289044"/>
              <a:gd name="connsiteY4" fmla="*/ 0 h 859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044" h="859792">
                <a:moveTo>
                  <a:pt x="0" y="0"/>
                </a:moveTo>
                <a:lnTo>
                  <a:pt x="1289044" y="0"/>
                </a:lnTo>
                <a:lnTo>
                  <a:pt x="1289044" y="859792"/>
                </a:lnTo>
                <a:lnTo>
                  <a:pt x="0" y="859792"/>
                </a:lnTo>
                <a:lnTo>
                  <a:pt x="0" y="0"/>
                </a:lnTo>
                <a:close/>
              </a:path>
            </a:pathLst>
          </a:custGeom>
        </p:spPr>
        <p:style>
          <a:lnRef idx="2">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0">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06247" tIns="99568" rIns="99568" bIns="99568" numCol="1" spcCol="1270" anchor="ctr" anchorCtr="0">
            <a:noAutofit/>
          </a:bodyPr>
          <a:lstStyle/>
          <a:p>
            <a:pPr lvl="0" algn="r" defTabSz="622300">
              <a:lnSpc>
                <a:spcPct val="90000"/>
              </a:lnSpc>
              <a:spcBef>
                <a:spcPct val="0"/>
              </a:spcBef>
              <a:spcAft>
                <a:spcPct val="35000"/>
              </a:spcAft>
            </a:pPr>
            <a:endParaRPr lang="en-US" sz="1400" kern="1200" dirty="0"/>
          </a:p>
        </p:txBody>
      </p:sp>
      <p:sp>
        <p:nvSpPr>
          <p:cNvPr id="6" name="Double Wave 5"/>
          <p:cNvSpPr/>
          <p:nvPr/>
        </p:nvSpPr>
        <p:spPr bwMode="auto">
          <a:xfrm>
            <a:off x="791626" y="5742788"/>
            <a:ext cx="6097553" cy="703375"/>
          </a:xfrm>
          <a:prstGeom prst="doubleWave">
            <a:avLst/>
          </a:prstGeom>
          <a:solidFill>
            <a:srgbClr val="004B50"/>
          </a:solidFill>
          <a:ln>
            <a:headEnd type="none" w="med" len="med"/>
            <a:tailEnd type="none" w="med" len="med"/>
          </a:ln>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Plan choice change can cause these problems</a:t>
            </a:r>
          </a:p>
        </p:txBody>
      </p:sp>
      <p:sp>
        <p:nvSpPr>
          <p:cNvPr id="7" name="TextBox 6"/>
          <p:cNvSpPr txBox="1"/>
          <p:nvPr/>
        </p:nvSpPr>
        <p:spPr>
          <a:xfrm>
            <a:off x="1" y="6642289"/>
            <a:ext cx="3806190" cy="352236"/>
          </a:xfrm>
          <a:prstGeom prst="rect">
            <a:avLst/>
          </a:prstGeom>
          <a:noFill/>
        </p:spPr>
        <p:txBody>
          <a:bodyPr wrap="square" lIns="365760" tIns="146304" rIns="182880" bIns="146304" rtlCol="0" anchor="ctr" anchorCtr="0">
            <a:noAutofit/>
          </a:bodyPr>
          <a:lstStyle/>
          <a:p>
            <a:pPr>
              <a:lnSpc>
                <a:spcPct val="90000"/>
              </a:lnSpc>
              <a:spcAft>
                <a:spcPts val="600"/>
              </a:spcAft>
            </a:pPr>
            <a:r>
              <a:rPr lang="en-US" sz="14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
        <p:nvSpPr>
          <p:cNvPr id="14" name="Freeform 13"/>
          <p:cNvSpPr/>
          <p:nvPr/>
        </p:nvSpPr>
        <p:spPr>
          <a:xfrm>
            <a:off x="443641" y="2662778"/>
            <a:ext cx="1319054" cy="1274140"/>
          </a:xfrm>
          <a:custGeom>
            <a:avLst/>
            <a:gdLst>
              <a:gd name="connsiteX0" fmla="*/ 0 w 1033727"/>
              <a:gd name="connsiteY0" fmla="*/ 627335 h 1254669"/>
              <a:gd name="connsiteX1" fmla="*/ 516864 w 1033727"/>
              <a:gd name="connsiteY1" fmla="*/ 0 h 1254669"/>
              <a:gd name="connsiteX2" fmla="*/ 1033728 w 1033727"/>
              <a:gd name="connsiteY2" fmla="*/ 627335 h 1254669"/>
              <a:gd name="connsiteX3" fmla="*/ 516864 w 1033727"/>
              <a:gd name="connsiteY3" fmla="*/ 1254670 h 1254669"/>
              <a:gd name="connsiteX4" fmla="*/ 0 w 1033727"/>
              <a:gd name="connsiteY4" fmla="*/ 627335 h 1254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3727" h="1254669">
                <a:moveTo>
                  <a:pt x="0" y="627335"/>
                </a:moveTo>
                <a:cubicBezTo>
                  <a:pt x="0" y="280867"/>
                  <a:pt x="231408" y="0"/>
                  <a:pt x="516864" y="0"/>
                </a:cubicBezTo>
                <a:cubicBezTo>
                  <a:pt x="802320" y="0"/>
                  <a:pt x="1033728" y="280867"/>
                  <a:pt x="1033728" y="627335"/>
                </a:cubicBezTo>
                <a:cubicBezTo>
                  <a:pt x="1033728" y="973803"/>
                  <a:pt x="802320" y="1254670"/>
                  <a:pt x="516864" y="1254670"/>
                </a:cubicBezTo>
                <a:cubicBezTo>
                  <a:pt x="231408" y="1254670"/>
                  <a:pt x="0" y="973803"/>
                  <a:pt x="0" y="627335"/>
                </a:cubicBezTo>
                <a:close/>
              </a:path>
            </a:pathLst>
          </a:custGeom>
          <a:solidFill>
            <a:srgbClr val="A80000"/>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151386" tIns="183742" rIns="151386" bIns="183742" numCol="1" spcCol="1270" anchor="ctr" anchorCtr="0">
            <a:noAutofit/>
          </a:bodyPr>
          <a:lstStyle/>
          <a:p>
            <a:pPr lvl="0" algn="ctr" defTabSz="711200">
              <a:lnSpc>
                <a:spcPct val="90000"/>
              </a:lnSpc>
              <a:spcBef>
                <a:spcPct val="0"/>
              </a:spcBef>
              <a:spcAft>
                <a:spcPts val="0"/>
              </a:spcAft>
            </a:pPr>
            <a:r>
              <a:rPr lang="en-US" sz="1600" kern="1200" dirty="0"/>
              <a:t>Temporary</a:t>
            </a:r>
          </a:p>
          <a:p>
            <a:pPr lvl="0" algn="ctr" defTabSz="711200">
              <a:lnSpc>
                <a:spcPct val="90000"/>
              </a:lnSpc>
              <a:spcBef>
                <a:spcPct val="0"/>
              </a:spcBef>
              <a:spcAft>
                <a:spcPts val="0"/>
              </a:spcAft>
            </a:pPr>
            <a:r>
              <a:rPr lang="en-US" sz="1600" dirty="0"/>
              <a:t>perf issues</a:t>
            </a:r>
            <a:endParaRPr lang="en-US" sz="1600" kern="1200" dirty="0"/>
          </a:p>
        </p:txBody>
      </p:sp>
      <p:sp>
        <p:nvSpPr>
          <p:cNvPr id="15" name="Freeform 14"/>
          <p:cNvSpPr/>
          <p:nvPr/>
        </p:nvSpPr>
        <p:spPr>
          <a:xfrm>
            <a:off x="443641" y="1160114"/>
            <a:ext cx="1319054" cy="1274140"/>
          </a:xfrm>
          <a:custGeom>
            <a:avLst/>
            <a:gdLst>
              <a:gd name="connsiteX0" fmla="*/ 0 w 1033727"/>
              <a:gd name="connsiteY0" fmla="*/ 627335 h 1254669"/>
              <a:gd name="connsiteX1" fmla="*/ 516864 w 1033727"/>
              <a:gd name="connsiteY1" fmla="*/ 0 h 1254669"/>
              <a:gd name="connsiteX2" fmla="*/ 1033728 w 1033727"/>
              <a:gd name="connsiteY2" fmla="*/ 627335 h 1254669"/>
              <a:gd name="connsiteX3" fmla="*/ 516864 w 1033727"/>
              <a:gd name="connsiteY3" fmla="*/ 1254670 h 1254669"/>
              <a:gd name="connsiteX4" fmla="*/ 0 w 1033727"/>
              <a:gd name="connsiteY4" fmla="*/ 627335 h 1254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3727" h="1254669">
                <a:moveTo>
                  <a:pt x="0" y="627335"/>
                </a:moveTo>
                <a:cubicBezTo>
                  <a:pt x="0" y="280867"/>
                  <a:pt x="231408" y="0"/>
                  <a:pt x="516864" y="0"/>
                </a:cubicBezTo>
                <a:cubicBezTo>
                  <a:pt x="802320" y="0"/>
                  <a:pt x="1033728" y="280867"/>
                  <a:pt x="1033728" y="627335"/>
                </a:cubicBezTo>
                <a:cubicBezTo>
                  <a:pt x="1033728" y="973803"/>
                  <a:pt x="802320" y="1254670"/>
                  <a:pt x="516864" y="1254670"/>
                </a:cubicBezTo>
                <a:cubicBezTo>
                  <a:pt x="231408" y="1254670"/>
                  <a:pt x="0" y="973803"/>
                  <a:pt x="0" y="627335"/>
                </a:cubicBezTo>
                <a:close/>
              </a:path>
            </a:pathLst>
          </a:custGeom>
          <a:solidFill>
            <a:srgbClr val="A80000"/>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151386" tIns="183742" rIns="151386" bIns="183742" numCol="1" spcCol="1270" anchor="ctr" anchorCtr="0">
            <a:noAutofit/>
          </a:bodyPr>
          <a:lstStyle/>
          <a:p>
            <a:pPr lvl="0" algn="ctr" defTabSz="711200">
              <a:lnSpc>
                <a:spcPct val="90000"/>
              </a:lnSpc>
              <a:spcBef>
                <a:spcPct val="0"/>
              </a:spcBef>
              <a:spcAft>
                <a:spcPts val="0"/>
              </a:spcAft>
            </a:pPr>
            <a:r>
              <a:rPr lang="en-US" sz="1600" kern="1200" dirty="0"/>
              <a:t>Website</a:t>
            </a:r>
          </a:p>
          <a:p>
            <a:pPr lvl="0" algn="ctr" defTabSz="711200">
              <a:lnSpc>
                <a:spcPct val="90000"/>
              </a:lnSpc>
              <a:spcBef>
                <a:spcPct val="0"/>
              </a:spcBef>
              <a:spcAft>
                <a:spcPts val="0"/>
              </a:spcAft>
            </a:pPr>
            <a:r>
              <a:rPr lang="en-US" sz="1600" dirty="0"/>
              <a:t>Is down</a:t>
            </a:r>
            <a:endParaRPr lang="en-US" sz="1600" kern="1200" dirty="0"/>
          </a:p>
        </p:txBody>
      </p:sp>
      <p:sp>
        <p:nvSpPr>
          <p:cNvPr id="12" name="Freeform 11"/>
          <p:cNvSpPr/>
          <p:nvPr/>
        </p:nvSpPr>
        <p:spPr>
          <a:xfrm>
            <a:off x="1191142" y="4406656"/>
            <a:ext cx="1928051" cy="859792"/>
          </a:xfrm>
          <a:custGeom>
            <a:avLst/>
            <a:gdLst>
              <a:gd name="connsiteX0" fmla="*/ 0 w 1289044"/>
              <a:gd name="connsiteY0" fmla="*/ 0 h 859792"/>
              <a:gd name="connsiteX1" fmla="*/ 1289044 w 1289044"/>
              <a:gd name="connsiteY1" fmla="*/ 0 h 859792"/>
              <a:gd name="connsiteX2" fmla="*/ 1289044 w 1289044"/>
              <a:gd name="connsiteY2" fmla="*/ 859792 h 859792"/>
              <a:gd name="connsiteX3" fmla="*/ 0 w 1289044"/>
              <a:gd name="connsiteY3" fmla="*/ 859792 h 859792"/>
              <a:gd name="connsiteX4" fmla="*/ 0 w 1289044"/>
              <a:gd name="connsiteY4" fmla="*/ 0 h 859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044" h="859792">
                <a:moveTo>
                  <a:pt x="0" y="0"/>
                </a:moveTo>
                <a:lnTo>
                  <a:pt x="1289044" y="0"/>
                </a:lnTo>
                <a:lnTo>
                  <a:pt x="1289044" y="859792"/>
                </a:lnTo>
                <a:lnTo>
                  <a:pt x="0" y="859792"/>
                </a:lnTo>
                <a:lnTo>
                  <a:pt x="0" y="0"/>
                </a:lnTo>
                <a:close/>
              </a:path>
            </a:pathLst>
          </a:custGeom>
        </p:spPr>
        <p:style>
          <a:lnRef idx="2">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0">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06248" tIns="99568" rIns="99567" bIns="99568" numCol="1" spcCol="1270" anchor="ctr" anchorCtr="0">
            <a:noAutofit/>
          </a:bodyPr>
          <a:lstStyle/>
          <a:p>
            <a:pPr lvl="0" algn="r" defTabSz="622300">
              <a:lnSpc>
                <a:spcPct val="90000"/>
              </a:lnSpc>
              <a:spcBef>
                <a:spcPct val="0"/>
              </a:spcBef>
              <a:spcAft>
                <a:spcPct val="35000"/>
              </a:spcAft>
            </a:pPr>
            <a:endParaRPr lang="en-US" sz="1400" kern="1200" dirty="0"/>
          </a:p>
        </p:txBody>
      </p:sp>
      <p:sp>
        <p:nvSpPr>
          <p:cNvPr id="16" name="Freeform 15"/>
          <p:cNvSpPr/>
          <p:nvPr/>
        </p:nvSpPr>
        <p:spPr>
          <a:xfrm>
            <a:off x="443641" y="4199482"/>
            <a:ext cx="1319054" cy="1274140"/>
          </a:xfrm>
          <a:custGeom>
            <a:avLst/>
            <a:gdLst>
              <a:gd name="connsiteX0" fmla="*/ 0 w 1033727"/>
              <a:gd name="connsiteY0" fmla="*/ 627335 h 1254669"/>
              <a:gd name="connsiteX1" fmla="*/ 516864 w 1033727"/>
              <a:gd name="connsiteY1" fmla="*/ 0 h 1254669"/>
              <a:gd name="connsiteX2" fmla="*/ 1033728 w 1033727"/>
              <a:gd name="connsiteY2" fmla="*/ 627335 h 1254669"/>
              <a:gd name="connsiteX3" fmla="*/ 516864 w 1033727"/>
              <a:gd name="connsiteY3" fmla="*/ 1254670 h 1254669"/>
              <a:gd name="connsiteX4" fmla="*/ 0 w 1033727"/>
              <a:gd name="connsiteY4" fmla="*/ 627335 h 1254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3727" h="1254669">
                <a:moveTo>
                  <a:pt x="0" y="627335"/>
                </a:moveTo>
                <a:cubicBezTo>
                  <a:pt x="0" y="280867"/>
                  <a:pt x="231408" y="0"/>
                  <a:pt x="516864" y="0"/>
                </a:cubicBezTo>
                <a:cubicBezTo>
                  <a:pt x="802320" y="0"/>
                  <a:pt x="1033728" y="280867"/>
                  <a:pt x="1033728" y="627335"/>
                </a:cubicBezTo>
                <a:cubicBezTo>
                  <a:pt x="1033728" y="973803"/>
                  <a:pt x="802320" y="1254670"/>
                  <a:pt x="516864" y="1254670"/>
                </a:cubicBezTo>
                <a:cubicBezTo>
                  <a:pt x="231408" y="1254670"/>
                  <a:pt x="0" y="973803"/>
                  <a:pt x="0" y="627335"/>
                </a:cubicBezTo>
                <a:close/>
              </a:path>
            </a:pathLst>
          </a:custGeom>
          <a:solidFill>
            <a:srgbClr val="A80000"/>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151386" tIns="183742" rIns="151386" bIns="183742" numCol="1" spcCol="1270" anchor="ctr" anchorCtr="0">
            <a:noAutofit/>
          </a:bodyPr>
          <a:lstStyle/>
          <a:p>
            <a:pPr lvl="0" algn="ctr" defTabSz="711200">
              <a:lnSpc>
                <a:spcPct val="90000"/>
              </a:lnSpc>
              <a:spcBef>
                <a:spcPct val="0"/>
              </a:spcBef>
              <a:spcAft>
                <a:spcPts val="0"/>
              </a:spcAft>
            </a:pPr>
            <a:r>
              <a:rPr lang="en-US" sz="1600" kern="1200" dirty="0"/>
              <a:t>DB</a:t>
            </a:r>
          </a:p>
          <a:p>
            <a:pPr lvl="0" algn="ctr" defTabSz="711200">
              <a:lnSpc>
                <a:spcPct val="90000"/>
              </a:lnSpc>
              <a:spcBef>
                <a:spcPct val="0"/>
              </a:spcBef>
              <a:spcAft>
                <a:spcPts val="0"/>
              </a:spcAft>
            </a:pPr>
            <a:r>
              <a:rPr lang="en-US" sz="1600" dirty="0"/>
              <a:t>upgraded</a:t>
            </a:r>
            <a:endParaRPr lang="en-US" sz="1600" kern="1200" dirty="0"/>
          </a:p>
        </p:txBody>
      </p:sp>
      <p:sp>
        <p:nvSpPr>
          <p:cNvPr id="17" name="TextBox 16"/>
          <p:cNvSpPr txBox="1"/>
          <p:nvPr/>
        </p:nvSpPr>
        <p:spPr>
          <a:xfrm>
            <a:off x="1762695" y="1368832"/>
            <a:ext cx="1356498" cy="856704"/>
          </a:xfrm>
          <a:prstGeom prst="rect">
            <a:avLst/>
          </a:prstGeom>
          <a:noFill/>
        </p:spPr>
        <p:txBody>
          <a:bodyPr wrap="square" lIns="182880" tIns="146304" rIns="182880" bIns="146304" rtlCol="0" anchor="ctr" anchorCtr="0">
            <a:noAutofit/>
          </a:bodyPr>
          <a:lstStyle/>
          <a:p>
            <a:pPr lvl="0" algn="r">
              <a:lnSpc>
                <a:spcPct val="90000"/>
              </a:lnSpc>
              <a:spcAft>
                <a:spcPts val="600"/>
              </a:spcAft>
            </a:pPr>
            <a:r>
              <a:rPr lang="en-US" sz="1600" dirty="0">
                <a:latin typeface="+mn-lt"/>
              </a:rPr>
              <a:t>Database is not working</a:t>
            </a:r>
            <a:endParaRPr lang="en-US" sz="1600" dirty="0">
              <a:gradFill>
                <a:gsLst>
                  <a:gs pos="2917">
                    <a:schemeClr val="tx1"/>
                  </a:gs>
                  <a:gs pos="30000">
                    <a:schemeClr val="tx1"/>
                  </a:gs>
                </a:gsLst>
                <a:lin ang="5400000" scaled="0"/>
              </a:gradFill>
              <a:latin typeface="+mn-lt"/>
            </a:endParaRPr>
          </a:p>
        </p:txBody>
      </p:sp>
      <p:sp>
        <p:nvSpPr>
          <p:cNvPr id="18" name="TextBox 17"/>
          <p:cNvSpPr txBox="1"/>
          <p:nvPr/>
        </p:nvSpPr>
        <p:spPr>
          <a:xfrm>
            <a:off x="1614675" y="2858785"/>
            <a:ext cx="1507586" cy="882127"/>
          </a:xfrm>
          <a:prstGeom prst="rect">
            <a:avLst/>
          </a:prstGeom>
          <a:noFill/>
        </p:spPr>
        <p:txBody>
          <a:bodyPr wrap="square" lIns="182880" tIns="146304" rIns="182880" bIns="146304" rtlCol="0">
            <a:noAutofit/>
          </a:bodyPr>
          <a:lstStyle/>
          <a:p>
            <a:pPr lvl="0" algn="r" defTabSz="622300">
              <a:lnSpc>
                <a:spcPct val="90000"/>
              </a:lnSpc>
              <a:spcAft>
                <a:spcPct val="35000"/>
              </a:spcAft>
            </a:pPr>
            <a:r>
              <a:rPr lang="en-US" sz="1600" dirty="0"/>
              <a:t>Impossible to predict / root cause</a:t>
            </a:r>
          </a:p>
        </p:txBody>
      </p:sp>
      <p:sp>
        <p:nvSpPr>
          <p:cNvPr id="20" name="TextBox 19"/>
          <p:cNvSpPr txBox="1"/>
          <p:nvPr/>
        </p:nvSpPr>
        <p:spPr>
          <a:xfrm>
            <a:off x="1614675" y="4400017"/>
            <a:ext cx="1507586" cy="868914"/>
          </a:xfrm>
          <a:prstGeom prst="rect">
            <a:avLst/>
          </a:prstGeom>
          <a:noFill/>
        </p:spPr>
        <p:txBody>
          <a:bodyPr wrap="square" lIns="182880" tIns="146304" rIns="182880" bIns="146304" rtlCol="0">
            <a:noAutofit/>
          </a:bodyPr>
          <a:lstStyle/>
          <a:p>
            <a:pPr lvl="0" algn="r" defTabSz="622300">
              <a:lnSpc>
                <a:spcPct val="90000"/>
              </a:lnSpc>
              <a:spcAft>
                <a:spcPct val="35000"/>
              </a:spcAft>
            </a:pPr>
            <a:r>
              <a:rPr lang="en-US" sz="1600" dirty="0"/>
              <a:t>Regression caused by new bits</a:t>
            </a:r>
          </a:p>
        </p:txBody>
      </p:sp>
    </p:spTree>
    <p:extLst>
      <p:ext uri="{BB962C8B-B14F-4D97-AF65-F5344CB8AC3E}">
        <p14:creationId xmlns:p14="http://schemas.microsoft.com/office/powerpoint/2010/main" val="4025357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ircle(in)">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307689" y="439991"/>
            <a:ext cx="11888787" cy="917575"/>
          </a:xfrm>
        </p:spPr>
        <p:txBody>
          <a:bodyPr/>
          <a:lstStyle/>
          <a:p>
            <a:r>
              <a:rPr lang="en-US" dirty="0"/>
              <a:t>The solution: Query Store</a:t>
            </a:r>
          </a:p>
        </p:txBody>
      </p:sp>
      <p:sp>
        <p:nvSpPr>
          <p:cNvPr id="10" name="Text Placeholder 9"/>
          <p:cNvSpPr>
            <a:spLocks noGrp="1"/>
          </p:cNvSpPr>
          <p:nvPr>
            <p:ph type="body" sz="quarter" idx="4294967295"/>
          </p:nvPr>
        </p:nvSpPr>
        <p:spPr>
          <a:xfrm>
            <a:off x="549275" y="1708796"/>
            <a:ext cx="11887200" cy="4090425"/>
          </a:xfrm>
        </p:spPr>
        <p:txBody>
          <a:bodyPr/>
          <a:lstStyle/>
          <a:p>
            <a:pPr marL="0" indent="0">
              <a:buNone/>
            </a:pPr>
            <a:r>
              <a:rPr lang="en-US" sz="3200" dirty="0">
                <a:solidFill>
                  <a:srgbClr val="C00000"/>
                </a:solidFill>
                <a:latin typeface="Segoe UI Semilight" panose="020B0402040204020203" pitchFamily="34" charset="0"/>
                <a:cs typeface="Segoe UI Semilight" panose="020B0402040204020203" pitchFamily="34" charset="0"/>
              </a:rPr>
              <a:t>Dedicated store for query workload performance data </a:t>
            </a:r>
          </a:p>
          <a:p>
            <a:pPr marL="342000" indent="0">
              <a:buNone/>
            </a:pPr>
            <a:r>
              <a:rPr lang="en-US" sz="1800" dirty="0">
                <a:solidFill>
                  <a:schemeClr val="tx1"/>
                </a:solidFill>
                <a:latin typeface="+mn-lt"/>
              </a:rPr>
              <a:t>Captures the history of plans for each query</a:t>
            </a:r>
          </a:p>
          <a:p>
            <a:pPr marL="342000" indent="0">
              <a:buNone/>
            </a:pPr>
            <a:r>
              <a:rPr lang="en-US" sz="1800" dirty="0">
                <a:solidFill>
                  <a:schemeClr val="tx1"/>
                </a:solidFill>
                <a:latin typeface="+mn-lt"/>
              </a:rPr>
              <a:t>Captures the performance of each plan over time</a:t>
            </a:r>
          </a:p>
          <a:p>
            <a:pPr marL="342000" indent="0">
              <a:buNone/>
            </a:pPr>
            <a:r>
              <a:rPr lang="en-US" sz="1800" dirty="0">
                <a:solidFill>
                  <a:schemeClr val="tx1"/>
                </a:solidFill>
                <a:latin typeface="+mn-lt"/>
              </a:rPr>
              <a:t>Persists the data to disk (works across restarts, upgrades, and recompiles)</a:t>
            </a:r>
          </a:p>
          <a:p>
            <a:pPr marL="342000" indent="0">
              <a:buNone/>
            </a:pPr>
            <a:endParaRPr lang="en-US" sz="1800" dirty="0">
              <a:solidFill>
                <a:schemeClr val="tx1"/>
              </a:solidFill>
              <a:latin typeface="Segoe UI Semilight" panose="020B0402040204020203" pitchFamily="34" charset="0"/>
              <a:cs typeface="Segoe UI Semilight" panose="020B0402040204020203" pitchFamily="34" charset="0"/>
            </a:endParaRPr>
          </a:p>
          <a:p>
            <a:pPr marL="0" indent="0">
              <a:buNone/>
            </a:pPr>
            <a:r>
              <a:rPr lang="en-US" sz="3200" dirty="0">
                <a:solidFill>
                  <a:srgbClr val="C00000"/>
                </a:solidFill>
                <a:latin typeface="Segoe UI Semilight" panose="020B0402040204020203" pitchFamily="34" charset="0"/>
                <a:cs typeface="Segoe UI Semilight" panose="020B0402040204020203" pitchFamily="34" charset="0"/>
              </a:rPr>
              <a:t>Significantly reduces Time To (Detect or Resolve)</a:t>
            </a:r>
          </a:p>
          <a:p>
            <a:pPr marL="342000" indent="0">
              <a:buNone/>
            </a:pPr>
            <a:r>
              <a:rPr lang="en-US" sz="1800" dirty="0">
                <a:solidFill>
                  <a:schemeClr val="tx1"/>
                </a:solidFill>
                <a:latin typeface="+mn-lt"/>
              </a:rPr>
              <a:t>Find regressions and other issues in seconds</a:t>
            </a:r>
          </a:p>
          <a:p>
            <a:pPr marL="342000" indent="0">
              <a:buNone/>
            </a:pPr>
            <a:r>
              <a:rPr lang="en-US" sz="1800" dirty="0">
                <a:solidFill>
                  <a:schemeClr val="tx1"/>
                </a:solidFill>
                <a:latin typeface="+mn-lt"/>
              </a:rPr>
              <a:t>Allows you to force previous plans from history</a:t>
            </a:r>
          </a:p>
          <a:p>
            <a:pPr marL="342000" indent="0">
              <a:buNone/>
            </a:pPr>
            <a:endParaRPr lang="en-US" sz="1800" dirty="0">
              <a:solidFill>
                <a:schemeClr val="tx1"/>
              </a:solidFill>
            </a:endParaRPr>
          </a:p>
          <a:p>
            <a:pPr marL="0" indent="0">
              <a:buNone/>
            </a:pPr>
            <a:r>
              <a:rPr lang="en-US" sz="3200" dirty="0">
                <a:solidFill>
                  <a:srgbClr val="C00000"/>
                </a:solidFill>
                <a:latin typeface="Segoe UI Semilight" panose="020B0402040204020203" pitchFamily="34" charset="0"/>
                <a:cs typeface="Segoe UI Semilight" panose="020B0402040204020203" pitchFamily="34" charset="0"/>
              </a:rPr>
              <a:t>DBA is now in control</a:t>
            </a:r>
          </a:p>
        </p:txBody>
      </p:sp>
      <p:sp>
        <p:nvSpPr>
          <p:cNvPr id="68" name="Title 16"/>
          <p:cNvSpPr txBox="1">
            <a:spLocks/>
          </p:cNvSpPr>
          <p:nvPr/>
        </p:nvSpPr>
        <p:spPr>
          <a:xfrm>
            <a:off x="272275" y="295275"/>
            <a:ext cx="11889564" cy="917575"/>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a:gradFill>
                <a:gsLst>
                  <a:gs pos="1250">
                    <a:srgbClr val="FFFFFF"/>
                  </a:gs>
                  <a:gs pos="100000">
                    <a:srgbClr val="FFFFFF"/>
                  </a:gs>
                </a:gsLst>
                <a:lin ang="5400000" scaled="0"/>
              </a:gradFill>
            </a:endParaRPr>
          </a:p>
        </p:txBody>
      </p:sp>
      <p:sp>
        <p:nvSpPr>
          <p:cNvPr id="5" name="TextBox 4"/>
          <p:cNvSpPr txBox="1"/>
          <p:nvPr/>
        </p:nvSpPr>
        <p:spPr>
          <a:xfrm>
            <a:off x="1" y="6642289"/>
            <a:ext cx="3806190" cy="352236"/>
          </a:xfrm>
          <a:prstGeom prst="rect">
            <a:avLst/>
          </a:prstGeom>
          <a:noFill/>
        </p:spPr>
        <p:txBody>
          <a:bodyPr wrap="square" lIns="365760" tIns="146304" rIns="182880" bIns="146304" rtlCol="0" anchor="ctr" anchorCtr="0">
            <a:noAutofit/>
          </a:bodyPr>
          <a:lstStyle/>
          <a:p>
            <a:pPr>
              <a:lnSpc>
                <a:spcPct val="90000"/>
              </a:lnSpc>
              <a:spcAft>
                <a:spcPts val="600"/>
              </a:spcAft>
            </a:pPr>
            <a:r>
              <a:rPr lang="en-US" sz="14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101660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2"/>
          <p:cNvGrpSpPr/>
          <p:nvPr/>
        </p:nvGrpSpPr>
        <p:grpSpPr>
          <a:xfrm>
            <a:off x="-1200" y="6642289"/>
            <a:ext cx="12436794" cy="360996"/>
            <a:chOff x="2577137" y="4571778"/>
            <a:chExt cx="9101124" cy="1390560"/>
          </a:xfrm>
        </p:grpSpPr>
        <p:sp>
          <p:nvSpPr>
            <p:cNvPr id="69" name="TextBox 68"/>
            <p:cNvSpPr txBox="1"/>
            <p:nvPr/>
          </p:nvSpPr>
          <p:spPr>
            <a:xfrm>
              <a:off x="2577137" y="4571778"/>
              <a:ext cx="3034890" cy="1390458"/>
            </a:xfrm>
            <a:prstGeom prst="rect">
              <a:avLst/>
            </a:prstGeom>
            <a:solidFill>
              <a:schemeClr val="accent4"/>
            </a:solidFill>
          </p:spPr>
          <p:txBody>
            <a:bodyPr wrap="square" lIns="457135" tIns="137141" rIns="365707" rtlCol="0">
              <a:noAutofit/>
            </a:bodyPr>
            <a:lstStyle/>
            <a:p>
              <a:pPr defTabSz="932515" fontAlgn="auto">
                <a:lnSpc>
                  <a:spcPts val="3060"/>
                </a:lnSpc>
                <a:spcBef>
                  <a:spcPts val="0"/>
                </a:spcBef>
                <a:spcAft>
                  <a:spcPts val="0"/>
                </a:spcAft>
              </a:pPr>
              <a:r>
                <a:rPr lang="en-US" sz="2856" dirty="0">
                  <a:solidFill>
                    <a:srgbClr val="FFFFFF"/>
                  </a:solidFill>
                  <a:latin typeface="Segoe UI Light"/>
                  <a:ea typeface="+mn-ea"/>
                  <a:cs typeface="+mn-cs"/>
                </a:rPr>
                <a:t> </a:t>
              </a:r>
            </a:p>
          </p:txBody>
        </p:sp>
        <p:sp>
          <p:nvSpPr>
            <p:cNvPr id="70" name="TextBox 69"/>
            <p:cNvSpPr txBox="1"/>
            <p:nvPr/>
          </p:nvSpPr>
          <p:spPr>
            <a:xfrm>
              <a:off x="5612027" y="4572324"/>
              <a:ext cx="6066234" cy="1390014"/>
            </a:xfrm>
            <a:prstGeom prst="rect">
              <a:avLst/>
            </a:prstGeom>
            <a:solidFill>
              <a:schemeClr val="accent4">
                <a:lumMod val="75000"/>
              </a:schemeClr>
            </a:solidFill>
          </p:spPr>
          <p:txBody>
            <a:bodyPr wrap="square" lIns="457135" tIns="137141" rIns="639989" rtlCol="0">
              <a:noAutofit/>
            </a:bodyPr>
            <a:lstStyle/>
            <a:p>
              <a:pPr defTabSz="932055" fontAlgn="auto">
                <a:lnSpc>
                  <a:spcPts val="3001"/>
                </a:lnSpc>
                <a:spcBef>
                  <a:spcPts val="0"/>
                </a:spcBef>
                <a:spcAft>
                  <a:spcPts val="0"/>
                </a:spcAft>
                <a:defRPr/>
              </a:pPr>
              <a:endParaRPr lang="en-US" sz="2856" kern="0" dirty="0">
                <a:solidFill>
                  <a:srgbClr val="FFFFFF"/>
                </a:solidFill>
                <a:latin typeface="Segoe UI Light"/>
                <a:ea typeface="+mn-ea"/>
                <a:cs typeface="+mn-cs"/>
              </a:endParaRPr>
            </a:p>
          </p:txBody>
        </p:sp>
      </p:grpSp>
      <p:grpSp>
        <p:nvGrpSpPr>
          <p:cNvPr id="2" name="Group 1"/>
          <p:cNvGrpSpPr/>
          <p:nvPr/>
        </p:nvGrpSpPr>
        <p:grpSpPr>
          <a:xfrm>
            <a:off x="361724" y="1548435"/>
            <a:ext cx="6888934" cy="3737652"/>
            <a:chOff x="5750374" y="1548435"/>
            <a:chExt cx="6888934" cy="3737652"/>
          </a:xfrm>
        </p:grpSpPr>
        <p:cxnSp>
          <p:nvCxnSpPr>
            <p:cNvPr id="27" name="Straight Arrow Connector 26"/>
            <p:cNvCxnSpPr/>
            <p:nvPr/>
          </p:nvCxnSpPr>
          <p:spPr>
            <a:xfrm>
              <a:off x="6331533" y="2933557"/>
              <a:ext cx="0" cy="512981"/>
            </a:xfrm>
            <a:prstGeom prst="straightConnector1">
              <a:avLst/>
            </a:prstGeom>
            <a:ln w="254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6331533" y="2024056"/>
              <a:ext cx="0" cy="222747"/>
            </a:xfrm>
            <a:prstGeom prst="straightConnector1">
              <a:avLst/>
            </a:prstGeom>
            <a:ln w="254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rot="16200000">
              <a:off x="7451522" y="1979159"/>
              <a:ext cx="0" cy="1209583"/>
            </a:xfrm>
            <a:prstGeom prst="straightConnector1">
              <a:avLst/>
            </a:prstGeom>
            <a:ln w="254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rot="16200000">
              <a:off x="7451522" y="3167983"/>
              <a:ext cx="0" cy="1209583"/>
            </a:xfrm>
            <a:prstGeom prst="straightConnector1">
              <a:avLst/>
            </a:prstGeom>
            <a:ln w="254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758947" y="2340703"/>
              <a:ext cx="1515831" cy="183297"/>
            </a:xfrm>
            <a:prstGeom prst="rect">
              <a:avLst/>
            </a:prstGeom>
            <a:noFill/>
          </p:spPr>
          <p:txBody>
            <a:bodyPr wrap="square" lIns="0" tIns="0" rIns="0" bIns="0"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Compile MSG</a:t>
              </a:r>
            </a:p>
          </p:txBody>
        </p:sp>
        <p:sp>
          <p:nvSpPr>
            <p:cNvPr id="32" name="TextBox 31"/>
            <p:cNvSpPr txBox="1"/>
            <p:nvPr/>
          </p:nvSpPr>
          <p:spPr>
            <a:xfrm>
              <a:off x="6758947" y="3530483"/>
              <a:ext cx="1515831" cy="183297"/>
            </a:xfrm>
            <a:prstGeom prst="rect">
              <a:avLst/>
            </a:prstGeom>
            <a:noFill/>
          </p:spPr>
          <p:txBody>
            <a:bodyPr wrap="square" lIns="0" tIns="0" rIns="0" bIns="0"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Execute MSG</a:t>
              </a:r>
            </a:p>
          </p:txBody>
        </p:sp>
        <p:sp>
          <p:nvSpPr>
            <p:cNvPr id="25" name="Rectangle 24"/>
            <p:cNvSpPr/>
            <p:nvPr/>
          </p:nvSpPr>
          <p:spPr bwMode="auto">
            <a:xfrm>
              <a:off x="8116753" y="1548435"/>
              <a:ext cx="3767993" cy="3151527"/>
            </a:xfrm>
            <a:prstGeom prst="rect">
              <a:avLst/>
            </a:prstGeom>
            <a:solidFill>
              <a:schemeClr val="bg1">
                <a:lumMod val="95000"/>
              </a:schemeClr>
            </a:solidFill>
            <a:ln w="635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err="1">
                <a:solidFill>
                  <a:schemeClr val="bg1"/>
                </a:solidFill>
                <a:latin typeface="+mj-lt"/>
                <a:ea typeface="Segoe UI" pitchFamily="34" charset="0"/>
                <a:cs typeface="Segoe UI" pitchFamily="34" charset="0"/>
              </a:endParaRPr>
            </a:p>
          </p:txBody>
        </p:sp>
        <p:sp>
          <p:nvSpPr>
            <p:cNvPr id="34" name="TextBox 33"/>
            <p:cNvSpPr txBox="1"/>
            <p:nvPr/>
          </p:nvSpPr>
          <p:spPr>
            <a:xfrm>
              <a:off x="8699171" y="1570394"/>
              <a:ext cx="2586676" cy="522243"/>
            </a:xfrm>
            <a:prstGeom prst="rect">
              <a:avLst/>
            </a:prstGeom>
            <a:noFill/>
          </p:spPr>
          <p:txBody>
            <a:bodyPr wrap="square" lIns="182880" tIns="146304" rIns="182880" bIns="146304" rtlCol="0">
              <a:noAutofit/>
            </a:bodyPr>
            <a:lstStyle/>
            <a:p>
              <a:pPr algn="ctr">
                <a:lnSpc>
                  <a:spcPct val="90000"/>
                </a:lnSpc>
                <a:spcAft>
                  <a:spcPts val="600"/>
                </a:spcAft>
              </a:pPr>
              <a:r>
                <a:rPr lang="en-US" sz="2400" dirty="0">
                  <a:gradFill>
                    <a:gsLst>
                      <a:gs pos="2917">
                        <a:schemeClr val="tx1"/>
                      </a:gs>
                      <a:gs pos="30000">
                        <a:schemeClr val="tx1"/>
                      </a:gs>
                    </a:gsLst>
                    <a:lin ang="5400000" scaled="0"/>
                  </a:gradFill>
                </a:rPr>
                <a:t>Query Store</a:t>
              </a:r>
            </a:p>
          </p:txBody>
        </p:sp>
        <p:cxnSp>
          <p:nvCxnSpPr>
            <p:cNvPr id="35" name="Straight Arrow Connector 34"/>
            <p:cNvCxnSpPr/>
            <p:nvPr/>
          </p:nvCxnSpPr>
          <p:spPr>
            <a:xfrm>
              <a:off x="9648166" y="2583951"/>
              <a:ext cx="657263" cy="451746"/>
            </a:xfrm>
            <a:prstGeom prst="straightConnector1">
              <a:avLst/>
            </a:prstGeom>
            <a:ln w="254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9635637" y="3241588"/>
              <a:ext cx="668603" cy="531187"/>
            </a:xfrm>
            <a:prstGeom prst="straightConnector1">
              <a:avLst/>
            </a:prstGeom>
            <a:ln w="254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7953249" y="4763844"/>
              <a:ext cx="4686059" cy="522243"/>
            </a:xfrm>
            <a:prstGeom prst="rect">
              <a:avLst/>
            </a:prstGeom>
            <a:noFill/>
          </p:spPr>
          <p:txBody>
            <a:bodyPr wrap="square" lIns="182880" tIns="146304" rIns="182880" bIns="146304" rtlCol="0">
              <a:noAutofit/>
            </a:bodyPr>
            <a:lstStyle/>
            <a:p>
              <a:pPr>
                <a:lnSpc>
                  <a:spcPct val="90000"/>
                </a:lnSpc>
                <a:spcAft>
                  <a:spcPts val="600"/>
                </a:spcAft>
              </a:pPr>
              <a:r>
                <a:rPr lang="en-US" sz="1600" dirty="0"/>
                <a:t>Durability latency controlled by DB option</a:t>
              </a:r>
            </a:p>
            <a:p>
              <a:pPr>
                <a:lnSpc>
                  <a:spcPct val="90000"/>
                </a:lnSpc>
                <a:spcAft>
                  <a:spcPts val="600"/>
                </a:spcAft>
              </a:pPr>
              <a:r>
                <a:rPr lang="en-US" sz="1600" dirty="0">
                  <a:solidFill>
                    <a:schemeClr val="accent4"/>
                  </a:solidFill>
                </a:rPr>
                <a:t>DATA_FLUSH_INTERNAL_SECONDS</a:t>
              </a:r>
            </a:p>
          </p:txBody>
        </p:sp>
        <p:sp>
          <p:nvSpPr>
            <p:cNvPr id="41" name="TextBox 40"/>
            <p:cNvSpPr txBox="1"/>
            <p:nvPr/>
          </p:nvSpPr>
          <p:spPr>
            <a:xfrm>
              <a:off x="9261625" y="4332087"/>
              <a:ext cx="1515831" cy="183297"/>
            </a:xfrm>
            <a:prstGeom prst="rect">
              <a:avLst/>
            </a:prstGeom>
            <a:noFill/>
          </p:spPr>
          <p:txBody>
            <a:bodyPr wrap="square" lIns="0" tIns="0" rIns="0" bIns="0" rtlCol="0">
              <a:spAutoFit/>
            </a:bodyPr>
            <a:lstStyle/>
            <a:p>
              <a:pPr algn="ctr">
                <a:lnSpc>
                  <a:spcPct val="90000"/>
                </a:lnSpc>
                <a:spcAft>
                  <a:spcPts val="600"/>
                </a:spcAft>
              </a:pPr>
              <a:r>
                <a:rPr lang="en-US" sz="1400" dirty="0" err="1">
                  <a:gradFill>
                    <a:gsLst>
                      <a:gs pos="2917">
                        <a:schemeClr val="tx1"/>
                      </a:gs>
                      <a:gs pos="30000">
                        <a:schemeClr val="tx1"/>
                      </a:gs>
                    </a:gsLst>
                    <a:lin ang="5400000" scaled="0"/>
                  </a:gradFill>
                </a:rPr>
                <a:t>Async</a:t>
              </a:r>
              <a:r>
                <a:rPr lang="en-US" sz="1400" dirty="0">
                  <a:gradFill>
                    <a:gsLst>
                      <a:gs pos="2917">
                        <a:schemeClr val="tx1"/>
                      </a:gs>
                      <a:gs pos="30000">
                        <a:schemeClr val="tx1"/>
                      </a:gs>
                    </a:gsLst>
                    <a:lin ang="5400000" scaled="0"/>
                  </a:gradFill>
                </a:rPr>
                <a:t> Write-Back</a:t>
              </a:r>
            </a:p>
          </p:txBody>
        </p:sp>
        <p:cxnSp>
          <p:nvCxnSpPr>
            <p:cNvPr id="38" name="Straight Arrow Connector 37"/>
            <p:cNvCxnSpPr/>
            <p:nvPr/>
          </p:nvCxnSpPr>
          <p:spPr>
            <a:xfrm flipV="1">
              <a:off x="10003025" y="3534666"/>
              <a:ext cx="0" cy="720868"/>
            </a:xfrm>
            <a:prstGeom prst="straightConnector1">
              <a:avLst/>
            </a:prstGeom>
            <a:ln w="254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7" name="Group 106"/>
            <p:cNvGrpSpPr/>
            <p:nvPr/>
          </p:nvGrpSpPr>
          <p:grpSpPr>
            <a:xfrm>
              <a:off x="5765273" y="2258947"/>
              <a:ext cx="1153875" cy="686192"/>
              <a:chOff x="5765273" y="2605240"/>
              <a:chExt cx="1153875" cy="686192"/>
            </a:xfrm>
          </p:grpSpPr>
          <p:sp>
            <p:nvSpPr>
              <p:cNvPr id="76" name="Rectangle 75"/>
              <p:cNvSpPr/>
              <p:nvPr/>
            </p:nvSpPr>
            <p:spPr bwMode="auto">
              <a:xfrm>
                <a:off x="5765273" y="3245713"/>
                <a:ext cx="1153875" cy="4571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err="1">
                  <a:solidFill>
                    <a:schemeClr val="bg1"/>
                  </a:solidFill>
                  <a:latin typeface="+mj-lt"/>
                  <a:ea typeface="Segoe UI" pitchFamily="34" charset="0"/>
                  <a:cs typeface="Segoe UI" pitchFamily="34" charset="0"/>
                </a:endParaRPr>
              </a:p>
            </p:txBody>
          </p:sp>
          <p:sp>
            <p:nvSpPr>
              <p:cNvPr id="46" name="Rectangle 45"/>
              <p:cNvSpPr/>
              <p:nvPr/>
            </p:nvSpPr>
            <p:spPr bwMode="auto">
              <a:xfrm>
                <a:off x="5765642" y="2605240"/>
                <a:ext cx="1153506" cy="65000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latin typeface="Segoe UI" panose="020B0502040204020203" pitchFamily="34" charset="0"/>
                    <a:cs typeface="Segoe UI" panose="020B0502040204020203" pitchFamily="34" charset="0"/>
                  </a:rPr>
                  <a:t>Compile</a:t>
                </a:r>
              </a:p>
            </p:txBody>
          </p:sp>
        </p:grpSp>
        <p:grpSp>
          <p:nvGrpSpPr>
            <p:cNvPr id="108" name="Group 107"/>
            <p:cNvGrpSpPr/>
            <p:nvPr/>
          </p:nvGrpSpPr>
          <p:grpSpPr>
            <a:xfrm>
              <a:off x="5765273" y="3447771"/>
              <a:ext cx="1153875" cy="686935"/>
              <a:chOff x="5765273" y="3794064"/>
              <a:chExt cx="1153875" cy="686935"/>
            </a:xfrm>
          </p:grpSpPr>
          <p:sp>
            <p:nvSpPr>
              <p:cNvPr id="75" name="Rectangle 74"/>
              <p:cNvSpPr/>
              <p:nvPr/>
            </p:nvSpPr>
            <p:spPr bwMode="auto">
              <a:xfrm>
                <a:off x="5765273" y="4435280"/>
                <a:ext cx="1153875" cy="4571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err="1">
                  <a:solidFill>
                    <a:schemeClr val="bg1"/>
                  </a:solidFill>
                  <a:latin typeface="+mj-lt"/>
                  <a:ea typeface="Segoe UI" pitchFamily="34" charset="0"/>
                  <a:cs typeface="Segoe UI" pitchFamily="34" charset="0"/>
                </a:endParaRPr>
              </a:p>
            </p:txBody>
          </p:sp>
          <p:sp>
            <p:nvSpPr>
              <p:cNvPr id="48" name="Rectangle 47"/>
              <p:cNvSpPr/>
              <p:nvPr/>
            </p:nvSpPr>
            <p:spPr bwMode="auto">
              <a:xfrm>
                <a:off x="5765642" y="3794064"/>
                <a:ext cx="1153506" cy="65000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latin typeface="Segoe UI" panose="020B0502040204020203" pitchFamily="34" charset="0"/>
                    <a:cs typeface="Segoe UI" panose="020B0502040204020203" pitchFamily="34" charset="0"/>
                  </a:rPr>
                  <a:t>Execute</a:t>
                </a:r>
              </a:p>
            </p:txBody>
          </p:sp>
        </p:grpSp>
        <p:sp>
          <p:nvSpPr>
            <p:cNvPr id="72" name="TextBox 71"/>
            <p:cNvSpPr txBox="1"/>
            <p:nvPr/>
          </p:nvSpPr>
          <p:spPr>
            <a:xfrm>
              <a:off x="5750374" y="1570394"/>
              <a:ext cx="1153506" cy="522243"/>
            </a:xfrm>
            <a:prstGeom prst="rect">
              <a:avLst/>
            </a:prstGeom>
            <a:noFill/>
          </p:spPr>
          <p:txBody>
            <a:bodyPr wrap="square" lIns="182880" tIns="146304" rIns="182880" bIns="146304" rtlCol="0">
              <a:noAutofit/>
            </a:bodyPr>
            <a:lstStyle/>
            <a:p>
              <a:pPr algn="ctr">
                <a:lnSpc>
                  <a:spcPct val="90000"/>
                </a:lnSpc>
                <a:spcAft>
                  <a:spcPts val="600"/>
                </a:spcAft>
              </a:pPr>
              <a:r>
                <a:rPr lang="en-US" sz="2400" dirty="0">
                  <a:gradFill>
                    <a:gsLst>
                      <a:gs pos="2917">
                        <a:schemeClr val="tx1"/>
                      </a:gs>
                      <a:gs pos="30000">
                        <a:schemeClr val="tx1"/>
                      </a:gs>
                    </a:gsLst>
                    <a:lin ang="5400000" scaled="0"/>
                  </a:gradFill>
                </a:rPr>
                <a:t>SQL</a:t>
              </a:r>
            </a:p>
          </p:txBody>
        </p:sp>
        <p:grpSp>
          <p:nvGrpSpPr>
            <p:cNvPr id="109" name="Group 108"/>
            <p:cNvGrpSpPr/>
            <p:nvPr/>
          </p:nvGrpSpPr>
          <p:grpSpPr>
            <a:xfrm>
              <a:off x="8347648" y="2258947"/>
              <a:ext cx="1343018" cy="690255"/>
              <a:chOff x="8347648" y="2605240"/>
              <a:chExt cx="1343018" cy="690255"/>
            </a:xfrm>
          </p:grpSpPr>
          <p:sp>
            <p:nvSpPr>
              <p:cNvPr id="78" name="Rectangle 77"/>
              <p:cNvSpPr/>
              <p:nvPr/>
            </p:nvSpPr>
            <p:spPr bwMode="auto">
              <a:xfrm>
                <a:off x="8347648" y="3249776"/>
                <a:ext cx="1338524" cy="4571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err="1">
                  <a:solidFill>
                    <a:schemeClr val="bg1"/>
                  </a:solidFill>
                  <a:latin typeface="+mj-lt"/>
                  <a:ea typeface="Segoe UI" pitchFamily="34" charset="0"/>
                  <a:cs typeface="Segoe UI" pitchFamily="34" charset="0"/>
                </a:endParaRPr>
              </a:p>
            </p:txBody>
          </p:sp>
          <p:sp>
            <p:nvSpPr>
              <p:cNvPr id="100" name="Rectangle 99"/>
              <p:cNvSpPr/>
              <p:nvPr/>
            </p:nvSpPr>
            <p:spPr bwMode="auto">
              <a:xfrm>
                <a:off x="8350576" y="2605240"/>
                <a:ext cx="1340090" cy="65000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latin typeface="Segoe UI" panose="020B0502040204020203" pitchFamily="34" charset="0"/>
                    <a:cs typeface="Segoe UI" panose="020B0502040204020203" pitchFamily="34" charset="0"/>
                  </a:rPr>
                  <a:t>Plan store</a:t>
                </a:r>
              </a:p>
            </p:txBody>
          </p:sp>
        </p:grpSp>
        <p:grpSp>
          <p:nvGrpSpPr>
            <p:cNvPr id="110" name="Group 109"/>
            <p:cNvGrpSpPr/>
            <p:nvPr/>
          </p:nvGrpSpPr>
          <p:grpSpPr>
            <a:xfrm>
              <a:off x="8346082" y="3447771"/>
              <a:ext cx="1340090" cy="690453"/>
              <a:chOff x="8346082" y="3794064"/>
              <a:chExt cx="1340090" cy="690453"/>
            </a:xfrm>
          </p:grpSpPr>
          <p:sp>
            <p:nvSpPr>
              <p:cNvPr id="101" name="Rectangle 100"/>
              <p:cNvSpPr/>
              <p:nvPr/>
            </p:nvSpPr>
            <p:spPr bwMode="auto">
              <a:xfrm>
                <a:off x="8347648" y="4438798"/>
                <a:ext cx="1338524" cy="4571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err="1">
                  <a:solidFill>
                    <a:schemeClr val="bg1"/>
                  </a:solidFill>
                  <a:latin typeface="+mj-lt"/>
                  <a:ea typeface="Segoe UI" pitchFamily="34" charset="0"/>
                  <a:cs typeface="Segoe UI" pitchFamily="34" charset="0"/>
                </a:endParaRPr>
              </a:p>
            </p:txBody>
          </p:sp>
          <p:sp>
            <p:nvSpPr>
              <p:cNvPr id="102" name="Rectangle 101"/>
              <p:cNvSpPr/>
              <p:nvPr/>
            </p:nvSpPr>
            <p:spPr bwMode="auto">
              <a:xfrm>
                <a:off x="8346082" y="3794064"/>
                <a:ext cx="1340090" cy="65000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latin typeface="Segoe UI" panose="020B0502040204020203" pitchFamily="34" charset="0"/>
                    <a:cs typeface="Segoe UI" panose="020B0502040204020203" pitchFamily="34" charset="0"/>
                  </a:rPr>
                  <a:t>Runtime stats</a:t>
                </a:r>
              </a:p>
            </p:txBody>
          </p:sp>
        </p:grpSp>
        <p:sp>
          <p:nvSpPr>
            <p:cNvPr id="103" name="Oval 102"/>
            <p:cNvSpPr/>
            <p:nvPr/>
          </p:nvSpPr>
          <p:spPr bwMode="auto">
            <a:xfrm>
              <a:off x="10330095" y="3858328"/>
              <a:ext cx="1355639" cy="301538"/>
            </a:xfrm>
            <a:prstGeom prst="ellipse">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err="1">
                <a:solidFill>
                  <a:schemeClr val="bg1"/>
                </a:solidFill>
                <a:latin typeface="+mj-lt"/>
                <a:ea typeface="Segoe UI" pitchFamily="34" charset="0"/>
                <a:cs typeface="Segoe UI" pitchFamily="34" charset="0"/>
              </a:endParaRPr>
            </a:p>
          </p:txBody>
        </p:sp>
        <p:grpSp>
          <p:nvGrpSpPr>
            <p:cNvPr id="104" name="Group 103"/>
            <p:cNvGrpSpPr/>
            <p:nvPr/>
          </p:nvGrpSpPr>
          <p:grpSpPr>
            <a:xfrm>
              <a:off x="10325604" y="2280876"/>
              <a:ext cx="1364623" cy="1847389"/>
              <a:chOff x="4354029" y="2744913"/>
              <a:chExt cx="1596962" cy="2161924"/>
            </a:xfrm>
          </p:grpSpPr>
          <p:pic>
            <p:nvPicPr>
              <p:cNvPr id="105" name="Picture 104"/>
              <p:cNvPicPr>
                <a:picLocks noChangeAspect="1"/>
              </p:cNvPicPr>
              <p:nvPr/>
            </p:nvPicPr>
            <p:blipFill>
              <a:blip r:embed="rId3"/>
              <a:stretch>
                <a:fillRect/>
              </a:stretch>
            </p:blipFill>
            <p:spPr>
              <a:xfrm>
                <a:off x="4359285" y="2744913"/>
                <a:ext cx="1586448" cy="2161924"/>
              </a:xfrm>
              <a:prstGeom prst="rect">
                <a:avLst/>
              </a:prstGeom>
            </p:spPr>
          </p:pic>
          <p:sp>
            <p:nvSpPr>
              <p:cNvPr id="106" name="TextBox 105"/>
              <p:cNvSpPr txBox="1"/>
              <p:nvPr/>
            </p:nvSpPr>
            <p:spPr>
              <a:xfrm>
                <a:off x="4354029" y="3337466"/>
                <a:ext cx="1596962" cy="814476"/>
              </a:xfrm>
              <a:prstGeom prst="rect">
                <a:avLst/>
              </a:prstGeom>
              <a:noFill/>
            </p:spPr>
            <p:txBody>
              <a:bodyPr wrap="square" lIns="182880" tIns="146304" rIns="182880" bIns="146304" rtlCol="0">
                <a:noAutofit/>
              </a:bodyPr>
              <a:lstStyle/>
              <a:p>
                <a:pPr algn="ctr">
                  <a:spcAft>
                    <a:spcPts val="600"/>
                  </a:spcAft>
                </a:pPr>
                <a:r>
                  <a:rPr lang="en-US" sz="1600" dirty="0">
                    <a:solidFill>
                      <a:schemeClr val="bg1"/>
                    </a:solidFill>
                    <a:latin typeface="Segoe UI" panose="020B0502040204020203" pitchFamily="34" charset="0"/>
                    <a:cs typeface="Segoe UI" panose="020B0502040204020203" pitchFamily="34" charset="0"/>
                  </a:rPr>
                  <a:t>Query Store schema</a:t>
                </a:r>
              </a:p>
            </p:txBody>
          </p:sp>
        </p:grpSp>
      </p:grpSp>
      <p:sp>
        <p:nvSpPr>
          <p:cNvPr id="45" name="Title 13"/>
          <p:cNvSpPr>
            <a:spLocks noGrp="1"/>
          </p:cNvSpPr>
          <p:nvPr>
            <p:ph type="title"/>
          </p:nvPr>
        </p:nvSpPr>
        <p:spPr>
          <a:xfrm>
            <a:off x="269241" y="259792"/>
            <a:ext cx="11653521" cy="1075884"/>
          </a:xfrm>
        </p:spPr>
        <p:txBody>
          <a:bodyPr anchor="t" anchorCtr="0"/>
          <a:lstStyle/>
          <a:p>
            <a:r>
              <a:rPr lang="en-US" dirty="0"/>
              <a:t>Query Store Architecture</a:t>
            </a:r>
          </a:p>
        </p:txBody>
      </p:sp>
      <p:sp>
        <p:nvSpPr>
          <p:cNvPr id="50" name="Text Placeholder 4"/>
          <p:cNvSpPr txBox="1">
            <a:spLocks/>
          </p:cNvSpPr>
          <p:nvPr/>
        </p:nvSpPr>
        <p:spPr bwMode="auto">
          <a:xfrm>
            <a:off x="6684113" y="1350963"/>
            <a:ext cx="5644048" cy="4923425"/>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182880" tIns="146304" rIns="182880" bIns="146304" numCol="1" anchor="t" anchorCtr="0" compatLnSpc="1">
            <a:prstTxWarp prst="textNoShape">
              <a:avLst/>
            </a:prstTxWarp>
            <a:noAutofit/>
          </a:bodyPr>
          <a:lstStyle>
            <a:lvl1pPr marL="0" indent="0" algn="l" defTabSz="931863" rtl="0" fontAlgn="base">
              <a:lnSpc>
                <a:spcPct val="100000"/>
              </a:lnSpc>
              <a:spcBef>
                <a:spcPts val="2000"/>
              </a:spcBef>
              <a:spcAft>
                <a:spcPct val="0"/>
              </a:spcAft>
              <a:buSzPct val="90000"/>
              <a:buFontTx/>
              <a:buNone/>
              <a:defRPr sz="3200" kern="1200">
                <a:solidFill>
                  <a:srgbClr val="C00000"/>
                </a:solidFill>
                <a:latin typeface="+mj-lt"/>
                <a:ea typeface="ＭＳ Ｐゴシック" charset="0"/>
                <a:cs typeface="ＭＳ Ｐゴシック" charset="0"/>
              </a:defRPr>
            </a:lvl1pPr>
            <a:lvl2pPr marL="342900" indent="0" algn="l" defTabSz="931863" rtl="0" fontAlgn="base">
              <a:lnSpc>
                <a:spcPct val="100000"/>
              </a:lnSpc>
              <a:spcBef>
                <a:spcPts val="2000"/>
              </a:spcBef>
              <a:spcAft>
                <a:spcPct val="0"/>
              </a:spcAft>
              <a:buSzPct val="90000"/>
              <a:buFontTx/>
              <a:buNone/>
              <a:defRPr sz="2400" kern="1200">
                <a:solidFill>
                  <a:schemeClr val="tx1"/>
                </a:solidFill>
                <a:latin typeface="+mn-lt"/>
                <a:ea typeface="ＭＳ Ｐゴシック" charset="0"/>
                <a:cs typeface="+mn-cs"/>
              </a:defRPr>
            </a:lvl2pPr>
            <a:lvl3pPr marL="571500" indent="0" algn="l" defTabSz="931863" rtl="0" fontAlgn="base">
              <a:lnSpc>
                <a:spcPct val="100000"/>
              </a:lnSpc>
              <a:spcBef>
                <a:spcPts val="2000"/>
              </a:spcBef>
              <a:spcAft>
                <a:spcPct val="0"/>
              </a:spcAft>
              <a:buSzPct val="90000"/>
              <a:buFontTx/>
              <a:buNone/>
              <a:defRPr sz="2000" kern="1200">
                <a:solidFill>
                  <a:schemeClr val="tx1"/>
                </a:solidFill>
                <a:latin typeface="+mn-lt"/>
                <a:ea typeface="ＭＳ Ｐゴシック" charset="0"/>
                <a:cs typeface="+mn-cs"/>
              </a:defRPr>
            </a:lvl3pPr>
            <a:lvl4pPr marL="800100" indent="0" algn="l" defTabSz="931863" rtl="0" fontAlgn="base">
              <a:lnSpc>
                <a:spcPct val="100000"/>
              </a:lnSpc>
              <a:spcBef>
                <a:spcPts val="2000"/>
              </a:spcBef>
              <a:spcAft>
                <a:spcPct val="0"/>
              </a:spcAft>
              <a:buSzPct val="90000"/>
              <a:buFontTx/>
              <a:buNone/>
              <a:defRPr kern="1200">
                <a:solidFill>
                  <a:schemeClr val="tx1"/>
                </a:solidFill>
                <a:latin typeface="+mn-lt"/>
                <a:ea typeface="ＭＳ Ｐゴシック" charset="0"/>
                <a:cs typeface="+mn-cs"/>
              </a:defRPr>
            </a:lvl4pPr>
            <a:lvl5pPr marL="1028700" indent="0" algn="l" defTabSz="931863" rtl="0" fontAlgn="base">
              <a:lnSpc>
                <a:spcPct val="100000"/>
              </a:lnSpc>
              <a:spcBef>
                <a:spcPts val="2000"/>
              </a:spcBef>
              <a:spcAft>
                <a:spcPct val="0"/>
              </a:spcAft>
              <a:buSzPct val="90000"/>
              <a:buFontTx/>
              <a:buNone/>
              <a:defRPr kern="1200">
                <a:solidFill>
                  <a:schemeClr val="tx1"/>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0"/>
              </a:spcAft>
            </a:pPr>
            <a:r>
              <a:rPr lang="en-US" sz="1800" dirty="0">
                <a:solidFill>
                  <a:schemeClr val="tx1"/>
                </a:solidFill>
                <a:latin typeface="+mn-lt"/>
                <a:cs typeface="Segoe UI" panose="020B0502040204020203" pitchFamily="34" charset="0"/>
              </a:rPr>
              <a:t>Collects query texts (plus all relevant properties)</a:t>
            </a:r>
          </a:p>
          <a:p>
            <a:pPr>
              <a:spcAft>
                <a:spcPts val="0"/>
              </a:spcAft>
            </a:pPr>
            <a:r>
              <a:rPr lang="en-US" sz="1800" dirty="0">
                <a:solidFill>
                  <a:schemeClr val="tx1"/>
                </a:solidFill>
                <a:latin typeface="+mn-lt"/>
                <a:cs typeface="Segoe UI" panose="020B0502040204020203" pitchFamily="34" charset="0"/>
              </a:rPr>
              <a:t>Stores all plan choices and performance metrics</a:t>
            </a:r>
          </a:p>
          <a:p>
            <a:pPr>
              <a:spcAft>
                <a:spcPts val="0"/>
              </a:spcAft>
            </a:pPr>
            <a:r>
              <a:rPr lang="en-US" sz="1800" dirty="0">
                <a:solidFill>
                  <a:schemeClr val="tx1"/>
                </a:solidFill>
                <a:latin typeface="+mn-lt"/>
                <a:cs typeface="Segoe UI" panose="020B0502040204020203" pitchFamily="34" charset="0"/>
              </a:rPr>
              <a:t>Works across restarts / upgrades / recompiles</a:t>
            </a:r>
          </a:p>
          <a:p>
            <a:pPr>
              <a:spcAft>
                <a:spcPts val="0"/>
              </a:spcAft>
            </a:pPr>
            <a:r>
              <a:rPr lang="en-US" sz="1800" dirty="0">
                <a:solidFill>
                  <a:schemeClr val="tx1"/>
                </a:solidFill>
                <a:latin typeface="+mn-lt"/>
                <a:cs typeface="Segoe UI" panose="020B0502040204020203" pitchFamily="34" charset="0"/>
              </a:rPr>
              <a:t>Dramatically lowers the bar for performance troubleshooting </a:t>
            </a:r>
          </a:p>
          <a:p>
            <a:pPr>
              <a:spcAft>
                <a:spcPts val="0"/>
              </a:spcAft>
            </a:pPr>
            <a:r>
              <a:rPr lang="en-US" sz="1800" dirty="0">
                <a:solidFill>
                  <a:schemeClr val="tx1"/>
                </a:solidFill>
                <a:latin typeface="+mn-lt"/>
                <a:cs typeface="Segoe UI" panose="020B0502040204020203" pitchFamily="34" charset="0"/>
              </a:rPr>
              <a:t>New Views</a:t>
            </a:r>
          </a:p>
          <a:p>
            <a:pPr>
              <a:spcAft>
                <a:spcPts val="0"/>
              </a:spcAft>
            </a:pPr>
            <a:r>
              <a:rPr lang="en-US" sz="1800" dirty="0">
                <a:solidFill>
                  <a:schemeClr val="tx1"/>
                </a:solidFill>
                <a:latin typeface="+mn-lt"/>
                <a:cs typeface="Segoe UI" panose="020B0502040204020203" pitchFamily="34" charset="0"/>
              </a:rPr>
              <a:t>Intuitive and easy plan forcing</a:t>
            </a:r>
          </a:p>
          <a:p>
            <a:pPr>
              <a:spcAft>
                <a:spcPts val="0"/>
              </a:spcAft>
            </a:pPr>
            <a:endParaRPr lang="en-US" sz="2000" dirty="0">
              <a:solidFill>
                <a:schemeClr val="tx1"/>
              </a:solidFill>
              <a:latin typeface="Segoe UI" panose="020B0502040204020203" pitchFamily="34" charset="0"/>
              <a:cs typeface="Segoe UI" panose="020B0502040204020203" pitchFamily="34" charset="0"/>
            </a:endParaRPr>
          </a:p>
        </p:txBody>
      </p:sp>
      <p:sp>
        <p:nvSpPr>
          <p:cNvPr id="42" name="TextBox 41"/>
          <p:cNvSpPr txBox="1"/>
          <p:nvPr/>
        </p:nvSpPr>
        <p:spPr>
          <a:xfrm>
            <a:off x="1" y="6642289"/>
            <a:ext cx="3806190" cy="352236"/>
          </a:xfrm>
          <a:prstGeom prst="rect">
            <a:avLst/>
          </a:prstGeom>
          <a:noFill/>
        </p:spPr>
        <p:txBody>
          <a:bodyPr wrap="square" lIns="365760" tIns="146304" rIns="182880" bIns="146304" rtlCol="0" anchor="ctr" anchorCtr="0">
            <a:noAutofit/>
          </a:bodyPr>
          <a:lstStyle/>
          <a:p>
            <a:pPr>
              <a:lnSpc>
                <a:spcPct val="90000"/>
              </a:lnSpc>
              <a:spcAft>
                <a:spcPts val="600"/>
              </a:spcAft>
            </a:pPr>
            <a:r>
              <a:rPr lang="en-US" sz="14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349063592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429067"/>
            <a:ext cx="11888787" cy="917575"/>
          </a:xfrm>
        </p:spPr>
        <p:txBody>
          <a:bodyPr/>
          <a:lstStyle/>
          <a:p>
            <a:r>
              <a:rPr lang="en-US" dirty="0"/>
              <a:t>Query Store write architecture</a:t>
            </a:r>
          </a:p>
        </p:txBody>
      </p:sp>
      <p:sp>
        <p:nvSpPr>
          <p:cNvPr id="3" name="Content Placeholder 2"/>
          <p:cNvSpPr>
            <a:spLocks noGrp="1"/>
          </p:cNvSpPr>
          <p:nvPr>
            <p:ph idx="4294967295"/>
          </p:nvPr>
        </p:nvSpPr>
        <p:spPr>
          <a:xfrm>
            <a:off x="0" y="1314450"/>
            <a:ext cx="11677974" cy="1266825"/>
          </a:xfrm>
          <a:prstGeom prst="rect">
            <a:avLst/>
          </a:prstGeom>
        </p:spPr>
        <p:txBody>
          <a:bodyPr>
            <a:noAutofit/>
          </a:bodyPr>
          <a:lstStyle/>
          <a:p>
            <a:pPr marL="0" indent="0" defTabSz="931954" fontAlgn="base">
              <a:spcBef>
                <a:spcPts val="1199"/>
              </a:spcBef>
              <a:spcAft>
                <a:spcPct val="0"/>
              </a:spcAft>
              <a:buNone/>
            </a:pPr>
            <a:r>
              <a:rPr lang="en-US" sz="3000" dirty="0">
                <a:ln>
                  <a:solidFill>
                    <a:schemeClr val="bg1">
                      <a:alpha val="0"/>
                    </a:schemeClr>
                  </a:solidFill>
                </a:ln>
                <a:solidFill>
                  <a:srgbClr val="C00000"/>
                </a:solidFill>
                <a:latin typeface="Segoe UI Semilight" panose="020B0402040204020203" pitchFamily="34" charset="0"/>
                <a:ea typeface="Segoe UI" pitchFamily="34" charset="0"/>
                <a:cs typeface="Segoe UI Semilight" panose="020B0402040204020203" pitchFamily="34" charset="0"/>
              </a:rPr>
              <a:t>Query Store captures data in-memory to minimize I/O overhead</a:t>
            </a:r>
          </a:p>
          <a:p>
            <a:pPr marL="0" indent="0" defTabSz="931954" fontAlgn="base">
              <a:spcBef>
                <a:spcPts val="1199"/>
              </a:spcBef>
              <a:spcAft>
                <a:spcPct val="0"/>
              </a:spcAft>
              <a:buNone/>
            </a:pPr>
            <a:r>
              <a:rPr lang="en-US" sz="3000" dirty="0">
                <a:ln>
                  <a:solidFill>
                    <a:schemeClr val="bg1">
                      <a:alpha val="0"/>
                    </a:schemeClr>
                  </a:solidFill>
                </a:ln>
                <a:solidFill>
                  <a:srgbClr val="C00000"/>
                </a:solidFill>
                <a:latin typeface="Segoe UI Semilight" panose="020B0402040204020203" pitchFamily="34" charset="0"/>
                <a:ea typeface="Segoe UI" pitchFamily="34" charset="0"/>
                <a:cs typeface="Segoe UI Semilight" panose="020B0402040204020203" pitchFamily="34" charset="0"/>
              </a:rPr>
              <a:t>Data is persisted to disk asynchronously in the background</a:t>
            </a:r>
          </a:p>
        </p:txBody>
      </p:sp>
      <p:grpSp>
        <p:nvGrpSpPr>
          <p:cNvPr id="28" name="Group 27"/>
          <p:cNvGrpSpPr/>
          <p:nvPr/>
        </p:nvGrpSpPr>
        <p:grpSpPr>
          <a:xfrm>
            <a:off x="576559" y="2759779"/>
            <a:ext cx="11101415" cy="3437845"/>
            <a:chOff x="576559" y="2759779"/>
            <a:chExt cx="11101415" cy="3437845"/>
          </a:xfrm>
        </p:grpSpPr>
        <p:sp>
          <p:nvSpPr>
            <p:cNvPr id="29" name="Rectangle 28"/>
            <p:cNvSpPr/>
            <p:nvPr/>
          </p:nvSpPr>
          <p:spPr>
            <a:xfrm>
              <a:off x="6421390" y="3082608"/>
              <a:ext cx="5256584" cy="3115016"/>
            </a:xfrm>
            <a:prstGeom prst="rect">
              <a:avLst/>
            </a:prstGeom>
            <a:solidFill>
              <a:schemeClr val="accent1">
                <a:lumMod val="40000"/>
                <a:lumOff val="60000"/>
              </a:schemeClr>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2000" b="1" dirty="0">
                  <a:solidFill>
                    <a:srgbClr val="FFFFFF"/>
                  </a:solidFill>
                  <a:latin typeface="Segoe UI Light"/>
                </a:rPr>
                <a:t>Query Store</a:t>
              </a:r>
            </a:p>
          </p:txBody>
        </p:sp>
        <p:sp>
          <p:nvSpPr>
            <p:cNvPr id="30" name="Rectangle 29"/>
            <p:cNvSpPr/>
            <p:nvPr/>
          </p:nvSpPr>
          <p:spPr>
            <a:xfrm>
              <a:off x="576559" y="3082608"/>
              <a:ext cx="2354357" cy="3102956"/>
            </a:xfrm>
            <a:prstGeom prst="rect">
              <a:avLst/>
            </a:prstGeom>
            <a:no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2000" b="1" dirty="0">
                  <a:solidFill>
                    <a:srgbClr val="FFFFFF"/>
                  </a:solidFill>
                  <a:latin typeface="Segoe UI Light"/>
                </a:rPr>
                <a:t>Query Execution</a:t>
              </a:r>
            </a:p>
          </p:txBody>
        </p:sp>
        <p:sp>
          <p:nvSpPr>
            <p:cNvPr id="31" name="Can 30"/>
            <p:cNvSpPr/>
            <p:nvPr/>
          </p:nvSpPr>
          <p:spPr>
            <a:xfrm>
              <a:off x="9752177" y="3839899"/>
              <a:ext cx="1709773" cy="148379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solidFill>
                </a:rPr>
                <a:t>Internal tables</a:t>
              </a:r>
            </a:p>
          </p:txBody>
        </p:sp>
        <p:sp>
          <p:nvSpPr>
            <p:cNvPr id="32" name="Rounded Rectangle 31"/>
            <p:cNvSpPr/>
            <p:nvPr/>
          </p:nvSpPr>
          <p:spPr>
            <a:xfrm>
              <a:off x="6685038" y="3505700"/>
              <a:ext cx="1871293" cy="93260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solidFill>
                </a:rPr>
                <a:t>Query and Plan Store</a:t>
              </a:r>
            </a:p>
          </p:txBody>
        </p:sp>
        <p:sp>
          <p:nvSpPr>
            <p:cNvPr id="33" name="Rounded Rectangle 32"/>
            <p:cNvSpPr/>
            <p:nvPr/>
          </p:nvSpPr>
          <p:spPr>
            <a:xfrm>
              <a:off x="6685038" y="4749171"/>
              <a:ext cx="1871293" cy="93260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solidFill>
                </a:rPr>
                <a:t>Runtime stats</a:t>
              </a:r>
              <a:br>
                <a:rPr lang="en-US" sz="2000" dirty="0">
                  <a:solidFill>
                    <a:srgbClr val="FFFFFF"/>
                  </a:solidFill>
                </a:rPr>
              </a:br>
              <a:r>
                <a:rPr lang="en-US" sz="2000" dirty="0">
                  <a:solidFill>
                    <a:srgbClr val="FFFFFF"/>
                  </a:solidFill>
                </a:rPr>
                <a:t>store</a:t>
              </a:r>
            </a:p>
          </p:txBody>
        </p:sp>
        <p:sp>
          <p:nvSpPr>
            <p:cNvPr id="34" name="Right Arrow 33"/>
            <p:cNvSpPr/>
            <p:nvPr/>
          </p:nvSpPr>
          <p:spPr>
            <a:xfrm>
              <a:off x="2722371" y="4905968"/>
              <a:ext cx="3673719" cy="615774"/>
            </a:xfrm>
            <a:prstGeom prst="rightArrow">
              <a:avLst>
                <a:gd name="adj1" fmla="val 50000"/>
                <a:gd name="adj2" fmla="val 7285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lumMod val="95000"/>
                      <a:lumOff val="5000"/>
                    </a:srgbClr>
                  </a:solidFill>
                </a:rPr>
                <a:t>Query exec. stats</a:t>
              </a:r>
            </a:p>
          </p:txBody>
        </p:sp>
        <p:sp>
          <p:nvSpPr>
            <p:cNvPr id="35" name="Right Arrow 34"/>
            <p:cNvSpPr/>
            <p:nvPr/>
          </p:nvSpPr>
          <p:spPr>
            <a:xfrm rot="20566478">
              <a:off x="8633121" y="4853602"/>
              <a:ext cx="1088037" cy="512551"/>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a:solidFill>
                  <a:srgbClr val="FFFFFF">
                    <a:lumMod val="95000"/>
                    <a:lumOff val="5000"/>
                  </a:srgbClr>
                </a:solidFill>
                <a:latin typeface="Segoe UI Light"/>
              </a:endParaRPr>
            </a:p>
          </p:txBody>
        </p:sp>
        <p:sp>
          <p:nvSpPr>
            <p:cNvPr id="36" name="Rounded Rectangle 35"/>
            <p:cNvSpPr/>
            <p:nvPr/>
          </p:nvSpPr>
          <p:spPr>
            <a:xfrm>
              <a:off x="826694" y="3504083"/>
              <a:ext cx="1871293" cy="93260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solidFill>
                </a:rPr>
                <a:t>Compile</a:t>
              </a:r>
            </a:p>
          </p:txBody>
        </p:sp>
        <p:sp>
          <p:nvSpPr>
            <p:cNvPr id="37" name="Rounded Rectangle 36"/>
            <p:cNvSpPr/>
            <p:nvPr/>
          </p:nvSpPr>
          <p:spPr>
            <a:xfrm>
              <a:off x="826694" y="4747554"/>
              <a:ext cx="1871293" cy="93260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solidFill>
                </a:rPr>
                <a:t>Execute</a:t>
              </a:r>
            </a:p>
          </p:txBody>
        </p:sp>
        <p:sp>
          <p:nvSpPr>
            <p:cNvPr id="38" name="Up Arrow 37"/>
            <p:cNvSpPr/>
            <p:nvPr/>
          </p:nvSpPr>
          <p:spPr>
            <a:xfrm rot="10800000">
              <a:off x="1517828" y="2759779"/>
              <a:ext cx="489019" cy="732974"/>
            </a:xfrm>
            <a:prstGeom prst="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39" name="Up Arrow 38"/>
            <p:cNvSpPr/>
            <p:nvPr/>
          </p:nvSpPr>
          <p:spPr>
            <a:xfrm rot="10800000">
              <a:off x="1512382" y="4448014"/>
              <a:ext cx="489019" cy="299539"/>
            </a:xfrm>
            <a:prstGeom prst="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40" name="Right Arrow 39"/>
            <p:cNvSpPr/>
            <p:nvPr/>
          </p:nvSpPr>
          <p:spPr>
            <a:xfrm rot="1343073">
              <a:off x="8658572" y="3811233"/>
              <a:ext cx="1088037" cy="525964"/>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a:solidFill>
                  <a:srgbClr val="FFFFFF">
                    <a:lumMod val="95000"/>
                    <a:lumOff val="5000"/>
                  </a:srgbClr>
                </a:solidFill>
                <a:latin typeface="Segoe UI Light"/>
              </a:endParaRPr>
            </a:p>
          </p:txBody>
        </p:sp>
        <p:sp>
          <p:nvSpPr>
            <p:cNvPr id="41" name="Rectangle 40"/>
            <p:cNvSpPr/>
            <p:nvPr/>
          </p:nvSpPr>
          <p:spPr>
            <a:xfrm>
              <a:off x="8796662" y="4377736"/>
              <a:ext cx="811441" cy="400110"/>
            </a:xfrm>
            <a:prstGeom prst="rect">
              <a:avLst/>
            </a:prstGeom>
          </p:spPr>
          <p:txBody>
            <a:bodyPr wrap="none">
              <a:spAutoFit/>
            </a:bodyPr>
            <a:lstStyle/>
            <a:p>
              <a:r>
                <a:rPr lang="en-US" sz="2000" dirty="0" err="1">
                  <a:solidFill>
                    <a:srgbClr val="FFFFFF"/>
                  </a:solidFill>
                </a:rPr>
                <a:t>async</a:t>
              </a:r>
              <a:endParaRPr lang="en-US" sz="2000" dirty="0">
                <a:solidFill>
                  <a:srgbClr val="FFFFFF"/>
                </a:solidFill>
              </a:endParaRPr>
            </a:p>
          </p:txBody>
        </p:sp>
        <p:sp>
          <p:nvSpPr>
            <p:cNvPr id="42" name="Right Arrow 41"/>
            <p:cNvSpPr/>
            <p:nvPr/>
          </p:nvSpPr>
          <p:spPr>
            <a:xfrm>
              <a:off x="2722371" y="3662497"/>
              <a:ext cx="3699019" cy="615774"/>
            </a:xfrm>
            <a:prstGeom prst="rightArrow">
              <a:avLst>
                <a:gd name="adj1" fmla="val 50000"/>
                <a:gd name="adj2" fmla="val 7285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lumMod val="95000"/>
                      <a:lumOff val="5000"/>
                    </a:srgbClr>
                  </a:solidFill>
                </a:rPr>
                <a:t>Query text and plan</a:t>
              </a:r>
            </a:p>
          </p:txBody>
        </p:sp>
      </p:grpSp>
      <p:sp>
        <p:nvSpPr>
          <p:cNvPr id="19" name="TextBox 18"/>
          <p:cNvSpPr txBox="1"/>
          <p:nvPr/>
        </p:nvSpPr>
        <p:spPr>
          <a:xfrm>
            <a:off x="1" y="6642289"/>
            <a:ext cx="3806190" cy="352236"/>
          </a:xfrm>
          <a:prstGeom prst="rect">
            <a:avLst/>
          </a:prstGeom>
          <a:noFill/>
        </p:spPr>
        <p:txBody>
          <a:bodyPr wrap="square" lIns="365760" tIns="146304" rIns="182880" bIns="146304" rtlCol="0" anchor="ctr" anchorCtr="0">
            <a:noAutofit/>
          </a:bodyPr>
          <a:lstStyle/>
          <a:p>
            <a:pPr>
              <a:lnSpc>
                <a:spcPct val="90000"/>
              </a:lnSpc>
              <a:spcAft>
                <a:spcPts val="600"/>
              </a:spcAft>
            </a:pPr>
            <a:r>
              <a:rPr lang="en-US" sz="14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368736998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76559" y="2759779"/>
            <a:ext cx="11101415" cy="3437845"/>
            <a:chOff x="576559" y="2759779"/>
            <a:chExt cx="11101415" cy="3437845"/>
          </a:xfrm>
        </p:grpSpPr>
        <p:sp>
          <p:nvSpPr>
            <p:cNvPr id="28" name="Rectangle 27"/>
            <p:cNvSpPr/>
            <p:nvPr/>
          </p:nvSpPr>
          <p:spPr>
            <a:xfrm>
              <a:off x="6421390" y="3082608"/>
              <a:ext cx="5256584" cy="3115016"/>
            </a:xfrm>
            <a:prstGeom prst="rect">
              <a:avLst/>
            </a:prstGeom>
            <a:solidFill>
              <a:schemeClr val="accent1">
                <a:lumMod val="40000"/>
                <a:lumOff val="60000"/>
              </a:schemeClr>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2000" b="1" dirty="0">
                  <a:solidFill>
                    <a:srgbClr val="FFFFFF"/>
                  </a:solidFill>
                  <a:latin typeface="Segoe UI Light"/>
                </a:rPr>
                <a:t>Query Store</a:t>
              </a:r>
            </a:p>
          </p:txBody>
        </p:sp>
        <p:sp>
          <p:nvSpPr>
            <p:cNvPr id="27" name="Rectangle 26"/>
            <p:cNvSpPr/>
            <p:nvPr/>
          </p:nvSpPr>
          <p:spPr>
            <a:xfrm>
              <a:off x="576559" y="3082608"/>
              <a:ext cx="2354357" cy="3102956"/>
            </a:xfrm>
            <a:prstGeom prst="rect">
              <a:avLst/>
            </a:prstGeom>
            <a:no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2000" b="1" dirty="0">
                  <a:solidFill>
                    <a:srgbClr val="FFFFFF"/>
                  </a:solidFill>
                  <a:latin typeface="Segoe UI Light"/>
                </a:rPr>
                <a:t>Query Execution</a:t>
              </a:r>
            </a:p>
          </p:txBody>
        </p:sp>
        <p:sp>
          <p:nvSpPr>
            <p:cNvPr id="29" name="Can 28"/>
            <p:cNvSpPr/>
            <p:nvPr/>
          </p:nvSpPr>
          <p:spPr>
            <a:xfrm>
              <a:off x="9752177" y="3839899"/>
              <a:ext cx="1709773" cy="148379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solidFill>
                </a:rPr>
                <a:t>Internal tables</a:t>
              </a:r>
            </a:p>
          </p:txBody>
        </p:sp>
        <p:sp>
          <p:nvSpPr>
            <p:cNvPr id="30" name="Rounded Rectangle 29"/>
            <p:cNvSpPr/>
            <p:nvPr/>
          </p:nvSpPr>
          <p:spPr>
            <a:xfrm>
              <a:off x="6685038" y="3505700"/>
              <a:ext cx="1871293" cy="93260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solidFill>
                </a:rPr>
                <a:t>Query and Plan Store</a:t>
              </a:r>
            </a:p>
          </p:txBody>
        </p:sp>
        <p:sp>
          <p:nvSpPr>
            <p:cNvPr id="31" name="Rounded Rectangle 30"/>
            <p:cNvSpPr/>
            <p:nvPr/>
          </p:nvSpPr>
          <p:spPr>
            <a:xfrm>
              <a:off x="6685038" y="4749171"/>
              <a:ext cx="1871293" cy="93260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solidFill>
                </a:rPr>
                <a:t>Runtime stats</a:t>
              </a:r>
              <a:br>
                <a:rPr lang="en-US" sz="2000" dirty="0">
                  <a:solidFill>
                    <a:srgbClr val="FFFFFF"/>
                  </a:solidFill>
                </a:rPr>
              </a:br>
              <a:r>
                <a:rPr lang="en-US" sz="2000" dirty="0">
                  <a:solidFill>
                    <a:srgbClr val="FFFFFF"/>
                  </a:solidFill>
                </a:rPr>
                <a:t>store</a:t>
              </a:r>
            </a:p>
          </p:txBody>
        </p:sp>
        <p:sp>
          <p:nvSpPr>
            <p:cNvPr id="32" name="Right Arrow 31"/>
            <p:cNvSpPr/>
            <p:nvPr/>
          </p:nvSpPr>
          <p:spPr>
            <a:xfrm>
              <a:off x="2722371" y="4905968"/>
              <a:ext cx="3673719" cy="615774"/>
            </a:xfrm>
            <a:prstGeom prst="rightArrow">
              <a:avLst>
                <a:gd name="adj1" fmla="val 50000"/>
                <a:gd name="adj2" fmla="val 7285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lumMod val="95000"/>
                      <a:lumOff val="5000"/>
                    </a:srgbClr>
                  </a:solidFill>
                </a:rPr>
                <a:t>Query exec. stats</a:t>
              </a:r>
            </a:p>
          </p:txBody>
        </p:sp>
        <p:sp>
          <p:nvSpPr>
            <p:cNvPr id="33" name="Right Arrow 32"/>
            <p:cNvSpPr/>
            <p:nvPr/>
          </p:nvSpPr>
          <p:spPr>
            <a:xfrm rot="20566478">
              <a:off x="8633121" y="4853602"/>
              <a:ext cx="1088037" cy="512551"/>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a:solidFill>
                  <a:srgbClr val="FFFFFF">
                    <a:lumMod val="95000"/>
                    <a:lumOff val="5000"/>
                  </a:srgbClr>
                </a:solidFill>
                <a:latin typeface="Segoe UI Light"/>
              </a:endParaRPr>
            </a:p>
          </p:txBody>
        </p:sp>
        <p:sp>
          <p:nvSpPr>
            <p:cNvPr id="34" name="Rounded Rectangle 33"/>
            <p:cNvSpPr/>
            <p:nvPr/>
          </p:nvSpPr>
          <p:spPr>
            <a:xfrm>
              <a:off x="826694" y="3504083"/>
              <a:ext cx="1871293" cy="93260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solidFill>
                </a:rPr>
                <a:t>Compile</a:t>
              </a:r>
            </a:p>
          </p:txBody>
        </p:sp>
        <p:sp>
          <p:nvSpPr>
            <p:cNvPr id="35" name="Rounded Rectangle 34"/>
            <p:cNvSpPr/>
            <p:nvPr/>
          </p:nvSpPr>
          <p:spPr>
            <a:xfrm>
              <a:off x="826694" y="4747554"/>
              <a:ext cx="1871293" cy="93260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solidFill>
                </a:rPr>
                <a:t>Execute</a:t>
              </a:r>
            </a:p>
          </p:txBody>
        </p:sp>
        <p:sp>
          <p:nvSpPr>
            <p:cNvPr id="36" name="Up Arrow 35"/>
            <p:cNvSpPr/>
            <p:nvPr/>
          </p:nvSpPr>
          <p:spPr>
            <a:xfrm rot="10800000">
              <a:off x="1517828" y="2759779"/>
              <a:ext cx="489019" cy="732974"/>
            </a:xfrm>
            <a:prstGeom prst="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37" name="Up Arrow 36"/>
            <p:cNvSpPr/>
            <p:nvPr/>
          </p:nvSpPr>
          <p:spPr>
            <a:xfrm rot="10800000">
              <a:off x="1512382" y="4448014"/>
              <a:ext cx="489019" cy="299539"/>
            </a:xfrm>
            <a:prstGeom prst="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38" name="Right Arrow 37"/>
            <p:cNvSpPr/>
            <p:nvPr/>
          </p:nvSpPr>
          <p:spPr>
            <a:xfrm rot="1343073">
              <a:off x="8658572" y="3811233"/>
              <a:ext cx="1088037" cy="525964"/>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a:solidFill>
                  <a:srgbClr val="FFFFFF">
                    <a:lumMod val="95000"/>
                    <a:lumOff val="5000"/>
                  </a:srgbClr>
                </a:solidFill>
                <a:latin typeface="Segoe UI Light"/>
              </a:endParaRPr>
            </a:p>
          </p:txBody>
        </p:sp>
        <p:sp>
          <p:nvSpPr>
            <p:cNvPr id="39" name="Rectangle 38"/>
            <p:cNvSpPr/>
            <p:nvPr/>
          </p:nvSpPr>
          <p:spPr>
            <a:xfrm>
              <a:off x="8796662" y="4377736"/>
              <a:ext cx="811441" cy="400110"/>
            </a:xfrm>
            <a:prstGeom prst="rect">
              <a:avLst/>
            </a:prstGeom>
          </p:spPr>
          <p:txBody>
            <a:bodyPr wrap="none">
              <a:spAutoFit/>
            </a:bodyPr>
            <a:lstStyle/>
            <a:p>
              <a:r>
                <a:rPr lang="en-US" sz="2000" dirty="0" err="1">
                  <a:solidFill>
                    <a:srgbClr val="FFFFFF"/>
                  </a:solidFill>
                </a:rPr>
                <a:t>async</a:t>
              </a:r>
              <a:endParaRPr lang="en-US" sz="2000" dirty="0">
                <a:solidFill>
                  <a:srgbClr val="FFFFFF"/>
                </a:solidFill>
              </a:endParaRPr>
            </a:p>
          </p:txBody>
        </p:sp>
        <p:sp>
          <p:nvSpPr>
            <p:cNvPr id="40" name="Right Arrow 39"/>
            <p:cNvSpPr/>
            <p:nvPr/>
          </p:nvSpPr>
          <p:spPr>
            <a:xfrm>
              <a:off x="2722371" y="3662497"/>
              <a:ext cx="3699019" cy="615774"/>
            </a:xfrm>
            <a:prstGeom prst="rightArrow">
              <a:avLst>
                <a:gd name="adj1" fmla="val 50000"/>
                <a:gd name="adj2" fmla="val 7285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lumMod val="95000"/>
                      <a:lumOff val="5000"/>
                    </a:srgbClr>
                  </a:solidFill>
                </a:rPr>
                <a:t>Query text and plan</a:t>
              </a:r>
            </a:p>
          </p:txBody>
        </p:sp>
      </p:grpSp>
      <p:sp>
        <p:nvSpPr>
          <p:cNvPr id="2" name="Title 1"/>
          <p:cNvSpPr>
            <a:spLocks noGrp="1"/>
          </p:cNvSpPr>
          <p:nvPr>
            <p:ph type="title"/>
          </p:nvPr>
        </p:nvSpPr>
        <p:spPr>
          <a:xfrm>
            <a:off x="274638" y="427479"/>
            <a:ext cx="11888787" cy="917575"/>
          </a:xfrm>
        </p:spPr>
        <p:txBody>
          <a:bodyPr/>
          <a:lstStyle/>
          <a:p>
            <a:r>
              <a:rPr lang="en-US" dirty="0"/>
              <a:t>Query Store read architecture</a:t>
            </a:r>
          </a:p>
        </p:txBody>
      </p:sp>
      <p:sp>
        <p:nvSpPr>
          <p:cNvPr id="3" name="Content Placeholder 2"/>
          <p:cNvSpPr>
            <a:spLocks noGrp="1"/>
          </p:cNvSpPr>
          <p:nvPr>
            <p:ph idx="4294967295"/>
          </p:nvPr>
        </p:nvSpPr>
        <p:spPr>
          <a:xfrm>
            <a:off x="0" y="1375279"/>
            <a:ext cx="8284370" cy="1133800"/>
          </a:xfrm>
          <a:prstGeom prst="rect">
            <a:avLst/>
          </a:prstGeom>
        </p:spPr>
        <p:txBody>
          <a:bodyPr>
            <a:noAutofit/>
          </a:bodyPr>
          <a:lstStyle/>
          <a:p>
            <a:pPr marL="0" indent="0">
              <a:buNone/>
            </a:pPr>
            <a:r>
              <a:rPr lang="en-US" sz="3000" dirty="0">
                <a:solidFill>
                  <a:srgbClr val="C00000"/>
                </a:solidFill>
                <a:latin typeface="Segoe UI Semilight" panose="020B0402040204020203" pitchFamily="34" charset="0"/>
                <a:cs typeface="Segoe UI Semilight" panose="020B0402040204020203" pitchFamily="34" charset="0"/>
              </a:rPr>
              <a:t>Views merge in-memory and on-disk content</a:t>
            </a:r>
          </a:p>
          <a:p>
            <a:pPr marL="0" indent="0">
              <a:buNone/>
            </a:pPr>
            <a:r>
              <a:rPr lang="en-US" sz="3000" dirty="0">
                <a:solidFill>
                  <a:srgbClr val="C00000"/>
                </a:solidFill>
                <a:latin typeface="Segoe UI Semilight" panose="020B0402040204020203" pitchFamily="34" charset="0"/>
                <a:cs typeface="Segoe UI Semilight" panose="020B0402040204020203" pitchFamily="34" charset="0"/>
              </a:rPr>
              <a:t>Users always see ‘latest’ data</a:t>
            </a:r>
          </a:p>
        </p:txBody>
      </p:sp>
      <p:sp>
        <p:nvSpPr>
          <p:cNvPr id="22" name="Rounded Rectangle 21"/>
          <p:cNvSpPr/>
          <p:nvPr/>
        </p:nvSpPr>
        <p:spPr>
          <a:xfrm>
            <a:off x="7794844" y="1562776"/>
            <a:ext cx="2992102" cy="77716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solidFill>
              </a:rPr>
              <a:t>Query Store views</a:t>
            </a:r>
          </a:p>
        </p:txBody>
      </p:sp>
      <p:sp>
        <p:nvSpPr>
          <p:cNvPr id="24" name="Down Arrow 23"/>
          <p:cNvSpPr/>
          <p:nvPr/>
        </p:nvSpPr>
        <p:spPr>
          <a:xfrm rot="9579942">
            <a:off x="9710618" y="2352210"/>
            <a:ext cx="541108" cy="1516269"/>
          </a:xfrm>
          <a:prstGeom prst="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25" name="Down Arrow 24"/>
          <p:cNvSpPr/>
          <p:nvPr/>
        </p:nvSpPr>
        <p:spPr>
          <a:xfrm rot="12255924">
            <a:off x="8261596" y="2378462"/>
            <a:ext cx="531142" cy="1063458"/>
          </a:xfrm>
          <a:prstGeom prst="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26" name="Up Arrow 25"/>
          <p:cNvSpPr/>
          <p:nvPr/>
        </p:nvSpPr>
        <p:spPr>
          <a:xfrm>
            <a:off x="9154891" y="887571"/>
            <a:ext cx="489019" cy="593891"/>
          </a:xfrm>
          <a:prstGeom prst="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23" name="TextBox 22"/>
          <p:cNvSpPr txBox="1"/>
          <p:nvPr/>
        </p:nvSpPr>
        <p:spPr>
          <a:xfrm>
            <a:off x="1" y="6642289"/>
            <a:ext cx="3806190" cy="352236"/>
          </a:xfrm>
          <a:prstGeom prst="rect">
            <a:avLst/>
          </a:prstGeom>
          <a:noFill/>
        </p:spPr>
        <p:txBody>
          <a:bodyPr wrap="square" lIns="365760" tIns="146304" rIns="182880" bIns="146304" rtlCol="0" anchor="ctr" anchorCtr="0">
            <a:noAutofit/>
          </a:bodyPr>
          <a:lstStyle/>
          <a:p>
            <a:pPr>
              <a:lnSpc>
                <a:spcPct val="90000"/>
              </a:lnSpc>
              <a:spcAft>
                <a:spcPts val="600"/>
              </a:spcAft>
            </a:pPr>
            <a:r>
              <a:rPr lang="en-US" sz="140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310692250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E5Tk8yKT0CFcLuI55ExR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heme/theme1.xml><?xml version="1.0" encoding="utf-8"?>
<a:theme xmlns:a="http://schemas.openxmlformats.org/drawingml/2006/main" name="STB Conversations 2013">
  <a:themeElements>
    <a:clrScheme name="Data Platform Complete">
      <a:dk1>
        <a:srgbClr val="2C2C2C"/>
      </a:dk1>
      <a:lt1>
        <a:srgbClr val="FFFFFF"/>
      </a:lt1>
      <a:dk2>
        <a:srgbClr val="505050"/>
      </a:dk2>
      <a:lt2>
        <a:srgbClr val="D2D2D2"/>
      </a:lt2>
      <a:accent1>
        <a:srgbClr val="0072C6"/>
      </a:accent1>
      <a:accent2>
        <a:srgbClr val="008272"/>
      </a:accent2>
      <a:accent3>
        <a:srgbClr val="68217A"/>
      </a:accent3>
      <a:accent4>
        <a:srgbClr val="C000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342900" indent="-342900" defTabSz="932472" fontAlgn="base">
          <a:lnSpc>
            <a:spcPct val="90000"/>
          </a:lnSpc>
          <a:spcBef>
            <a:spcPct val="0"/>
          </a:spcBef>
          <a:spcAft>
            <a:spcPct val="0"/>
          </a:spcAft>
          <a:buFont typeface="Wingdings 3" panose="05040102010807070707" pitchFamily="18" charset="2"/>
          <a:buChar char="Æ"/>
          <a:defRPr sz="2000" b="1" dirty="0" err="1"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1_Windows Server">
  <a:themeElements>
    <a:clrScheme name="Data Platform Complete">
      <a:dk1>
        <a:srgbClr val="2C2C2C"/>
      </a:dk1>
      <a:lt1>
        <a:srgbClr val="FFFFFF"/>
      </a:lt1>
      <a:dk2>
        <a:srgbClr val="505050"/>
      </a:dk2>
      <a:lt2>
        <a:srgbClr val="D2D2D2"/>
      </a:lt2>
      <a:accent1>
        <a:srgbClr val="0072C6"/>
      </a:accent1>
      <a:accent2>
        <a:srgbClr val="008272"/>
      </a:accent2>
      <a:accent3>
        <a:srgbClr val="68217A"/>
      </a:accent3>
      <a:accent4>
        <a:srgbClr val="C00000"/>
      </a:accent4>
      <a:accent5>
        <a:srgbClr val="FF8C00"/>
      </a:accent5>
      <a:accent6>
        <a:srgbClr val="00BCF2"/>
      </a:accent6>
      <a:hlink>
        <a:srgbClr val="50505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3.xml><?xml version="1.0" encoding="utf-8"?>
<a:theme xmlns:a="http://schemas.openxmlformats.org/drawingml/2006/main" name="WHITE TEMPLATE">
  <a:themeElements>
    <a:clrScheme name="BT - Blue on white - 2">
      <a:dk1>
        <a:srgbClr val="505050"/>
      </a:dk1>
      <a:lt1>
        <a:srgbClr val="FFFFFF"/>
      </a:lt1>
      <a:dk2>
        <a:srgbClr val="0078D7"/>
      </a:dk2>
      <a:lt2>
        <a:srgbClr val="00BCF2"/>
      </a:lt2>
      <a:accent1>
        <a:srgbClr val="0078D7"/>
      </a:accent1>
      <a:accent2>
        <a:srgbClr val="002050"/>
      </a:accent2>
      <a:accent3>
        <a:srgbClr val="B4009E"/>
      </a:accent3>
      <a:accent4>
        <a:srgbClr val="5C2D91"/>
      </a:accent4>
      <a:accent5>
        <a:srgbClr val="008272"/>
      </a:accent5>
      <a:accent6>
        <a:srgbClr val="D83B01"/>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1.potx" id="{CA9BE438-1B0F-41E9-BD34-9780A77D52B5}" vid="{6EB7C265-9C81-4626-BD14-B5A4426B07BD}"/>
    </a:ext>
  </a:extLst>
</a:theme>
</file>

<file path=ppt/theme/theme4.xml><?xml version="1.0" encoding="utf-8"?>
<a:theme xmlns:a="http://schemas.openxmlformats.org/drawingml/2006/main" name="1_WHITE TEMPLATE">
  <a:themeElements>
    <a:clrScheme name="Custom 7">
      <a:dk1>
        <a:srgbClr val="2C2C2C"/>
      </a:dk1>
      <a:lt1>
        <a:srgbClr val="FFFFFF"/>
      </a:lt1>
      <a:dk2>
        <a:srgbClr val="505050"/>
      </a:dk2>
      <a:lt2>
        <a:srgbClr val="D2D2D2"/>
      </a:lt2>
      <a:accent1>
        <a:srgbClr val="0072C6"/>
      </a:accent1>
      <a:accent2>
        <a:srgbClr val="008272"/>
      </a:accent2>
      <a:accent3>
        <a:srgbClr val="68217A"/>
      </a:accent3>
      <a:accent4>
        <a:srgbClr val="C00000"/>
      </a:accent4>
      <a:accent5>
        <a:srgbClr val="FF8C00"/>
      </a:accent5>
      <a:accent6>
        <a:srgbClr val="00BCF2"/>
      </a:accent6>
      <a:hlink>
        <a:srgbClr val="FF8C0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Oct_2014.potx" id="{68CE401D-95F5-46C5-B484-D0F0E385D210}" vid="{0639DB28-C39D-46FC-A2ED-DA3554C392D5}"/>
    </a:ext>
  </a:extLst>
</a:theme>
</file>

<file path=ppt/theme/theme5.xml><?xml version="1.0" encoding="utf-8"?>
<a:theme xmlns:a="http://schemas.openxmlformats.org/drawingml/2006/main" name="2_STB Conversations 2013">
  <a:themeElements>
    <a:clrScheme name="Data Platform Complete">
      <a:dk1>
        <a:srgbClr val="2C2C2C"/>
      </a:dk1>
      <a:lt1>
        <a:srgbClr val="FFFFFF"/>
      </a:lt1>
      <a:dk2>
        <a:srgbClr val="505050"/>
      </a:dk2>
      <a:lt2>
        <a:srgbClr val="D2D2D2"/>
      </a:lt2>
      <a:accent1>
        <a:srgbClr val="0072C6"/>
      </a:accent1>
      <a:accent2>
        <a:srgbClr val="008272"/>
      </a:accent2>
      <a:accent3>
        <a:srgbClr val="68217A"/>
      </a:accent3>
      <a:accent4>
        <a:srgbClr val="C000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342900" indent="-342900" defTabSz="932472" fontAlgn="base">
          <a:lnSpc>
            <a:spcPct val="90000"/>
          </a:lnSpc>
          <a:spcBef>
            <a:spcPct val="0"/>
          </a:spcBef>
          <a:spcAft>
            <a:spcPct val="0"/>
          </a:spcAft>
          <a:buFont typeface="Wingdings 3" panose="05040102010807070707" pitchFamily="18" charset="2"/>
          <a:buChar char="Æ"/>
          <a:defRPr sz="2000" b="1" dirty="0" err="1"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L300 customer and partner ready presentation provides a technical overview and details on SQL Server 2016 new features and capabilities. This presentation reflects the features of SQL Server 2016 RTM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Info xmlns="http://schemas.microsoft.com/office/infopath/2007/PartnerControls">
          <TermName xmlns="http://schemas.microsoft.com/office/infopath/2007/PartnerControls">feedback requests</TermName>
          <TermId xmlns="http://schemas.microsoft.com/office/infopath/2007/PartnerControls">00ce1828-98a3-430e-af54-eda270e1be04</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Marko Hotti</DisplayName>
        <AccountId>506</AccountId>
        <AccountType/>
      </UserInfo>
    </Owner>
    <PublishDate xmlns="230E9DF3-BE65-4C73-A93B-D1236EBD677E"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Sales, Marketing, Services Group</TermName>
          <TermId xmlns="http://schemas.microsoft.com/office/infopath/2007/PartnerControls">ecda8836-afa0-40aa-878e-630e18c8fc5c</TermId>
        </TermInfo>
        <TermInfo xmlns="http://schemas.microsoft.com/office/infopath/2007/PartnerControls">
          <TermName xmlns="http://schemas.microsoft.com/office/infopath/2007/PartnerControls">Telesales Domain</TermName>
          <TermId xmlns="http://schemas.microsoft.com/office/infopath/2007/PartnerControls">04a5111f-c67b-4a6e-bf36-05714763ab37</TermId>
        </TermInfo>
      </Terms>
    </eb54ac91059940029a3cc8a4ff5af673>
    <PublishingPageContent xmlns="http://schemas.microsoft.com/sharepoint/v3" xsi:nil="true"/>
    <ContentID xmlns="230e9df3-be65-4c73-a93b-d1236ebd677e" xsi:nil="true"/>
    <Coowner xmlns="230e9df3-be65-4c73-a93b-d1236ebd677e">
      <UserInfo>
        <DisplayName>i:0#.f|membership|v-danaja@microsoft.com</DisplayName>
        <AccountId>176</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Microsoft SQL Server 2014</TermName>
          <TermId xmlns="http://schemas.microsoft.com/office/infopath/2007/PartnerControls">b1aea718-d522-4945-8607-5022dfd2d944</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10574/SQL%20Server%202016%20L300%20Technical%20Deck%20(May%202016).png</Url>
      <Description>/sites/Infopedia_G01KC/Media/Thumbnails/G01KC-1-10574/SQL Server 2016 L300 Technical Deck (May 2016).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online transaction processing</TermName>
          <TermId xmlns="http://schemas.microsoft.com/office/infopath/2007/PartnerControls">c143d824-a1a7-4099-a43a-0b81eb3e5069</TermId>
        </TermInfo>
        <TermInfo xmlns="http://schemas.microsoft.com/office/infopath/2007/PartnerControls">
          <TermName xmlns="http://schemas.microsoft.com/office/infopath/2007/PartnerControls">Cloud Platform (sales theme)</TermName>
          <TermId xmlns="http://schemas.microsoft.com/office/infopath/2007/PartnerControls">ec248454-62d9-485e-995d-0cfad61f7f4c</TermId>
        </TermInfo>
        <TermInfo xmlns="http://schemas.microsoft.com/office/infopath/2007/PartnerControls">
          <TermName xmlns="http://schemas.microsoft.com/office/infopath/2007/PartnerControls">Workloads</TermName>
          <TermId xmlns="http://schemas.microsoft.com/office/infopath/2007/PartnerControls">aadaf317-5730-4a0e-8ef2-c8e8ec6fbdcb</TermId>
        </TermInfo>
      </Terms>
    </i0d941ee1e744ffea7aeee9924c91cbb>
    <RoutingRuleDescription xmlns="http://schemas.microsoft.com/sharepoint/v3" xsi:nil="true"/>
    <PublishingExpirationDate xmlns="http://schemas.microsoft.com/sharepoint/v3" xsi:nil="true"/>
    <Update_x0020_Parent_x0020_Child_x0020_Relation_x0028_1_x0029_0 xmlns="b3bc04a5-d503-43b1-b98c-a8cf663329d9">
      <Url xsi:nil="true"/>
      <Description xsi:nil="true"/>
    </Update_x0020_Parent_x0020_Child_x0020_Relation_x0028_1_x0029_0>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Mission Critical Platform</TermName>
          <TermId xmlns="http://schemas.microsoft.com/office/infopath/2007/PartnerControls">da5cf5ec-33f7-4c53-ade9-4c70e8c513b9</TermId>
        </TermInfo>
        <TermInfo xmlns="http://schemas.microsoft.com/office/infopath/2007/PartnerControls">
          <TermName xmlns="http://schemas.microsoft.com/office/infopath/2007/PartnerControls">Worldwide Inside Sales Readiness</TermName>
          <TermId xmlns="http://schemas.microsoft.com/office/infopath/2007/PartnerControls">3a4e01ea-907e-4f11-9b1b-2424e207e8d1</TermId>
        </TermInfo>
      </Terms>
    </i1b478372f814787abd313030b81fcb2>
    <b4224c12c78d42ea9b214de0badf8358 xmlns="230e9df3-be65-4c73-a93b-d1236ebd677e">
      <Terms xmlns="http://schemas.microsoft.com/office/infopath/2007/PartnerControls"/>
    </b4224c12c78d42ea9b214de0badf8358>
    <TaxCatchAll xmlns="230e9df3-be65-4c73-a93b-d1236ebd677e">
      <Value>73</Value>
      <Value>32</Value>
      <Value>30</Value>
      <Value>436</Value>
      <Value>435</Value>
      <Value>399</Value>
      <Value>22</Value>
      <Value>465</Value>
      <Value>351</Value>
      <Value>466</Value>
      <Value>14</Value>
      <Value>87</Value>
      <Value>86</Value>
      <Value>603</Value>
      <Value>82</Value>
      <Value>42</Value>
      <Value>1212</Value>
      <Value>37</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hub subset</TermName>
          <TermId xmlns="http://schemas.microsoft.com/office/infopath/2007/PartnerControls">c6bfd112-b986-4a0a-aa8d-90e767bfdfa6</TermId>
        </TermInfo>
        <TermInfo xmlns="http://schemas.microsoft.com/office/infopath/2007/PartnerControls">
          <TermName xmlns="http://schemas.microsoft.com/office/infopath/2007/PartnerControls">inside sales</TermName>
          <TermId xmlns="http://schemas.microsoft.com/office/infopath/2007/PartnerControls">7c476b68-6f84-4a80-9930-2286afc962a8</TermId>
        </TermInfo>
      </Terms>
    </m6c7b4717b6346e6a075a59dd47eac69>
    <kf34bcdc8fc34e479d3f94c6210e8e27 xmlns="230e9df3-be65-4c73-a93b-d1236ebd677e">
      <Terms xmlns="http://schemas.microsoft.com/office/infopath/2007/PartnerControls"/>
    </kf34bcdc8fc34e479d3f94c6210e8e27>
    <GenericText2 xmlns="230e9df3-be65-4c73-a93b-d1236ebd677e">G01KC-1-10574 KC02-23-72922</GenericText2>
    <_dlc_DocId xmlns="230e9df3-be65-4c73-a93b-d1236ebd677e">G01KC-99682991-16736</_dlc_DocId>
    <_dlc_DocIdUrl xmlns="230e9df3-be65-4c73-a93b-d1236ebd677e">
      <Url>https://microsoft.sharepoint.com/sites/Infopedia_G01KC/_layouts/15/DocIdRedir.aspx?ID=G01KC-99682991-16736</Url>
      <Description>G01KC-99682991-16736</Description>
    </_dlc_DocIdUrl>
    <_ip_UnifiedCompliancePolicyUIAction xmlns="http://schemas.microsoft.com/sharepoint/v3" xsi:nil="true"/>
    <_ip_UnifiedCompliancePolicyProperties xmlns="http://schemas.microsoft.com/sharepoint/v3" xsi:nil="true"/>
    <LastSharedByUser xmlns="2478d1b8-79bf-461f-b8e8-704d21601f1a">belkiso@microsoft.com</LastSharedByUser>
    <LastSharedByTime xmlns="2478d1b8-79bf-461f-b8e8-704d21601f1a">2016-08-29T22:45:24+00:00</LastSharedByTime>
    <ODSWF2_x0028_1_x0029_ xmlns="b3bc04a5-d503-43b1-b98c-a8cf663329d9">
      <Url xsi:nil="true"/>
      <Description xsi:nil="true"/>
    </ODSWF2_x0028_1_x0029_>
    <ODSWF2 xmlns="b3bc04a5-d503-43b1-b98c-a8cf663329d9">
      <Url xsi:nil="true"/>
      <Description xsi:nil="true"/>
    </ODSWF2>
    <ODSWF_x0028_1_x0029_ xmlns="b3bc04a5-d503-43b1-b98c-a8cf663329d9">
      <Url xsi:nil="true"/>
      <Description xsi:nil="true"/>
    </ODSWF_x0028_1_x0029_>
    <ODSWF_x0028_1_x0029_0 xmlns="b3bc04a5-d503-43b1-b98c-a8cf663329d9">
      <Url xsi:nil="true"/>
      <Description xsi:nil="true"/>
    </ODSWF_x0028_1_x0029_0>
    <Update_x0020_Parent_x0020_Child_x0020_Relation_x0028_1_x0029_1 xmlns="b3bc04a5-d503-43b1-b98c-a8cf663329d9">
      <Url xsi:nil="true"/>
      <Description xsi:nil="true"/>
    </Update_x0020_Parent_x0020_Child_x0020_Relation_x0028_1_x0029_1>
    <ODSWF1 xmlns="b3bc04a5-d503-43b1-b98c-a8cf663329d9">
      <Url xsi:nil="true"/>
      <Description xsi:nil="true"/>
    </ODSWF1>
    <ODSWF2_x0028_1_x0029_0 xmlns="b3bc04a5-d503-43b1-b98c-a8cf663329d9">
      <Url xsi:nil="true"/>
      <Description xsi:nil="true"/>
    </ODSWF2_x0028_1_x0029_0>
    <ODSWF_x0028_1_x0029_1 xmlns="b3bc04a5-d503-43b1-b98c-a8cf663329d9">
      <Url xsi:nil="true"/>
      <Description xsi:nil="true"/>
    </ODSWF_x0028_1_x0029_1>
  </documentManagement>
</p:properties>
</file>

<file path=customXml/item2.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46" ma:contentTypeDescription="A document content type used by Infopedia." ma:contentTypeScope="" ma:versionID="b06500e57e43ea8b5bfe02822221a93d">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3d5b5bc8cbbe6276a76adcea962debfd"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element ref="ns4:ODSWF2" minOccurs="0"/>
                <xsd:element ref="ns4:Update_x0020_Parent_x0020_Child_x0020_Relation_x0028_1_x0029_1" minOccurs="0"/>
                <xsd:element ref="ns4:ODSWF_x0028_1_x0029_" minOccurs="0"/>
                <xsd:element ref="ns4:ODSWF2_x0028_1_x0029_" minOccurs="0"/>
                <xsd:element ref="ns4:ODSWF_x0028_1_x0029_0" minOccurs="0"/>
                <xsd:element ref="ns4:ODSWF_x0028_1_x0029_1" minOccurs="0"/>
                <xsd:element ref="ns4:ODSWF1" minOccurs="0"/>
                <xsd:element ref="ns4:ODSWF2_x0028_1_x0029_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2" ma:index="73" nillable="true" ma:displayName="ODSWF2" ma:internalName="ODSWF2">
      <xsd:complexType>
        <xsd:complexContent>
          <xsd:extension base="dms:URL">
            <xsd:sequence>
              <xsd:element name="Url" type="dms:ValidUrl" minOccurs="0" nillable="true"/>
              <xsd:element name="Description" type="xsd:string" nillable="true"/>
            </xsd:sequence>
          </xsd:extension>
        </xsd:complexContent>
      </xsd:complexType>
    </xsd:element>
    <xsd:element name="Update_x0020_Parent_x0020_Child_x0020_Relation_x0028_1_x0029_1" ma:index="74" nillable="true" ma:displayName="Update Parent Child Relation" ma:internalName="Update_x0020_Parent_x0020_Child_x0020_Relation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 ma:index="75" nillable="true" ma:displayName="ODSWF" ma:internalName="ODSWF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 ma:index="76" nillable="true" ma:displayName="ODSWF2" ma:internalName="ODSWF2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0" ma:index="77" nillable="true" ma:displayName="ODSWF" ma:internalName="ODSWF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1" ma:index="78" nillable="true" ma:displayName="ODSWF" ma:internalName="ODSWF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1" ma:index="79" nillable="true" ma:displayName="ODSWF1" ma:internalName="ODSWF1">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0" ma:index="80" nillable="true" ma:displayName="ODSWF2" ma:internalName="ODSWF2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5.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Props1.xml><?xml version="1.0" encoding="utf-8"?>
<ds:datastoreItem xmlns:ds="http://schemas.openxmlformats.org/officeDocument/2006/customXml" ds:itemID="{675D7340-0047-48BB-8B40-A1069F285AD4}">
  <ds:schemaRefs>
    <ds:schemaRef ds:uri="http://purl.org/dc/dcmitype/"/>
    <ds:schemaRef ds:uri="230e9df3-be65-4c73-a93b-d1236ebd677e"/>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2478d1b8-79bf-461f-b8e8-704d21601f1a"/>
    <ds:schemaRef ds:uri="http://schemas.microsoft.com/office/2006/documentManagement/types"/>
    <ds:schemaRef ds:uri="http://purl.org/dc/terms/"/>
    <ds:schemaRef ds:uri="b3bc04a5-d503-43b1-b98c-a8cf663329d9"/>
    <ds:schemaRef ds:uri="230E9DF3-BE65-4C73-A93B-D1236EBD677E"/>
    <ds:schemaRef ds:uri="http://schemas.microsoft.com/sharepoint/v3"/>
    <ds:schemaRef ds:uri="http://www.w3.org/XML/1998/namespace"/>
  </ds:schemaRefs>
</ds:datastoreItem>
</file>

<file path=customXml/itemProps2.xml><?xml version="1.0" encoding="utf-8"?>
<ds:datastoreItem xmlns:ds="http://schemas.openxmlformats.org/officeDocument/2006/customXml" ds:itemID="{7D5A3274-44F1-4A0F-92CD-3715FA0D04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867C347-2653-42EE-B3B8-690327A56E55}">
  <ds:schemaRefs>
    <ds:schemaRef ds:uri="http://schemas.microsoft.com/sharepoint/v3/contenttype/forms"/>
  </ds:schemaRefs>
</ds:datastoreItem>
</file>

<file path=customXml/itemProps4.xml><?xml version="1.0" encoding="utf-8"?>
<ds:datastoreItem xmlns:ds="http://schemas.openxmlformats.org/officeDocument/2006/customXml" ds:itemID="{DABDB9F0-6823-48CA-AFC4-6115928A8223}">
  <ds:schemaRefs>
    <ds:schemaRef ds:uri="http://schemas.microsoft.com/sharepoint/events"/>
  </ds:schemaRefs>
</ds:datastoreItem>
</file>

<file path=customXml/itemProps5.xml><?xml version="1.0" encoding="utf-8"?>
<ds:datastoreItem xmlns:ds="http://schemas.openxmlformats.org/officeDocument/2006/customXml" ds:itemID="{299F23BB-CF36-4C3C-B277-1982483230BD}">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649</Words>
  <Application>Microsoft Office PowerPoint</Application>
  <PresentationFormat>Custom</PresentationFormat>
  <Paragraphs>362</Paragraphs>
  <Slides>17</Slides>
  <Notes>16</Notes>
  <HiddenSlides>0</HiddenSlides>
  <MMClips>0</MMClips>
  <ScaleCrop>false</ScaleCrop>
  <HeadingPairs>
    <vt:vector size="8" baseType="variant">
      <vt:variant>
        <vt:lpstr>Fonts Used</vt:lpstr>
      </vt:variant>
      <vt:variant>
        <vt:i4>18</vt:i4>
      </vt:variant>
      <vt:variant>
        <vt:lpstr>Theme</vt:lpstr>
      </vt:variant>
      <vt:variant>
        <vt:i4>5</vt:i4>
      </vt:variant>
      <vt:variant>
        <vt:lpstr>Embedded OLE Servers</vt:lpstr>
      </vt:variant>
      <vt:variant>
        <vt:i4>1</vt:i4>
      </vt:variant>
      <vt:variant>
        <vt:lpstr>Slide Titles</vt:lpstr>
      </vt:variant>
      <vt:variant>
        <vt:i4>17</vt:i4>
      </vt:variant>
    </vt:vector>
  </HeadingPairs>
  <TitlesOfParts>
    <vt:vector size="41" baseType="lpstr">
      <vt:lpstr>MS PGothic</vt:lpstr>
      <vt:lpstr>MS PGothic</vt:lpstr>
      <vt:lpstr>Arial</vt:lpstr>
      <vt:lpstr>Calibri</vt:lpstr>
      <vt:lpstr>Calibri Light</vt:lpstr>
      <vt:lpstr>Consolas</vt:lpstr>
      <vt:lpstr>Courier New</vt:lpstr>
      <vt:lpstr>Segoe</vt:lpstr>
      <vt:lpstr>Segoe Pro</vt:lpstr>
      <vt:lpstr>Segoe Semibold</vt:lpstr>
      <vt:lpstr>Segoe UI</vt:lpstr>
      <vt:lpstr>Segoe UI Black</vt:lpstr>
      <vt:lpstr>Segoe UI Light</vt:lpstr>
      <vt:lpstr>Segoe UI Semibold</vt:lpstr>
      <vt:lpstr>Segoe UI Semilight</vt:lpstr>
      <vt:lpstr>Times New Roman</vt:lpstr>
      <vt:lpstr>Wingdings</vt:lpstr>
      <vt:lpstr>Wingdings 3</vt:lpstr>
      <vt:lpstr>STB Conversations 2013</vt:lpstr>
      <vt:lpstr>1_Windows Server</vt:lpstr>
      <vt:lpstr>WHITE TEMPLATE</vt:lpstr>
      <vt:lpstr>1_WHITE TEMPLATE</vt:lpstr>
      <vt:lpstr>2_STB Conversations 2013</vt:lpstr>
      <vt:lpstr>think-cell Slide</vt:lpstr>
      <vt:lpstr>PowerPoint Presentation</vt:lpstr>
      <vt:lpstr>PowerPoint Presentation</vt:lpstr>
      <vt:lpstr>Location of Microsoft SQL Server</vt:lpstr>
      <vt:lpstr>Query Store</vt:lpstr>
      <vt:lpstr>Problems with query performance</vt:lpstr>
      <vt:lpstr>The solution: Query Store</vt:lpstr>
      <vt:lpstr>Query Store Architecture</vt:lpstr>
      <vt:lpstr>Query Store write architecture</vt:lpstr>
      <vt:lpstr>Query Store read architecture</vt:lpstr>
      <vt:lpstr>PowerPoint Presentation</vt:lpstr>
      <vt:lpstr>Keeping stability while upgrading to SQL Sever 2016</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2016 L300 Technical Deck</dc:title>
  <dc:creator/>
  <cp:keywords/>
  <cp:lastModifiedBy/>
  <cp:revision>1</cp:revision>
  <dcterms:created xsi:type="dcterms:W3CDTF">2014-10-14T16:17:56Z</dcterms:created>
  <dcterms:modified xsi:type="dcterms:W3CDTF">2017-05-02T21:2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Order">
    <vt:r8>20729700</vt:r8>
  </property>
  <property fmtid="{D5CDD505-2E9C-101B-9397-08002B2CF9AE}" pid="4" name="_dlc_policyId">
    <vt:lpwstr/>
  </property>
  <property fmtid="{D5CDD505-2E9C-101B-9397-08002B2CF9AE}" pid="5" name="Region">
    <vt:lpwstr/>
  </property>
  <property fmtid="{D5CDD505-2E9C-101B-9397-08002B2CF9AE}" pid="6" name="Confidentiality">
    <vt:lpwstr>14;#customer ready|8986c41d-21c5-4f8f-8a12-ea4625b46858</vt:lpwstr>
  </property>
  <property fmtid="{D5CDD505-2E9C-101B-9397-08002B2CF9AE}" pid="7" name="ItemType">
    <vt:lpwstr>435;#technical presentations|83a894cf-702b-47fc-aba5-41bd10dc1e75;#351;#feedback requests|00ce1828-98a3-430e-af54-eda270e1be04</vt:lpwstr>
  </property>
  <property fmtid="{D5CDD505-2E9C-101B-9397-08002B2CF9AE}" pid="8" name="ContentTypeId">
    <vt:lpwstr>0x0101000E4CB7077FEE4FF7AE86D4A500EEC7800300F96E2758736AEF45AFCE0C190C2A9DEC00CC074746C0EF6D439A06F1AAD31A3C2B</vt:lpwstr>
  </property>
  <property fmtid="{D5CDD505-2E9C-101B-9397-08002B2CF9AE}" pid="9" name="Product">
    <vt:lpwstr/>
  </property>
  <property fmtid="{D5CDD505-2E9C-101B-9397-08002B2CF9AE}" pid="10" name="Industries">
    <vt:lpwstr/>
  </property>
  <property fmtid="{D5CDD505-2E9C-101B-9397-08002B2CF9AE}" pid="11" name="Roles">
    <vt:lpwstr/>
  </property>
  <property fmtid="{D5CDD505-2E9C-101B-9397-08002B2CF9AE}" pid="12" name="Event1">
    <vt:lpwstr>217;#Unassigned|e51362f4-782c-41a8-bb7b-e0cfc8669933</vt:lpwstr>
  </property>
  <property fmtid="{D5CDD505-2E9C-101B-9397-08002B2CF9AE}" pid="13" name="Audience">
    <vt:lpwstr/>
  </property>
  <property fmtid="{D5CDD505-2E9C-101B-9397-08002B2CF9AE}" pid="14" name="SMSGDomain">
    <vt:lpwstr>22;#Server and Tools Business|6783548d-8609-4f97-be4a-4ca2616905a6;#82;#SQL Server Domain|0c0f1824-39dc-4b26-8c74-eff4364b812b;#37;#Sales, Marketing, Services Group|ecda8836-afa0-40aa-878e-630e18c8fc5c;#465;#Telesales Domain|04a5111f-c67b-4a6e-bf36-057147</vt:lpwstr>
  </property>
  <property fmtid="{D5CDD505-2E9C-101B-9397-08002B2CF9AE}" pid="15" name="Competitors">
    <vt:lpwstr/>
  </property>
  <property fmtid="{D5CDD505-2E9C-101B-9397-08002B2CF9AE}" pid="16" name="ItemRetentionFormula">
    <vt:lpwstr/>
  </property>
  <property fmtid="{D5CDD505-2E9C-101B-9397-08002B2CF9AE}" pid="17" name="BusinessArchitecture">
    <vt:lpwstr>86;#online transaction processing|c143d824-a1a7-4099-a43a-0b81eb3e5069;#32;#Cloud Platform (sales theme)|ec248454-62d9-485e-995d-0cfad61f7f4c;#1212;#Workloads|aadaf317-5730-4a0e-8ef2-c8e8ec6fbdcb</vt:lpwstr>
  </property>
  <property fmtid="{D5CDD505-2E9C-101B-9397-08002B2CF9AE}" pid="18" name="SMSGTags">
    <vt:lpwstr/>
  </property>
  <property fmtid="{D5CDD505-2E9C-101B-9397-08002B2CF9AE}" pid="19" name="Products">
    <vt:lpwstr>73;#Microsoft SQL Server|261ba873-f3ab-420e-96d6-e3004596a551;#436;#Microsoft SQL Server 2014|b1aea718-d522-4945-8607-5022dfd2d944</vt:lpwstr>
  </property>
  <property fmtid="{D5CDD505-2E9C-101B-9397-08002B2CF9AE}" pid="20" name="_dlc_DocIdItemGuid">
    <vt:lpwstr>4077ebe4-54e8-4ec3-ac0a-6e27fd0e7e5b</vt:lpwstr>
  </property>
  <property fmtid="{D5CDD505-2E9C-101B-9397-08002B2CF9AE}" pid="21" name="EnterpriseDomainTags">
    <vt:lpwstr/>
  </property>
  <property fmtid="{D5CDD505-2E9C-101B-9397-08002B2CF9AE}" pid="22" name="Partners">
    <vt:lpwstr/>
  </property>
  <property fmtid="{D5CDD505-2E9C-101B-9397-08002B2CF9AE}" pid="23" name="Segments">
    <vt:lpwstr/>
  </property>
  <property fmtid="{D5CDD505-2E9C-101B-9397-08002B2CF9AE}" pid="24" name="ActivitiesAndPrograms">
    <vt:lpwstr>87;#Mission Critical Platform|da5cf5ec-33f7-4c53-ade9-4c70e8c513b9;#603;#Worldwide Inside Sales Readiness|3a4e01ea-907e-4f11-9b1b-2424e207e8d1</vt:lpwstr>
  </property>
  <property fmtid="{D5CDD505-2E9C-101B-9397-08002B2CF9AE}" pid="25" name="WorkflowChangePath">
    <vt:lpwstr>d3765c0c-e2b5-4307-934b-d5d862e93ab3,10;d3765c0c-e2b5-4307-934b-d5d862e93ab3,21;d3765c0c-e2b5-4307-934b-d5d862e93ab3,24;d3765c0c-e2b5-4307-934b-d5d862e93ab3,27;d779f5e8-bb23-40fa-a1a5-97eb63737902,60;1fb2635a-68dc-46ab-be64-a3a681949ebe,98;1fb2635a-68dc-4</vt:lpwstr>
  </property>
  <property fmtid="{D5CDD505-2E9C-101B-9397-08002B2CF9AE}" pid="26" name="Groups">
    <vt:lpwstr>42;#Cloud and Enterprise Marketing Group|4f75e184-e5aa-4234-a07f-b032d60df254;#399;#SQL Server Marketing|bb7921b3-c1d8-4da4-b894-8b6075d9546d</vt:lpwstr>
  </property>
  <property fmtid="{D5CDD505-2E9C-101B-9397-08002B2CF9AE}" pid="27" name="Topics">
    <vt:lpwstr>30;#hub subset|c6bfd112-b986-4a0a-aa8d-90e767bfdfa6;#466;#inside sales|7c476b68-6f84-4a80-9930-2286afc962a8</vt:lpwstr>
  </property>
  <property fmtid="{D5CDD505-2E9C-101B-9397-08002B2CF9AE}" pid="28" name="LastUpdatedByBatchTagging">
    <vt:bool>true</vt:bool>
  </property>
  <property fmtid="{D5CDD505-2E9C-101B-9397-08002B2CF9AE}" pid="29" name="messageframeworktype">
    <vt:lpwstr/>
  </property>
  <property fmtid="{D5CDD505-2E9C-101B-9397-08002B2CF9AE}" pid="30" name="Languages">
    <vt:lpwstr/>
  </property>
  <property fmtid="{D5CDD505-2E9C-101B-9397-08002B2CF9AE}" pid="31" name="_docset_NoMedatataSyncRequired">
    <vt:lpwstr>False</vt:lpwstr>
  </property>
  <property fmtid="{D5CDD505-2E9C-101B-9397-08002B2CF9AE}" pid="32" name="SMSGTagsTaxHTField0">
    <vt:lpwstr/>
  </property>
  <property fmtid="{D5CDD505-2E9C-101B-9397-08002B2CF9AE}" pid="33" name="IsMyDocuments">
    <vt:bool>true</vt:bool>
  </property>
  <property fmtid="{D5CDD505-2E9C-101B-9397-08002B2CF9AE}" pid="34" name="Audiences">
    <vt:lpwstr/>
  </property>
  <property fmtid="{D5CDD505-2E9C-101B-9397-08002B2CF9AE}" pid="35" name="j4d667fb28274e85b2214f6e751c8d1f">
    <vt:lpwstr/>
  </property>
  <property fmtid="{D5CDD505-2E9C-101B-9397-08002B2CF9AE}" pid="36" name="j031aa32f4154c8c9a646efae715ebde">
    <vt:lpwstr/>
  </property>
  <property fmtid="{D5CDD505-2E9C-101B-9397-08002B2CF9AE}" pid="37" name="TechnicalLevel">
    <vt:lpwstr/>
  </property>
  <property fmtid="{D5CDD505-2E9C-101B-9397-08002B2CF9AE}" pid="38" name="p1cd454bacc149bfbcfd764edd279de7">
    <vt:lpwstr/>
  </property>
  <property fmtid="{D5CDD505-2E9C-101B-9397-08002B2CF9AE}" pid="39" name="bc28b5f076654a3b96073bbbebfeb8c9">
    <vt:lpwstr/>
  </property>
  <property fmtid="{D5CDD505-2E9C-101B-9397-08002B2CF9AE}" pid="40" name="MSProducts">
    <vt:lpwstr/>
  </property>
  <property fmtid="{D5CDD505-2E9C-101B-9397-08002B2CF9AE}" pid="41" name="l311460e3fdf46688abc31ddb7bdc05a">
    <vt:lpwstr/>
  </property>
  <property fmtid="{D5CDD505-2E9C-101B-9397-08002B2CF9AE}" pid="42" name="la4444b61d19467597d63190b69ac227">
    <vt:lpwstr/>
  </property>
  <property fmtid="{D5CDD505-2E9C-101B-9397-08002B2CF9AE}" pid="43" name="MSProductsTaxHTField0">
    <vt:lpwstr/>
  </property>
  <property fmtid="{D5CDD505-2E9C-101B-9397-08002B2CF9AE}" pid="44" name="MSLanguage">
    <vt:lpwstr/>
  </property>
  <property fmtid="{D5CDD505-2E9C-101B-9397-08002B2CF9AE}" pid="45" name="cb7870d3641f4a52807a63577a9c1b08">
    <vt:lpwstr/>
  </property>
  <property fmtid="{D5CDD505-2E9C-101B-9397-08002B2CF9AE}" pid="46" name="LearningOrganization">
    <vt:lpwstr/>
  </property>
  <property fmtid="{D5CDD505-2E9C-101B-9397-08002B2CF9AE}" pid="47" name="EmployeeRole">
    <vt:lpwstr/>
  </property>
  <property fmtid="{D5CDD505-2E9C-101B-9397-08002B2CF9AE}" pid="48" name="LearningDeliveryMethod">
    <vt:lpwstr/>
  </property>
  <property fmtid="{D5CDD505-2E9C-101B-9397-08002B2CF9AE}" pid="49" name="SalesGeography">
    <vt:lpwstr/>
  </property>
  <property fmtid="{D5CDD505-2E9C-101B-9397-08002B2CF9AE}" pid="50" name="ldac8aee9d1f469e8cd8c3f8d6a615f2">
    <vt:lpwstr/>
  </property>
  <property fmtid="{D5CDD505-2E9C-101B-9397-08002B2CF9AE}" pid="51" name="of67e5d4b76f4a9db8769983fda9cec0">
    <vt:lpwstr/>
  </property>
  <property fmtid="{D5CDD505-2E9C-101B-9397-08002B2CF9AE}" pid="52" name="NewsType">
    <vt:lpwstr/>
  </property>
  <property fmtid="{D5CDD505-2E9C-101B-9397-08002B2CF9AE}" pid="53" name="ga0c0bf70a6644469c61b3efa7025301">
    <vt:lpwstr/>
  </property>
  <property fmtid="{D5CDD505-2E9C-101B-9397-08002B2CF9AE}" pid="54" name="ExperienceContentType">
    <vt:lpwstr/>
  </property>
  <property fmtid="{D5CDD505-2E9C-101B-9397-08002B2CF9AE}" pid="55" name="l6f004f21209409da86a713c0f24627d">
    <vt:lpwstr/>
  </property>
  <property fmtid="{D5CDD505-2E9C-101B-9397-08002B2CF9AE}" pid="56" name="e8080b0481964c759b2c36ae49591b31">
    <vt:lpwstr/>
  </property>
  <property fmtid="{D5CDD505-2E9C-101B-9397-08002B2CF9AE}" pid="57" name="NewsTopic">
    <vt:lpwstr/>
  </property>
  <property fmtid="{D5CDD505-2E9C-101B-9397-08002B2CF9AE}" pid="58" name="NewsSource">
    <vt:lpwstr/>
  </property>
  <property fmtid="{D5CDD505-2E9C-101B-9397-08002B2CF9AE}" pid="59" name="MSPhysicalGeography">
    <vt:lpwstr/>
  </property>
  <property fmtid="{D5CDD505-2E9C-101B-9397-08002B2CF9AE}" pid="60" name="j3562c58ee414e028925bc902cfc01a1">
    <vt:lpwstr/>
  </property>
  <property fmtid="{D5CDD505-2E9C-101B-9397-08002B2CF9AE}" pid="61" name="SharedWithUsers">
    <vt:lpwstr>15434;#Anne Zorner;#49076;#Didier Simon;#6527;#Klaus Sobel;#42920;#Ryszard Gawron;#1813;#Orsolya Gal;#24946;#Holger Linke;#57078;#Gert Christen;#57092;#Ralf Ksciuk-Haf;#57093;#Hans-Peter Portenlaenger;#61683;#Cecil Sunder;#47008;#Katie Dixon;#10145;#Sergi</vt:lpwstr>
  </property>
</Properties>
</file>